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6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70" r:id="rId1"/>
    <p:sldMasterId id="2147483912" r:id="rId2"/>
    <p:sldMasterId id="2147483934" r:id="rId3"/>
    <p:sldMasterId id="2147483976" r:id="rId4"/>
    <p:sldMasterId id="2147483989" r:id="rId5"/>
    <p:sldMasterId id="2147484020" r:id="rId6"/>
    <p:sldMasterId id="2147484044" r:id="rId7"/>
  </p:sldMasterIdLst>
  <p:notesMasterIdLst>
    <p:notesMasterId r:id="rId28"/>
  </p:notesMasterIdLst>
  <p:sldIdLst>
    <p:sldId id="377" r:id="rId8"/>
    <p:sldId id="347" r:id="rId9"/>
    <p:sldId id="379" r:id="rId10"/>
    <p:sldId id="383" r:id="rId11"/>
    <p:sldId id="362" r:id="rId12"/>
    <p:sldId id="265" r:id="rId13"/>
    <p:sldId id="371" r:id="rId14"/>
    <p:sldId id="380" r:id="rId15"/>
    <p:sldId id="370" r:id="rId16"/>
    <p:sldId id="257" r:id="rId17"/>
    <p:sldId id="368" r:id="rId18"/>
    <p:sldId id="288" r:id="rId19"/>
    <p:sldId id="298" r:id="rId20"/>
    <p:sldId id="373" r:id="rId21"/>
    <p:sldId id="264" r:id="rId22"/>
    <p:sldId id="303" r:id="rId23"/>
    <p:sldId id="263" r:id="rId24"/>
    <p:sldId id="384" r:id="rId25"/>
    <p:sldId id="328" r:id="rId26"/>
    <p:sldId id="338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2E41C438-D8DA-3C4E-B05A-85E76F887F70}">
          <p14:sldIdLst>
            <p14:sldId id="377"/>
            <p14:sldId id="347"/>
            <p14:sldId id="379"/>
            <p14:sldId id="383"/>
            <p14:sldId id="362"/>
            <p14:sldId id="265"/>
            <p14:sldId id="371"/>
            <p14:sldId id="380"/>
            <p14:sldId id="370"/>
            <p14:sldId id="257"/>
            <p14:sldId id="368"/>
            <p14:sldId id="288"/>
            <p14:sldId id="298"/>
            <p14:sldId id="373"/>
            <p14:sldId id="264"/>
            <p14:sldId id="303"/>
            <p14:sldId id="263"/>
            <p14:sldId id="384"/>
            <p14:sldId id="328"/>
            <p14:sldId id="3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son Cockrum" initials="JC" lastIdx="7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105C"/>
    <a:srgbClr val="71A101"/>
    <a:srgbClr val="ADD20D"/>
    <a:srgbClr val="2D5000"/>
    <a:srgbClr val="3C6400"/>
    <a:srgbClr val="498705"/>
    <a:srgbClr val="D1EC00"/>
    <a:srgbClr val="C0E400"/>
    <a:srgbClr val="C7E7F1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31" autoAdjust="0"/>
    <p:restoredTop sz="85445" autoAdjust="0"/>
  </p:normalViewPr>
  <p:slideViewPr>
    <p:cSldViewPr snapToGrid="0">
      <p:cViewPr varScale="1">
        <p:scale>
          <a:sx n="55" d="100"/>
          <a:sy n="55" d="100"/>
        </p:scale>
        <p:origin x="618" y="39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-56" y="0"/>
    </p:cViewPr>
  </p:outlineViewPr>
  <p:notesTextViewPr>
    <p:cViewPr>
      <p:scale>
        <a:sx n="95" d="100"/>
        <a:sy n="9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2640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ED9BA7-9DAF-4B99-9387-5FAB8CF7F10B}" type="doc">
      <dgm:prSet loTypeId="urn:microsoft.com/office/officeart/2005/8/layout/radial3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6A9DECE-E2FA-42CC-A4C0-8B75FE1DF2C4}">
      <dgm:prSet phldrT="[Text]" custT="1"/>
      <dgm:spPr>
        <a:solidFill>
          <a:srgbClr val="626060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2400" b="0" dirty="0">
              <a:solidFill>
                <a:schemeClr val="bg1"/>
              </a:solidFill>
            </a:rPr>
            <a:t>ИЗМЕНЕНИЕ</a:t>
          </a:r>
          <a:r>
            <a:rPr lang="ru-RU" sz="2800" b="0" dirty="0">
              <a:solidFill>
                <a:schemeClr val="bg1"/>
              </a:solidFill>
            </a:rPr>
            <a:t> </a:t>
          </a:r>
          <a:r>
            <a:rPr lang="ru-RU" sz="2400" b="0" dirty="0">
              <a:solidFill>
                <a:schemeClr val="bg1"/>
              </a:solidFill>
            </a:rPr>
            <a:t>СУТИ, ФОРМ И МЕТОДОВ ОБУЧЕНИЯ</a:t>
          </a:r>
          <a:endParaRPr lang="en-US" sz="2400" b="0" dirty="0">
            <a:solidFill>
              <a:schemeClr val="bg1"/>
            </a:solidFill>
          </a:endParaRPr>
        </a:p>
      </dgm:t>
    </dgm:pt>
    <dgm:pt modelId="{C52C2117-3CDF-4CDC-8BBD-294EC1635CED}" type="parTrans" cxnId="{BD6AE490-9BF4-4DD9-B3C7-FCE40D278C25}">
      <dgm:prSet/>
      <dgm:spPr/>
      <dgm:t>
        <a:bodyPr/>
        <a:lstStyle/>
        <a:p>
          <a:endParaRPr lang="en-US" sz="1200"/>
        </a:p>
      </dgm:t>
    </dgm:pt>
    <dgm:pt modelId="{85DEBD39-A5AE-4559-BF86-A7CDF38EBA80}" type="sibTrans" cxnId="{BD6AE490-9BF4-4DD9-B3C7-FCE40D278C25}">
      <dgm:prSet/>
      <dgm:spPr/>
      <dgm:t>
        <a:bodyPr/>
        <a:lstStyle/>
        <a:p>
          <a:endParaRPr lang="en-US" sz="1200"/>
        </a:p>
      </dgm:t>
    </dgm:pt>
    <dgm:pt modelId="{B51DF8E4-EA38-4ABE-8E9E-688F890B74BA}">
      <dgm:prSet phldrT="[Text]" custT="1"/>
      <dgm:spPr>
        <a:solidFill>
          <a:srgbClr val="FFB900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Новые формы </a:t>
          </a:r>
          <a:r>
            <a:rPr lang="ru-RU" sz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ценивания</a:t>
          </a:r>
          <a:endParaRPr lang="en-US" sz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7E94740-8D63-4794-9387-9B2F7BEC183B}" type="parTrans" cxnId="{7A214F3B-2C1C-48EE-9B47-41A7909EEB32}">
      <dgm:prSet/>
      <dgm:spPr/>
      <dgm:t>
        <a:bodyPr/>
        <a:lstStyle/>
        <a:p>
          <a:endParaRPr lang="en-US" sz="1200"/>
        </a:p>
      </dgm:t>
    </dgm:pt>
    <dgm:pt modelId="{196F5C68-42FE-4235-9A01-29F47E4C594A}" type="sibTrans" cxnId="{7A214F3B-2C1C-48EE-9B47-41A7909EEB32}">
      <dgm:prSet/>
      <dgm:spPr/>
      <dgm:t>
        <a:bodyPr/>
        <a:lstStyle/>
        <a:p>
          <a:endParaRPr lang="en-US" sz="1200"/>
        </a:p>
      </dgm:t>
    </dgm:pt>
    <dgm:pt modelId="{0AC3D786-72F0-4472-ABF6-45E9D74B5D38}">
      <dgm:prSet phldrT="[Text]" custT="1"/>
      <dgm:spPr>
        <a:solidFill>
          <a:srgbClr val="FF8C00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спользо-вание </a:t>
          </a:r>
          <a:r>
            <a:rPr 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MS</a:t>
          </a:r>
        </a:p>
      </dgm:t>
    </dgm:pt>
    <dgm:pt modelId="{01AD80EA-5B94-4413-8272-225EAB18E7E2}" type="parTrans" cxnId="{5A039A14-3759-4790-B5E2-2DC35FBE4021}">
      <dgm:prSet/>
      <dgm:spPr/>
      <dgm:t>
        <a:bodyPr/>
        <a:lstStyle/>
        <a:p>
          <a:endParaRPr lang="en-US" sz="1200"/>
        </a:p>
      </dgm:t>
    </dgm:pt>
    <dgm:pt modelId="{E031EAE3-C2EB-41FF-A6C0-9C98343BA948}" type="sibTrans" cxnId="{5A039A14-3759-4790-B5E2-2DC35FBE4021}">
      <dgm:prSet/>
      <dgm:spPr/>
      <dgm:t>
        <a:bodyPr/>
        <a:lstStyle/>
        <a:p>
          <a:endParaRPr lang="en-US" sz="1200"/>
        </a:p>
      </dgm:t>
    </dgm:pt>
    <dgm:pt modelId="{7B762696-3F01-42F1-91A0-9C088ED2726A}">
      <dgm:prSet phldrT="[Text]" custT="1"/>
      <dgm:spPr>
        <a:solidFill>
          <a:srgbClr val="DC3C00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амореф-лексия</a:t>
          </a:r>
          <a:endParaRPr lang="en-US" sz="14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10ACCAC-50B2-49AF-B468-E40E78A779D0}" type="parTrans" cxnId="{B47FDD74-015E-4089-8270-4E7BF72CA116}">
      <dgm:prSet/>
      <dgm:spPr/>
      <dgm:t>
        <a:bodyPr/>
        <a:lstStyle/>
        <a:p>
          <a:endParaRPr lang="en-US" sz="1200"/>
        </a:p>
      </dgm:t>
    </dgm:pt>
    <dgm:pt modelId="{5B7376A1-F13E-42DB-882A-D6ECE665A523}" type="sibTrans" cxnId="{B47FDD74-015E-4089-8270-4E7BF72CA116}">
      <dgm:prSet/>
      <dgm:spPr/>
      <dgm:t>
        <a:bodyPr/>
        <a:lstStyle/>
        <a:p>
          <a:endParaRPr lang="en-US" sz="1200"/>
        </a:p>
      </dgm:t>
    </dgm:pt>
    <dgm:pt modelId="{9BD301C2-7798-4592-ABF7-42E042A8673F}">
      <dgm:prSet phldrT="[Text]" custT="1"/>
      <dgm:spPr>
        <a:solidFill>
          <a:srgbClr val="BA141A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3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истема оценивания</a:t>
          </a:r>
          <a:endParaRPr lang="en-US" sz="13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85CFA1A-7111-4EFA-A62A-98D9500C9E84}" type="parTrans" cxnId="{5250A30D-8F48-4547-BD9A-95CEDBA4AE56}">
      <dgm:prSet/>
      <dgm:spPr/>
      <dgm:t>
        <a:bodyPr/>
        <a:lstStyle/>
        <a:p>
          <a:endParaRPr lang="en-US" sz="1200"/>
        </a:p>
      </dgm:t>
    </dgm:pt>
    <dgm:pt modelId="{41DAF9A1-2380-4CC4-8B26-96D58EDAA07F}" type="sibTrans" cxnId="{5250A30D-8F48-4547-BD9A-95CEDBA4AE56}">
      <dgm:prSet/>
      <dgm:spPr/>
      <dgm:t>
        <a:bodyPr/>
        <a:lstStyle/>
        <a:p>
          <a:endParaRPr lang="en-US" sz="1200"/>
        </a:p>
      </dgm:t>
    </dgm:pt>
    <dgm:pt modelId="{AD0ACB41-A801-4E73-B397-AF916A024D58}">
      <dgm:prSet phldrT="[Text]" custT="1"/>
      <dgm:spPr>
        <a:solidFill>
          <a:srgbClr val="EC008C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Адаптивные системы</a:t>
          </a:r>
          <a:endParaRPr lang="en-US" sz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7008BFDC-8D1F-403C-87BD-71C1F5660329}" type="parTrans" cxnId="{2BAB42AF-A5B2-4FD7-952D-4DBEBB3DD39F}">
      <dgm:prSet/>
      <dgm:spPr/>
      <dgm:t>
        <a:bodyPr/>
        <a:lstStyle/>
        <a:p>
          <a:endParaRPr lang="en-US" sz="1200"/>
        </a:p>
      </dgm:t>
    </dgm:pt>
    <dgm:pt modelId="{8BACBB51-B32A-4D67-BD2D-49CD9B628B77}" type="sibTrans" cxnId="{2BAB42AF-A5B2-4FD7-952D-4DBEBB3DD39F}">
      <dgm:prSet/>
      <dgm:spPr/>
      <dgm:t>
        <a:bodyPr/>
        <a:lstStyle/>
        <a:p>
          <a:endParaRPr lang="en-US" sz="1200"/>
        </a:p>
      </dgm:t>
    </dgm:pt>
    <dgm:pt modelId="{84A313D5-0854-45C6-94CF-3575A0C27B8D}">
      <dgm:prSet phldrT="[Text]" custT="1"/>
      <dgm:spPr>
        <a:solidFill>
          <a:srgbClr val="68217A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спользование</a:t>
          </a:r>
          <a:r>
            <a:rPr lang="ru-RU" sz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устройств</a:t>
          </a:r>
          <a:endParaRPr lang="en-US" sz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E86D8917-F12E-418F-9C04-33F18BBBD3C5}" type="parTrans" cxnId="{61294B0E-C0F7-474D-91A2-5CD0C3B5C9EA}">
      <dgm:prSet/>
      <dgm:spPr/>
      <dgm:t>
        <a:bodyPr/>
        <a:lstStyle/>
        <a:p>
          <a:endParaRPr lang="en-US" sz="1200"/>
        </a:p>
      </dgm:t>
    </dgm:pt>
    <dgm:pt modelId="{74A2C8B9-2D7B-4927-8F71-82FC5AC86570}" type="sibTrans" cxnId="{61294B0E-C0F7-474D-91A2-5CD0C3B5C9EA}">
      <dgm:prSet/>
      <dgm:spPr/>
      <dgm:t>
        <a:bodyPr/>
        <a:lstStyle/>
        <a:p>
          <a:endParaRPr lang="en-US" sz="1200"/>
        </a:p>
      </dgm:t>
    </dgm:pt>
    <dgm:pt modelId="{259671E7-3480-4231-8451-34516314319C}">
      <dgm:prSet phldrT="[Text]" custT="1"/>
      <dgm:spPr>
        <a:solidFill>
          <a:srgbClr val="442359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Мотивация</a:t>
          </a:r>
          <a:endParaRPr lang="en-US" sz="14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925C66C-268A-4468-B90F-78463BB01AB8}" type="parTrans" cxnId="{75104D1C-E51D-40A7-9483-F039F0F62A0F}">
      <dgm:prSet/>
      <dgm:spPr/>
      <dgm:t>
        <a:bodyPr/>
        <a:lstStyle/>
        <a:p>
          <a:endParaRPr lang="en-US" sz="1200"/>
        </a:p>
      </dgm:t>
    </dgm:pt>
    <dgm:pt modelId="{502689BC-A470-4038-BC89-BB22CE308FEC}" type="sibTrans" cxnId="{75104D1C-E51D-40A7-9483-F039F0F62A0F}">
      <dgm:prSet/>
      <dgm:spPr/>
      <dgm:t>
        <a:bodyPr/>
        <a:lstStyle/>
        <a:p>
          <a:endParaRPr lang="en-US" sz="1200"/>
        </a:p>
      </dgm:t>
    </dgm:pt>
    <dgm:pt modelId="{BB7093D5-F31A-4C4D-9638-629272A1DEC2}">
      <dgm:prSet phldrT="[Text]" custT="1"/>
      <dgm:spPr>
        <a:solidFill>
          <a:srgbClr val="4668C5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Аналитика соцсетей</a:t>
          </a:r>
          <a:endParaRPr lang="en-US" sz="14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324E227-97AD-4C07-8DA7-8AEA5B67266E}" type="parTrans" cxnId="{EF3F2362-BA07-4A52-B2A6-87C1096524CC}">
      <dgm:prSet/>
      <dgm:spPr/>
      <dgm:t>
        <a:bodyPr/>
        <a:lstStyle/>
        <a:p>
          <a:endParaRPr lang="en-US" sz="1200"/>
        </a:p>
      </dgm:t>
    </dgm:pt>
    <dgm:pt modelId="{1F639DE6-868A-4556-B7E7-6013653FD2D5}" type="sibTrans" cxnId="{EF3F2362-BA07-4A52-B2A6-87C1096524CC}">
      <dgm:prSet/>
      <dgm:spPr/>
      <dgm:t>
        <a:bodyPr/>
        <a:lstStyle/>
        <a:p>
          <a:endParaRPr lang="en-US" sz="1200"/>
        </a:p>
      </dgm:t>
    </dgm:pt>
    <dgm:pt modelId="{C53F3769-451A-48EC-B052-8920698C4133}">
      <dgm:prSet phldrT="[Text]" custT="1"/>
      <dgm:spPr>
        <a:solidFill>
          <a:srgbClr val="002050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Бейджи</a:t>
          </a:r>
          <a:endParaRPr lang="en-US" sz="14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063BB2E-3B74-4AEA-9EC8-09D985772E7E}" type="parTrans" cxnId="{EA139D25-5D0B-4D8B-A33B-E6C78217C419}">
      <dgm:prSet/>
      <dgm:spPr/>
      <dgm:t>
        <a:bodyPr/>
        <a:lstStyle/>
        <a:p>
          <a:endParaRPr lang="en-US" sz="1200"/>
        </a:p>
      </dgm:t>
    </dgm:pt>
    <dgm:pt modelId="{45B7E975-0A66-4B8C-93D9-DF87E80CAF3B}" type="sibTrans" cxnId="{EA139D25-5D0B-4D8B-A33B-E6C78217C419}">
      <dgm:prSet/>
      <dgm:spPr/>
      <dgm:t>
        <a:bodyPr/>
        <a:lstStyle/>
        <a:p>
          <a:endParaRPr lang="en-US" sz="1200"/>
        </a:p>
      </dgm:t>
    </dgm:pt>
    <dgm:pt modelId="{AA53BBAE-9375-4AF3-B8F4-7E2090D11844}">
      <dgm:prSet phldrT="[Text]" custT="1"/>
      <dgm:spPr>
        <a:solidFill>
          <a:srgbClr val="00BCF2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гры</a:t>
          </a:r>
          <a:endParaRPr lang="en-US" sz="14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42F90FF-3862-4F04-99CF-9791BC3F4E4C}" type="parTrans" cxnId="{9A5DCA98-72E8-4C05-A859-3BA94603D73D}">
      <dgm:prSet/>
      <dgm:spPr/>
      <dgm:t>
        <a:bodyPr/>
        <a:lstStyle/>
        <a:p>
          <a:endParaRPr lang="en-US" sz="1200"/>
        </a:p>
      </dgm:t>
    </dgm:pt>
    <dgm:pt modelId="{81B0AEFA-45D4-440B-BB66-D8496804AE2C}" type="sibTrans" cxnId="{9A5DCA98-72E8-4C05-A859-3BA94603D73D}">
      <dgm:prSet/>
      <dgm:spPr/>
      <dgm:t>
        <a:bodyPr/>
        <a:lstStyle/>
        <a:p>
          <a:endParaRPr lang="en-US" sz="1200"/>
        </a:p>
      </dgm:t>
    </dgm:pt>
    <dgm:pt modelId="{84C74B13-FDED-4C29-84D0-D4D2DE9E64CF}">
      <dgm:prSet phldrT="[Text]" custT="1"/>
      <dgm:spPr>
        <a:solidFill>
          <a:srgbClr val="0072C6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оздание технологии своими руками</a:t>
          </a:r>
          <a:endParaRPr lang="en-US" sz="14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83063B8-C87B-42C0-AD2A-BEFE5BFC85BF}" type="parTrans" cxnId="{C2440F9C-A0AD-4031-B38F-08C951385075}">
      <dgm:prSet/>
      <dgm:spPr/>
      <dgm:t>
        <a:bodyPr/>
        <a:lstStyle/>
        <a:p>
          <a:endParaRPr lang="en-US" sz="1200"/>
        </a:p>
      </dgm:t>
    </dgm:pt>
    <dgm:pt modelId="{970BB77E-800D-40C1-BE91-F01993DD077E}" type="sibTrans" cxnId="{C2440F9C-A0AD-4031-B38F-08C951385075}">
      <dgm:prSet/>
      <dgm:spPr/>
      <dgm:t>
        <a:bodyPr/>
        <a:lstStyle/>
        <a:p>
          <a:endParaRPr lang="en-US" sz="1200"/>
        </a:p>
      </dgm:t>
    </dgm:pt>
    <dgm:pt modelId="{860E430A-999D-41ED-9C99-A37153B7C86F}">
      <dgm:prSet phldrT="[Text]" custT="1"/>
      <dgm:spPr>
        <a:solidFill>
          <a:srgbClr val="00B294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вод с помощью жестов, голоса и пера</a:t>
          </a:r>
          <a:endParaRPr lang="en-US" sz="14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94DE5476-3B10-4059-9695-98AE93544111}" type="parTrans" cxnId="{EE14E4A5-CD7B-4418-8B4E-6369B8BDE440}">
      <dgm:prSet/>
      <dgm:spPr/>
      <dgm:t>
        <a:bodyPr/>
        <a:lstStyle/>
        <a:p>
          <a:endParaRPr lang="en-US" sz="1200"/>
        </a:p>
      </dgm:t>
    </dgm:pt>
    <dgm:pt modelId="{C682E93C-25E9-4071-A5C7-15F2DB908A81}" type="sibTrans" cxnId="{EE14E4A5-CD7B-4418-8B4E-6369B8BDE440}">
      <dgm:prSet/>
      <dgm:spPr/>
      <dgm:t>
        <a:bodyPr/>
        <a:lstStyle/>
        <a:p>
          <a:endParaRPr lang="en-US" sz="1200"/>
        </a:p>
      </dgm:t>
    </dgm:pt>
    <dgm:pt modelId="{B3D35767-2178-4F99-B5E8-9CABFC97A914}">
      <dgm:prSet phldrT="[Text]" custT="1"/>
      <dgm:spPr>
        <a:solidFill>
          <a:srgbClr val="008272"/>
        </a:solidFill>
        <a:ln>
          <a:noFill/>
        </a:ln>
        <a:effectLst>
          <a:outerShdw blurRad="190500" dist="228600" dir="270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gm:spPr>
      <dgm:t>
        <a:bodyPr/>
        <a:lstStyle/>
        <a:p>
          <a:r>
            <a:rPr lang="ru-RU" sz="11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Предиктивная</a:t>
          </a:r>
          <a:r>
            <a:rPr lang="ru-RU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аналитика</a:t>
          </a:r>
          <a:endParaRPr lang="en-US" sz="14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B42BEF8-080C-4DF1-B3A7-C3089453E121}" type="parTrans" cxnId="{F43064AB-4993-425A-8E93-AEF2867714C3}">
      <dgm:prSet/>
      <dgm:spPr/>
      <dgm:t>
        <a:bodyPr/>
        <a:lstStyle/>
        <a:p>
          <a:endParaRPr lang="en-US" sz="1200"/>
        </a:p>
      </dgm:t>
    </dgm:pt>
    <dgm:pt modelId="{584E7B1E-651B-468C-9DE4-F7EEC6AD3FBF}" type="sibTrans" cxnId="{F43064AB-4993-425A-8E93-AEF2867714C3}">
      <dgm:prSet/>
      <dgm:spPr/>
      <dgm:t>
        <a:bodyPr/>
        <a:lstStyle/>
        <a:p>
          <a:endParaRPr lang="en-US" sz="1200"/>
        </a:p>
      </dgm:t>
    </dgm:pt>
    <dgm:pt modelId="{025ABED3-B295-42FB-8D91-F08821679376}" type="pres">
      <dgm:prSet presAssocID="{34ED9BA7-9DAF-4B99-9387-5FAB8CF7F10B}" presName="composite" presStyleCnt="0">
        <dgm:presLayoutVars>
          <dgm:chMax val="1"/>
          <dgm:dir/>
          <dgm:resizeHandles val="exact"/>
        </dgm:presLayoutVars>
      </dgm:prSet>
      <dgm:spPr/>
    </dgm:pt>
    <dgm:pt modelId="{51C5C95B-C384-4044-84C3-7147BF7EDDF5}" type="pres">
      <dgm:prSet presAssocID="{34ED9BA7-9DAF-4B99-9387-5FAB8CF7F10B}" presName="radial" presStyleCnt="0">
        <dgm:presLayoutVars>
          <dgm:animLvl val="ctr"/>
        </dgm:presLayoutVars>
      </dgm:prSet>
      <dgm:spPr/>
    </dgm:pt>
    <dgm:pt modelId="{AB011801-D2F0-4F38-BC6F-F7AD12D69693}" type="pres">
      <dgm:prSet presAssocID="{C6A9DECE-E2FA-42CC-A4C0-8B75FE1DF2C4}" presName="centerShape" presStyleLbl="vennNode1" presStyleIdx="0" presStyleCnt="14"/>
      <dgm:spPr/>
    </dgm:pt>
    <dgm:pt modelId="{F741098C-EE50-44C9-A48A-4B8B11381B9C}" type="pres">
      <dgm:prSet presAssocID="{B51DF8E4-EA38-4ABE-8E9E-688F890B74BA}" presName="node" presStyleLbl="vennNode1" presStyleIdx="1" presStyleCnt="14" custScaleX="101280">
        <dgm:presLayoutVars>
          <dgm:bulletEnabled val="1"/>
        </dgm:presLayoutVars>
      </dgm:prSet>
      <dgm:spPr/>
    </dgm:pt>
    <dgm:pt modelId="{03B69595-3DB1-40CE-ACFA-552637FA5799}" type="pres">
      <dgm:prSet presAssocID="{0AC3D786-72F0-4472-ABF6-45E9D74B5D38}" presName="node" presStyleLbl="vennNode1" presStyleIdx="2" presStyleCnt="14" custScaleX="101280">
        <dgm:presLayoutVars>
          <dgm:bulletEnabled val="1"/>
        </dgm:presLayoutVars>
      </dgm:prSet>
      <dgm:spPr/>
    </dgm:pt>
    <dgm:pt modelId="{822F6693-C54C-482A-BF2D-C9F99C55D97C}" type="pres">
      <dgm:prSet presAssocID="{7B762696-3F01-42F1-91A0-9C088ED2726A}" presName="node" presStyleLbl="vennNode1" presStyleIdx="3" presStyleCnt="14" custScaleX="101280">
        <dgm:presLayoutVars>
          <dgm:bulletEnabled val="1"/>
        </dgm:presLayoutVars>
      </dgm:prSet>
      <dgm:spPr/>
    </dgm:pt>
    <dgm:pt modelId="{366D9447-58CB-464A-8D41-647B1CE95589}" type="pres">
      <dgm:prSet presAssocID="{9BD301C2-7798-4592-ABF7-42E042A8673F}" presName="node" presStyleLbl="vennNode1" presStyleIdx="4" presStyleCnt="14" custScaleX="101280">
        <dgm:presLayoutVars>
          <dgm:bulletEnabled val="1"/>
        </dgm:presLayoutVars>
      </dgm:prSet>
      <dgm:spPr/>
    </dgm:pt>
    <dgm:pt modelId="{500E8D2B-5B12-4D39-BE02-AE415F1B51FE}" type="pres">
      <dgm:prSet presAssocID="{AD0ACB41-A801-4E73-B397-AF916A024D58}" presName="node" presStyleLbl="vennNode1" presStyleIdx="5" presStyleCnt="14" custScaleX="101280">
        <dgm:presLayoutVars>
          <dgm:bulletEnabled val="1"/>
        </dgm:presLayoutVars>
      </dgm:prSet>
      <dgm:spPr/>
    </dgm:pt>
    <dgm:pt modelId="{AF733046-60F1-482D-9E79-E3F40275F0CF}" type="pres">
      <dgm:prSet presAssocID="{84A313D5-0854-45C6-94CF-3575A0C27B8D}" presName="node" presStyleLbl="vennNode1" presStyleIdx="6" presStyleCnt="14" custScaleX="101280">
        <dgm:presLayoutVars>
          <dgm:bulletEnabled val="1"/>
        </dgm:presLayoutVars>
      </dgm:prSet>
      <dgm:spPr/>
    </dgm:pt>
    <dgm:pt modelId="{16AF99C7-2BF4-4582-A638-BB7200F12398}" type="pres">
      <dgm:prSet presAssocID="{259671E7-3480-4231-8451-34516314319C}" presName="node" presStyleLbl="vennNode1" presStyleIdx="7" presStyleCnt="14" custScaleX="101280">
        <dgm:presLayoutVars>
          <dgm:bulletEnabled val="1"/>
        </dgm:presLayoutVars>
      </dgm:prSet>
      <dgm:spPr/>
    </dgm:pt>
    <dgm:pt modelId="{8831C447-3C93-4215-9979-95AC1C61BE0D}" type="pres">
      <dgm:prSet presAssocID="{BB7093D5-F31A-4C4D-9638-629272A1DEC2}" presName="node" presStyleLbl="vennNode1" presStyleIdx="8" presStyleCnt="14" custScaleX="101280">
        <dgm:presLayoutVars>
          <dgm:bulletEnabled val="1"/>
        </dgm:presLayoutVars>
      </dgm:prSet>
      <dgm:spPr/>
    </dgm:pt>
    <dgm:pt modelId="{F584FE20-EB06-42D9-BC51-636B19352537}" type="pres">
      <dgm:prSet presAssocID="{C53F3769-451A-48EC-B052-8920698C4133}" presName="node" presStyleLbl="vennNode1" presStyleIdx="9" presStyleCnt="14" custScaleX="101280">
        <dgm:presLayoutVars>
          <dgm:bulletEnabled val="1"/>
        </dgm:presLayoutVars>
      </dgm:prSet>
      <dgm:spPr/>
    </dgm:pt>
    <dgm:pt modelId="{DA584BFB-8D2C-4690-94D6-C115B8FC8846}" type="pres">
      <dgm:prSet presAssocID="{AA53BBAE-9375-4AF3-B8F4-7E2090D11844}" presName="node" presStyleLbl="vennNode1" presStyleIdx="10" presStyleCnt="14" custScaleX="101280">
        <dgm:presLayoutVars>
          <dgm:bulletEnabled val="1"/>
        </dgm:presLayoutVars>
      </dgm:prSet>
      <dgm:spPr/>
    </dgm:pt>
    <dgm:pt modelId="{844585DF-62AF-41C2-92DC-2115A9904179}" type="pres">
      <dgm:prSet presAssocID="{84C74B13-FDED-4C29-84D0-D4D2DE9E64CF}" presName="node" presStyleLbl="vennNode1" presStyleIdx="11" presStyleCnt="14" custScaleX="101280">
        <dgm:presLayoutVars>
          <dgm:bulletEnabled val="1"/>
        </dgm:presLayoutVars>
      </dgm:prSet>
      <dgm:spPr/>
    </dgm:pt>
    <dgm:pt modelId="{DE9D2773-CB26-4420-B250-FD62B1563423}" type="pres">
      <dgm:prSet presAssocID="{860E430A-999D-41ED-9C99-A37153B7C86F}" presName="node" presStyleLbl="vennNode1" presStyleIdx="12" presStyleCnt="14" custScaleX="101280">
        <dgm:presLayoutVars>
          <dgm:bulletEnabled val="1"/>
        </dgm:presLayoutVars>
      </dgm:prSet>
      <dgm:spPr/>
    </dgm:pt>
    <dgm:pt modelId="{882C0193-9E23-4A0C-8D69-F9EE14327807}" type="pres">
      <dgm:prSet presAssocID="{B3D35767-2178-4F99-B5E8-9CABFC97A914}" presName="node" presStyleLbl="vennNode1" presStyleIdx="13" presStyleCnt="14" custScaleX="101280">
        <dgm:presLayoutVars>
          <dgm:bulletEnabled val="1"/>
        </dgm:presLayoutVars>
      </dgm:prSet>
      <dgm:spPr/>
    </dgm:pt>
  </dgm:ptLst>
  <dgm:cxnLst>
    <dgm:cxn modelId="{5250A30D-8F48-4547-BD9A-95CEDBA4AE56}" srcId="{C6A9DECE-E2FA-42CC-A4C0-8B75FE1DF2C4}" destId="{9BD301C2-7798-4592-ABF7-42E042A8673F}" srcOrd="3" destOrd="0" parTransId="{A85CFA1A-7111-4EFA-A62A-98D9500C9E84}" sibTransId="{41DAF9A1-2380-4CC4-8B26-96D58EDAA07F}"/>
    <dgm:cxn modelId="{61294B0E-C0F7-474D-91A2-5CD0C3B5C9EA}" srcId="{C6A9DECE-E2FA-42CC-A4C0-8B75FE1DF2C4}" destId="{84A313D5-0854-45C6-94CF-3575A0C27B8D}" srcOrd="5" destOrd="0" parTransId="{E86D8917-F12E-418F-9C04-33F18BBBD3C5}" sibTransId="{74A2C8B9-2D7B-4927-8F71-82FC5AC86570}"/>
    <dgm:cxn modelId="{5A039A14-3759-4790-B5E2-2DC35FBE4021}" srcId="{C6A9DECE-E2FA-42CC-A4C0-8B75FE1DF2C4}" destId="{0AC3D786-72F0-4472-ABF6-45E9D74B5D38}" srcOrd="1" destOrd="0" parTransId="{01AD80EA-5B94-4413-8272-225EAB18E7E2}" sibTransId="{E031EAE3-C2EB-41FF-A6C0-9C98343BA948}"/>
    <dgm:cxn modelId="{75104D1C-E51D-40A7-9483-F039F0F62A0F}" srcId="{C6A9DECE-E2FA-42CC-A4C0-8B75FE1DF2C4}" destId="{259671E7-3480-4231-8451-34516314319C}" srcOrd="6" destOrd="0" parTransId="{2925C66C-268A-4468-B90F-78463BB01AB8}" sibTransId="{502689BC-A470-4038-BC89-BB22CE308FEC}"/>
    <dgm:cxn modelId="{52347B24-4A7A-44E7-9CE0-569EAFE6068D}" type="presOf" srcId="{84C74B13-FDED-4C29-84D0-D4D2DE9E64CF}" destId="{844585DF-62AF-41C2-92DC-2115A9904179}" srcOrd="0" destOrd="0" presId="urn:microsoft.com/office/officeart/2005/8/layout/radial3"/>
    <dgm:cxn modelId="{EA139D25-5D0B-4D8B-A33B-E6C78217C419}" srcId="{C6A9DECE-E2FA-42CC-A4C0-8B75FE1DF2C4}" destId="{C53F3769-451A-48EC-B052-8920698C4133}" srcOrd="8" destOrd="0" parTransId="{A063BB2E-3B74-4AEA-9EC8-09D985772E7E}" sibTransId="{45B7E975-0A66-4B8C-93D9-DF87E80CAF3B}"/>
    <dgm:cxn modelId="{32FC3435-F367-464D-8872-C6579A2524CE}" type="presOf" srcId="{84A313D5-0854-45C6-94CF-3575A0C27B8D}" destId="{AF733046-60F1-482D-9E79-E3F40275F0CF}" srcOrd="0" destOrd="0" presId="urn:microsoft.com/office/officeart/2005/8/layout/radial3"/>
    <dgm:cxn modelId="{7A214F3B-2C1C-48EE-9B47-41A7909EEB32}" srcId="{C6A9DECE-E2FA-42CC-A4C0-8B75FE1DF2C4}" destId="{B51DF8E4-EA38-4ABE-8E9E-688F890B74BA}" srcOrd="0" destOrd="0" parTransId="{07E94740-8D63-4794-9387-9B2F7BEC183B}" sibTransId="{196F5C68-42FE-4235-9A01-29F47E4C594A}"/>
    <dgm:cxn modelId="{54379F41-F60D-4F19-B481-211F3F0889B8}" type="presOf" srcId="{C53F3769-451A-48EC-B052-8920698C4133}" destId="{F584FE20-EB06-42D9-BC51-636B19352537}" srcOrd="0" destOrd="0" presId="urn:microsoft.com/office/officeart/2005/8/layout/radial3"/>
    <dgm:cxn modelId="{EF3F2362-BA07-4A52-B2A6-87C1096524CC}" srcId="{C6A9DECE-E2FA-42CC-A4C0-8B75FE1DF2C4}" destId="{BB7093D5-F31A-4C4D-9638-629272A1DEC2}" srcOrd="7" destOrd="0" parTransId="{0324E227-97AD-4C07-8DA7-8AEA5B67266E}" sibTransId="{1F639DE6-868A-4556-B7E7-6013653FD2D5}"/>
    <dgm:cxn modelId="{55C9F548-9EF7-4E64-8127-AC6A187380B7}" type="presOf" srcId="{860E430A-999D-41ED-9C99-A37153B7C86F}" destId="{DE9D2773-CB26-4420-B250-FD62B1563423}" srcOrd="0" destOrd="0" presId="urn:microsoft.com/office/officeart/2005/8/layout/radial3"/>
    <dgm:cxn modelId="{E7D2EE4B-628F-4603-9DC2-F44A5A6D9B0D}" type="presOf" srcId="{B3D35767-2178-4F99-B5E8-9CABFC97A914}" destId="{882C0193-9E23-4A0C-8D69-F9EE14327807}" srcOrd="0" destOrd="0" presId="urn:microsoft.com/office/officeart/2005/8/layout/radial3"/>
    <dgm:cxn modelId="{1D58016D-C0EE-4C09-8D31-BA7B308B89C4}" type="presOf" srcId="{AA53BBAE-9375-4AF3-B8F4-7E2090D11844}" destId="{DA584BFB-8D2C-4690-94D6-C115B8FC8846}" srcOrd="0" destOrd="0" presId="urn:microsoft.com/office/officeart/2005/8/layout/radial3"/>
    <dgm:cxn modelId="{B47FDD74-015E-4089-8270-4E7BF72CA116}" srcId="{C6A9DECE-E2FA-42CC-A4C0-8B75FE1DF2C4}" destId="{7B762696-3F01-42F1-91A0-9C088ED2726A}" srcOrd="2" destOrd="0" parTransId="{410ACCAC-50B2-49AF-B468-E40E78A779D0}" sibTransId="{5B7376A1-F13E-42DB-882A-D6ECE665A523}"/>
    <dgm:cxn modelId="{D26C3576-C6A9-4966-9912-EF2FCD759911}" type="presOf" srcId="{7B762696-3F01-42F1-91A0-9C088ED2726A}" destId="{822F6693-C54C-482A-BF2D-C9F99C55D97C}" srcOrd="0" destOrd="0" presId="urn:microsoft.com/office/officeart/2005/8/layout/radial3"/>
    <dgm:cxn modelId="{BF8C8087-AC5D-488B-A826-BF3530C3C3AE}" type="presOf" srcId="{9BD301C2-7798-4592-ABF7-42E042A8673F}" destId="{366D9447-58CB-464A-8D41-647B1CE95589}" srcOrd="0" destOrd="0" presId="urn:microsoft.com/office/officeart/2005/8/layout/radial3"/>
    <dgm:cxn modelId="{74B5EA89-26A8-4212-AF4B-550A80A28B11}" type="presOf" srcId="{0AC3D786-72F0-4472-ABF6-45E9D74B5D38}" destId="{03B69595-3DB1-40CE-ACFA-552637FA5799}" srcOrd="0" destOrd="0" presId="urn:microsoft.com/office/officeart/2005/8/layout/radial3"/>
    <dgm:cxn modelId="{BD6AE490-9BF4-4DD9-B3C7-FCE40D278C25}" srcId="{34ED9BA7-9DAF-4B99-9387-5FAB8CF7F10B}" destId="{C6A9DECE-E2FA-42CC-A4C0-8B75FE1DF2C4}" srcOrd="0" destOrd="0" parTransId="{C52C2117-3CDF-4CDC-8BBD-294EC1635CED}" sibTransId="{85DEBD39-A5AE-4559-BF86-A7CDF38EBA80}"/>
    <dgm:cxn modelId="{9A5DCA98-72E8-4C05-A859-3BA94603D73D}" srcId="{C6A9DECE-E2FA-42CC-A4C0-8B75FE1DF2C4}" destId="{AA53BBAE-9375-4AF3-B8F4-7E2090D11844}" srcOrd="9" destOrd="0" parTransId="{442F90FF-3862-4F04-99CF-9791BC3F4E4C}" sibTransId="{81B0AEFA-45D4-440B-BB66-D8496804AE2C}"/>
    <dgm:cxn modelId="{C2440F9C-A0AD-4031-B38F-08C951385075}" srcId="{C6A9DECE-E2FA-42CC-A4C0-8B75FE1DF2C4}" destId="{84C74B13-FDED-4C29-84D0-D4D2DE9E64CF}" srcOrd="10" destOrd="0" parTransId="{683063B8-C87B-42C0-AD2A-BEFE5BFC85BF}" sibTransId="{970BB77E-800D-40C1-BE91-F01993DD077E}"/>
    <dgm:cxn modelId="{EE14E4A5-CD7B-4418-8B4E-6369B8BDE440}" srcId="{C6A9DECE-E2FA-42CC-A4C0-8B75FE1DF2C4}" destId="{860E430A-999D-41ED-9C99-A37153B7C86F}" srcOrd="11" destOrd="0" parTransId="{94DE5476-3B10-4059-9695-98AE93544111}" sibTransId="{C682E93C-25E9-4071-A5C7-15F2DB908A81}"/>
    <dgm:cxn modelId="{FA5EB1A6-DEF5-4AE0-9236-818FA923D8E2}" type="presOf" srcId="{AD0ACB41-A801-4E73-B397-AF916A024D58}" destId="{500E8D2B-5B12-4D39-BE02-AE415F1B51FE}" srcOrd="0" destOrd="0" presId="urn:microsoft.com/office/officeart/2005/8/layout/radial3"/>
    <dgm:cxn modelId="{F43064AB-4993-425A-8E93-AEF2867714C3}" srcId="{C6A9DECE-E2FA-42CC-A4C0-8B75FE1DF2C4}" destId="{B3D35767-2178-4F99-B5E8-9CABFC97A914}" srcOrd="12" destOrd="0" parTransId="{AB42BEF8-080C-4DF1-B3A7-C3089453E121}" sibTransId="{584E7B1E-651B-468C-9DE4-F7EEC6AD3FBF}"/>
    <dgm:cxn modelId="{2BAB42AF-A5B2-4FD7-952D-4DBEBB3DD39F}" srcId="{C6A9DECE-E2FA-42CC-A4C0-8B75FE1DF2C4}" destId="{AD0ACB41-A801-4E73-B397-AF916A024D58}" srcOrd="4" destOrd="0" parTransId="{7008BFDC-8D1F-403C-87BD-71C1F5660329}" sibTransId="{8BACBB51-B32A-4D67-BD2D-49CD9B628B77}"/>
    <dgm:cxn modelId="{68CBCAB9-2F66-42E5-A591-98EF38DE9102}" type="presOf" srcId="{34ED9BA7-9DAF-4B99-9387-5FAB8CF7F10B}" destId="{025ABED3-B295-42FB-8D91-F08821679376}" srcOrd="0" destOrd="0" presId="urn:microsoft.com/office/officeart/2005/8/layout/radial3"/>
    <dgm:cxn modelId="{E56B6CBB-1D47-4317-BFED-52B4AE4F4925}" type="presOf" srcId="{C6A9DECE-E2FA-42CC-A4C0-8B75FE1DF2C4}" destId="{AB011801-D2F0-4F38-BC6F-F7AD12D69693}" srcOrd="0" destOrd="0" presId="urn:microsoft.com/office/officeart/2005/8/layout/radial3"/>
    <dgm:cxn modelId="{5A03F7DD-EACE-454B-B0CA-B6555311DA4E}" type="presOf" srcId="{B51DF8E4-EA38-4ABE-8E9E-688F890B74BA}" destId="{F741098C-EE50-44C9-A48A-4B8B11381B9C}" srcOrd="0" destOrd="0" presId="urn:microsoft.com/office/officeart/2005/8/layout/radial3"/>
    <dgm:cxn modelId="{D7CA6EE3-528D-4EB7-B171-25087D5FC945}" type="presOf" srcId="{BB7093D5-F31A-4C4D-9638-629272A1DEC2}" destId="{8831C447-3C93-4215-9979-95AC1C61BE0D}" srcOrd="0" destOrd="0" presId="urn:microsoft.com/office/officeart/2005/8/layout/radial3"/>
    <dgm:cxn modelId="{E470FFF9-BFE9-4003-A055-8BE60B2B8074}" type="presOf" srcId="{259671E7-3480-4231-8451-34516314319C}" destId="{16AF99C7-2BF4-4582-A638-BB7200F12398}" srcOrd="0" destOrd="0" presId="urn:microsoft.com/office/officeart/2005/8/layout/radial3"/>
    <dgm:cxn modelId="{09810DEF-9746-487B-801A-762FCA98F452}" type="presParOf" srcId="{025ABED3-B295-42FB-8D91-F08821679376}" destId="{51C5C95B-C384-4044-84C3-7147BF7EDDF5}" srcOrd="0" destOrd="0" presId="urn:microsoft.com/office/officeart/2005/8/layout/radial3"/>
    <dgm:cxn modelId="{D9CA888D-21B5-4C87-A530-AD603FFE8201}" type="presParOf" srcId="{51C5C95B-C384-4044-84C3-7147BF7EDDF5}" destId="{AB011801-D2F0-4F38-BC6F-F7AD12D69693}" srcOrd="0" destOrd="0" presId="urn:microsoft.com/office/officeart/2005/8/layout/radial3"/>
    <dgm:cxn modelId="{400E816E-BF72-4A0B-B445-77DB7A79BEA9}" type="presParOf" srcId="{51C5C95B-C384-4044-84C3-7147BF7EDDF5}" destId="{F741098C-EE50-44C9-A48A-4B8B11381B9C}" srcOrd="1" destOrd="0" presId="urn:microsoft.com/office/officeart/2005/8/layout/radial3"/>
    <dgm:cxn modelId="{484BCF3D-9BF8-418B-9099-A2CCEA498FF0}" type="presParOf" srcId="{51C5C95B-C384-4044-84C3-7147BF7EDDF5}" destId="{03B69595-3DB1-40CE-ACFA-552637FA5799}" srcOrd="2" destOrd="0" presId="urn:microsoft.com/office/officeart/2005/8/layout/radial3"/>
    <dgm:cxn modelId="{C38E87F5-60EB-41C0-AA42-FA82E1896245}" type="presParOf" srcId="{51C5C95B-C384-4044-84C3-7147BF7EDDF5}" destId="{822F6693-C54C-482A-BF2D-C9F99C55D97C}" srcOrd="3" destOrd="0" presId="urn:microsoft.com/office/officeart/2005/8/layout/radial3"/>
    <dgm:cxn modelId="{2CF3498B-AE5E-442E-B21A-B2896B805C20}" type="presParOf" srcId="{51C5C95B-C384-4044-84C3-7147BF7EDDF5}" destId="{366D9447-58CB-464A-8D41-647B1CE95589}" srcOrd="4" destOrd="0" presId="urn:microsoft.com/office/officeart/2005/8/layout/radial3"/>
    <dgm:cxn modelId="{A54DB1F2-F46B-4245-B0E7-B41D1819EDED}" type="presParOf" srcId="{51C5C95B-C384-4044-84C3-7147BF7EDDF5}" destId="{500E8D2B-5B12-4D39-BE02-AE415F1B51FE}" srcOrd="5" destOrd="0" presId="urn:microsoft.com/office/officeart/2005/8/layout/radial3"/>
    <dgm:cxn modelId="{8F2DA866-BD6B-4694-9E35-3AFF8B48C7D8}" type="presParOf" srcId="{51C5C95B-C384-4044-84C3-7147BF7EDDF5}" destId="{AF733046-60F1-482D-9E79-E3F40275F0CF}" srcOrd="6" destOrd="0" presId="urn:microsoft.com/office/officeart/2005/8/layout/radial3"/>
    <dgm:cxn modelId="{5B6CA918-877A-4081-8291-4B9969E7F95D}" type="presParOf" srcId="{51C5C95B-C384-4044-84C3-7147BF7EDDF5}" destId="{16AF99C7-2BF4-4582-A638-BB7200F12398}" srcOrd="7" destOrd="0" presId="urn:microsoft.com/office/officeart/2005/8/layout/radial3"/>
    <dgm:cxn modelId="{EAFF99CC-2CBC-485E-B1C6-FC522C6CF4FB}" type="presParOf" srcId="{51C5C95B-C384-4044-84C3-7147BF7EDDF5}" destId="{8831C447-3C93-4215-9979-95AC1C61BE0D}" srcOrd="8" destOrd="0" presId="urn:microsoft.com/office/officeart/2005/8/layout/radial3"/>
    <dgm:cxn modelId="{1382E8D2-B572-4A6A-83E2-ECC6A02028D4}" type="presParOf" srcId="{51C5C95B-C384-4044-84C3-7147BF7EDDF5}" destId="{F584FE20-EB06-42D9-BC51-636B19352537}" srcOrd="9" destOrd="0" presId="urn:microsoft.com/office/officeart/2005/8/layout/radial3"/>
    <dgm:cxn modelId="{821A0092-3F48-4B6C-9C0E-8FFF828AF7F8}" type="presParOf" srcId="{51C5C95B-C384-4044-84C3-7147BF7EDDF5}" destId="{DA584BFB-8D2C-4690-94D6-C115B8FC8846}" srcOrd="10" destOrd="0" presId="urn:microsoft.com/office/officeart/2005/8/layout/radial3"/>
    <dgm:cxn modelId="{6BF9EAA3-52A5-44C1-B98B-43149C084C53}" type="presParOf" srcId="{51C5C95B-C384-4044-84C3-7147BF7EDDF5}" destId="{844585DF-62AF-41C2-92DC-2115A9904179}" srcOrd="11" destOrd="0" presId="urn:microsoft.com/office/officeart/2005/8/layout/radial3"/>
    <dgm:cxn modelId="{2A0E64CE-4BC3-4B84-AE73-9A43CFDC46B1}" type="presParOf" srcId="{51C5C95B-C384-4044-84C3-7147BF7EDDF5}" destId="{DE9D2773-CB26-4420-B250-FD62B1563423}" srcOrd="12" destOrd="0" presId="urn:microsoft.com/office/officeart/2005/8/layout/radial3"/>
    <dgm:cxn modelId="{C4AC6AD6-D256-4936-89BA-6ACC5EE91AC3}" type="presParOf" srcId="{51C5C95B-C384-4044-84C3-7147BF7EDDF5}" destId="{882C0193-9E23-4A0C-8D69-F9EE14327807}" srcOrd="13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011801-D2F0-4F38-BC6F-F7AD12D69693}">
      <dsp:nvSpPr>
        <dsp:cNvPr id="0" name=""/>
        <dsp:cNvSpPr/>
      </dsp:nvSpPr>
      <dsp:spPr>
        <a:xfrm>
          <a:off x="4474449" y="1620509"/>
          <a:ext cx="2735894" cy="2735894"/>
        </a:xfrm>
        <a:prstGeom prst="ellipse">
          <a:avLst/>
        </a:prstGeom>
        <a:solidFill>
          <a:srgbClr val="626060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0" kern="1200" dirty="0">
              <a:solidFill>
                <a:schemeClr val="bg1"/>
              </a:solidFill>
            </a:rPr>
            <a:t>ИЗМЕНЕНИЕ</a:t>
          </a:r>
          <a:r>
            <a:rPr lang="ru-RU" sz="2800" b="0" kern="1200" dirty="0">
              <a:solidFill>
                <a:schemeClr val="bg1"/>
              </a:solidFill>
            </a:rPr>
            <a:t> </a:t>
          </a:r>
          <a:r>
            <a:rPr lang="ru-RU" sz="2400" b="0" kern="1200" dirty="0">
              <a:solidFill>
                <a:schemeClr val="bg1"/>
              </a:solidFill>
            </a:rPr>
            <a:t>СУТИ, ФОРМ И МЕТОДОВ ОБУЧЕНИЯ</a:t>
          </a:r>
          <a:endParaRPr lang="en-US" sz="2400" b="0" kern="1200" dirty="0">
            <a:solidFill>
              <a:schemeClr val="bg1"/>
            </a:solidFill>
          </a:endParaRPr>
        </a:p>
      </dsp:txBody>
      <dsp:txXfrm>
        <a:off x="4875111" y="2021171"/>
        <a:ext cx="1934570" cy="1934570"/>
      </dsp:txXfrm>
    </dsp:sp>
    <dsp:sp modelId="{F741098C-EE50-44C9-A48A-4B8B11381B9C}">
      <dsp:nvSpPr>
        <dsp:cNvPr id="0" name=""/>
        <dsp:cNvSpPr/>
      </dsp:nvSpPr>
      <dsp:spPr>
        <a:xfrm>
          <a:off x="5149668" y="17442"/>
          <a:ext cx="1385457" cy="1367947"/>
        </a:xfrm>
        <a:prstGeom prst="ellipse">
          <a:avLst/>
        </a:prstGeom>
        <a:solidFill>
          <a:srgbClr val="FFB900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Новые формы </a:t>
          </a:r>
          <a:r>
            <a:rPr lang="ru-RU" sz="12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ценивания</a:t>
          </a:r>
          <a:endParaRPr lang="en-US" sz="12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5352563" y="217773"/>
        <a:ext cx="979667" cy="967285"/>
      </dsp:txXfrm>
    </dsp:sp>
    <dsp:sp modelId="{03B69595-3DB1-40CE-ACFA-552637FA5799}">
      <dsp:nvSpPr>
        <dsp:cNvPr id="0" name=""/>
        <dsp:cNvSpPr/>
      </dsp:nvSpPr>
      <dsp:spPr>
        <a:xfrm>
          <a:off x="6212509" y="279409"/>
          <a:ext cx="1385457" cy="1367947"/>
        </a:xfrm>
        <a:prstGeom prst="ellipse">
          <a:avLst/>
        </a:prstGeom>
        <a:solidFill>
          <a:srgbClr val="FF8C00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спользо-вание </a:t>
          </a:r>
          <a:r>
            <a:rPr lang="en-US" sz="14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MS</a:t>
          </a:r>
        </a:p>
      </dsp:txBody>
      <dsp:txXfrm>
        <a:off x="6415404" y="479740"/>
        <a:ext cx="979667" cy="967285"/>
      </dsp:txXfrm>
    </dsp:sp>
    <dsp:sp modelId="{822F6693-C54C-482A-BF2D-C9F99C55D97C}">
      <dsp:nvSpPr>
        <dsp:cNvPr id="0" name=""/>
        <dsp:cNvSpPr/>
      </dsp:nvSpPr>
      <dsp:spPr>
        <a:xfrm>
          <a:off x="7031865" y="1005296"/>
          <a:ext cx="1385457" cy="1367947"/>
        </a:xfrm>
        <a:prstGeom prst="ellipse">
          <a:avLst/>
        </a:prstGeom>
        <a:solidFill>
          <a:srgbClr val="DC3C00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амореф-лексия</a:t>
          </a:r>
          <a:endParaRPr lang="en-US" sz="14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7234760" y="1205627"/>
        <a:ext cx="979667" cy="967285"/>
      </dsp:txXfrm>
    </dsp:sp>
    <dsp:sp modelId="{366D9447-58CB-464A-8D41-647B1CE95589}">
      <dsp:nvSpPr>
        <dsp:cNvPr id="0" name=""/>
        <dsp:cNvSpPr/>
      </dsp:nvSpPr>
      <dsp:spPr>
        <a:xfrm>
          <a:off x="7420033" y="2028810"/>
          <a:ext cx="1385457" cy="1367947"/>
        </a:xfrm>
        <a:prstGeom prst="ellipse">
          <a:avLst/>
        </a:prstGeom>
        <a:solidFill>
          <a:srgbClr val="BA141A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истема оценивания</a:t>
          </a:r>
          <a:endParaRPr lang="en-US" sz="13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7622928" y="2229141"/>
        <a:ext cx="979667" cy="967285"/>
      </dsp:txXfrm>
    </dsp:sp>
    <dsp:sp modelId="{500E8D2B-5B12-4D39-BE02-AE415F1B51FE}">
      <dsp:nvSpPr>
        <dsp:cNvPr id="0" name=""/>
        <dsp:cNvSpPr/>
      </dsp:nvSpPr>
      <dsp:spPr>
        <a:xfrm>
          <a:off x="7288088" y="3115478"/>
          <a:ext cx="1385457" cy="1367947"/>
        </a:xfrm>
        <a:prstGeom prst="ellipse">
          <a:avLst/>
        </a:prstGeom>
        <a:solidFill>
          <a:srgbClr val="EC008C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Адаптивные системы</a:t>
          </a:r>
          <a:endParaRPr lang="en-US" sz="12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7490983" y="3315809"/>
        <a:ext cx="979667" cy="967285"/>
      </dsp:txXfrm>
    </dsp:sp>
    <dsp:sp modelId="{AF733046-60F1-482D-9E79-E3F40275F0CF}">
      <dsp:nvSpPr>
        <dsp:cNvPr id="0" name=""/>
        <dsp:cNvSpPr/>
      </dsp:nvSpPr>
      <dsp:spPr>
        <a:xfrm>
          <a:off x="6666256" y="4016357"/>
          <a:ext cx="1385457" cy="1367947"/>
        </a:xfrm>
        <a:prstGeom prst="ellipse">
          <a:avLst/>
        </a:prstGeom>
        <a:solidFill>
          <a:srgbClr val="68217A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спользование</a:t>
          </a:r>
          <a:r>
            <a:rPr lang="ru-RU" sz="12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устройств</a:t>
          </a:r>
          <a:endParaRPr lang="en-US" sz="12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6869151" y="4216688"/>
        <a:ext cx="979667" cy="967285"/>
      </dsp:txXfrm>
    </dsp:sp>
    <dsp:sp modelId="{16AF99C7-2BF4-4582-A638-BB7200F12398}">
      <dsp:nvSpPr>
        <dsp:cNvPr id="0" name=""/>
        <dsp:cNvSpPr/>
      </dsp:nvSpPr>
      <dsp:spPr>
        <a:xfrm>
          <a:off x="5696993" y="4525065"/>
          <a:ext cx="1385457" cy="1367947"/>
        </a:xfrm>
        <a:prstGeom prst="ellipse">
          <a:avLst/>
        </a:prstGeom>
        <a:solidFill>
          <a:srgbClr val="442359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Мотивация</a:t>
          </a:r>
          <a:endParaRPr lang="en-US" sz="14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5899888" y="4725396"/>
        <a:ext cx="979667" cy="967285"/>
      </dsp:txXfrm>
    </dsp:sp>
    <dsp:sp modelId="{8831C447-3C93-4215-9979-95AC1C61BE0D}">
      <dsp:nvSpPr>
        <dsp:cNvPr id="0" name=""/>
        <dsp:cNvSpPr/>
      </dsp:nvSpPr>
      <dsp:spPr>
        <a:xfrm>
          <a:off x="4602343" y="4525065"/>
          <a:ext cx="1385457" cy="1367947"/>
        </a:xfrm>
        <a:prstGeom prst="ellipse">
          <a:avLst/>
        </a:prstGeom>
        <a:solidFill>
          <a:srgbClr val="4668C5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Аналитика соцсетей</a:t>
          </a:r>
          <a:endParaRPr lang="en-US" sz="14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805238" y="4725396"/>
        <a:ext cx="979667" cy="967285"/>
      </dsp:txXfrm>
    </dsp:sp>
    <dsp:sp modelId="{F584FE20-EB06-42D9-BC51-636B19352537}">
      <dsp:nvSpPr>
        <dsp:cNvPr id="0" name=""/>
        <dsp:cNvSpPr/>
      </dsp:nvSpPr>
      <dsp:spPr>
        <a:xfrm>
          <a:off x="3633080" y="4016357"/>
          <a:ext cx="1385457" cy="1367947"/>
        </a:xfrm>
        <a:prstGeom prst="ellipse">
          <a:avLst/>
        </a:prstGeom>
        <a:solidFill>
          <a:srgbClr val="002050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Бейджи</a:t>
          </a:r>
          <a:endParaRPr lang="en-US" sz="14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835975" y="4216688"/>
        <a:ext cx="979667" cy="967285"/>
      </dsp:txXfrm>
    </dsp:sp>
    <dsp:sp modelId="{DA584BFB-8D2C-4690-94D6-C115B8FC8846}">
      <dsp:nvSpPr>
        <dsp:cNvPr id="0" name=""/>
        <dsp:cNvSpPr/>
      </dsp:nvSpPr>
      <dsp:spPr>
        <a:xfrm>
          <a:off x="3011248" y="3115478"/>
          <a:ext cx="1385457" cy="1367947"/>
        </a:xfrm>
        <a:prstGeom prst="ellipse">
          <a:avLst/>
        </a:prstGeom>
        <a:solidFill>
          <a:srgbClr val="00BCF2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гры</a:t>
          </a:r>
          <a:endParaRPr lang="en-US" sz="14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214143" y="3315809"/>
        <a:ext cx="979667" cy="967285"/>
      </dsp:txXfrm>
    </dsp:sp>
    <dsp:sp modelId="{844585DF-62AF-41C2-92DC-2115A9904179}">
      <dsp:nvSpPr>
        <dsp:cNvPr id="0" name=""/>
        <dsp:cNvSpPr/>
      </dsp:nvSpPr>
      <dsp:spPr>
        <a:xfrm>
          <a:off x="2879303" y="2028810"/>
          <a:ext cx="1385457" cy="1367947"/>
        </a:xfrm>
        <a:prstGeom prst="ellipse">
          <a:avLst/>
        </a:prstGeom>
        <a:solidFill>
          <a:srgbClr val="0072C6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Создание технологии своими руками</a:t>
          </a:r>
          <a:endParaRPr lang="en-US" sz="14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082198" y="2229141"/>
        <a:ext cx="979667" cy="967285"/>
      </dsp:txXfrm>
    </dsp:sp>
    <dsp:sp modelId="{DE9D2773-CB26-4420-B250-FD62B1563423}">
      <dsp:nvSpPr>
        <dsp:cNvPr id="0" name=""/>
        <dsp:cNvSpPr/>
      </dsp:nvSpPr>
      <dsp:spPr>
        <a:xfrm>
          <a:off x="3267471" y="1005296"/>
          <a:ext cx="1385457" cy="1367947"/>
        </a:xfrm>
        <a:prstGeom prst="ellipse">
          <a:avLst/>
        </a:prstGeom>
        <a:solidFill>
          <a:srgbClr val="00B294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вод с помощью жестов, голоса и пера</a:t>
          </a:r>
          <a:endParaRPr lang="en-US" sz="14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470366" y="1205627"/>
        <a:ext cx="979667" cy="967285"/>
      </dsp:txXfrm>
    </dsp:sp>
    <dsp:sp modelId="{882C0193-9E23-4A0C-8D69-F9EE14327807}">
      <dsp:nvSpPr>
        <dsp:cNvPr id="0" name=""/>
        <dsp:cNvSpPr/>
      </dsp:nvSpPr>
      <dsp:spPr>
        <a:xfrm>
          <a:off x="4086827" y="279409"/>
          <a:ext cx="1385457" cy="1367947"/>
        </a:xfrm>
        <a:prstGeom prst="ellipse">
          <a:avLst/>
        </a:prstGeom>
        <a:solidFill>
          <a:srgbClr val="008272"/>
        </a:solidFill>
        <a:ln w="12700" cap="flat" cmpd="sng" algn="ctr">
          <a:noFill/>
          <a:prstDash val="solid"/>
          <a:miter lim="800000"/>
        </a:ln>
        <a:effectLst>
          <a:outerShdw blurRad="190500" dist="228600" dir="270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4800000"/>
          </a:lightRig>
        </a:scene3d>
        <a:sp3d prstMaterial="matte">
          <a:bevelT w="127000" h="63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Предиктивная</a:t>
          </a:r>
          <a:r>
            <a:rPr lang="ru-RU" sz="14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аналитика</a:t>
          </a:r>
          <a:endParaRPr lang="en-US" sz="1400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289722" y="479740"/>
        <a:ext cx="979667" cy="9672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Segoe UI Normal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Segoe UI Normal" charset="0"/>
              </a:defRPr>
            </a:lvl1pPr>
          </a:lstStyle>
          <a:p>
            <a:fld id="{91AC5EB2-7E5D-490F-ABBC-8FD2CFC8A39F}" type="datetimeFigureOut">
              <a:rPr lang="en-US" smtClean="0"/>
              <a:pPr/>
              <a:t>6/26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Segoe UI Normal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Segoe UI Normal" charset="0"/>
              </a:defRPr>
            </a:lvl1pPr>
          </a:lstStyle>
          <a:p>
            <a:fld id="{F3BA2170-11D9-49C1-A1B0-5274E7EA526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7135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Segoe UI Normal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Segoe UI Normal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Segoe UI Normal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Segoe UI Normal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Segoe UI Norm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>
              <a:latin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258F2-B2E5-4175-B339-81AEE5988F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1030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et’s start</a:t>
            </a:r>
            <a:r>
              <a:rPr lang="en-US" baseline="0" dirty="0"/>
              <a:t> with our products…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Windows to help students do great things – we have a wide range of devices to support any learning style and budget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  <a:p>
            <a:r>
              <a:rPr lang="en-US" dirty="0"/>
              <a:t>Office - IDC reviewed more than 76 million job postings, 25,000 job boards and staffing companies’ corporate Web sites — representing about 80 percent of all postings last year — to identify the positions expected to have the highest anticipated growth and wages through 2024.</a:t>
            </a:r>
          </a:p>
          <a:p>
            <a:r>
              <a:rPr lang="en-US" i="1" dirty="0"/>
              <a:t>What they discovered next was interesting.</a:t>
            </a:r>
            <a:r>
              <a:rPr lang="en-US" dirty="0"/>
              <a:t> The top 20 most required skills across all occupations – in addition to proficiency in </a:t>
            </a:r>
            <a:r>
              <a:rPr lang="en-US" b="1" dirty="0"/>
              <a:t>Microsoft Office</a:t>
            </a:r>
            <a:r>
              <a:rPr lang="en-US" dirty="0"/>
              <a:t> (#4) and </a:t>
            </a:r>
            <a:r>
              <a:rPr lang="en-US" b="1" dirty="0"/>
              <a:t>Microsoft PowerPoint</a:t>
            </a:r>
            <a:r>
              <a:rPr lang="en-US" dirty="0"/>
              <a:t> (#16) – included</a:t>
            </a:r>
            <a:r>
              <a:rPr lang="en-US" b="1" dirty="0"/>
              <a:t> oral and written communication skills</a:t>
            </a:r>
            <a:r>
              <a:rPr lang="en-US" dirty="0"/>
              <a:t>, </a:t>
            </a:r>
            <a:r>
              <a:rPr lang="en-US" b="1" dirty="0"/>
              <a:t>detail orientation</a:t>
            </a:r>
            <a:r>
              <a:rPr lang="en-US" dirty="0"/>
              <a:t>, </a:t>
            </a:r>
            <a:r>
              <a:rPr lang="en-US" b="1" dirty="0"/>
              <a:t>marketing skills</a:t>
            </a:r>
            <a:r>
              <a:rPr lang="en-US" dirty="0"/>
              <a:t>, </a:t>
            </a:r>
            <a:r>
              <a:rPr lang="en-US" b="1" dirty="0"/>
              <a:t>integrity</a:t>
            </a:r>
            <a:r>
              <a:rPr lang="en-US" dirty="0"/>
              <a:t> and </a:t>
            </a:r>
            <a:r>
              <a:rPr lang="en-US" b="1" dirty="0"/>
              <a:t>customer-service orientation</a:t>
            </a:r>
            <a:r>
              <a:rPr lang="en-US" dirty="0"/>
              <a:t>. Don’t forget If your institution purchases Office your students have access to free Office on up to five devices through your institutions licensing agreement  </a:t>
            </a:r>
          </a:p>
          <a:p>
            <a:endParaRPr lang="en-US" dirty="0"/>
          </a:p>
          <a:p>
            <a:r>
              <a:rPr lang="en-US" dirty="0"/>
              <a:t>Skype – a great way for students to collaborate and communicate online and across borders with skype translator</a:t>
            </a:r>
          </a:p>
          <a:p>
            <a:endParaRPr lang="en-US" dirty="0"/>
          </a:p>
          <a:p>
            <a:r>
              <a:rPr lang="en-US" dirty="0"/>
              <a:t>Minecraft: Education Edition is an open world game that promotes creativity, collaboration, and problem solving in an immersive environment where the only limit is imagination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A2170-11D9-49C1-A1B0-5274E7EA526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7657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В корпорации Майкрософт мы считаем, что преподаватели являются героями класса, продвигая границы того, что можно преобразовать в учебу. Мы привержены обеспечению того, чтобы преподаватели имели доступ к простым методам использования технологий, обеспечивая при этом платформу для обучения преподавателей, подключаться к другим преподавателям и быть вдохновленными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A2170-11D9-49C1-A1B0-5274E7EA526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112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Мы стараемся помочь вашим учителям по трем основным направлениям</a:t>
            </a:r>
          </a:p>
          <a:p>
            <a:r>
              <a:rPr lang="ru-RU" dirty="0"/>
              <a:t>Прежде всего, чтобы сэкономить время и повысить производительность на основе технологии</a:t>
            </a:r>
          </a:p>
          <a:p>
            <a:r>
              <a:rPr lang="ru-RU" dirty="0"/>
              <a:t>Во-вторых, дать им огромный опыт и новые пути расширения, подключив их к мировой сети учителей и содержанию и совместному использованию передового опыта</a:t>
            </a:r>
          </a:p>
          <a:p>
            <a:r>
              <a:rPr lang="ru-RU" dirty="0"/>
              <a:t>И, наконец, путем предоставления им профессиональной подготовки и профессионального развития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A2170-11D9-49C1-A1B0-5274E7EA526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2053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latin typeface="Segoe UI Normal" charset="0"/>
                <a:ea typeface="+mn-ea"/>
                <a:cs typeface="+mn-cs"/>
              </a:rPr>
              <a:t>With Office 365 you can give your teachers the tools they need to save time and become more productive for free  </a:t>
            </a:r>
            <a:r>
              <a:rPr lang="en-US" sz="1200" b="0" i="0" kern="1200" dirty="0">
                <a:solidFill>
                  <a:srgbClr val="FF0000"/>
                </a:solidFill>
                <a:latin typeface="Segoe UI Normal" charset="0"/>
                <a:ea typeface="+mn-ea"/>
                <a:cs typeface="+mn-cs"/>
              </a:rPr>
              <a:t>(this needs more)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kern="1200" dirty="0">
              <a:solidFill>
                <a:schemeClr val="tx1"/>
              </a:solidFill>
              <a:effectLst/>
              <a:latin typeface="Segoe UI Normal" charset="0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Segoe UI Normal" charset="0"/>
                <a:ea typeface="+mn-ea"/>
                <a:cs typeface="+mn-cs"/>
              </a:rPr>
              <a:t>Link to - https://www.microsoft.com/en-us/education/products/office/default.aspx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A2170-11D9-49C1-A1B0-5274E7EA526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6750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ервая вице-Мисс по персональной категории — Лидия </a:t>
            </a:r>
            <a:r>
              <a:rPr lang="ru-RU" dirty="0" err="1"/>
              <a:t>Голт</a:t>
            </a:r>
            <a:endParaRPr lang="ru-RU" dirty="0"/>
          </a:p>
          <a:p>
            <a:r>
              <a:rPr lang="ru-RU" dirty="0"/>
              <a:t>Вторая финалистка в категории стратегий — Елена </a:t>
            </a:r>
            <a:r>
              <a:rPr lang="ru-RU" dirty="0" err="1"/>
              <a:t>Боровская</a:t>
            </a:r>
            <a:endParaRPr lang="ru-RU" dirty="0"/>
          </a:p>
          <a:p>
            <a:r>
              <a:rPr lang="ru-RU" dirty="0"/>
              <a:t>Общая победитель — Марина Клименко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BA2170-11D9-49C1-A1B0-5274E7EA52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Normal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Norm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34109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В корпорации Майкрософт мы работаем с отраслевыми партнерами, чтобы добиться больших решений для образовательных учреждений, используя аналитику и мощь облака для оптимизации института. Благодаря эффективному осуществлению ИТ-операций для управления успехом учащихся мы представили платформу для того, чтобы школы могли хорошо работать, получить представление о повседневной работе и управлять ими в безопасной и безопасной обстановке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A2170-11D9-49C1-A1B0-5274E7EA526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0979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Учебные преобразования начинаются с изменений в концепции и целеустремленности. Корпорация Майкрософт оказывает поддержку правительствам и руководителям школ в деле разработки этого видения и руководствоваться опробованными и проверенными рамками, согласованными с отраслевыми стандартами, для обеспечения целостного преобразования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A2170-11D9-49C1-A1B0-5274E7EA526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2952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A2170-11D9-49C1-A1B0-5274E7EA526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6873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Segoe UI Normal" charset="0"/>
                <a:ea typeface="+mn-ea"/>
                <a:cs typeface="+mn-cs"/>
              </a:rPr>
              <a:t>Мы привержены делу оказания помощи школам в преобразовании их опыта в области обучения, с тем чтобы учителя, преподаватели и студенты могли сосредоточиться на том, что важнее всего. Цифровое преобразование может быть началом долговременных системных изменений в системе образования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A2170-11D9-49C1-A1B0-5274E7EA526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194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AU" sz="9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900" kern="1200" dirty="0">
              <a:solidFill>
                <a:schemeClr val="tx1"/>
              </a:solidFill>
              <a:effectLst/>
              <a:latin typeface="Segoe UI Light" pitchFamily="34" charset="0"/>
              <a:ea typeface="+mn-ea"/>
              <a:cs typeface="+mn-c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ISM FY16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2798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2AE384-E2D9-4087-B789-9059F1440DBE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26/2017 11:51 P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511943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rPr>
              <a:t>Источник: точки перелома в технологии глубокого сдвига и общественное воздействие | Доклад Всемирного экономического форума (2015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1C6640-875F-4E40-B5B1-4A83C0F51AE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1745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BA2170-11D9-49C1-A1B0-5274E7EA52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Normal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Norm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064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исходят изменения, и это дает возможность школьным системам предложить новый опыт, чтобы привлечь своих учеников, расширить возможности своих преподавателей, оптимизировать свои институты и преобразовать учебу. В этой презентации мы рассмотрим каждую из этих категорий, чтобы сформировать некоторые идеи и продемонстрировать, как корпорация Майкрософт может помочь учебным заведениям и руководителям использовать эти тенденции и возможности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A2170-11D9-49C1-A1B0-5274E7EA526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9565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Зная, что вовлечение учащихся имеет первостепенное значение для преподавателей, мы готовы предоставить опыт обучения в целях улучшения результатов образования. Мы полагаем, что технология, применяемая в новых формах, может повлечь за собой изменение поведения и мотивации, поэтому студенты могут учиться в ходе работы — решать проблемы, практиковаться, проворачиваться и веселиться по пути. На следующих нескольких слайдах мы рассмотрим некоторые идеи о том, как мы думаем, что можем помочь в этой области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A2170-11D9-49C1-A1B0-5274E7EA526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3933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1C6640-875F-4E40-B5B1-4A83C0F51AE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47892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et’s start</a:t>
            </a:r>
            <a:r>
              <a:rPr lang="en-US" baseline="0" dirty="0"/>
              <a:t> with our products…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Windows to help students do great things – we have a wide range of devices to support any learning style and budget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  <a:p>
            <a:r>
              <a:rPr lang="en-US" dirty="0"/>
              <a:t>Office - IDC reviewed more than 76 million job postings, 25,000 job boards and staffing companies’ corporate Web sites — representing about 80 percent of all postings last year — to identify the positions expected to have the highest anticipated growth and wages through 2024.</a:t>
            </a:r>
          </a:p>
          <a:p>
            <a:r>
              <a:rPr lang="en-US" i="1" dirty="0"/>
              <a:t>What they discovered next was interesting.</a:t>
            </a:r>
            <a:r>
              <a:rPr lang="en-US" dirty="0"/>
              <a:t> The top 20 most required skills across all occupations – in addition to proficiency in </a:t>
            </a:r>
            <a:r>
              <a:rPr lang="en-US" b="1" dirty="0"/>
              <a:t>Microsoft Office</a:t>
            </a:r>
            <a:r>
              <a:rPr lang="en-US" dirty="0"/>
              <a:t> (#4) and </a:t>
            </a:r>
            <a:r>
              <a:rPr lang="en-US" b="1" dirty="0"/>
              <a:t>Microsoft PowerPoint</a:t>
            </a:r>
            <a:r>
              <a:rPr lang="en-US" dirty="0"/>
              <a:t> (#16) – included</a:t>
            </a:r>
            <a:r>
              <a:rPr lang="en-US" b="1" dirty="0"/>
              <a:t> oral and written communication skills</a:t>
            </a:r>
            <a:r>
              <a:rPr lang="en-US" dirty="0"/>
              <a:t>, </a:t>
            </a:r>
            <a:r>
              <a:rPr lang="en-US" b="1" dirty="0"/>
              <a:t>detail orientation</a:t>
            </a:r>
            <a:r>
              <a:rPr lang="en-US" dirty="0"/>
              <a:t>, </a:t>
            </a:r>
            <a:r>
              <a:rPr lang="en-US" b="1" dirty="0"/>
              <a:t>marketing skills</a:t>
            </a:r>
            <a:r>
              <a:rPr lang="en-US" dirty="0"/>
              <a:t>, </a:t>
            </a:r>
            <a:r>
              <a:rPr lang="en-US" b="1" dirty="0"/>
              <a:t>integrity</a:t>
            </a:r>
            <a:r>
              <a:rPr lang="en-US" dirty="0"/>
              <a:t> and </a:t>
            </a:r>
            <a:r>
              <a:rPr lang="en-US" b="1" dirty="0"/>
              <a:t>customer-service orientation</a:t>
            </a:r>
            <a:r>
              <a:rPr lang="en-US" dirty="0"/>
              <a:t>. Don’t forget If your institution purchases Office your students have access to free Office on up to five devices through your institutions licensing agreement  </a:t>
            </a:r>
          </a:p>
          <a:p>
            <a:endParaRPr lang="en-US" dirty="0"/>
          </a:p>
          <a:p>
            <a:r>
              <a:rPr lang="en-US" dirty="0"/>
              <a:t>Skype – a great way for students to collaborate and communicate online and across borders with skype translator</a:t>
            </a:r>
          </a:p>
          <a:p>
            <a:endParaRPr lang="en-US" dirty="0"/>
          </a:p>
          <a:p>
            <a:r>
              <a:rPr lang="en-US" dirty="0"/>
              <a:t>Minecraft: Education Edition is an open world game that promotes creativity, collaboration, and problem solving in an immersive environment where the only limit is imagination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BA2170-11D9-49C1-A1B0-5274E7EA52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Normal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Norm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1221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BA2170-11D9-49C1-A1B0-5274E7EA5260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763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724314" y="5544352"/>
            <a:ext cx="6989618" cy="646331"/>
          </a:xfrm>
        </p:spPr>
        <p:txBody>
          <a:bodyPr wrap="square">
            <a:spAutoFit/>
          </a:bodyPr>
          <a:lstStyle>
            <a:lvl1pPr algn="l">
              <a:defRPr sz="4000" baseline="0"/>
            </a:lvl1pPr>
          </a:lstStyle>
          <a:p>
            <a:r>
              <a:rPr lang="en-US" dirty="0"/>
              <a:t>Transforming Education</a:t>
            </a:r>
          </a:p>
        </p:txBody>
      </p:sp>
    </p:spTree>
    <p:extLst>
      <p:ext uri="{BB962C8B-B14F-4D97-AF65-F5344CB8AC3E}">
        <p14:creationId xmlns:p14="http://schemas.microsoft.com/office/powerpoint/2010/main" val="14539427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mber Topic">
    <p:bg>
      <p:bgPr>
        <a:solidFill>
          <a:srgbClr val="A8C50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4457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090557" y="0"/>
            <a:ext cx="61014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6132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478590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606417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592409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40959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724314" y="5544352"/>
            <a:ext cx="6989618" cy="646331"/>
          </a:xfrm>
        </p:spPr>
        <p:txBody>
          <a:bodyPr wrap="square">
            <a:spAutoFit/>
          </a:bodyPr>
          <a:lstStyle>
            <a:lvl1pPr algn="l">
              <a:defRPr sz="4000" baseline="0"/>
            </a:lvl1pPr>
          </a:lstStyle>
          <a:p>
            <a:r>
              <a:rPr lang="en-US" dirty="0"/>
              <a:t>Transforming Education</a:t>
            </a:r>
          </a:p>
        </p:txBody>
      </p:sp>
    </p:spTree>
    <p:extLst>
      <p:ext uri="{BB962C8B-B14F-4D97-AF65-F5344CB8AC3E}">
        <p14:creationId xmlns:p14="http://schemas.microsoft.com/office/powerpoint/2010/main" val="165523128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1285369"/>
            <a:ext cx="8864600" cy="108952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72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 dirty="0"/>
              <a:t>Engage Students</a:t>
            </a: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11" hasCustomPrompt="1"/>
          </p:nvPr>
        </p:nvSpPr>
        <p:spPr>
          <a:xfrm>
            <a:off x="10956758" y="4406900"/>
            <a:ext cx="1098884" cy="34897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 i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Part Thre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2563995"/>
            <a:ext cx="8864600" cy="341632"/>
          </a:xfrm>
          <a:prstGeom prst="rect">
            <a:avLst/>
          </a:prstGeom>
        </p:spPr>
        <p:txBody>
          <a:bodyPr wrap="square" lIns="274320" anchor="b" anchorCtr="0">
            <a:spAutoFit/>
          </a:bodyPr>
          <a:lstStyle>
            <a:lvl1pPr marL="0" indent="0">
              <a:buNone/>
              <a:defRPr sz="1800" b="0" i="0" spc="1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r>
              <a:rPr lang="en-US" dirty="0"/>
              <a:t>Click here to add text</a:t>
            </a:r>
          </a:p>
        </p:txBody>
      </p:sp>
    </p:spTree>
    <p:extLst>
      <p:ext uri="{BB962C8B-B14F-4D97-AF65-F5344CB8AC3E}">
        <p14:creationId xmlns:p14="http://schemas.microsoft.com/office/powerpoint/2010/main" val="253164265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1285369"/>
            <a:ext cx="8864600" cy="92333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6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 dirty="0"/>
              <a:t>Engage Students</a:t>
            </a:r>
          </a:p>
        </p:txBody>
      </p:sp>
    </p:spTree>
    <p:extLst>
      <p:ext uri="{BB962C8B-B14F-4D97-AF65-F5344CB8AC3E}">
        <p14:creationId xmlns:p14="http://schemas.microsoft.com/office/powerpoint/2010/main" val="59306008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7251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84835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Intro">
    <p:bg>
      <p:bgPr>
        <a:solidFill>
          <a:srgbClr val="FF8C0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7251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0693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 Intro">
    <p:bg>
      <p:bgPr>
        <a:solidFill>
          <a:srgbClr val="A8C50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7251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86779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mber Topic">
    <p:bg>
      <p:bgPr>
        <a:solidFill>
          <a:srgbClr val="5B2C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4457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090557" y="0"/>
            <a:ext cx="61014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6630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 Intro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7251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64470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Top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4457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090557" y="0"/>
            <a:ext cx="61014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9899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mber Topic">
    <p:bg>
      <p:bgPr>
        <a:solidFill>
          <a:srgbClr val="FF8C0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4457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090557" y="0"/>
            <a:ext cx="61014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64403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mber Topic">
    <p:bg>
      <p:bgPr>
        <a:solidFill>
          <a:srgbClr val="A8C50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4457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090557" y="0"/>
            <a:ext cx="61014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28523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mber Topic">
    <p:bg>
      <p:bgPr>
        <a:solidFill>
          <a:srgbClr val="5B2C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4457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090557" y="0"/>
            <a:ext cx="61014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92193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gage Gu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12765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lang="en-US" sz="3000" b="0" i="0" spc="-20" baseline="0" smtClean="0">
                <a:solidFill>
                  <a:schemeClr val="bg2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6312765" y="31197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7" name="Picture Placeholder 14"/>
          <p:cNvSpPr>
            <a:spLocks noGrp="1" noChangeAspect="1"/>
          </p:cNvSpPr>
          <p:nvPr>
            <p:ph type="pic" sz="quarter" idx="13"/>
          </p:nvPr>
        </p:nvSpPr>
        <p:spPr>
          <a:xfrm>
            <a:off x="0" y="1384300"/>
            <a:ext cx="5537200" cy="377217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0615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56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ts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1060050" y="31197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24" name="Picture Placeholder 14"/>
          <p:cNvSpPr>
            <a:spLocks noGrp="1" noChangeAspect="1"/>
          </p:cNvSpPr>
          <p:nvPr>
            <p:ph type="pic" sz="quarter" idx="14"/>
          </p:nvPr>
        </p:nvSpPr>
        <p:spPr>
          <a:xfrm>
            <a:off x="6654800" y="1384300"/>
            <a:ext cx="5537200" cy="377217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060051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lang="en-US" sz="3000" b="0" i="0" spc="-20" baseline="0" smtClean="0">
                <a:solidFill>
                  <a:schemeClr val="bg2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</a:t>
            </a:r>
          </a:p>
        </p:txBody>
      </p:sp>
    </p:spTree>
    <p:extLst>
      <p:ext uri="{BB962C8B-B14F-4D97-AF65-F5344CB8AC3E}">
        <p14:creationId xmlns:p14="http://schemas.microsoft.com/office/powerpoint/2010/main" val="30447682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24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gage Gu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6312765" y="31197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8" name="Picture Placeholder 14"/>
          <p:cNvSpPr>
            <a:spLocks noGrp="1" noChangeAspect="1"/>
          </p:cNvSpPr>
          <p:nvPr>
            <p:ph type="pic" sz="quarter" idx="13"/>
          </p:nvPr>
        </p:nvSpPr>
        <p:spPr>
          <a:xfrm>
            <a:off x="0" y="1384300"/>
            <a:ext cx="5537200" cy="377217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12765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lang="en-US" sz="3000" b="0" i="0" spc="-20" baseline="0" smtClean="0">
                <a:solidFill>
                  <a:srgbClr val="FF8C01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</a:t>
            </a:r>
          </a:p>
        </p:txBody>
      </p:sp>
    </p:spTree>
    <p:extLst>
      <p:ext uri="{BB962C8B-B14F-4D97-AF65-F5344CB8AC3E}">
        <p14:creationId xmlns:p14="http://schemas.microsoft.com/office/powerpoint/2010/main" val="13963793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56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uts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1060050" y="31197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8" name="Picture Placeholder 14"/>
          <p:cNvSpPr>
            <a:spLocks noGrp="1" noChangeAspect="1"/>
          </p:cNvSpPr>
          <p:nvPr>
            <p:ph type="pic" sz="quarter" idx="13"/>
          </p:nvPr>
        </p:nvSpPr>
        <p:spPr>
          <a:xfrm>
            <a:off x="6654800" y="1384300"/>
            <a:ext cx="5537200" cy="377217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060051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lang="en-US" sz="3000" b="0" i="0" spc="-20" baseline="0" smtClean="0">
                <a:solidFill>
                  <a:srgbClr val="FF8C01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</a:t>
            </a:r>
          </a:p>
        </p:txBody>
      </p:sp>
    </p:spTree>
    <p:extLst>
      <p:ext uri="{BB962C8B-B14F-4D97-AF65-F5344CB8AC3E}">
        <p14:creationId xmlns:p14="http://schemas.microsoft.com/office/powerpoint/2010/main" val="27183543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24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uts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1060050" y="31197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7" name="Picture Placeholder 14"/>
          <p:cNvSpPr>
            <a:spLocks noGrp="1" noChangeAspect="1"/>
          </p:cNvSpPr>
          <p:nvPr>
            <p:ph type="pic" sz="quarter" idx="13"/>
          </p:nvPr>
        </p:nvSpPr>
        <p:spPr>
          <a:xfrm>
            <a:off x="6654800" y="1384300"/>
            <a:ext cx="5537200" cy="377217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060051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lang="en-US" sz="3000" b="0" i="0" spc="-20" baseline="0" smtClean="0">
                <a:solidFill>
                  <a:srgbClr val="ADCB0A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</a:t>
            </a:r>
          </a:p>
        </p:txBody>
      </p:sp>
    </p:spTree>
    <p:extLst>
      <p:ext uri="{BB962C8B-B14F-4D97-AF65-F5344CB8AC3E}">
        <p14:creationId xmlns:p14="http://schemas.microsoft.com/office/powerpoint/2010/main" val="26674702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24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gage Gu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12765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lang="en-US" sz="3000" b="0" i="0" spc="-20" baseline="0" smtClean="0">
                <a:solidFill>
                  <a:schemeClr val="bg2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6312765" y="31197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7" name="Picture Placeholder 14"/>
          <p:cNvSpPr>
            <a:spLocks noGrp="1" noChangeAspect="1"/>
          </p:cNvSpPr>
          <p:nvPr>
            <p:ph type="pic" sz="quarter" idx="13"/>
          </p:nvPr>
        </p:nvSpPr>
        <p:spPr>
          <a:xfrm>
            <a:off x="0" y="1384300"/>
            <a:ext cx="5537200" cy="377217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9156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672" userDrawn="1">
          <p15:clr>
            <a:srgbClr val="FBAE40"/>
          </p15:clr>
        </p15:guide>
        <p15:guide id="3" pos="7056" userDrawn="1">
          <p15:clr>
            <a:srgbClr val="FBAE40"/>
          </p15:clr>
        </p15:guide>
        <p15:guide id="4" orient="horz" pos="2160" userDrawn="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" name="Group 144"/>
          <p:cNvGrpSpPr/>
          <p:nvPr userDrawn="1"/>
        </p:nvGrpSpPr>
        <p:grpSpPr>
          <a:xfrm>
            <a:off x="460988" y="2584450"/>
            <a:ext cx="10231437" cy="2071688"/>
            <a:chOff x="500063" y="2584450"/>
            <a:chExt cx="10231437" cy="2071688"/>
          </a:xfrm>
        </p:grpSpPr>
        <p:sp>
          <p:nvSpPr>
            <p:cNvPr id="146" name="Rectangle 47"/>
            <p:cNvSpPr>
              <a:spLocks noChangeArrowheads="1"/>
            </p:cNvSpPr>
            <p:nvPr/>
          </p:nvSpPr>
          <p:spPr bwMode="auto">
            <a:xfrm>
              <a:off x="500063" y="2587625"/>
              <a:ext cx="779462" cy="514350"/>
            </a:xfrm>
            <a:prstGeom prst="rect">
              <a:avLst/>
            </a:prstGeom>
            <a:solidFill>
              <a:srgbClr val="FFF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47" name="Rectangle 48"/>
            <p:cNvSpPr>
              <a:spLocks noChangeArrowheads="1"/>
            </p:cNvSpPr>
            <p:nvPr/>
          </p:nvSpPr>
          <p:spPr bwMode="auto">
            <a:xfrm>
              <a:off x="585788" y="2647950"/>
              <a:ext cx="21748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48" name="Rectangle 49"/>
            <p:cNvSpPr>
              <a:spLocks noChangeArrowheads="1"/>
            </p:cNvSpPr>
            <p:nvPr/>
          </p:nvSpPr>
          <p:spPr bwMode="auto">
            <a:xfrm>
              <a:off x="782638" y="2647950"/>
              <a:ext cx="8731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Y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49" name="Rectangle 50"/>
            <p:cNvSpPr>
              <a:spLocks noChangeArrowheads="1"/>
            </p:cNvSpPr>
            <p:nvPr/>
          </p:nvSpPr>
          <p:spPr bwMode="auto">
            <a:xfrm>
              <a:off x="814388" y="2647950"/>
              <a:ext cx="22860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llow</a:t>
              </a:r>
              <a:endPara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50" name="Rectangle 51"/>
            <p:cNvSpPr>
              <a:spLocks noChangeArrowheads="1"/>
            </p:cNvSpPr>
            <p:nvPr/>
          </p:nvSpPr>
          <p:spPr bwMode="auto">
            <a:xfrm>
              <a:off x="500063" y="2587625"/>
              <a:ext cx="779462" cy="514350"/>
            </a:xfrm>
            <a:prstGeom prst="rect">
              <a:avLst/>
            </a:prstGeom>
            <a:noFill/>
            <a:ln w="9525" cap="flat">
              <a:solidFill>
                <a:srgbClr val="FFF1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1" name="Rectangle 52"/>
            <p:cNvSpPr>
              <a:spLocks noChangeArrowheads="1"/>
            </p:cNvSpPr>
            <p:nvPr/>
          </p:nvSpPr>
          <p:spPr bwMode="auto">
            <a:xfrm>
              <a:off x="1279525" y="2584450"/>
              <a:ext cx="428625" cy="173038"/>
            </a:xfrm>
            <a:prstGeom prst="rect">
              <a:avLst/>
            </a:prstGeom>
            <a:solidFill>
              <a:srgbClr val="FFF8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2" name="Rectangle 53"/>
            <p:cNvSpPr>
              <a:spLocks noChangeArrowheads="1"/>
            </p:cNvSpPr>
            <p:nvPr/>
          </p:nvSpPr>
          <p:spPr bwMode="auto">
            <a:xfrm>
              <a:off x="1279525" y="2757488"/>
              <a:ext cx="428625" cy="173038"/>
            </a:xfrm>
            <a:prstGeom prst="rect">
              <a:avLst/>
            </a:prstGeom>
            <a:solidFill>
              <a:srgbClr val="F0E3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3" name="Rectangle 54"/>
            <p:cNvSpPr>
              <a:spLocks noChangeArrowheads="1"/>
            </p:cNvSpPr>
            <p:nvPr/>
          </p:nvSpPr>
          <p:spPr bwMode="auto">
            <a:xfrm>
              <a:off x="1279525" y="2930525"/>
              <a:ext cx="428625" cy="171450"/>
            </a:xfrm>
            <a:prstGeom prst="rect">
              <a:avLst/>
            </a:prstGeom>
            <a:solidFill>
              <a:srgbClr val="CC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4" name="Rectangle 55"/>
            <p:cNvSpPr>
              <a:spLocks noChangeArrowheads="1"/>
            </p:cNvSpPr>
            <p:nvPr/>
          </p:nvSpPr>
          <p:spPr bwMode="auto">
            <a:xfrm>
              <a:off x="500063" y="3101975"/>
              <a:ext cx="779462" cy="517525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5" name="Rectangle 56"/>
            <p:cNvSpPr>
              <a:spLocks noChangeArrowheads="1"/>
            </p:cNvSpPr>
            <p:nvPr/>
          </p:nvSpPr>
          <p:spPr bwMode="auto">
            <a:xfrm>
              <a:off x="581025" y="3157538"/>
              <a:ext cx="8731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Y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56" name="Rectangle 57"/>
            <p:cNvSpPr>
              <a:spLocks noChangeArrowheads="1"/>
            </p:cNvSpPr>
            <p:nvPr/>
          </p:nvSpPr>
          <p:spPr bwMode="auto">
            <a:xfrm>
              <a:off x="615950" y="3157538"/>
              <a:ext cx="22860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llow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57" name="Rectangle 58"/>
            <p:cNvSpPr>
              <a:spLocks noChangeArrowheads="1"/>
            </p:cNvSpPr>
            <p:nvPr/>
          </p:nvSpPr>
          <p:spPr bwMode="auto">
            <a:xfrm>
              <a:off x="1279525" y="3101975"/>
              <a:ext cx="428625" cy="173038"/>
            </a:xfrm>
            <a:prstGeom prst="rect">
              <a:avLst/>
            </a:pr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8" name="Rectangle 59"/>
            <p:cNvSpPr>
              <a:spLocks noChangeArrowheads="1"/>
            </p:cNvSpPr>
            <p:nvPr/>
          </p:nvSpPr>
          <p:spPr bwMode="auto">
            <a:xfrm>
              <a:off x="1279525" y="3275013"/>
              <a:ext cx="428625" cy="173038"/>
            </a:xfrm>
            <a:prstGeom prst="rect">
              <a:avLst/>
            </a:prstGeom>
            <a:solidFill>
              <a:srgbClr val="F0A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9" name="Rectangle 60"/>
            <p:cNvSpPr>
              <a:spLocks noChangeArrowheads="1"/>
            </p:cNvSpPr>
            <p:nvPr/>
          </p:nvSpPr>
          <p:spPr bwMode="auto">
            <a:xfrm>
              <a:off x="1279525" y="3448050"/>
              <a:ext cx="428625" cy="171450"/>
            </a:xfrm>
            <a:prstGeom prst="rect">
              <a:avLst/>
            </a:prstGeom>
            <a:solidFill>
              <a:srgbClr val="C78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0" name="Rectangle 61"/>
            <p:cNvSpPr>
              <a:spLocks noChangeArrowheads="1"/>
            </p:cNvSpPr>
            <p:nvPr/>
          </p:nvSpPr>
          <p:spPr bwMode="auto">
            <a:xfrm>
              <a:off x="1790700" y="2584450"/>
              <a:ext cx="776287" cy="5175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1" name="Rectangle 62"/>
            <p:cNvSpPr>
              <a:spLocks noChangeArrowheads="1"/>
            </p:cNvSpPr>
            <p:nvPr/>
          </p:nvSpPr>
          <p:spPr bwMode="auto">
            <a:xfrm>
              <a:off x="1870075" y="2640013"/>
              <a:ext cx="49688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 Orang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62" name="Rectangle 63"/>
            <p:cNvSpPr>
              <a:spLocks noChangeArrowheads="1"/>
            </p:cNvSpPr>
            <p:nvPr/>
          </p:nvSpPr>
          <p:spPr bwMode="auto">
            <a:xfrm>
              <a:off x="2566988" y="2584450"/>
              <a:ext cx="430212" cy="173038"/>
            </a:xfrm>
            <a:prstGeom prst="rect">
              <a:avLst/>
            </a:pr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3" name="Rectangle 64"/>
            <p:cNvSpPr>
              <a:spLocks noChangeArrowheads="1"/>
            </p:cNvSpPr>
            <p:nvPr/>
          </p:nvSpPr>
          <p:spPr bwMode="auto">
            <a:xfrm>
              <a:off x="2566988" y="2757488"/>
              <a:ext cx="430212" cy="173038"/>
            </a:xfrm>
            <a:prstGeom prst="rect">
              <a:avLst/>
            </a:pr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4" name="Rectangle 65"/>
            <p:cNvSpPr>
              <a:spLocks noChangeArrowheads="1"/>
            </p:cNvSpPr>
            <p:nvPr/>
          </p:nvSpPr>
          <p:spPr bwMode="auto">
            <a:xfrm>
              <a:off x="2566988" y="2930525"/>
              <a:ext cx="430212" cy="171450"/>
            </a:xfrm>
            <a:prstGeom prst="rect">
              <a:avLst/>
            </a:prstGeom>
            <a:solidFill>
              <a:srgbClr val="BA6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5" name="Rectangle 66"/>
            <p:cNvSpPr>
              <a:spLocks noChangeArrowheads="1"/>
            </p:cNvSpPr>
            <p:nvPr/>
          </p:nvSpPr>
          <p:spPr bwMode="auto">
            <a:xfrm>
              <a:off x="3079750" y="3101975"/>
              <a:ext cx="776287" cy="517525"/>
            </a:xfrm>
            <a:prstGeom prst="rect">
              <a:avLst/>
            </a:pr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6" name="Rectangle 67"/>
            <p:cNvSpPr>
              <a:spLocks noChangeArrowheads="1"/>
            </p:cNvSpPr>
            <p:nvPr/>
          </p:nvSpPr>
          <p:spPr bwMode="auto">
            <a:xfrm>
              <a:off x="3160713" y="3160713"/>
              <a:ext cx="9048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R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67" name="Rectangle 68"/>
            <p:cNvSpPr>
              <a:spLocks noChangeArrowheads="1"/>
            </p:cNvSpPr>
            <p:nvPr/>
          </p:nvSpPr>
          <p:spPr bwMode="auto">
            <a:xfrm>
              <a:off x="3205163" y="3160713"/>
              <a:ext cx="13017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d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68" name="Rectangle 69"/>
            <p:cNvSpPr>
              <a:spLocks noChangeArrowheads="1"/>
            </p:cNvSpPr>
            <p:nvPr/>
          </p:nvSpPr>
          <p:spPr bwMode="auto">
            <a:xfrm>
              <a:off x="3856038" y="3101975"/>
              <a:ext cx="430212" cy="173038"/>
            </a:xfrm>
            <a:prstGeom prst="rect">
              <a:avLst/>
            </a:prstGeom>
            <a:solidFill>
              <a:srgbClr val="EE4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9" name="Rectangle 70"/>
            <p:cNvSpPr>
              <a:spLocks noChangeArrowheads="1"/>
            </p:cNvSpPr>
            <p:nvPr/>
          </p:nvSpPr>
          <p:spPr bwMode="auto">
            <a:xfrm>
              <a:off x="3856038" y="3275013"/>
              <a:ext cx="430212" cy="173038"/>
            </a:xfrm>
            <a:prstGeom prst="rect">
              <a:avLst/>
            </a:prstGeom>
            <a:solidFill>
              <a:srgbClr val="D91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0" name="Rectangle 71"/>
            <p:cNvSpPr>
              <a:spLocks noChangeArrowheads="1"/>
            </p:cNvSpPr>
            <p:nvPr/>
          </p:nvSpPr>
          <p:spPr bwMode="auto">
            <a:xfrm>
              <a:off x="3856038" y="3448050"/>
              <a:ext cx="430212" cy="171450"/>
            </a:xfrm>
            <a:prstGeom prst="rect">
              <a:avLst/>
            </a:prstGeom>
            <a:solidFill>
              <a:srgbClr val="A311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1" name="Rectangle 72"/>
            <p:cNvSpPr>
              <a:spLocks noChangeArrowheads="1"/>
            </p:cNvSpPr>
            <p:nvPr/>
          </p:nvSpPr>
          <p:spPr bwMode="auto">
            <a:xfrm>
              <a:off x="4368800" y="3101975"/>
              <a:ext cx="777875" cy="517525"/>
            </a:xfrm>
            <a:prstGeom prst="rect">
              <a:avLst/>
            </a:prstGeom>
            <a:solidFill>
              <a:srgbClr val="B400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2" name="Rectangle 73"/>
            <p:cNvSpPr>
              <a:spLocks noChangeArrowheads="1"/>
            </p:cNvSpPr>
            <p:nvPr/>
          </p:nvSpPr>
          <p:spPr bwMode="auto">
            <a:xfrm>
              <a:off x="4449763" y="3157538"/>
              <a:ext cx="3492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Magenta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73" name="Rectangle 74"/>
            <p:cNvSpPr>
              <a:spLocks noChangeArrowheads="1"/>
            </p:cNvSpPr>
            <p:nvPr/>
          </p:nvSpPr>
          <p:spPr bwMode="auto">
            <a:xfrm>
              <a:off x="5146675" y="3101975"/>
              <a:ext cx="428625" cy="173038"/>
            </a:xfrm>
            <a:prstGeom prst="rect">
              <a:avLst/>
            </a:prstGeom>
            <a:solidFill>
              <a:srgbClr val="C740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4" name="Rectangle 75"/>
            <p:cNvSpPr>
              <a:spLocks noChangeArrowheads="1"/>
            </p:cNvSpPr>
            <p:nvPr/>
          </p:nvSpPr>
          <p:spPr bwMode="auto">
            <a:xfrm>
              <a:off x="5146675" y="3275013"/>
              <a:ext cx="428625" cy="173038"/>
            </a:xfrm>
            <a:prstGeom prst="rect">
              <a:avLst/>
            </a:prstGeom>
            <a:solidFill>
              <a:srgbClr val="9E00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5" name="Rectangle 76"/>
            <p:cNvSpPr>
              <a:spLocks noChangeArrowheads="1"/>
            </p:cNvSpPr>
            <p:nvPr/>
          </p:nvSpPr>
          <p:spPr bwMode="auto">
            <a:xfrm>
              <a:off x="5146675" y="3448050"/>
              <a:ext cx="428625" cy="171450"/>
            </a:xfrm>
            <a:prstGeom prst="rect">
              <a:avLst/>
            </a:prstGeom>
            <a:solidFill>
              <a:srgbClr val="8500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6" name="Rectangle 77"/>
            <p:cNvSpPr>
              <a:spLocks noChangeArrowheads="1"/>
            </p:cNvSpPr>
            <p:nvPr/>
          </p:nvSpPr>
          <p:spPr bwMode="auto">
            <a:xfrm>
              <a:off x="5656263" y="3101975"/>
              <a:ext cx="779462" cy="517525"/>
            </a:xfrm>
            <a:prstGeom prst="rect">
              <a:avLst/>
            </a:prstGeom>
            <a:solidFill>
              <a:srgbClr val="5C2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7" name="Rectangle 78"/>
            <p:cNvSpPr>
              <a:spLocks noChangeArrowheads="1"/>
            </p:cNvSpPr>
            <p:nvPr/>
          </p:nvSpPr>
          <p:spPr bwMode="auto">
            <a:xfrm>
              <a:off x="5737225" y="3157538"/>
              <a:ext cx="26670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Purpl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78" name="Rectangle 79"/>
            <p:cNvSpPr>
              <a:spLocks noChangeArrowheads="1"/>
            </p:cNvSpPr>
            <p:nvPr/>
          </p:nvSpPr>
          <p:spPr bwMode="auto">
            <a:xfrm>
              <a:off x="6435725" y="3101975"/>
              <a:ext cx="427037" cy="173038"/>
            </a:xfrm>
            <a:prstGeom prst="rect">
              <a:avLst/>
            </a:prstGeom>
            <a:solidFill>
              <a:srgbClr val="8562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9" name="Rectangle 80"/>
            <p:cNvSpPr>
              <a:spLocks noChangeArrowheads="1"/>
            </p:cNvSpPr>
            <p:nvPr/>
          </p:nvSpPr>
          <p:spPr bwMode="auto">
            <a:xfrm>
              <a:off x="6435725" y="3275013"/>
              <a:ext cx="427037" cy="173038"/>
            </a:xfrm>
            <a:prstGeom prst="rect">
              <a:avLst/>
            </a:prstGeom>
            <a:solidFill>
              <a:srgbClr val="522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0" name="Rectangle 81"/>
            <p:cNvSpPr>
              <a:spLocks noChangeArrowheads="1"/>
            </p:cNvSpPr>
            <p:nvPr/>
          </p:nvSpPr>
          <p:spPr bwMode="auto">
            <a:xfrm>
              <a:off x="6435725" y="3448050"/>
              <a:ext cx="427037" cy="171450"/>
            </a:xfrm>
            <a:prstGeom prst="rect">
              <a:avLst/>
            </a:prstGeom>
            <a:solidFill>
              <a:srgbClr val="4014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1" name="Rectangle 82"/>
            <p:cNvSpPr>
              <a:spLocks noChangeArrowheads="1"/>
            </p:cNvSpPr>
            <p:nvPr/>
          </p:nvSpPr>
          <p:spPr bwMode="auto">
            <a:xfrm>
              <a:off x="6945313" y="3101975"/>
              <a:ext cx="777875" cy="517525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2" name="Rectangle 83"/>
            <p:cNvSpPr>
              <a:spLocks noChangeArrowheads="1"/>
            </p:cNvSpPr>
            <p:nvPr/>
          </p:nvSpPr>
          <p:spPr bwMode="auto">
            <a:xfrm>
              <a:off x="7026275" y="3157538"/>
              <a:ext cx="1968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Blu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83" name="Rectangle 84"/>
            <p:cNvSpPr>
              <a:spLocks noChangeArrowheads="1"/>
            </p:cNvSpPr>
            <p:nvPr/>
          </p:nvSpPr>
          <p:spPr bwMode="auto">
            <a:xfrm>
              <a:off x="7723188" y="3101975"/>
              <a:ext cx="428625" cy="173038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4" name="Rectangle 85"/>
            <p:cNvSpPr>
              <a:spLocks noChangeArrowheads="1"/>
            </p:cNvSpPr>
            <p:nvPr/>
          </p:nvSpPr>
          <p:spPr bwMode="auto">
            <a:xfrm>
              <a:off x="7723188" y="3275013"/>
              <a:ext cx="428625" cy="173038"/>
            </a:xfrm>
            <a:prstGeom prst="rect">
              <a:avLst/>
            </a:pr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5" name="Rectangle 86"/>
            <p:cNvSpPr>
              <a:spLocks noChangeArrowheads="1"/>
            </p:cNvSpPr>
            <p:nvPr/>
          </p:nvSpPr>
          <p:spPr bwMode="auto">
            <a:xfrm>
              <a:off x="7723188" y="3448050"/>
              <a:ext cx="428625" cy="171450"/>
            </a:xfrm>
            <a:prstGeom prst="rect">
              <a:avLst/>
            </a:prstGeom>
            <a:solidFill>
              <a:srgbClr val="005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6" name="Rectangle 87"/>
            <p:cNvSpPr>
              <a:spLocks noChangeArrowheads="1"/>
            </p:cNvSpPr>
            <p:nvPr/>
          </p:nvSpPr>
          <p:spPr bwMode="auto">
            <a:xfrm>
              <a:off x="8234363" y="3101975"/>
              <a:ext cx="777875" cy="517525"/>
            </a:xfrm>
            <a:prstGeom prst="rect">
              <a:avLst/>
            </a:pr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7" name="Rectangle 88"/>
            <p:cNvSpPr>
              <a:spLocks noChangeArrowheads="1"/>
            </p:cNvSpPr>
            <p:nvPr/>
          </p:nvSpPr>
          <p:spPr bwMode="auto">
            <a:xfrm>
              <a:off x="8315325" y="3157538"/>
              <a:ext cx="825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T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88" name="Rectangle 89"/>
            <p:cNvSpPr>
              <a:spLocks noChangeArrowheads="1"/>
            </p:cNvSpPr>
            <p:nvPr/>
          </p:nvSpPr>
          <p:spPr bwMode="auto">
            <a:xfrm>
              <a:off x="8345488" y="3157538"/>
              <a:ext cx="1444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al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89" name="Rectangle 90"/>
            <p:cNvSpPr>
              <a:spLocks noChangeArrowheads="1"/>
            </p:cNvSpPr>
            <p:nvPr/>
          </p:nvSpPr>
          <p:spPr bwMode="auto">
            <a:xfrm>
              <a:off x="9012238" y="3101975"/>
              <a:ext cx="430212" cy="173038"/>
            </a:xfrm>
            <a:prstGeom prst="rect">
              <a:avLst/>
            </a:prstGeom>
            <a:solidFill>
              <a:srgbClr val="40A1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0" name="Rectangle 91"/>
            <p:cNvSpPr>
              <a:spLocks noChangeArrowheads="1"/>
            </p:cNvSpPr>
            <p:nvPr/>
          </p:nvSpPr>
          <p:spPr bwMode="auto">
            <a:xfrm>
              <a:off x="9012238" y="3275013"/>
              <a:ext cx="430212" cy="173038"/>
            </a:xfrm>
            <a:prstGeom prst="rect">
              <a:avLst/>
            </a:prstGeom>
            <a:solidFill>
              <a:srgbClr val="0073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1" name="Rectangle 92"/>
            <p:cNvSpPr>
              <a:spLocks noChangeArrowheads="1"/>
            </p:cNvSpPr>
            <p:nvPr/>
          </p:nvSpPr>
          <p:spPr bwMode="auto">
            <a:xfrm>
              <a:off x="9012238" y="3448050"/>
              <a:ext cx="430212" cy="171450"/>
            </a:xfrm>
            <a:prstGeom prst="rect">
              <a:avLst/>
            </a:prstGeom>
            <a:solidFill>
              <a:srgbClr val="0058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2" name="Rectangle 93"/>
            <p:cNvSpPr>
              <a:spLocks noChangeArrowheads="1"/>
            </p:cNvSpPr>
            <p:nvPr/>
          </p:nvSpPr>
          <p:spPr bwMode="auto">
            <a:xfrm>
              <a:off x="9525000" y="3101975"/>
              <a:ext cx="776287" cy="517525"/>
            </a:xfrm>
            <a:prstGeom prst="rect">
              <a:avLst/>
            </a:prstGeom>
            <a:solidFill>
              <a:srgbClr val="107C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3" name="Rectangle 94"/>
            <p:cNvSpPr>
              <a:spLocks noChangeArrowheads="1"/>
            </p:cNvSpPr>
            <p:nvPr/>
          </p:nvSpPr>
          <p:spPr bwMode="auto">
            <a:xfrm>
              <a:off x="9604375" y="3157538"/>
              <a:ext cx="952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G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94" name="Rectangle 95"/>
            <p:cNvSpPr>
              <a:spLocks noChangeArrowheads="1"/>
            </p:cNvSpPr>
            <p:nvPr/>
          </p:nvSpPr>
          <p:spPr bwMode="auto">
            <a:xfrm>
              <a:off x="9656763" y="3157538"/>
              <a:ext cx="7143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r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95" name="Rectangle 96"/>
            <p:cNvSpPr>
              <a:spLocks noChangeArrowheads="1"/>
            </p:cNvSpPr>
            <p:nvPr/>
          </p:nvSpPr>
          <p:spPr bwMode="auto">
            <a:xfrm>
              <a:off x="9682163" y="3157538"/>
              <a:ext cx="1698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en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96" name="Rectangle 97"/>
            <p:cNvSpPr>
              <a:spLocks noChangeArrowheads="1"/>
            </p:cNvSpPr>
            <p:nvPr/>
          </p:nvSpPr>
          <p:spPr bwMode="auto">
            <a:xfrm>
              <a:off x="10301288" y="3101975"/>
              <a:ext cx="430212" cy="173038"/>
            </a:xfrm>
            <a:prstGeom prst="rect">
              <a:avLst/>
            </a:prstGeom>
            <a:solidFill>
              <a:srgbClr val="4C9D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7" name="Rectangle 98"/>
            <p:cNvSpPr>
              <a:spLocks noChangeArrowheads="1"/>
            </p:cNvSpPr>
            <p:nvPr/>
          </p:nvSpPr>
          <p:spPr bwMode="auto">
            <a:xfrm>
              <a:off x="10301288" y="3275013"/>
              <a:ext cx="430212" cy="173038"/>
            </a:xfrm>
            <a:prstGeom prst="rect">
              <a:avLst/>
            </a:prstGeom>
            <a:solidFill>
              <a:srgbClr val="0E6D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8" name="Rectangle 99"/>
            <p:cNvSpPr>
              <a:spLocks noChangeArrowheads="1"/>
            </p:cNvSpPr>
            <p:nvPr/>
          </p:nvSpPr>
          <p:spPr bwMode="auto">
            <a:xfrm>
              <a:off x="10301288" y="3448050"/>
              <a:ext cx="430212" cy="171450"/>
            </a:xfrm>
            <a:prstGeom prst="rect">
              <a:avLst/>
            </a:prstGeom>
            <a:solidFill>
              <a:srgbClr val="1061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9" name="Rectangle 100"/>
            <p:cNvSpPr>
              <a:spLocks noChangeArrowheads="1"/>
            </p:cNvSpPr>
            <p:nvPr/>
          </p:nvSpPr>
          <p:spPr bwMode="auto">
            <a:xfrm>
              <a:off x="4368800" y="2584450"/>
              <a:ext cx="777875" cy="517525"/>
            </a:xfrm>
            <a:prstGeom prst="rect">
              <a:avLst/>
            </a:prstGeom>
            <a:solidFill>
              <a:srgbClr val="E300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0" name="Rectangle 101"/>
            <p:cNvSpPr>
              <a:spLocks noChangeArrowheads="1"/>
            </p:cNvSpPr>
            <p:nvPr/>
          </p:nvSpPr>
          <p:spPr bwMode="auto">
            <a:xfrm>
              <a:off x="4449763" y="2640013"/>
              <a:ext cx="54610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 Magenta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01" name="Rectangle 102"/>
            <p:cNvSpPr>
              <a:spLocks noChangeArrowheads="1"/>
            </p:cNvSpPr>
            <p:nvPr/>
          </p:nvSpPr>
          <p:spPr bwMode="auto">
            <a:xfrm>
              <a:off x="5146675" y="2584450"/>
              <a:ext cx="428625" cy="173038"/>
            </a:xfrm>
            <a:prstGeom prst="rect">
              <a:avLst/>
            </a:prstGeom>
            <a:solidFill>
              <a:srgbClr val="EA4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2" name="Rectangle 103"/>
            <p:cNvSpPr>
              <a:spLocks noChangeArrowheads="1"/>
            </p:cNvSpPr>
            <p:nvPr/>
          </p:nvSpPr>
          <p:spPr bwMode="auto">
            <a:xfrm>
              <a:off x="5146675" y="2757488"/>
              <a:ext cx="428625" cy="173038"/>
            </a:xfrm>
            <a:prstGeom prst="rect">
              <a:avLst/>
            </a:prstGeom>
            <a:solidFill>
              <a:srgbClr val="D400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3" name="Rectangle 104"/>
            <p:cNvSpPr>
              <a:spLocks noChangeArrowheads="1"/>
            </p:cNvSpPr>
            <p:nvPr/>
          </p:nvSpPr>
          <p:spPr bwMode="auto">
            <a:xfrm>
              <a:off x="5146675" y="2930525"/>
              <a:ext cx="428625" cy="171450"/>
            </a:xfrm>
            <a:prstGeom prst="rect">
              <a:avLst/>
            </a:prstGeom>
            <a:solidFill>
              <a:srgbClr val="9C00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4" name="Rectangle 105"/>
            <p:cNvSpPr>
              <a:spLocks noChangeArrowheads="1"/>
            </p:cNvSpPr>
            <p:nvPr/>
          </p:nvSpPr>
          <p:spPr bwMode="auto">
            <a:xfrm>
              <a:off x="5656263" y="2584450"/>
              <a:ext cx="779462" cy="517525"/>
            </a:xfrm>
            <a:prstGeom prst="rect">
              <a:avLst/>
            </a:prstGeom>
            <a:solidFill>
              <a:srgbClr val="B4A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5" name="Rectangle 106"/>
            <p:cNvSpPr>
              <a:spLocks noChangeArrowheads="1"/>
            </p:cNvSpPr>
            <p:nvPr/>
          </p:nvSpPr>
          <p:spPr bwMode="auto">
            <a:xfrm>
              <a:off x="5737225" y="2640013"/>
              <a:ext cx="4635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 Purpl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06" name="Rectangle 107"/>
            <p:cNvSpPr>
              <a:spLocks noChangeArrowheads="1"/>
            </p:cNvSpPr>
            <p:nvPr/>
          </p:nvSpPr>
          <p:spPr bwMode="auto">
            <a:xfrm>
              <a:off x="6435725" y="2584450"/>
              <a:ext cx="427037" cy="173038"/>
            </a:xfrm>
            <a:prstGeom prst="rect">
              <a:avLst/>
            </a:prstGeom>
            <a:solidFill>
              <a:srgbClr val="C7B8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7" name="Rectangle 108"/>
            <p:cNvSpPr>
              <a:spLocks noChangeArrowheads="1"/>
            </p:cNvSpPr>
            <p:nvPr/>
          </p:nvSpPr>
          <p:spPr bwMode="auto">
            <a:xfrm>
              <a:off x="6435725" y="2757488"/>
              <a:ext cx="427037" cy="173038"/>
            </a:xfrm>
            <a:prstGeom prst="rect">
              <a:avLst/>
            </a:prstGeom>
            <a:solidFill>
              <a:srgbClr val="A996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8" name="Rectangle 109"/>
            <p:cNvSpPr>
              <a:spLocks noChangeArrowheads="1"/>
            </p:cNvSpPr>
            <p:nvPr/>
          </p:nvSpPr>
          <p:spPr bwMode="auto">
            <a:xfrm>
              <a:off x="6435725" y="2930525"/>
              <a:ext cx="427037" cy="171450"/>
            </a:xfrm>
            <a:prstGeom prst="rect">
              <a:avLst/>
            </a:prstGeom>
            <a:solidFill>
              <a:srgbClr val="9080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9" name="Rectangle 110"/>
            <p:cNvSpPr>
              <a:spLocks noChangeArrowheads="1"/>
            </p:cNvSpPr>
            <p:nvPr/>
          </p:nvSpPr>
          <p:spPr bwMode="auto">
            <a:xfrm>
              <a:off x="6945313" y="2584450"/>
              <a:ext cx="777875" cy="517525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0" name="Rectangle 111"/>
            <p:cNvSpPr>
              <a:spLocks noChangeArrowheads="1"/>
            </p:cNvSpPr>
            <p:nvPr/>
          </p:nvSpPr>
          <p:spPr bwMode="auto">
            <a:xfrm>
              <a:off x="7026275" y="2640013"/>
              <a:ext cx="39052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 Blu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11" name="Rectangle 112"/>
            <p:cNvSpPr>
              <a:spLocks noChangeArrowheads="1"/>
            </p:cNvSpPr>
            <p:nvPr/>
          </p:nvSpPr>
          <p:spPr bwMode="auto">
            <a:xfrm>
              <a:off x="7723188" y="2584450"/>
              <a:ext cx="428625" cy="173038"/>
            </a:xfrm>
            <a:prstGeom prst="rect">
              <a:avLst/>
            </a:pr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2" name="Rectangle 113"/>
            <p:cNvSpPr>
              <a:spLocks noChangeArrowheads="1"/>
            </p:cNvSpPr>
            <p:nvPr/>
          </p:nvSpPr>
          <p:spPr bwMode="auto">
            <a:xfrm>
              <a:off x="7723188" y="2757488"/>
              <a:ext cx="428625" cy="173038"/>
            </a:xfrm>
            <a:prstGeom prst="rect">
              <a:avLst/>
            </a:prstGeom>
            <a:solidFill>
              <a:srgbClr val="00B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3" name="Rectangle 114"/>
            <p:cNvSpPr>
              <a:spLocks noChangeArrowheads="1"/>
            </p:cNvSpPr>
            <p:nvPr/>
          </p:nvSpPr>
          <p:spPr bwMode="auto">
            <a:xfrm>
              <a:off x="7723188" y="2930525"/>
              <a:ext cx="428625" cy="171450"/>
            </a:xfrm>
            <a:prstGeom prst="rect">
              <a:avLst/>
            </a:prstGeom>
            <a:solidFill>
              <a:srgbClr val="0086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4" name="Rectangle 115"/>
            <p:cNvSpPr>
              <a:spLocks noChangeArrowheads="1"/>
            </p:cNvSpPr>
            <p:nvPr/>
          </p:nvSpPr>
          <p:spPr bwMode="auto">
            <a:xfrm>
              <a:off x="6945313" y="4138613"/>
              <a:ext cx="777875" cy="517525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5" name="Rectangle 116"/>
            <p:cNvSpPr>
              <a:spLocks noChangeArrowheads="1"/>
            </p:cNvSpPr>
            <p:nvPr/>
          </p:nvSpPr>
          <p:spPr bwMode="auto">
            <a:xfrm>
              <a:off x="7026275" y="4192588"/>
              <a:ext cx="37782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 Blu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16" name="Rectangle 117"/>
            <p:cNvSpPr>
              <a:spLocks noChangeArrowheads="1"/>
            </p:cNvSpPr>
            <p:nvPr/>
          </p:nvSpPr>
          <p:spPr bwMode="auto">
            <a:xfrm>
              <a:off x="7723188" y="4138613"/>
              <a:ext cx="428625" cy="171450"/>
            </a:xfrm>
            <a:prstGeom prst="rect">
              <a:avLst/>
            </a:prstGeom>
            <a:solidFill>
              <a:srgbClr val="4058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7" name="Rectangle 118"/>
            <p:cNvSpPr>
              <a:spLocks noChangeArrowheads="1"/>
            </p:cNvSpPr>
            <p:nvPr/>
          </p:nvSpPr>
          <p:spPr bwMode="auto">
            <a:xfrm>
              <a:off x="7723188" y="4310063"/>
              <a:ext cx="428625" cy="173038"/>
            </a:xfrm>
            <a:prstGeom prst="rect">
              <a:avLst/>
            </a:prstGeom>
            <a:solidFill>
              <a:srgbClr val="001A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8" name="Rectangle 119"/>
            <p:cNvSpPr>
              <a:spLocks noChangeArrowheads="1"/>
            </p:cNvSpPr>
            <p:nvPr/>
          </p:nvSpPr>
          <p:spPr bwMode="auto">
            <a:xfrm>
              <a:off x="7723188" y="4483100"/>
              <a:ext cx="428625" cy="173038"/>
            </a:xfrm>
            <a:prstGeom prst="rect">
              <a:avLst/>
            </a:prstGeom>
            <a:solidFill>
              <a:srgbClr val="0011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9" name="Rectangle 120"/>
            <p:cNvSpPr>
              <a:spLocks noChangeArrowheads="1"/>
            </p:cNvSpPr>
            <p:nvPr/>
          </p:nvSpPr>
          <p:spPr bwMode="auto">
            <a:xfrm>
              <a:off x="8234363" y="2584450"/>
              <a:ext cx="777875" cy="517525"/>
            </a:xfrm>
            <a:prstGeom prst="rect">
              <a:avLst/>
            </a:prstGeom>
            <a:solidFill>
              <a:srgbClr val="00B2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20" name="Rectangle 121"/>
            <p:cNvSpPr>
              <a:spLocks noChangeArrowheads="1"/>
            </p:cNvSpPr>
            <p:nvPr/>
          </p:nvSpPr>
          <p:spPr bwMode="auto">
            <a:xfrm>
              <a:off x="8315325" y="2640013"/>
              <a:ext cx="21748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21" name="Rectangle 122"/>
            <p:cNvSpPr>
              <a:spLocks noChangeArrowheads="1"/>
            </p:cNvSpPr>
            <p:nvPr/>
          </p:nvSpPr>
          <p:spPr bwMode="auto">
            <a:xfrm>
              <a:off x="8509000" y="2640013"/>
              <a:ext cx="825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T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22" name="Rectangle 123"/>
            <p:cNvSpPr>
              <a:spLocks noChangeArrowheads="1"/>
            </p:cNvSpPr>
            <p:nvPr/>
          </p:nvSpPr>
          <p:spPr bwMode="auto">
            <a:xfrm>
              <a:off x="8539163" y="2640013"/>
              <a:ext cx="1444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al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23" name="Rectangle 124"/>
            <p:cNvSpPr>
              <a:spLocks noChangeArrowheads="1"/>
            </p:cNvSpPr>
            <p:nvPr/>
          </p:nvSpPr>
          <p:spPr bwMode="auto">
            <a:xfrm>
              <a:off x="9012238" y="2584450"/>
              <a:ext cx="430212" cy="173038"/>
            </a:xfrm>
            <a:prstGeom prst="rect">
              <a:avLst/>
            </a:prstGeom>
            <a:solidFill>
              <a:srgbClr val="40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24" name="Rectangle 125"/>
            <p:cNvSpPr>
              <a:spLocks noChangeArrowheads="1"/>
            </p:cNvSpPr>
            <p:nvPr/>
          </p:nvSpPr>
          <p:spPr bwMode="auto">
            <a:xfrm>
              <a:off x="9012238" y="2757488"/>
              <a:ext cx="430212" cy="173038"/>
            </a:xfrm>
            <a:prstGeom prst="rect">
              <a:avLst/>
            </a:prstGeom>
            <a:solidFill>
              <a:srgbClr val="00A3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25" name="Rectangle 126"/>
            <p:cNvSpPr>
              <a:spLocks noChangeArrowheads="1"/>
            </p:cNvSpPr>
            <p:nvPr/>
          </p:nvSpPr>
          <p:spPr bwMode="auto">
            <a:xfrm>
              <a:off x="9012238" y="2930525"/>
              <a:ext cx="430212" cy="171450"/>
            </a:xfrm>
            <a:prstGeom prst="rect">
              <a:avLst/>
            </a:prstGeom>
            <a:solidFill>
              <a:srgbClr val="0087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26" name="Rectangle 127"/>
            <p:cNvSpPr>
              <a:spLocks noChangeArrowheads="1"/>
            </p:cNvSpPr>
            <p:nvPr/>
          </p:nvSpPr>
          <p:spPr bwMode="auto">
            <a:xfrm>
              <a:off x="9525000" y="2584450"/>
              <a:ext cx="776287" cy="517525"/>
            </a:xfrm>
            <a:prstGeom prst="rect">
              <a:avLst/>
            </a:pr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27" name="Rectangle 128"/>
            <p:cNvSpPr>
              <a:spLocks noChangeArrowheads="1"/>
            </p:cNvSpPr>
            <p:nvPr/>
          </p:nvSpPr>
          <p:spPr bwMode="auto">
            <a:xfrm>
              <a:off x="9604375" y="2640013"/>
              <a:ext cx="29051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 G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28" name="Rectangle 129"/>
            <p:cNvSpPr>
              <a:spLocks noChangeArrowheads="1"/>
            </p:cNvSpPr>
            <p:nvPr/>
          </p:nvSpPr>
          <p:spPr bwMode="auto">
            <a:xfrm>
              <a:off x="9850438" y="2640013"/>
              <a:ext cx="7143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r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29" name="Rectangle 130"/>
            <p:cNvSpPr>
              <a:spLocks noChangeArrowheads="1"/>
            </p:cNvSpPr>
            <p:nvPr/>
          </p:nvSpPr>
          <p:spPr bwMode="auto">
            <a:xfrm>
              <a:off x="9879013" y="2640013"/>
              <a:ext cx="1698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en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30" name="Rectangle 131"/>
            <p:cNvSpPr>
              <a:spLocks noChangeArrowheads="1"/>
            </p:cNvSpPr>
            <p:nvPr/>
          </p:nvSpPr>
          <p:spPr bwMode="auto">
            <a:xfrm>
              <a:off x="10301288" y="2584450"/>
              <a:ext cx="430212" cy="173038"/>
            </a:xfrm>
            <a:prstGeom prst="rect">
              <a:avLst/>
            </a:prstGeom>
            <a:solidFill>
              <a:srgbClr val="CBE2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1" name="Rectangle 132"/>
            <p:cNvSpPr>
              <a:spLocks noChangeArrowheads="1"/>
            </p:cNvSpPr>
            <p:nvPr/>
          </p:nvSpPr>
          <p:spPr bwMode="auto">
            <a:xfrm>
              <a:off x="10301288" y="2757488"/>
              <a:ext cx="430212" cy="173038"/>
            </a:xfrm>
            <a:prstGeom prst="rect">
              <a:avLst/>
            </a:prstGeom>
            <a:solidFill>
              <a:srgbClr val="ADC9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2" name="Rectangle 133"/>
            <p:cNvSpPr>
              <a:spLocks noChangeArrowheads="1"/>
            </p:cNvSpPr>
            <p:nvPr/>
          </p:nvSpPr>
          <p:spPr bwMode="auto">
            <a:xfrm>
              <a:off x="10301288" y="2930525"/>
              <a:ext cx="430212" cy="171450"/>
            </a:xfrm>
            <a:prstGeom prst="rect">
              <a:avLst/>
            </a:prstGeom>
            <a:solidFill>
              <a:srgbClr val="91A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3" name="Rectangle 134"/>
            <p:cNvSpPr>
              <a:spLocks noChangeArrowheads="1"/>
            </p:cNvSpPr>
            <p:nvPr/>
          </p:nvSpPr>
          <p:spPr bwMode="auto">
            <a:xfrm>
              <a:off x="1790700" y="3101975"/>
              <a:ext cx="776287" cy="517525"/>
            </a:xfrm>
            <a:prstGeom prst="rect">
              <a:avLst/>
            </a:pr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4" name="Rectangle 135"/>
            <p:cNvSpPr>
              <a:spLocks noChangeArrowheads="1"/>
            </p:cNvSpPr>
            <p:nvPr/>
          </p:nvSpPr>
          <p:spPr bwMode="auto">
            <a:xfrm>
              <a:off x="1870075" y="3157538"/>
              <a:ext cx="30003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Orang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35" name="Rectangle 136"/>
            <p:cNvSpPr>
              <a:spLocks noChangeArrowheads="1"/>
            </p:cNvSpPr>
            <p:nvPr/>
          </p:nvSpPr>
          <p:spPr bwMode="auto">
            <a:xfrm>
              <a:off x="2566988" y="3101975"/>
              <a:ext cx="430212" cy="173038"/>
            </a:xfrm>
            <a:prstGeom prst="rect">
              <a:avLst/>
            </a:prstGeom>
            <a:solidFill>
              <a:srgbClr val="E26C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6" name="Rectangle 137"/>
            <p:cNvSpPr>
              <a:spLocks noChangeArrowheads="1"/>
            </p:cNvSpPr>
            <p:nvPr/>
          </p:nvSpPr>
          <p:spPr bwMode="auto">
            <a:xfrm>
              <a:off x="2566988" y="3275013"/>
              <a:ext cx="430212" cy="173038"/>
            </a:xfrm>
            <a:prstGeom prst="rect">
              <a:avLst/>
            </a:prstGeom>
            <a:solidFill>
              <a:srgbClr val="BD36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7" name="Rectangle 138"/>
            <p:cNvSpPr>
              <a:spLocks noChangeArrowheads="1"/>
            </p:cNvSpPr>
            <p:nvPr/>
          </p:nvSpPr>
          <p:spPr bwMode="auto">
            <a:xfrm>
              <a:off x="2566988" y="3448050"/>
              <a:ext cx="430212" cy="171450"/>
            </a:xfrm>
            <a:prstGeom prst="rect">
              <a:avLst/>
            </a:prstGeom>
            <a:solidFill>
              <a:srgbClr val="9C28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8" name="Rectangle 139"/>
            <p:cNvSpPr>
              <a:spLocks noChangeArrowheads="1"/>
            </p:cNvSpPr>
            <p:nvPr/>
          </p:nvSpPr>
          <p:spPr bwMode="auto">
            <a:xfrm>
              <a:off x="3079750" y="3619500"/>
              <a:ext cx="776287" cy="519113"/>
            </a:xfrm>
            <a:prstGeom prst="rect">
              <a:avLst/>
            </a:prstGeom>
            <a:solidFill>
              <a:srgbClr val="A8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9" name="Rectangle 140"/>
            <p:cNvSpPr>
              <a:spLocks noChangeArrowheads="1"/>
            </p:cNvSpPr>
            <p:nvPr/>
          </p:nvSpPr>
          <p:spPr bwMode="auto">
            <a:xfrm>
              <a:off x="3160713" y="3675063"/>
              <a:ext cx="20637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0" name="Rectangle 141"/>
            <p:cNvSpPr>
              <a:spLocks noChangeArrowheads="1"/>
            </p:cNvSpPr>
            <p:nvPr/>
          </p:nvSpPr>
          <p:spPr bwMode="auto">
            <a:xfrm>
              <a:off x="3341688" y="3675063"/>
              <a:ext cx="9048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R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1" name="Rectangle 142"/>
            <p:cNvSpPr>
              <a:spLocks noChangeArrowheads="1"/>
            </p:cNvSpPr>
            <p:nvPr/>
          </p:nvSpPr>
          <p:spPr bwMode="auto">
            <a:xfrm>
              <a:off x="3386138" y="3675063"/>
              <a:ext cx="13017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d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2" name="Rectangle 143"/>
            <p:cNvSpPr>
              <a:spLocks noChangeArrowheads="1"/>
            </p:cNvSpPr>
            <p:nvPr/>
          </p:nvSpPr>
          <p:spPr bwMode="auto">
            <a:xfrm>
              <a:off x="3856038" y="3619500"/>
              <a:ext cx="430212" cy="173038"/>
            </a:xfrm>
            <a:prstGeom prst="rect">
              <a:avLst/>
            </a:prstGeom>
            <a:solidFill>
              <a:srgbClr val="BE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3" name="Rectangle 144"/>
            <p:cNvSpPr>
              <a:spLocks noChangeArrowheads="1"/>
            </p:cNvSpPr>
            <p:nvPr/>
          </p:nvSpPr>
          <p:spPr bwMode="auto">
            <a:xfrm>
              <a:off x="3856038" y="3792538"/>
              <a:ext cx="430212" cy="173038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4" name="Rectangle 145"/>
            <p:cNvSpPr>
              <a:spLocks noChangeArrowheads="1"/>
            </p:cNvSpPr>
            <p:nvPr/>
          </p:nvSpPr>
          <p:spPr bwMode="auto">
            <a:xfrm>
              <a:off x="3856038" y="3965575"/>
              <a:ext cx="430212" cy="173038"/>
            </a:xfrm>
            <a:prstGeom prst="rect">
              <a:avLst/>
            </a:prstGeom>
            <a:solidFill>
              <a:srgbClr val="75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5" name="Rectangle 146"/>
            <p:cNvSpPr>
              <a:spLocks noChangeArrowheads="1"/>
            </p:cNvSpPr>
            <p:nvPr/>
          </p:nvSpPr>
          <p:spPr bwMode="auto">
            <a:xfrm>
              <a:off x="4368800" y="3619500"/>
              <a:ext cx="777875" cy="519113"/>
            </a:xfrm>
            <a:prstGeom prst="rect">
              <a:avLst/>
            </a:prstGeom>
            <a:solidFill>
              <a:srgbClr val="5C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6" name="Rectangle 147"/>
            <p:cNvSpPr>
              <a:spLocks noChangeArrowheads="1"/>
            </p:cNvSpPr>
            <p:nvPr/>
          </p:nvSpPr>
          <p:spPr bwMode="auto">
            <a:xfrm>
              <a:off x="4449763" y="3675063"/>
              <a:ext cx="53340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 Magenta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7" name="Rectangle 148"/>
            <p:cNvSpPr>
              <a:spLocks noChangeArrowheads="1"/>
            </p:cNvSpPr>
            <p:nvPr/>
          </p:nvSpPr>
          <p:spPr bwMode="auto">
            <a:xfrm>
              <a:off x="5146675" y="3619500"/>
              <a:ext cx="428625" cy="173038"/>
            </a:xfrm>
            <a:prstGeom prst="rect">
              <a:avLst/>
            </a:prstGeom>
            <a:solidFill>
              <a:srgbClr val="8540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8" name="Rectangle 149"/>
            <p:cNvSpPr>
              <a:spLocks noChangeArrowheads="1"/>
            </p:cNvSpPr>
            <p:nvPr/>
          </p:nvSpPr>
          <p:spPr bwMode="auto">
            <a:xfrm>
              <a:off x="5146675" y="3792538"/>
              <a:ext cx="428625" cy="173038"/>
            </a:xfrm>
            <a:prstGeom prst="rect">
              <a:avLst/>
            </a:prstGeom>
            <a:solidFill>
              <a:srgbClr val="4D00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9" name="Rectangle 150"/>
            <p:cNvSpPr>
              <a:spLocks noChangeArrowheads="1"/>
            </p:cNvSpPr>
            <p:nvPr/>
          </p:nvSpPr>
          <p:spPr bwMode="auto">
            <a:xfrm>
              <a:off x="5146675" y="3965575"/>
              <a:ext cx="428625" cy="173038"/>
            </a:xfrm>
            <a:prstGeom prst="rect">
              <a:avLst/>
            </a:prstGeom>
            <a:solidFill>
              <a:srgbClr val="3800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0" name="Rectangle 151"/>
            <p:cNvSpPr>
              <a:spLocks noChangeArrowheads="1"/>
            </p:cNvSpPr>
            <p:nvPr/>
          </p:nvSpPr>
          <p:spPr bwMode="auto">
            <a:xfrm>
              <a:off x="5656263" y="3619500"/>
              <a:ext cx="779462" cy="519113"/>
            </a:xfrm>
            <a:prstGeom prst="rect">
              <a:avLst/>
            </a:pr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1" name="Rectangle 152"/>
            <p:cNvSpPr>
              <a:spLocks noChangeArrowheads="1"/>
            </p:cNvSpPr>
            <p:nvPr/>
          </p:nvSpPr>
          <p:spPr bwMode="auto">
            <a:xfrm>
              <a:off x="5737225" y="3675063"/>
              <a:ext cx="4508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 Purpl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52" name="Rectangle 153"/>
            <p:cNvSpPr>
              <a:spLocks noChangeArrowheads="1"/>
            </p:cNvSpPr>
            <p:nvPr/>
          </p:nvSpPr>
          <p:spPr bwMode="auto">
            <a:xfrm>
              <a:off x="6435725" y="3619500"/>
              <a:ext cx="427037" cy="173038"/>
            </a:xfrm>
            <a:prstGeom prst="rect">
              <a:avLst/>
            </a:prstGeom>
            <a:solidFill>
              <a:srgbClr val="654F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3" name="Rectangle 154"/>
            <p:cNvSpPr>
              <a:spLocks noChangeArrowheads="1"/>
            </p:cNvSpPr>
            <p:nvPr/>
          </p:nvSpPr>
          <p:spPr bwMode="auto">
            <a:xfrm>
              <a:off x="6435725" y="3792538"/>
              <a:ext cx="427037" cy="173038"/>
            </a:xfrm>
            <a:prstGeom prst="rect">
              <a:avLst/>
            </a:prstGeom>
            <a:solidFill>
              <a:srgbClr val="2811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4" name="Rectangle 155"/>
            <p:cNvSpPr>
              <a:spLocks noChangeArrowheads="1"/>
            </p:cNvSpPr>
            <p:nvPr/>
          </p:nvSpPr>
          <p:spPr bwMode="auto">
            <a:xfrm>
              <a:off x="6435725" y="3965575"/>
              <a:ext cx="427037" cy="173038"/>
            </a:xfrm>
            <a:prstGeom prst="rect">
              <a:avLst/>
            </a:prstGeom>
            <a:solidFill>
              <a:srgbClr val="220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5" name="Rectangle 156"/>
            <p:cNvSpPr>
              <a:spLocks noChangeArrowheads="1"/>
            </p:cNvSpPr>
            <p:nvPr/>
          </p:nvSpPr>
          <p:spPr bwMode="auto">
            <a:xfrm>
              <a:off x="6945313" y="3619500"/>
              <a:ext cx="777875" cy="51911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6" name="Rectangle 157"/>
            <p:cNvSpPr>
              <a:spLocks noChangeArrowheads="1"/>
            </p:cNvSpPr>
            <p:nvPr/>
          </p:nvSpPr>
          <p:spPr bwMode="auto">
            <a:xfrm>
              <a:off x="7026275" y="3675063"/>
              <a:ext cx="35242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Mid Blu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57" name="Rectangle 158"/>
            <p:cNvSpPr>
              <a:spLocks noChangeArrowheads="1"/>
            </p:cNvSpPr>
            <p:nvPr/>
          </p:nvSpPr>
          <p:spPr bwMode="auto">
            <a:xfrm>
              <a:off x="7723188" y="3619500"/>
              <a:ext cx="428625" cy="173038"/>
            </a:xfrm>
            <a:prstGeom prst="rect">
              <a:avLst/>
            </a:prstGeom>
            <a:solidFill>
              <a:srgbClr val="4052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8" name="Rectangle 159"/>
            <p:cNvSpPr>
              <a:spLocks noChangeArrowheads="1"/>
            </p:cNvSpPr>
            <p:nvPr/>
          </p:nvSpPr>
          <p:spPr bwMode="auto">
            <a:xfrm>
              <a:off x="7723188" y="3792538"/>
              <a:ext cx="428625" cy="173038"/>
            </a:xfrm>
            <a:prstGeom prst="rect">
              <a:avLst/>
            </a:prstGeom>
            <a:solidFill>
              <a:srgbClr val="001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9" name="Rectangle 160"/>
            <p:cNvSpPr>
              <a:spLocks noChangeArrowheads="1"/>
            </p:cNvSpPr>
            <p:nvPr/>
          </p:nvSpPr>
          <p:spPr bwMode="auto">
            <a:xfrm>
              <a:off x="7723188" y="3965575"/>
              <a:ext cx="428625" cy="173038"/>
            </a:xfrm>
            <a:prstGeom prst="rect">
              <a:avLst/>
            </a:pr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0" name="Rectangle 161"/>
            <p:cNvSpPr>
              <a:spLocks noChangeArrowheads="1"/>
            </p:cNvSpPr>
            <p:nvPr/>
          </p:nvSpPr>
          <p:spPr bwMode="auto">
            <a:xfrm>
              <a:off x="8234363" y="3619500"/>
              <a:ext cx="777875" cy="519113"/>
            </a:xfrm>
            <a:prstGeom prst="rect">
              <a:avLst/>
            </a:pr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1" name="Rectangle 162"/>
            <p:cNvSpPr>
              <a:spLocks noChangeArrowheads="1"/>
            </p:cNvSpPr>
            <p:nvPr/>
          </p:nvSpPr>
          <p:spPr bwMode="auto">
            <a:xfrm>
              <a:off x="8315325" y="3675063"/>
              <a:ext cx="20637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2" name="Rectangle 163"/>
            <p:cNvSpPr>
              <a:spLocks noChangeArrowheads="1"/>
            </p:cNvSpPr>
            <p:nvPr/>
          </p:nvSpPr>
          <p:spPr bwMode="auto">
            <a:xfrm>
              <a:off x="8497888" y="3675063"/>
              <a:ext cx="825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T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3" name="Rectangle 164"/>
            <p:cNvSpPr>
              <a:spLocks noChangeArrowheads="1"/>
            </p:cNvSpPr>
            <p:nvPr/>
          </p:nvSpPr>
          <p:spPr bwMode="auto">
            <a:xfrm>
              <a:off x="8528050" y="3675063"/>
              <a:ext cx="1444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al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4" name="Rectangle 165"/>
            <p:cNvSpPr>
              <a:spLocks noChangeArrowheads="1"/>
            </p:cNvSpPr>
            <p:nvPr/>
          </p:nvSpPr>
          <p:spPr bwMode="auto">
            <a:xfrm>
              <a:off x="9012238" y="3619500"/>
              <a:ext cx="430212" cy="173038"/>
            </a:xfrm>
            <a:prstGeom prst="rect">
              <a:avLst/>
            </a:prstGeom>
            <a:solidFill>
              <a:srgbClr val="4078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5" name="Rectangle 166"/>
            <p:cNvSpPr>
              <a:spLocks noChangeArrowheads="1"/>
            </p:cNvSpPr>
            <p:nvPr/>
          </p:nvSpPr>
          <p:spPr bwMode="auto">
            <a:xfrm>
              <a:off x="9012238" y="3792538"/>
              <a:ext cx="430212" cy="173038"/>
            </a:xfrm>
            <a:prstGeom prst="rect">
              <a:avLst/>
            </a:prstGeom>
            <a:solidFill>
              <a:srgbClr val="003D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6" name="Rectangle 167"/>
            <p:cNvSpPr>
              <a:spLocks noChangeArrowheads="1"/>
            </p:cNvSpPr>
            <p:nvPr/>
          </p:nvSpPr>
          <p:spPr bwMode="auto">
            <a:xfrm>
              <a:off x="9012238" y="3965575"/>
              <a:ext cx="430212" cy="173038"/>
            </a:xfrm>
            <a:prstGeom prst="rect">
              <a:avLst/>
            </a:pr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7" name="Rectangle 168"/>
            <p:cNvSpPr>
              <a:spLocks noChangeArrowheads="1"/>
            </p:cNvSpPr>
            <p:nvPr/>
          </p:nvSpPr>
          <p:spPr bwMode="auto">
            <a:xfrm>
              <a:off x="9525000" y="3619500"/>
              <a:ext cx="776287" cy="519113"/>
            </a:xfrm>
            <a:prstGeom prst="rect">
              <a:avLst/>
            </a:prstGeom>
            <a:solidFill>
              <a:srgbClr val="004B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8" name="Rectangle 169"/>
            <p:cNvSpPr>
              <a:spLocks noChangeArrowheads="1"/>
            </p:cNvSpPr>
            <p:nvPr/>
          </p:nvSpPr>
          <p:spPr bwMode="auto">
            <a:xfrm>
              <a:off x="9604375" y="3675063"/>
              <a:ext cx="27622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 G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9" name="Rectangle 170"/>
            <p:cNvSpPr>
              <a:spLocks noChangeArrowheads="1"/>
            </p:cNvSpPr>
            <p:nvPr/>
          </p:nvSpPr>
          <p:spPr bwMode="auto">
            <a:xfrm>
              <a:off x="9839325" y="3675063"/>
              <a:ext cx="7143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r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70" name="Rectangle 171"/>
            <p:cNvSpPr>
              <a:spLocks noChangeArrowheads="1"/>
            </p:cNvSpPr>
            <p:nvPr/>
          </p:nvSpPr>
          <p:spPr bwMode="auto">
            <a:xfrm>
              <a:off x="9864725" y="3675063"/>
              <a:ext cx="1698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en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71" name="Rectangle 172"/>
            <p:cNvSpPr>
              <a:spLocks noChangeArrowheads="1"/>
            </p:cNvSpPr>
            <p:nvPr/>
          </p:nvSpPr>
          <p:spPr bwMode="auto">
            <a:xfrm>
              <a:off x="10301288" y="3619500"/>
              <a:ext cx="430212" cy="173038"/>
            </a:xfrm>
            <a:prstGeom prst="rect">
              <a:avLst/>
            </a:prstGeom>
            <a:solidFill>
              <a:srgbClr val="4078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72" name="Rectangle 173"/>
            <p:cNvSpPr>
              <a:spLocks noChangeArrowheads="1"/>
            </p:cNvSpPr>
            <p:nvPr/>
          </p:nvSpPr>
          <p:spPr bwMode="auto">
            <a:xfrm>
              <a:off x="10301288" y="3792538"/>
              <a:ext cx="430212" cy="173038"/>
            </a:xfrm>
            <a:prstGeom prst="rect">
              <a:avLst/>
            </a:prstGeom>
            <a:solidFill>
              <a:srgbClr val="003C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73" name="Rectangle 174"/>
            <p:cNvSpPr>
              <a:spLocks noChangeArrowheads="1"/>
            </p:cNvSpPr>
            <p:nvPr/>
          </p:nvSpPr>
          <p:spPr bwMode="auto">
            <a:xfrm>
              <a:off x="10301288" y="3965575"/>
              <a:ext cx="430212" cy="173038"/>
            </a:xfrm>
            <a:prstGeom prst="rect">
              <a:avLst/>
            </a:prstGeom>
            <a:solidFill>
              <a:srgbClr val="0024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grpSp>
        <p:nvGrpSpPr>
          <p:cNvPr id="274" name="Group 273"/>
          <p:cNvGrpSpPr/>
          <p:nvPr userDrawn="1"/>
        </p:nvGrpSpPr>
        <p:grpSpPr>
          <a:xfrm>
            <a:off x="464163" y="4959657"/>
            <a:ext cx="8551862" cy="517525"/>
            <a:chOff x="503238" y="4889322"/>
            <a:chExt cx="8551862" cy="517525"/>
          </a:xfrm>
        </p:grpSpPr>
        <p:sp>
          <p:nvSpPr>
            <p:cNvPr id="275" name="Rectangle 176"/>
            <p:cNvSpPr>
              <a:spLocks noChangeArrowheads="1"/>
            </p:cNvSpPr>
            <p:nvPr/>
          </p:nvSpPr>
          <p:spPr bwMode="auto">
            <a:xfrm>
              <a:off x="6721475" y="4889322"/>
              <a:ext cx="779462" cy="517525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76" name="Rectangle 177"/>
            <p:cNvSpPr>
              <a:spLocks noChangeArrowheads="1"/>
            </p:cNvSpPr>
            <p:nvPr/>
          </p:nvSpPr>
          <p:spPr bwMode="auto">
            <a:xfrm>
              <a:off x="7500938" y="4889322"/>
              <a:ext cx="776287" cy="517525"/>
            </a:xfrm>
            <a:prstGeom prst="rect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77" name="Rectangle 178"/>
            <p:cNvSpPr>
              <a:spLocks noChangeArrowheads="1"/>
            </p:cNvSpPr>
            <p:nvPr/>
          </p:nvSpPr>
          <p:spPr bwMode="auto">
            <a:xfrm>
              <a:off x="2833688" y="4889322"/>
              <a:ext cx="777875" cy="51752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78" name="Rectangle 179"/>
            <p:cNvSpPr>
              <a:spLocks noChangeArrowheads="1"/>
            </p:cNvSpPr>
            <p:nvPr/>
          </p:nvSpPr>
          <p:spPr bwMode="auto">
            <a:xfrm>
              <a:off x="1279525" y="4889322"/>
              <a:ext cx="777875" cy="517525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79" name="Rectangle 180"/>
            <p:cNvSpPr>
              <a:spLocks noChangeArrowheads="1"/>
            </p:cNvSpPr>
            <p:nvPr/>
          </p:nvSpPr>
          <p:spPr bwMode="auto">
            <a:xfrm>
              <a:off x="2057400" y="4889322"/>
              <a:ext cx="776287" cy="517525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0" name="Rectangle 181"/>
            <p:cNvSpPr>
              <a:spLocks noChangeArrowheads="1"/>
            </p:cNvSpPr>
            <p:nvPr/>
          </p:nvSpPr>
          <p:spPr bwMode="auto">
            <a:xfrm>
              <a:off x="5167313" y="4889322"/>
              <a:ext cx="776287" cy="517525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1" name="Rectangle 182"/>
            <p:cNvSpPr>
              <a:spLocks noChangeArrowheads="1"/>
            </p:cNvSpPr>
            <p:nvPr/>
          </p:nvSpPr>
          <p:spPr bwMode="auto">
            <a:xfrm>
              <a:off x="5943600" y="4889322"/>
              <a:ext cx="777875" cy="517525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2" name="Rectangle 183"/>
            <p:cNvSpPr>
              <a:spLocks noChangeArrowheads="1"/>
            </p:cNvSpPr>
            <p:nvPr/>
          </p:nvSpPr>
          <p:spPr bwMode="auto">
            <a:xfrm>
              <a:off x="3611563" y="4889322"/>
              <a:ext cx="779462" cy="517525"/>
            </a:xfrm>
            <a:prstGeom prst="rect">
              <a:avLst/>
            </a:pr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3" name="Rectangle 184"/>
            <p:cNvSpPr>
              <a:spLocks noChangeArrowheads="1"/>
            </p:cNvSpPr>
            <p:nvPr/>
          </p:nvSpPr>
          <p:spPr bwMode="auto">
            <a:xfrm>
              <a:off x="4391025" y="4889322"/>
              <a:ext cx="776287" cy="517525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4" name="Rectangle 185"/>
            <p:cNvSpPr>
              <a:spLocks noChangeArrowheads="1"/>
            </p:cNvSpPr>
            <p:nvPr/>
          </p:nvSpPr>
          <p:spPr bwMode="auto">
            <a:xfrm>
              <a:off x="8277225" y="4889322"/>
              <a:ext cx="777875" cy="51752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5" name="Rectangle 186"/>
            <p:cNvSpPr>
              <a:spLocks noChangeArrowheads="1"/>
            </p:cNvSpPr>
            <p:nvPr/>
          </p:nvSpPr>
          <p:spPr bwMode="auto">
            <a:xfrm>
              <a:off x="503238" y="4892497"/>
              <a:ext cx="774700" cy="5127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6" name="Rectangle 187"/>
            <p:cNvSpPr>
              <a:spLocks noChangeArrowheads="1"/>
            </p:cNvSpPr>
            <p:nvPr/>
          </p:nvSpPr>
          <p:spPr bwMode="auto">
            <a:xfrm>
              <a:off x="503238" y="4892497"/>
              <a:ext cx="774700" cy="512763"/>
            </a:xfrm>
            <a:prstGeom prst="rect">
              <a:avLst/>
            </a:prstGeom>
            <a:noFill/>
            <a:ln w="4763" cap="flat">
              <a:solidFill>
                <a:srgbClr val="E6E6E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141993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uts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60050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2400"/>
              </a:lnSpc>
              <a:spcBef>
                <a:spcPts val="0"/>
              </a:spcBef>
              <a:buFontTx/>
              <a:buNone/>
              <a:defRPr lang="en-US" sz="2100" b="1" i="0" baseline="0" smtClean="0">
                <a:solidFill>
                  <a:srgbClr val="ADCB09"/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 partners offer streamlined solutions for: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1060050" y="30562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6858000" y="1497371"/>
            <a:ext cx="5334000" cy="3317428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2733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6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2699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ts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1060050" y="31197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24" name="Picture Placeholder 14"/>
          <p:cNvSpPr>
            <a:spLocks noGrp="1" noChangeAspect="1"/>
          </p:cNvSpPr>
          <p:nvPr>
            <p:ph type="pic" sz="quarter" idx="14"/>
          </p:nvPr>
        </p:nvSpPr>
        <p:spPr>
          <a:xfrm>
            <a:off x="6654800" y="1384300"/>
            <a:ext cx="5537200" cy="377217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060051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lang="en-US" sz="3000" b="0" i="0" spc="-20" baseline="0" smtClean="0">
                <a:solidFill>
                  <a:schemeClr val="bg2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</a:t>
            </a:r>
          </a:p>
        </p:txBody>
      </p:sp>
    </p:spTree>
    <p:extLst>
      <p:ext uri="{BB962C8B-B14F-4D97-AF65-F5344CB8AC3E}">
        <p14:creationId xmlns:p14="http://schemas.microsoft.com/office/powerpoint/2010/main" val="6083834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24" userDrawn="1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gage Gu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6312765" y="31197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8" name="Picture Placeholder 14"/>
          <p:cNvSpPr>
            <a:spLocks noGrp="1" noChangeAspect="1"/>
          </p:cNvSpPr>
          <p:nvPr>
            <p:ph type="pic" sz="quarter" idx="13"/>
          </p:nvPr>
        </p:nvSpPr>
        <p:spPr>
          <a:xfrm>
            <a:off x="0" y="1384300"/>
            <a:ext cx="5537200" cy="377217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312765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lang="en-US" sz="3000" b="0" i="0" spc="-20" baseline="0" smtClean="0">
                <a:solidFill>
                  <a:srgbClr val="FF8C01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</a:t>
            </a:r>
          </a:p>
        </p:txBody>
      </p:sp>
    </p:spTree>
    <p:extLst>
      <p:ext uri="{BB962C8B-B14F-4D97-AF65-F5344CB8AC3E}">
        <p14:creationId xmlns:p14="http://schemas.microsoft.com/office/powerpoint/2010/main" val="17247009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56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uts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1060050" y="31197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8" name="Picture Placeholder 14"/>
          <p:cNvSpPr>
            <a:spLocks noGrp="1" noChangeAspect="1"/>
          </p:cNvSpPr>
          <p:nvPr>
            <p:ph type="pic" sz="quarter" idx="13"/>
          </p:nvPr>
        </p:nvSpPr>
        <p:spPr>
          <a:xfrm>
            <a:off x="6654800" y="1384300"/>
            <a:ext cx="5537200" cy="377217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060051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lang="en-US" sz="3000" b="0" i="0" spc="-20" baseline="0" smtClean="0">
                <a:solidFill>
                  <a:srgbClr val="FF8C01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</a:t>
            </a:r>
          </a:p>
        </p:txBody>
      </p:sp>
    </p:spTree>
    <p:extLst>
      <p:ext uri="{BB962C8B-B14F-4D97-AF65-F5344CB8AC3E}">
        <p14:creationId xmlns:p14="http://schemas.microsoft.com/office/powerpoint/2010/main" val="889999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24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uts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1060050" y="31197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7" name="Picture Placeholder 14"/>
          <p:cNvSpPr>
            <a:spLocks noGrp="1" noChangeAspect="1"/>
          </p:cNvSpPr>
          <p:nvPr>
            <p:ph type="pic" sz="quarter" idx="13"/>
          </p:nvPr>
        </p:nvSpPr>
        <p:spPr>
          <a:xfrm>
            <a:off x="6654800" y="1384300"/>
            <a:ext cx="5537200" cy="377217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060051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3200"/>
              </a:lnSpc>
              <a:spcBef>
                <a:spcPts val="0"/>
              </a:spcBef>
              <a:buFontTx/>
              <a:buNone/>
              <a:defRPr lang="en-US" sz="3000" b="0" i="0" spc="-20" baseline="0" smtClean="0">
                <a:solidFill>
                  <a:srgbClr val="ADCB0A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</a:t>
            </a:r>
          </a:p>
        </p:txBody>
      </p:sp>
    </p:spTree>
    <p:extLst>
      <p:ext uri="{BB962C8B-B14F-4D97-AF65-F5344CB8AC3E}">
        <p14:creationId xmlns:p14="http://schemas.microsoft.com/office/powerpoint/2010/main" val="8125957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24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" name="Group 144"/>
          <p:cNvGrpSpPr/>
          <p:nvPr userDrawn="1"/>
        </p:nvGrpSpPr>
        <p:grpSpPr>
          <a:xfrm>
            <a:off x="460988" y="2584450"/>
            <a:ext cx="10231437" cy="2071688"/>
            <a:chOff x="500063" y="2584450"/>
            <a:chExt cx="10231437" cy="2071688"/>
          </a:xfrm>
        </p:grpSpPr>
        <p:sp>
          <p:nvSpPr>
            <p:cNvPr id="146" name="Rectangle 47"/>
            <p:cNvSpPr>
              <a:spLocks noChangeArrowheads="1"/>
            </p:cNvSpPr>
            <p:nvPr/>
          </p:nvSpPr>
          <p:spPr bwMode="auto">
            <a:xfrm>
              <a:off x="500063" y="2587625"/>
              <a:ext cx="779462" cy="514350"/>
            </a:xfrm>
            <a:prstGeom prst="rect">
              <a:avLst/>
            </a:prstGeom>
            <a:solidFill>
              <a:srgbClr val="FFF2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47" name="Rectangle 48"/>
            <p:cNvSpPr>
              <a:spLocks noChangeArrowheads="1"/>
            </p:cNvSpPr>
            <p:nvPr/>
          </p:nvSpPr>
          <p:spPr bwMode="auto">
            <a:xfrm>
              <a:off x="585788" y="2647950"/>
              <a:ext cx="21748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48" name="Rectangle 49"/>
            <p:cNvSpPr>
              <a:spLocks noChangeArrowheads="1"/>
            </p:cNvSpPr>
            <p:nvPr/>
          </p:nvSpPr>
          <p:spPr bwMode="auto">
            <a:xfrm>
              <a:off x="782638" y="2647950"/>
              <a:ext cx="8731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Y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49" name="Rectangle 50"/>
            <p:cNvSpPr>
              <a:spLocks noChangeArrowheads="1"/>
            </p:cNvSpPr>
            <p:nvPr/>
          </p:nvSpPr>
          <p:spPr bwMode="auto">
            <a:xfrm>
              <a:off x="814388" y="2647950"/>
              <a:ext cx="22860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llow</a:t>
              </a:r>
              <a:endParaRPr kumimoji="0" lang="en-US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50" name="Rectangle 51"/>
            <p:cNvSpPr>
              <a:spLocks noChangeArrowheads="1"/>
            </p:cNvSpPr>
            <p:nvPr/>
          </p:nvSpPr>
          <p:spPr bwMode="auto">
            <a:xfrm>
              <a:off x="500063" y="2587625"/>
              <a:ext cx="779462" cy="514350"/>
            </a:xfrm>
            <a:prstGeom prst="rect">
              <a:avLst/>
            </a:prstGeom>
            <a:noFill/>
            <a:ln w="9525" cap="flat">
              <a:solidFill>
                <a:srgbClr val="FFF1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1" name="Rectangle 52"/>
            <p:cNvSpPr>
              <a:spLocks noChangeArrowheads="1"/>
            </p:cNvSpPr>
            <p:nvPr/>
          </p:nvSpPr>
          <p:spPr bwMode="auto">
            <a:xfrm>
              <a:off x="1279525" y="2584450"/>
              <a:ext cx="428625" cy="173038"/>
            </a:xfrm>
            <a:prstGeom prst="rect">
              <a:avLst/>
            </a:prstGeom>
            <a:solidFill>
              <a:srgbClr val="FFF8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2" name="Rectangle 53"/>
            <p:cNvSpPr>
              <a:spLocks noChangeArrowheads="1"/>
            </p:cNvSpPr>
            <p:nvPr/>
          </p:nvSpPr>
          <p:spPr bwMode="auto">
            <a:xfrm>
              <a:off x="1279525" y="2757488"/>
              <a:ext cx="428625" cy="173038"/>
            </a:xfrm>
            <a:prstGeom prst="rect">
              <a:avLst/>
            </a:prstGeom>
            <a:solidFill>
              <a:srgbClr val="F0E3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3" name="Rectangle 54"/>
            <p:cNvSpPr>
              <a:spLocks noChangeArrowheads="1"/>
            </p:cNvSpPr>
            <p:nvPr/>
          </p:nvSpPr>
          <p:spPr bwMode="auto">
            <a:xfrm>
              <a:off x="1279525" y="2930525"/>
              <a:ext cx="428625" cy="171450"/>
            </a:xfrm>
            <a:prstGeom prst="rect">
              <a:avLst/>
            </a:prstGeom>
            <a:solidFill>
              <a:srgbClr val="CCC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4" name="Rectangle 55"/>
            <p:cNvSpPr>
              <a:spLocks noChangeArrowheads="1"/>
            </p:cNvSpPr>
            <p:nvPr/>
          </p:nvSpPr>
          <p:spPr bwMode="auto">
            <a:xfrm>
              <a:off x="500063" y="3101975"/>
              <a:ext cx="779462" cy="517525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5" name="Rectangle 56"/>
            <p:cNvSpPr>
              <a:spLocks noChangeArrowheads="1"/>
            </p:cNvSpPr>
            <p:nvPr/>
          </p:nvSpPr>
          <p:spPr bwMode="auto">
            <a:xfrm>
              <a:off x="581025" y="3157538"/>
              <a:ext cx="8731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Y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56" name="Rectangle 57"/>
            <p:cNvSpPr>
              <a:spLocks noChangeArrowheads="1"/>
            </p:cNvSpPr>
            <p:nvPr/>
          </p:nvSpPr>
          <p:spPr bwMode="auto">
            <a:xfrm>
              <a:off x="615950" y="3157538"/>
              <a:ext cx="22860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llow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57" name="Rectangle 58"/>
            <p:cNvSpPr>
              <a:spLocks noChangeArrowheads="1"/>
            </p:cNvSpPr>
            <p:nvPr/>
          </p:nvSpPr>
          <p:spPr bwMode="auto">
            <a:xfrm>
              <a:off x="1279525" y="3101975"/>
              <a:ext cx="428625" cy="173038"/>
            </a:xfrm>
            <a:prstGeom prst="rect">
              <a:avLst/>
            </a:prstGeom>
            <a:solidFill>
              <a:srgbClr val="FFCB4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8" name="Rectangle 59"/>
            <p:cNvSpPr>
              <a:spLocks noChangeArrowheads="1"/>
            </p:cNvSpPr>
            <p:nvPr/>
          </p:nvSpPr>
          <p:spPr bwMode="auto">
            <a:xfrm>
              <a:off x="1279525" y="3275013"/>
              <a:ext cx="428625" cy="173038"/>
            </a:xfrm>
            <a:prstGeom prst="rect">
              <a:avLst/>
            </a:prstGeom>
            <a:solidFill>
              <a:srgbClr val="F0AE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59" name="Rectangle 60"/>
            <p:cNvSpPr>
              <a:spLocks noChangeArrowheads="1"/>
            </p:cNvSpPr>
            <p:nvPr/>
          </p:nvSpPr>
          <p:spPr bwMode="auto">
            <a:xfrm>
              <a:off x="1279525" y="3448050"/>
              <a:ext cx="428625" cy="171450"/>
            </a:xfrm>
            <a:prstGeom prst="rect">
              <a:avLst/>
            </a:prstGeom>
            <a:solidFill>
              <a:srgbClr val="C78E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0" name="Rectangle 61"/>
            <p:cNvSpPr>
              <a:spLocks noChangeArrowheads="1"/>
            </p:cNvSpPr>
            <p:nvPr/>
          </p:nvSpPr>
          <p:spPr bwMode="auto">
            <a:xfrm>
              <a:off x="1790700" y="2584450"/>
              <a:ext cx="776287" cy="517525"/>
            </a:xfrm>
            <a:prstGeom prst="rect">
              <a:avLst/>
            </a:prstGeom>
            <a:solidFill>
              <a:srgbClr val="FF8C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1" name="Rectangle 62"/>
            <p:cNvSpPr>
              <a:spLocks noChangeArrowheads="1"/>
            </p:cNvSpPr>
            <p:nvPr/>
          </p:nvSpPr>
          <p:spPr bwMode="auto">
            <a:xfrm>
              <a:off x="1870075" y="2640013"/>
              <a:ext cx="49688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 Orang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62" name="Rectangle 63"/>
            <p:cNvSpPr>
              <a:spLocks noChangeArrowheads="1"/>
            </p:cNvSpPr>
            <p:nvPr/>
          </p:nvSpPr>
          <p:spPr bwMode="auto">
            <a:xfrm>
              <a:off x="2566988" y="2584450"/>
              <a:ext cx="430212" cy="173038"/>
            </a:xfrm>
            <a:prstGeom prst="rect">
              <a:avLst/>
            </a:prstGeom>
            <a:solidFill>
              <a:srgbClr val="FFA94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3" name="Rectangle 64"/>
            <p:cNvSpPr>
              <a:spLocks noChangeArrowheads="1"/>
            </p:cNvSpPr>
            <p:nvPr/>
          </p:nvSpPr>
          <p:spPr bwMode="auto">
            <a:xfrm>
              <a:off x="2566988" y="2757488"/>
              <a:ext cx="430212" cy="173038"/>
            </a:xfrm>
            <a:prstGeom prst="rect">
              <a:avLst/>
            </a:prstGeom>
            <a:solidFill>
              <a:srgbClr val="F08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4" name="Rectangle 65"/>
            <p:cNvSpPr>
              <a:spLocks noChangeArrowheads="1"/>
            </p:cNvSpPr>
            <p:nvPr/>
          </p:nvSpPr>
          <p:spPr bwMode="auto">
            <a:xfrm>
              <a:off x="2566988" y="2930525"/>
              <a:ext cx="430212" cy="171450"/>
            </a:xfrm>
            <a:prstGeom prst="rect">
              <a:avLst/>
            </a:prstGeom>
            <a:solidFill>
              <a:srgbClr val="BA68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5" name="Rectangle 66"/>
            <p:cNvSpPr>
              <a:spLocks noChangeArrowheads="1"/>
            </p:cNvSpPr>
            <p:nvPr/>
          </p:nvSpPr>
          <p:spPr bwMode="auto">
            <a:xfrm>
              <a:off x="3079750" y="3101975"/>
              <a:ext cx="776287" cy="517525"/>
            </a:xfrm>
            <a:prstGeom prst="rect">
              <a:avLst/>
            </a:pr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6" name="Rectangle 67"/>
            <p:cNvSpPr>
              <a:spLocks noChangeArrowheads="1"/>
            </p:cNvSpPr>
            <p:nvPr/>
          </p:nvSpPr>
          <p:spPr bwMode="auto">
            <a:xfrm>
              <a:off x="3160713" y="3160713"/>
              <a:ext cx="9048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R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67" name="Rectangle 68"/>
            <p:cNvSpPr>
              <a:spLocks noChangeArrowheads="1"/>
            </p:cNvSpPr>
            <p:nvPr/>
          </p:nvSpPr>
          <p:spPr bwMode="auto">
            <a:xfrm>
              <a:off x="3205163" y="3160713"/>
              <a:ext cx="13017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d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68" name="Rectangle 69"/>
            <p:cNvSpPr>
              <a:spLocks noChangeArrowheads="1"/>
            </p:cNvSpPr>
            <p:nvPr/>
          </p:nvSpPr>
          <p:spPr bwMode="auto">
            <a:xfrm>
              <a:off x="3856038" y="3101975"/>
              <a:ext cx="430212" cy="173038"/>
            </a:xfrm>
            <a:prstGeom prst="rect">
              <a:avLst/>
            </a:prstGeom>
            <a:solidFill>
              <a:srgbClr val="EE4D5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69" name="Rectangle 70"/>
            <p:cNvSpPr>
              <a:spLocks noChangeArrowheads="1"/>
            </p:cNvSpPr>
            <p:nvPr/>
          </p:nvSpPr>
          <p:spPr bwMode="auto">
            <a:xfrm>
              <a:off x="3856038" y="3275013"/>
              <a:ext cx="430212" cy="173038"/>
            </a:xfrm>
            <a:prstGeom prst="rect">
              <a:avLst/>
            </a:prstGeom>
            <a:solidFill>
              <a:srgbClr val="D9102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0" name="Rectangle 71"/>
            <p:cNvSpPr>
              <a:spLocks noChangeArrowheads="1"/>
            </p:cNvSpPr>
            <p:nvPr/>
          </p:nvSpPr>
          <p:spPr bwMode="auto">
            <a:xfrm>
              <a:off x="3856038" y="3448050"/>
              <a:ext cx="430212" cy="171450"/>
            </a:xfrm>
            <a:prstGeom prst="rect">
              <a:avLst/>
            </a:prstGeom>
            <a:solidFill>
              <a:srgbClr val="A3111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1" name="Rectangle 72"/>
            <p:cNvSpPr>
              <a:spLocks noChangeArrowheads="1"/>
            </p:cNvSpPr>
            <p:nvPr/>
          </p:nvSpPr>
          <p:spPr bwMode="auto">
            <a:xfrm>
              <a:off x="4368800" y="3101975"/>
              <a:ext cx="777875" cy="517525"/>
            </a:xfrm>
            <a:prstGeom prst="rect">
              <a:avLst/>
            </a:prstGeom>
            <a:solidFill>
              <a:srgbClr val="B4009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2" name="Rectangle 73"/>
            <p:cNvSpPr>
              <a:spLocks noChangeArrowheads="1"/>
            </p:cNvSpPr>
            <p:nvPr/>
          </p:nvSpPr>
          <p:spPr bwMode="auto">
            <a:xfrm>
              <a:off x="4449763" y="3157538"/>
              <a:ext cx="3492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Magenta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73" name="Rectangle 74"/>
            <p:cNvSpPr>
              <a:spLocks noChangeArrowheads="1"/>
            </p:cNvSpPr>
            <p:nvPr/>
          </p:nvSpPr>
          <p:spPr bwMode="auto">
            <a:xfrm>
              <a:off x="5146675" y="3101975"/>
              <a:ext cx="428625" cy="173038"/>
            </a:xfrm>
            <a:prstGeom prst="rect">
              <a:avLst/>
            </a:prstGeom>
            <a:solidFill>
              <a:srgbClr val="C740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4" name="Rectangle 75"/>
            <p:cNvSpPr>
              <a:spLocks noChangeArrowheads="1"/>
            </p:cNvSpPr>
            <p:nvPr/>
          </p:nvSpPr>
          <p:spPr bwMode="auto">
            <a:xfrm>
              <a:off x="5146675" y="3275013"/>
              <a:ext cx="428625" cy="173038"/>
            </a:xfrm>
            <a:prstGeom prst="rect">
              <a:avLst/>
            </a:prstGeom>
            <a:solidFill>
              <a:srgbClr val="9E00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5" name="Rectangle 76"/>
            <p:cNvSpPr>
              <a:spLocks noChangeArrowheads="1"/>
            </p:cNvSpPr>
            <p:nvPr/>
          </p:nvSpPr>
          <p:spPr bwMode="auto">
            <a:xfrm>
              <a:off x="5146675" y="3448050"/>
              <a:ext cx="428625" cy="171450"/>
            </a:xfrm>
            <a:prstGeom prst="rect">
              <a:avLst/>
            </a:prstGeom>
            <a:solidFill>
              <a:srgbClr val="8500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6" name="Rectangle 77"/>
            <p:cNvSpPr>
              <a:spLocks noChangeArrowheads="1"/>
            </p:cNvSpPr>
            <p:nvPr/>
          </p:nvSpPr>
          <p:spPr bwMode="auto">
            <a:xfrm>
              <a:off x="5656263" y="3101975"/>
              <a:ext cx="779462" cy="517525"/>
            </a:xfrm>
            <a:prstGeom prst="rect">
              <a:avLst/>
            </a:prstGeom>
            <a:solidFill>
              <a:srgbClr val="5C2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7" name="Rectangle 78"/>
            <p:cNvSpPr>
              <a:spLocks noChangeArrowheads="1"/>
            </p:cNvSpPr>
            <p:nvPr/>
          </p:nvSpPr>
          <p:spPr bwMode="auto">
            <a:xfrm>
              <a:off x="5737225" y="3157538"/>
              <a:ext cx="26670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Purpl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78" name="Rectangle 79"/>
            <p:cNvSpPr>
              <a:spLocks noChangeArrowheads="1"/>
            </p:cNvSpPr>
            <p:nvPr/>
          </p:nvSpPr>
          <p:spPr bwMode="auto">
            <a:xfrm>
              <a:off x="6435725" y="3101975"/>
              <a:ext cx="427037" cy="173038"/>
            </a:xfrm>
            <a:prstGeom prst="rect">
              <a:avLst/>
            </a:prstGeom>
            <a:solidFill>
              <a:srgbClr val="8562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79" name="Rectangle 80"/>
            <p:cNvSpPr>
              <a:spLocks noChangeArrowheads="1"/>
            </p:cNvSpPr>
            <p:nvPr/>
          </p:nvSpPr>
          <p:spPr bwMode="auto">
            <a:xfrm>
              <a:off x="6435725" y="3275013"/>
              <a:ext cx="427037" cy="173038"/>
            </a:xfrm>
            <a:prstGeom prst="rect">
              <a:avLst/>
            </a:prstGeom>
            <a:solidFill>
              <a:srgbClr val="522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0" name="Rectangle 81"/>
            <p:cNvSpPr>
              <a:spLocks noChangeArrowheads="1"/>
            </p:cNvSpPr>
            <p:nvPr/>
          </p:nvSpPr>
          <p:spPr bwMode="auto">
            <a:xfrm>
              <a:off x="6435725" y="3448050"/>
              <a:ext cx="427037" cy="171450"/>
            </a:xfrm>
            <a:prstGeom prst="rect">
              <a:avLst/>
            </a:prstGeom>
            <a:solidFill>
              <a:srgbClr val="4014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1" name="Rectangle 82"/>
            <p:cNvSpPr>
              <a:spLocks noChangeArrowheads="1"/>
            </p:cNvSpPr>
            <p:nvPr/>
          </p:nvSpPr>
          <p:spPr bwMode="auto">
            <a:xfrm>
              <a:off x="6945313" y="3101975"/>
              <a:ext cx="777875" cy="517525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2" name="Rectangle 83"/>
            <p:cNvSpPr>
              <a:spLocks noChangeArrowheads="1"/>
            </p:cNvSpPr>
            <p:nvPr/>
          </p:nvSpPr>
          <p:spPr bwMode="auto">
            <a:xfrm>
              <a:off x="7026275" y="3157538"/>
              <a:ext cx="1968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Blu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83" name="Rectangle 84"/>
            <p:cNvSpPr>
              <a:spLocks noChangeArrowheads="1"/>
            </p:cNvSpPr>
            <p:nvPr/>
          </p:nvSpPr>
          <p:spPr bwMode="auto">
            <a:xfrm>
              <a:off x="7723188" y="3101975"/>
              <a:ext cx="428625" cy="173038"/>
            </a:xfrm>
            <a:prstGeom prst="rect">
              <a:avLst/>
            </a:prstGeom>
            <a:solidFill>
              <a:srgbClr val="409A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4" name="Rectangle 85"/>
            <p:cNvSpPr>
              <a:spLocks noChangeArrowheads="1"/>
            </p:cNvSpPr>
            <p:nvPr/>
          </p:nvSpPr>
          <p:spPr bwMode="auto">
            <a:xfrm>
              <a:off x="7723188" y="3275013"/>
              <a:ext cx="428625" cy="173038"/>
            </a:xfrm>
            <a:prstGeom prst="rect">
              <a:avLst/>
            </a:prstGeom>
            <a:solidFill>
              <a:srgbClr val="006FC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5" name="Rectangle 86"/>
            <p:cNvSpPr>
              <a:spLocks noChangeArrowheads="1"/>
            </p:cNvSpPr>
            <p:nvPr/>
          </p:nvSpPr>
          <p:spPr bwMode="auto">
            <a:xfrm>
              <a:off x="7723188" y="3448050"/>
              <a:ext cx="428625" cy="171450"/>
            </a:xfrm>
            <a:prstGeom prst="rect">
              <a:avLst/>
            </a:prstGeom>
            <a:solidFill>
              <a:srgbClr val="0052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6" name="Rectangle 87"/>
            <p:cNvSpPr>
              <a:spLocks noChangeArrowheads="1"/>
            </p:cNvSpPr>
            <p:nvPr/>
          </p:nvSpPr>
          <p:spPr bwMode="auto">
            <a:xfrm>
              <a:off x="8234363" y="3101975"/>
              <a:ext cx="777875" cy="517525"/>
            </a:xfrm>
            <a:prstGeom prst="rect">
              <a:avLst/>
            </a:prstGeom>
            <a:solidFill>
              <a:srgbClr val="0082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87" name="Rectangle 88"/>
            <p:cNvSpPr>
              <a:spLocks noChangeArrowheads="1"/>
            </p:cNvSpPr>
            <p:nvPr/>
          </p:nvSpPr>
          <p:spPr bwMode="auto">
            <a:xfrm>
              <a:off x="8315325" y="3157538"/>
              <a:ext cx="825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T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88" name="Rectangle 89"/>
            <p:cNvSpPr>
              <a:spLocks noChangeArrowheads="1"/>
            </p:cNvSpPr>
            <p:nvPr/>
          </p:nvSpPr>
          <p:spPr bwMode="auto">
            <a:xfrm>
              <a:off x="8345488" y="3157538"/>
              <a:ext cx="1444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al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89" name="Rectangle 90"/>
            <p:cNvSpPr>
              <a:spLocks noChangeArrowheads="1"/>
            </p:cNvSpPr>
            <p:nvPr/>
          </p:nvSpPr>
          <p:spPr bwMode="auto">
            <a:xfrm>
              <a:off x="9012238" y="3101975"/>
              <a:ext cx="430212" cy="173038"/>
            </a:xfrm>
            <a:prstGeom prst="rect">
              <a:avLst/>
            </a:prstGeom>
            <a:solidFill>
              <a:srgbClr val="40A19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0" name="Rectangle 91"/>
            <p:cNvSpPr>
              <a:spLocks noChangeArrowheads="1"/>
            </p:cNvSpPr>
            <p:nvPr/>
          </p:nvSpPr>
          <p:spPr bwMode="auto">
            <a:xfrm>
              <a:off x="9012238" y="3275013"/>
              <a:ext cx="430212" cy="173038"/>
            </a:xfrm>
            <a:prstGeom prst="rect">
              <a:avLst/>
            </a:prstGeom>
            <a:solidFill>
              <a:srgbClr val="0073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1" name="Rectangle 92"/>
            <p:cNvSpPr>
              <a:spLocks noChangeArrowheads="1"/>
            </p:cNvSpPr>
            <p:nvPr/>
          </p:nvSpPr>
          <p:spPr bwMode="auto">
            <a:xfrm>
              <a:off x="9012238" y="3448050"/>
              <a:ext cx="430212" cy="171450"/>
            </a:xfrm>
            <a:prstGeom prst="rect">
              <a:avLst/>
            </a:prstGeom>
            <a:solidFill>
              <a:srgbClr val="00585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2" name="Rectangle 93"/>
            <p:cNvSpPr>
              <a:spLocks noChangeArrowheads="1"/>
            </p:cNvSpPr>
            <p:nvPr/>
          </p:nvSpPr>
          <p:spPr bwMode="auto">
            <a:xfrm>
              <a:off x="9525000" y="3101975"/>
              <a:ext cx="776287" cy="517525"/>
            </a:xfrm>
            <a:prstGeom prst="rect">
              <a:avLst/>
            </a:prstGeom>
            <a:solidFill>
              <a:srgbClr val="107C1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3" name="Rectangle 94"/>
            <p:cNvSpPr>
              <a:spLocks noChangeArrowheads="1"/>
            </p:cNvSpPr>
            <p:nvPr/>
          </p:nvSpPr>
          <p:spPr bwMode="auto">
            <a:xfrm>
              <a:off x="9604375" y="3157538"/>
              <a:ext cx="952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G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94" name="Rectangle 95"/>
            <p:cNvSpPr>
              <a:spLocks noChangeArrowheads="1"/>
            </p:cNvSpPr>
            <p:nvPr/>
          </p:nvSpPr>
          <p:spPr bwMode="auto">
            <a:xfrm>
              <a:off x="9656763" y="3157538"/>
              <a:ext cx="7143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r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95" name="Rectangle 96"/>
            <p:cNvSpPr>
              <a:spLocks noChangeArrowheads="1"/>
            </p:cNvSpPr>
            <p:nvPr/>
          </p:nvSpPr>
          <p:spPr bwMode="auto">
            <a:xfrm>
              <a:off x="9682163" y="3157538"/>
              <a:ext cx="1698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en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96" name="Rectangle 97"/>
            <p:cNvSpPr>
              <a:spLocks noChangeArrowheads="1"/>
            </p:cNvSpPr>
            <p:nvPr/>
          </p:nvSpPr>
          <p:spPr bwMode="auto">
            <a:xfrm>
              <a:off x="10301288" y="3101975"/>
              <a:ext cx="430212" cy="173038"/>
            </a:xfrm>
            <a:prstGeom prst="rect">
              <a:avLst/>
            </a:prstGeom>
            <a:solidFill>
              <a:srgbClr val="4C9D4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7" name="Rectangle 98"/>
            <p:cNvSpPr>
              <a:spLocks noChangeArrowheads="1"/>
            </p:cNvSpPr>
            <p:nvPr/>
          </p:nvSpPr>
          <p:spPr bwMode="auto">
            <a:xfrm>
              <a:off x="10301288" y="3275013"/>
              <a:ext cx="430212" cy="173038"/>
            </a:xfrm>
            <a:prstGeom prst="rect">
              <a:avLst/>
            </a:prstGeom>
            <a:solidFill>
              <a:srgbClr val="0E6D0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8" name="Rectangle 99"/>
            <p:cNvSpPr>
              <a:spLocks noChangeArrowheads="1"/>
            </p:cNvSpPr>
            <p:nvPr/>
          </p:nvSpPr>
          <p:spPr bwMode="auto">
            <a:xfrm>
              <a:off x="10301288" y="3448050"/>
              <a:ext cx="430212" cy="171450"/>
            </a:xfrm>
            <a:prstGeom prst="rect">
              <a:avLst/>
            </a:prstGeom>
            <a:solidFill>
              <a:srgbClr val="10611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199" name="Rectangle 100"/>
            <p:cNvSpPr>
              <a:spLocks noChangeArrowheads="1"/>
            </p:cNvSpPr>
            <p:nvPr/>
          </p:nvSpPr>
          <p:spPr bwMode="auto">
            <a:xfrm>
              <a:off x="4368800" y="2584450"/>
              <a:ext cx="777875" cy="517525"/>
            </a:xfrm>
            <a:prstGeom prst="rect">
              <a:avLst/>
            </a:prstGeom>
            <a:solidFill>
              <a:srgbClr val="E3008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0" name="Rectangle 101"/>
            <p:cNvSpPr>
              <a:spLocks noChangeArrowheads="1"/>
            </p:cNvSpPr>
            <p:nvPr/>
          </p:nvSpPr>
          <p:spPr bwMode="auto">
            <a:xfrm>
              <a:off x="4449763" y="2640013"/>
              <a:ext cx="54610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 Magenta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01" name="Rectangle 102"/>
            <p:cNvSpPr>
              <a:spLocks noChangeArrowheads="1"/>
            </p:cNvSpPr>
            <p:nvPr/>
          </p:nvSpPr>
          <p:spPr bwMode="auto">
            <a:xfrm>
              <a:off x="5146675" y="2584450"/>
              <a:ext cx="428625" cy="173038"/>
            </a:xfrm>
            <a:prstGeom prst="rect">
              <a:avLst/>
            </a:prstGeom>
            <a:solidFill>
              <a:srgbClr val="EA40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2" name="Rectangle 103"/>
            <p:cNvSpPr>
              <a:spLocks noChangeArrowheads="1"/>
            </p:cNvSpPr>
            <p:nvPr/>
          </p:nvSpPr>
          <p:spPr bwMode="auto">
            <a:xfrm>
              <a:off x="5146675" y="2757488"/>
              <a:ext cx="428625" cy="173038"/>
            </a:xfrm>
            <a:prstGeom prst="rect">
              <a:avLst/>
            </a:prstGeom>
            <a:solidFill>
              <a:srgbClr val="D400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3" name="Rectangle 104"/>
            <p:cNvSpPr>
              <a:spLocks noChangeArrowheads="1"/>
            </p:cNvSpPr>
            <p:nvPr/>
          </p:nvSpPr>
          <p:spPr bwMode="auto">
            <a:xfrm>
              <a:off x="5146675" y="2930525"/>
              <a:ext cx="428625" cy="171450"/>
            </a:xfrm>
            <a:prstGeom prst="rect">
              <a:avLst/>
            </a:prstGeom>
            <a:solidFill>
              <a:srgbClr val="9C005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4" name="Rectangle 105"/>
            <p:cNvSpPr>
              <a:spLocks noChangeArrowheads="1"/>
            </p:cNvSpPr>
            <p:nvPr/>
          </p:nvSpPr>
          <p:spPr bwMode="auto">
            <a:xfrm>
              <a:off x="5656263" y="2584450"/>
              <a:ext cx="779462" cy="517525"/>
            </a:xfrm>
            <a:prstGeom prst="rect">
              <a:avLst/>
            </a:prstGeom>
            <a:solidFill>
              <a:srgbClr val="B4A0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5" name="Rectangle 106"/>
            <p:cNvSpPr>
              <a:spLocks noChangeArrowheads="1"/>
            </p:cNvSpPr>
            <p:nvPr/>
          </p:nvSpPr>
          <p:spPr bwMode="auto">
            <a:xfrm>
              <a:off x="5737225" y="2640013"/>
              <a:ext cx="4635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 Purpl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06" name="Rectangle 107"/>
            <p:cNvSpPr>
              <a:spLocks noChangeArrowheads="1"/>
            </p:cNvSpPr>
            <p:nvPr/>
          </p:nvSpPr>
          <p:spPr bwMode="auto">
            <a:xfrm>
              <a:off x="6435725" y="2584450"/>
              <a:ext cx="427037" cy="173038"/>
            </a:xfrm>
            <a:prstGeom prst="rect">
              <a:avLst/>
            </a:prstGeom>
            <a:solidFill>
              <a:srgbClr val="C7B8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7" name="Rectangle 108"/>
            <p:cNvSpPr>
              <a:spLocks noChangeArrowheads="1"/>
            </p:cNvSpPr>
            <p:nvPr/>
          </p:nvSpPr>
          <p:spPr bwMode="auto">
            <a:xfrm>
              <a:off x="6435725" y="2757488"/>
              <a:ext cx="427037" cy="173038"/>
            </a:xfrm>
            <a:prstGeom prst="rect">
              <a:avLst/>
            </a:prstGeom>
            <a:solidFill>
              <a:srgbClr val="A996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8" name="Rectangle 109"/>
            <p:cNvSpPr>
              <a:spLocks noChangeArrowheads="1"/>
            </p:cNvSpPr>
            <p:nvPr/>
          </p:nvSpPr>
          <p:spPr bwMode="auto">
            <a:xfrm>
              <a:off x="6435725" y="2930525"/>
              <a:ext cx="427037" cy="171450"/>
            </a:xfrm>
            <a:prstGeom prst="rect">
              <a:avLst/>
            </a:prstGeom>
            <a:solidFill>
              <a:srgbClr val="9080C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09" name="Rectangle 110"/>
            <p:cNvSpPr>
              <a:spLocks noChangeArrowheads="1"/>
            </p:cNvSpPr>
            <p:nvPr/>
          </p:nvSpPr>
          <p:spPr bwMode="auto">
            <a:xfrm>
              <a:off x="6945313" y="2584450"/>
              <a:ext cx="777875" cy="517525"/>
            </a:xfrm>
            <a:prstGeom prst="rect">
              <a:avLst/>
            </a:prstGeom>
            <a:solidFill>
              <a:srgbClr val="00BC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0" name="Rectangle 111"/>
            <p:cNvSpPr>
              <a:spLocks noChangeArrowheads="1"/>
            </p:cNvSpPr>
            <p:nvPr/>
          </p:nvSpPr>
          <p:spPr bwMode="auto">
            <a:xfrm>
              <a:off x="7026275" y="2640013"/>
              <a:ext cx="39052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 Blu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11" name="Rectangle 112"/>
            <p:cNvSpPr>
              <a:spLocks noChangeArrowheads="1"/>
            </p:cNvSpPr>
            <p:nvPr/>
          </p:nvSpPr>
          <p:spPr bwMode="auto">
            <a:xfrm>
              <a:off x="7723188" y="2584450"/>
              <a:ext cx="428625" cy="173038"/>
            </a:xfrm>
            <a:prstGeom prst="rect">
              <a:avLst/>
            </a:prstGeom>
            <a:solidFill>
              <a:srgbClr val="40CD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2" name="Rectangle 113"/>
            <p:cNvSpPr>
              <a:spLocks noChangeArrowheads="1"/>
            </p:cNvSpPr>
            <p:nvPr/>
          </p:nvSpPr>
          <p:spPr bwMode="auto">
            <a:xfrm>
              <a:off x="7723188" y="2757488"/>
              <a:ext cx="428625" cy="173038"/>
            </a:xfrm>
            <a:prstGeom prst="rect">
              <a:avLst/>
            </a:prstGeom>
            <a:solidFill>
              <a:srgbClr val="00B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3" name="Rectangle 114"/>
            <p:cNvSpPr>
              <a:spLocks noChangeArrowheads="1"/>
            </p:cNvSpPr>
            <p:nvPr/>
          </p:nvSpPr>
          <p:spPr bwMode="auto">
            <a:xfrm>
              <a:off x="7723188" y="2930525"/>
              <a:ext cx="428625" cy="171450"/>
            </a:xfrm>
            <a:prstGeom prst="rect">
              <a:avLst/>
            </a:prstGeom>
            <a:solidFill>
              <a:srgbClr val="0086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4" name="Rectangle 115"/>
            <p:cNvSpPr>
              <a:spLocks noChangeArrowheads="1"/>
            </p:cNvSpPr>
            <p:nvPr/>
          </p:nvSpPr>
          <p:spPr bwMode="auto">
            <a:xfrm>
              <a:off x="6945313" y="4138613"/>
              <a:ext cx="777875" cy="517525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5" name="Rectangle 116"/>
            <p:cNvSpPr>
              <a:spLocks noChangeArrowheads="1"/>
            </p:cNvSpPr>
            <p:nvPr/>
          </p:nvSpPr>
          <p:spPr bwMode="auto">
            <a:xfrm>
              <a:off x="7026275" y="4192588"/>
              <a:ext cx="37782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 Blu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16" name="Rectangle 117"/>
            <p:cNvSpPr>
              <a:spLocks noChangeArrowheads="1"/>
            </p:cNvSpPr>
            <p:nvPr/>
          </p:nvSpPr>
          <p:spPr bwMode="auto">
            <a:xfrm>
              <a:off x="7723188" y="4138613"/>
              <a:ext cx="428625" cy="171450"/>
            </a:xfrm>
            <a:prstGeom prst="rect">
              <a:avLst/>
            </a:prstGeom>
            <a:solidFill>
              <a:srgbClr val="4058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7" name="Rectangle 118"/>
            <p:cNvSpPr>
              <a:spLocks noChangeArrowheads="1"/>
            </p:cNvSpPr>
            <p:nvPr/>
          </p:nvSpPr>
          <p:spPr bwMode="auto">
            <a:xfrm>
              <a:off x="7723188" y="4310063"/>
              <a:ext cx="428625" cy="173038"/>
            </a:xfrm>
            <a:prstGeom prst="rect">
              <a:avLst/>
            </a:prstGeom>
            <a:solidFill>
              <a:srgbClr val="001A4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8" name="Rectangle 119"/>
            <p:cNvSpPr>
              <a:spLocks noChangeArrowheads="1"/>
            </p:cNvSpPr>
            <p:nvPr/>
          </p:nvSpPr>
          <p:spPr bwMode="auto">
            <a:xfrm>
              <a:off x="7723188" y="4483100"/>
              <a:ext cx="428625" cy="173038"/>
            </a:xfrm>
            <a:prstGeom prst="rect">
              <a:avLst/>
            </a:prstGeom>
            <a:solidFill>
              <a:srgbClr val="0011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19" name="Rectangle 120"/>
            <p:cNvSpPr>
              <a:spLocks noChangeArrowheads="1"/>
            </p:cNvSpPr>
            <p:nvPr/>
          </p:nvSpPr>
          <p:spPr bwMode="auto">
            <a:xfrm>
              <a:off x="8234363" y="2584450"/>
              <a:ext cx="777875" cy="517525"/>
            </a:xfrm>
            <a:prstGeom prst="rect">
              <a:avLst/>
            </a:prstGeom>
            <a:solidFill>
              <a:srgbClr val="00B2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20" name="Rectangle 121"/>
            <p:cNvSpPr>
              <a:spLocks noChangeArrowheads="1"/>
            </p:cNvSpPr>
            <p:nvPr/>
          </p:nvSpPr>
          <p:spPr bwMode="auto">
            <a:xfrm>
              <a:off x="8315325" y="2640013"/>
              <a:ext cx="21748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21" name="Rectangle 122"/>
            <p:cNvSpPr>
              <a:spLocks noChangeArrowheads="1"/>
            </p:cNvSpPr>
            <p:nvPr/>
          </p:nvSpPr>
          <p:spPr bwMode="auto">
            <a:xfrm>
              <a:off x="8509000" y="2640013"/>
              <a:ext cx="825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T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22" name="Rectangle 123"/>
            <p:cNvSpPr>
              <a:spLocks noChangeArrowheads="1"/>
            </p:cNvSpPr>
            <p:nvPr/>
          </p:nvSpPr>
          <p:spPr bwMode="auto">
            <a:xfrm>
              <a:off x="8539163" y="2640013"/>
              <a:ext cx="1444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al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23" name="Rectangle 124"/>
            <p:cNvSpPr>
              <a:spLocks noChangeArrowheads="1"/>
            </p:cNvSpPr>
            <p:nvPr/>
          </p:nvSpPr>
          <p:spPr bwMode="auto">
            <a:xfrm>
              <a:off x="9012238" y="2584450"/>
              <a:ext cx="430212" cy="173038"/>
            </a:xfrm>
            <a:prstGeom prst="rect">
              <a:avLst/>
            </a:prstGeom>
            <a:solidFill>
              <a:srgbClr val="40C5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24" name="Rectangle 125"/>
            <p:cNvSpPr>
              <a:spLocks noChangeArrowheads="1"/>
            </p:cNvSpPr>
            <p:nvPr/>
          </p:nvSpPr>
          <p:spPr bwMode="auto">
            <a:xfrm>
              <a:off x="9012238" y="2757488"/>
              <a:ext cx="430212" cy="173038"/>
            </a:xfrm>
            <a:prstGeom prst="rect">
              <a:avLst/>
            </a:prstGeom>
            <a:solidFill>
              <a:srgbClr val="00A3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25" name="Rectangle 126"/>
            <p:cNvSpPr>
              <a:spLocks noChangeArrowheads="1"/>
            </p:cNvSpPr>
            <p:nvPr/>
          </p:nvSpPr>
          <p:spPr bwMode="auto">
            <a:xfrm>
              <a:off x="9012238" y="2930525"/>
              <a:ext cx="430212" cy="171450"/>
            </a:xfrm>
            <a:prstGeom prst="rect">
              <a:avLst/>
            </a:prstGeom>
            <a:solidFill>
              <a:srgbClr val="0087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26" name="Rectangle 127"/>
            <p:cNvSpPr>
              <a:spLocks noChangeArrowheads="1"/>
            </p:cNvSpPr>
            <p:nvPr/>
          </p:nvSpPr>
          <p:spPr bwMode="auto">
            <a:xfrm>
              <a:off x="9525000" y="2584450"/>
              <a:ext cx="776287" cy="517525"/>
            </a:xfrm>
            <a:prstGeom prst="rect">
              <a:avLst/>
            </a:pr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27" name="Rectangle 128"/>
            <p:cNvSpPr>
              <a:spLocks noChangeArrowheads="1"/>
            </p:cNvSpPr>
            <p:nvPr/>
          </p:nvSpPr>
          <p:spPr bwMode="auto">
            <a:xfrm>
              <a:off x="9604375" y="2640013"/>
              <a:ext cx="29051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Light G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28" name="Rectangle 129"/>
            <p:cNvSpPr>
              <a:spLocks noChangeArrowheads="1"/>
            </p:cNvSpPr>
            <p:nvPr/>
          </p:nvSpPr>
          <p:spPr bwMode="auto">
            <a:xfrm>
              <a:off x="9850438" y="2640013"/>
              <a:ext cx="7143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r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29" name="Rectangle 130"/>
            <p:cNvSpPr>
              <a:spLocks noChangeArrowheads="1"/>
            </p:cNvSpPr>
            <p:nvPr/>
          </p:nvSpPr>
          <p:spPr bwMode="auto">
            <a:xfrm>
              <a:off x="9879013" y="2640013"/>
              <a:ext cx="1698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en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30" name="Rectangle 131"/>
            <p:cNvSpPr>
              <a:spLocks noChangeArrowheads="1"/>
            </p:cNvSpPr>
            <p:nvPr/>
          </p:nvSpPr>
          <p:spPr bwMode="auto">
            <a:xfrm>
              <a:off x="10301288" y="2584450"/>
              <a:ext cx="430212" cy="173038"/>
            </a:xfrm>
            <a:prstGeom prst="rect">
              <a:avLst/>
            </a:prstGeom>
            <a:solidFill>
              <a:srgbClr val="CBE24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1" name="Rectangle 132"/>
            <p:cNvSpPr>
              <a:spLocks noChangeArrowheads="1"/>
            </p:cNvSpPr>
            <p:nvPr/>
          </p:nvSpPr>
          <p:spPr bwMode="auto">
            <a:xfrm>
              <a:off x="10301288" y="2757488"/>
              <a:ext cx="430212" cy="173038"/>
            </a:xfrm>
            <a:prstGeom prst="rect">
              <a:avLst/>
            </a:prstGeom>
            <a:solidFill>
              <a:srgbClr val="ADC90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2" name="Rectangle 133"/>
            <p:cNvSpPr>
              <a:spLocks noChangeArrowheads="1"/>
            </p:cNvSpPr>
            <p:nvPr/>
          </p:nvSpPr>
          <p:spPr bwMode="auto">
            <a:xfrm>
              <a:off x="10301288" y="2930525"/>
              <a:ext cx="430212" cy="171450"/>
            </a:xfrm>
            <a:prstGeom prst="rect">
              <a:avLst/>
            </a:prstGeom>
            <a:solidFill>
              <a:srgbClr val="91A80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3" name="Rectangle 134"/>
            <p:cNvSpPr>
              <a:spLocks noChangeArrowheads="1"/>
            </p:cNvSpPr>
            <p:nvPr/>
          </p:nvSpPr>
          <p:spPr bwMode="auto">
            <a:xfrm>
              <a:off x="1790700" y="3101975"/>
              <a:ext cx="776287" cy="517525"/>
            </a:xfrm>
            <a:prstGeom prst="rect">
              <a:avLst/>
            </a:pr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4" name="Rectangle 135"/>
            <p:cNvSpPr>
              <a:spLocks noChangeArrowheads="1"/>
            </p:cNvSpPr>
            <p:nvPr/>
          </p:nvSpPr>
          <p:spPr bwMode="auto">
            <a:xfrm>
              <a:off x="1870075" y="3157538"/>
              <a:ext cx="30003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Orang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35" name="Rectangle 136"/>
            <p:cNvSpPr>
              <a:spLocks noChangeArrowheads="1"/>
            </p:cNvSpPr>
            <p:nvPr/>
          </p:nvSpPr>
          <p:spPr bwMode="auto">
            <a:xfrm>
              <a:off x="2566988" y="3101975"/>
              <a:ext cx="430212" cy="173038"/>
            </a:xfrm>
            <a:prstGeom prst="rect">
              <a:avLst/>
            </a:prstGeom>
            <a:solidFill>
              <a:srgbClr val="E26C4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6" name="Rectangle 137"/>
            <p:cNvSpPr>
              <a:spLocks noChangeArrowheads="1"/>
            </p:cNvSpPr>
            <p:nvPr/>
          </p:nvSpPr>
          <p:spPr bwMode="auto">
            <a:xfrm>
              <a:off x="2566988" y="3275013"/>
              <a:ext cx="430212" cy="173038"/>
            </a:xfrm>
            <a:prstGeom prst="rect">
              <a:avLst/>
            </a:prstGeom>
            <a:solidFill>
              <a:srgbClr val="BD360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7" name="Rectangle 138"/>
            <p:cNvSpPr>
              <a:spLocks noChangeArrowheads="1"/>
            </p:cNvSpPr>
            <p:nvPr/>
          </p:nvSpPr>
          <p:spPr bwMode="auto">
            <a:xfrm>
              <a:off x="2566988" y="3448050"/>
              <a:ext cx="430212" cy="171450"/>
            </a:xfrm>
            <a:prstGeom prst="rect">
              <a:avLst/>
            </a:prstGeom>
            <a:solidFill>
              <a:srgbClr val="9C280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8" name="Rectangle 139"/>
            <p:cNvSpPr>
              <a:spLocks noChangeArrowheads="1"/>
            </p:cNvSpPr>
            <p:nvPr/>
          </p:nvSpPr>
          <p:spPr bwMode="auto">
            <a:xfrm>
              <a:off x="3079750" y="3619500"/>
              <a:ext cx="776287" cy="519113"/>
            </a:xfrm>
            <a:prstGeom prst="rect">
              <a:avLst/>
            </a:prstGeom>
            <a:solidFill>
              <a:srgbClr val="A8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39" name="Rectangle 140"/>
            <p:cNvSpPr>
              <a:spLocks noChangeArrowheads="1"/>
            </p:cNvSpPr>
            <p:nvPr/>
          </p:nvSpPr>
          <p:spPr bwMode="auto">
            <a:xfrm>
              <a:off x="3160713" y="3675063"/>
              <a:ext cx="20637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0" name="Rectangle 141"/>
            <p:cNvSpPr>
              <a:spLocks noChangeArrowheads="1"/>
            </p:cNvSpPr>
            <p:nvPr/>
          </p:nvSpPr>
          <p:spPr bwMode="auto">
            <a:xfrm>
              <a:off x="3341688" y="3675063"/>
              <a:ext cx="9048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R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1" name="Rectangle 142"/>
            <p:cNvSpPr>
              <a:spLocks noChangeArrowheads="1"/>
            </p:cNvSpPr>
            <p:nvPr/>
          </p:nvSpPr>
          <p:spPr bwMode="auto">
            <a:xfrm>
              <a:off x="3386138" y="3675063"/>
              <a:ext cx="13017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d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2" name="Rectangle 143"/>
            <p:cNvSpPr>
              <a:spLocks noChangeArrowheads="1"/>
            </p:cNvSpPr>
            <p:nvPr/>
          </p:nvSpPr>
          <p:spPr bwMode="auto">
            <a:xfrm>
              <a:off x="3856038" y="3619500"/>
              <a:ext cx="430212" cy="173038"/>
            </a:xfrm>
            <a:prstGeom prst="rect">
              <a:avLst/>
            </a:prstGeom>
            <a:solidFill>
              <a:srgbClr val="BE404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3" name="Rectangle 144"/>
            <p:cNvSpPr>
              <a:spLocks noChangeArrowheads="1"/>
            </p:cNvSpPr>
            <p:nvPr/>
          </p:nvSpPr>
          <p:spPr bwMode="auto">
            <a:xfrm>
              <a:off x="3856038" y="3792538"/>
              <a:ext cx="430212" cy="173038"/>
            </a:xfrm>
            <a:prstGeom prst="rect">
              <a:avLst/>
            </a:prstGeom>
            <a:solidFill>
              <a:srgbClr val="99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4" name="Rectangle 145"/>
            <p:cNvSpPr>
              <a:spLocks noChangeArrowheads="1"/>
            </p:cNvSpPr>
            <p:nvPr/>
          </p:nvSpPr>
          <p:spPr bwMode="auto">
            <a:xfrm>
              <a:off x="3856038" y="3965575"/>
              <a:ext cx="430212" cy="173038"/>
            </a:xfrm>
            <a:prstGeom prst="rect">
              <a:avLst/>
            </a:prstGeom>
            <a:solidFill>
              <a:srgbClr val="75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5" name="Rectangle 146"/>
            <p:cNvSpPr>
              <a:spLocks noChangeArrowheads="1"/>
            </p:cNvSpPr>
            <p:nvPr/>
          </p:nvSpPr>
          <p:spPr bwMode="auto">
            <a:xfrm>
              <a:off x="4368800" y="3619500"/>
              <a:ext cx="777875" cy="519113"/>
            </a:xfrm>
            <a:prstGeom prst="rect">
              <a:avLst/>
            </a:prstGeom>
            <a:solidFill>
              <a:srgbClr val="5C005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6" name="Rectangle 147"/>
            <p:cNvSpPr>
              <a:spLocks noChangeArrowheads="1"/>
            </p:cNvSpPr>
            <p:nvPr/>
          </p:nvSpPr>
          <p:spPr bwMode="auto">
            <a:xfrm>
              <a:off x="4449763" y="3675063"/>
              <a:ext cx="53340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 Magenta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7" name="Rectangle 148"/>
            <p:cNvSpPr>
              <a:spLocks noChangeArrowheads="1"/>
            </p:cNvSpPr>
            <p:nvPr/>
          </p:nvSpPr>
          <p:spPr bwMode="auto">
            <a:xfrm>
              <a:off x="5146675" y="3619500"/>
              <a:ext cx="428625" cy="173038"/>
            </a:xfrm>
            <a:prstGeom prst="rect">
              <a:avLst/>
            </a:prstGeom>
            <a:solidFill>
              <a:srgbClr val="85408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8" name="Rectangle 149"/>
            <p:cNvSpPr>
              <a:spLocks noChangeArrowheads="1"/>
            </p:cNvSpPr>
            <p:nvPr/>
          </p:nvSpPr>
          <p:spPr bwMode="auto">
            <a:xfrm>
              <a:off x="5146675" y="3792538"/>
              <a:ext cx="428625" cy="173038"/>
            </a:xfrm>
            <a:prstGeom prst="rect">
              <a:avLst/>
            </a:prstGeom>
            <a:solidFill>
              <a:srgbClr val="4D004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49" name="Rectangle 150"/>
            <p:cNvSpPr>
              <a:spLocks noChangeArrowheads="1"/>
            </p:cNvSpPr>
            <p:nvPr/>
          </p:nvSpPr>
          <p:spPr bwMode="auto">
            <a:xfrm>
              <a:off x="5146675" y="3965575"/>
              <a:ext cx="428625" cy="173038"/>
            </a:xfrm>
            <a:prstGeom prst="rect">
              <a:avLst/>
            </a:prstGeom>
            <a:solidFill>
              <a:srgbClr val="38003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0" name="Rectangle 151"/>
            <p:cNvSpPr>
              <a:spLocks noChangeArrowheads="1"/>
            </p:cNvSpPr>
            <p:nvPr/>
          </p:nvSpPr>
          <p:spPr bwMode="auto">
            <a:xfrm>
              <a:off x="5656263" y="3619500"/>
              <a:ext cx="779462" cy="519113"/>
            </a:xfrm>
            <a:prstGeom prst="rect">
              <a:avLst/>
            </a:pr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1" name="Rectangle 152"/>
            <p:cNvSpPr>
              <a:spLocks noChangeArrowheads="1"/>
            </p:cNvSpPr>
            <p:nvPr/>
          </p:nvSpPr>
          <p:spPr bwMode="auto">
            <a:xfrm>
              <a:off x="5737225" y="3675063"/>
              <a:ext cx="4508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 Purpl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52" name="Rectangle 153"/>
            <p:cNvSpPr>
              <a:spLocks noChangeArrowheads="1"/>
            </p:cNvSpPr>
            <p:nvPr/>
          </p:nvSpPr>
          <p:spPr bwMode="auto">
            <a:xfrm>
              <a:off x="6435725" y="3619500"/>
              <a:ext cx="427037" cy="173038"/>
            </a:xfrm>
            <a:prstGeom prst="rect">
              <a:avLst/>
            </a:prstGeom>
            <a:solidFill>
              <a:srgbClr val="654F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3" name="Rectangle 154"/>
            <p:cNvSpPr>
              <a:spLocks noChangeArrowheads="1"/>
            </p:cNvSpPr>
            <p:nvPr/>
          </p:nvSpPr>
          <p:spPr bwMode="auto">
            <a:xfrm>
              <a:off x="6435725" y="3792538"/>
              <a:ext cx="427037" cy="173038"/>
            </a:xfrm>
            <a:prstGeom prst="rect">
              <a:avLst/>
            </a:prstGeom>
            <a:solidFill>
              <a:srgbClr val="28114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4" name="Rectangle 155"/>
            <p:cNvSpPr>
              <a:spLocks noChangeArrowheads="1"/>
            </p:cNvSpPr>
            <p:nvPr/>
          </p:nvSpPr>
          <p:spPr bwMode="auto">
            <a:xfrm>
              <a:off x="6435725" y="3965575"/>
              <a:ext cx="427037" cy="173038"/>
            </a:xfrm>
            <a:prstGeom prst="rect">
              <a:avLst/>
            </a:prstGeom>
            <a:solidFill>
              <a:srgbClr val="220C3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5" name="Rectangle 156"/>
            <p:cNvSpPr>
              <a:spLocks noChangeArrowheads="1"/>
            </p:cNvSpPr>
            <p:nvPr/>
          </p:nvSpPr>
          <p:spPr bwMode="auto">
            <a:xfrm>
              <a:off x="6945313" y="3619500"/>
              <a:ext cx="777875" cy="519113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6" name="Rectangle 157"/>
            <p:cNvSpPr>
              <a:spLocks noChangeArrowheads="1"/>
            </p:cNvSpPr>
            <p:nvPr/>
          </p:nvSpPr>
          <p:spPr bwMode="auto">
            <a:xfrm>
              <a:off x="7026275" y="3675063"/>
              <a:ext cx="35242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Mid Blue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57" name="Rectangle 158"/>
            <p:cNvSpPr>
              <a:spLocks noChangeArrowheads="1"/>
            </p:cNvSpPr>
            <p:nvPr/>
          </p:nvSpPr>
          <p:spPr bwMode="auto">
            <a:xfrm>
              <a:off x="7723188" y="3619500"/>
              <a:ext cx="428625" cy="173038"/>
            </a:xfrm>
            <a:prstGeom prst="rect">
              <a:avLst/>
            </a:prstGeom>
            <a:solidFill>
              <a:srgbClr val="4052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8" name="Rectangle 159"/>
            <p:cNvSpPr>
              <a:spLocks noChangeArrowheads="1"/>
            </p:cNvSpPr>
            <p:nvPr/>
          </p:nvSpPr>
          <p:spPr bwMode="auto">
            <a:xfrm>
              <a:off x="7723188" y="3792538"/>
              <a:ext cx="428625" cy="173038"/>
            </a:xfrm>
            <a:prstGeom prst="rect">
              <a:avLst/>
            </a:prstGeom>
            <a:solidFill>
              <a:srgbClr val="0015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59" name="Rectangle 160"/>
            <p:cNvSpPr>
              <a:spLocks noChangeArrowheads="1"/>
            </p:cNvSpPr>
            <p:nvPr/>
          </p:nvSpPr>
          <p:spPr bwMode="auto">
            <a:xfrm>
              <a:off x="7723188" y="3965575"/>
              <a:ext cx="428625" cy="173038"/>
            </a:xfrm>
            <a:prstGeom prst="rect">
              <a:avLst/>
            </a:prstGeom>
            <a:solidFill>
              <a:srgbClr val="0013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0" name="Rectangle 161"/>
            <p:cNvSpPr>
              <a:spLocks noChangeArrowheads="1"/>
            </p:cNvSpPr>
            <p:nvPr/>
          </p:nvSpPr>
          <p:spPr bwMode="auto">
            <a:xfrm>
              <a:off x="8234363" y="3619500"/>
              <a:ext cx="777875" cy="519113"/>
            </a:xfrm>
            <a:prstGeom prst="rect">
              <a:avLst/>
            </a:pr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1" name="Rectangle 162"/>
            <p:cNvSpPr>
              <a:spLocks noChangeArrowheads="1"/>
            </p:cNvSpPr>
            <p:nvPr/>
          </p:nvSpPr>
          <p:spPr bwMode="auto">
            <a:xfrm>
              <a:off x="8315325" y="3675063"/>
              <a:ext cx="20637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2" name="Rectangle 163"/>
            <p:cNvSpPr>
              <a:spLocks noChangeArrowheads="1"/>
            </p:cNvSpPr>
            <p:nvPr/>
          </p:nvSpPr>
          <p:spPr bwMode="auto">
            <a:xfrm>
              <a:off x="8497888" y="3675063"/>
              <a:ext cx="82550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T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3" name="Rectangle 164"/>
            <p:cNvSpPr>
              <a:spLocks noChangeArrowheads="1"/>
            </p:cNvSpPr>
            <p:nvPr/>
          </p:nvSpPr>
          <p:spPr bwMode="auto">
            <a:xfrm>
              <a:off x="8528050" y="3675063"/>
              <a:ext cx="1444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al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4" name="Rectangle 165"/>
            <p:cNvSpPr>
              <a:spLocks noChangeArrowheads="1"/>
            </p:cNvSpPr>
            <p:nvPr/>
          </p:nvSpPr>
          <p:spPr bwMode="auto">
            <a:xfrm>
              <a:off x="9012238" y="3619500"/>
              <a:ext cx="430212" cy="173038"/>
            </a:xfrm>
            <a:prstGeom prst="rect">
              <a:avLst/>
            </a:prstGeom>
            <a:solidFill>
              <a:srgbClr val="4078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5" name="Rectangle 166"/>
            <p:cNvSpPr>
              <a:spLocks noChangeArrowheads="1"/>
            </p:cNvSpPr>
            <p:nvPr/>
          </p:nvSpPr>
          <p:spPr bwMode="auto">
            <a:xfrm>
              <a:off x="9012238" y="3792538"/>
              <a:ext cx="430212" cy="173038"/>
            </a:xfrm>
            <a:prstGeom prst="rect">
              <a:avLst/>
            </a:prstGeom>
            <a:solidFill>
              <a:srgbClr val="003D4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6" name="Rectangle 167"/>
            <p:cNvSpPr>
              <a:spLocks noChangeArrowheads="1"/>
            </p:cNvSpPr>
            <p:nvPr/>
          </p:nvSpPr>
          <p:spPr bwMode="auto">
            <a:xfrm>
              <a:off x="9012238" y="3965575"/>
              <a:ext cx="430212" cy="173038"/>
            </a:xfrm>
            <a:prstGeom prst="rect">
              <a:avLst/>
            </a:pr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7" name="Rectangle 168"/>
            <p:cNvSpPr>
              <a:spLocks noChangeArrowheads="1"/>
            </p:cNvSpPr>
            <p:nvPr/>
          </p:nvSpPr>
          <p:spPr bwMode="auto">
            <a:xfrm>
              <a:off x="9525000" y="3619500"/>
              <a:ext cx="776287" cy="519113"/>
            </a:xfrm>
            <a:prstGeom prst="rect">
              <a:avLst/>
            </a:prstGeom>
            <a:solidFill>
              <a:srgbClr val="004B1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68" name="Rectangle 169"/>
            <p:cNvSpPr>
              <a:spLocks noChangeArrowheads="1"/>
            </p:cNvSpPr>
            <p:nvPr/>
          </p:nvSpPr>
          <p:spPr bwMode="auto">
            <a:xfrm>
              <a:off x="9604375" y="3675063"/>
              <a:ext cx="276225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Dark G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9" name="Rectangle 170"/>
            <p:cNvSpPr>
              <a:spLocks noChangeArrowheads="1"/>
            </p:cNvSpPr>
            <p:nvPr/>
          </p:nvSpPr>
          <p:spPr bwMode="auto">
            <a:xfrm>
              <a:off x="9839325" y="3675063"/>
              <a:ext cx="71437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r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70" name="Rectangle 171"/>
            <p:cNvSpPr>
              <a:spLocks noChangeArrowheads="1"/>
            </p:cNvSpPr>
            <p:nvPr/>
          </p:nvSpPr>
          <p:spPr bwMode="auto">
            <a:xfrm>
              <a:off x="9864725" y="3675063"/>
              <a:ext cx="169862" cy="125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</a:rPr>
                <a:t>een</a:t>
              </a:r>
              <a:endParaRPr kumimoji="0" lang="en-US" alt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71" name="Rectangle 172"/>
            <p:cNvSpPr>
              <a:spLocks noChangeArrowheads="1"/>
            </p:cNvSpPr>
            <p:nvPr/>
          </p:nvSpPr>
          <p:spPr bwMode="auto">
            <a:xfrm>
              <a:off x="10301288" y="3619500"/>
              <a:ext cx="430212" cy="173038"/>
            </a:xfrm>
            <a:prstGeom prst="rect">
              <a:avLst/>
            </a:prstGeom>
            <a:solidFill>
              <a:srgbClr val="40785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72" name="Rectangle 173"/>
            <p:cNvSpPr>
              <a:spLocks noChangeArrowheads="1"/>
            </p:cNvSpPr>
            <p:nvPr/>
          </p:nvSpPr>
          <p:spPr bwMode="auto">
            <a:xfrm>
              <a:off x="10301288" y="3792538"/>
              <a:ext cx="430212" cy="173038"/>
            </a:xfrm>
            <a:prstGeom prst="rect">
              <a:avLst/>
            </a:prstGeom>
            <a:solidFill>
              <a:srgbClr val="003C1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  <p:sp>
          <p:nvSpPr>
            <p:cNvPr id="273" name="Rectangle 174"/>
            <p:cNvSpPr>
              <a:spLocks noChangeArrowheads="1"/>
            </p:cNvSpPr>
            <p:nvPr/>
          </p:nvSpPr>
          <p:spPr bwMode="auto">
            <a:xfrm>
              <a:off x="10301288" y="3965575"/>
              <a:ext cx="430212" cy="173038"/>
            </a:xfrm>
            <a:prstGeom prst="rect">
              <a:avLst/>
            </a:prstGeom>
            <a:solidFill>
              <a:srgbClr val="00240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327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</a:endParaRPr>
            </a:p>
          </p:txBody>
        </p:sp>
      </p:grpSp>
      <p:grpSp>
        <p:nvGrpSpPr>
          <p:cNvPr id="274" name="Group 273"/>
          <p:cNvGrpSpPr/>
          <p:nvPr userDrawn="1"/>
        </p:nvGrpSpPr>
        <p:grpSpPr>
          <a:xfrm>
            <a:off x="464163" y="4959657"/>
            <a:ext cx="8551862" cy="517525"/>
            <a:chOff x="503238" y="4889322"/>
            <a:chExt cx="8551862" cy="517525"/>
          </a:xfrm>
        </p:grpSpPr>
        <p:sp>
          <p:nvSpPr>
            <p:cNvPr id="275" name="Rectangle 176"/>
            <p:cNvSpPr>
              <a:spLocks noChangeArrowheads="1"/>
            </p:cNvSpPr>
            <p:nvPr/>
          </p:nvSpPr>
          <p:spPr bwMode="auto">
            <a:xfrm>
              <a:off x="6721475" y="4889322"/>
              <a:ext cx="779462" cy="517525"/>
            </a:xfrm>
            <a:prstGeom prst="rect">
              <a:avLst/>
            </a:prstGeom>
            <a:solidFill>
              <a:srgbClr val="50505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76" name="Rectangle 177"/>
            <p:cNvSpPr>
              <a:spLocks noChangeArrowheads="1"/>
            </p:cNvSpPr>
            <p:nvPr/>
          </p:nvSpPr>
          <p:spPr bwMode="auto">
            <a:xfrm>
              <a:off x="7500938" y="4889322"/>
              <a:ext cx="776287" cy="517525"/>
            </a:xfrm>
            <a:prstGeom prst="rect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77" name="Rectangle 178"/>
            <p:cNvSpPr>
              <a:spLocks noChangeArrowheads="1"/>
            </p:cNvSpPr>
            <p:nvPr/>
          </p:nvSpPr>
          <p:spPr bwMode="auto">
            <a:xfrm>
              <a:off x="2833688" y="4889322"/>
              <a:ext cx="777875" cy="517525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78" name="Rectangle 179"/>
            <p:cNvSpPr>
              <a:spLocks noChangeArrowheads="1"/>
            </p:cNvSpPr>
            <p:nvPr/>
          </p:nvSpPr>
          <p:spPr bwMode="auto">
            <a:xfrm>
              <a:off x="1279525" y="4889322"/>
              <a:ext cx="777875" cy="517525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79" name="Rectangle 180"/>
            <p:cNvSpPr>
              <a:spLocks noChangeArrowheads="1"/>
            </p:cNvSpPr>
            <p:nvPr/>
          </p:nvSpPr>
          <p:spPr bwMode="auto">
            <a:xfrm>
              <a:off x="2057400" y="4889322"/>
              <a:ext cx="776287" cy="517525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0" name="Rectangle 181"/>
            <p:cNvSpPr>
              <a:spLocks noChangeArrowheads="1"/>
            </p:cNvSpPr>
            <p:nvPr/>
          </p:nvSpPr>
          <p:spPr bwMode="auto">
            <a:xfrm>
              <a:off x="5167313" y="4889322"/>
              <a:ext cx="776287" cy="517525"/>
            </a:xfrm>
            <a:prstGeom prst="rect">
              <a:avLst/>
            </a:prstGeom>
            <a:solidFill>
              <a:srgbClr val="9393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1" name="Rectangle 182"/>
            <p:cNvSpPr>
              <a:spLocks noChangeArrowheads="1"/>
            </p:cNvSpPr>
            <p:nvPr/>
          </p:nvSpPr>
          <p:spPr bwMode="auto">
            <a:xfrm>
              <a:off x="5943600" y="4889322"/>
              <a:ext cx="777875" cy="517525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2" name="Rectangle 183"/>
            <p:cNvSpPr>
              <a:spLocks noChangeArrowheads="1"/>
            </p:cNvSpPr>
            <p:nvPr/>
          </p:nvSpPr>
          <p:spPr bwMode="auto">
            <a:xfrm>
              <a:off x="3611563" y="4889322"/>
              <a:ext cx="779462" cy="517525"/>
            </a:xfrm>
            <a:prstGeom prst="rect">
              <a:avLst/>
            </a:prstGeom>
            <a:solidFill>
              <a:srgbClr val="C2C2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3" name="Rectangle 184"/>
            <p:cNvSpPr>
              <a:spLocks noChangeArrowheads="1"/>
            </p:cNvSpPr>
            <p:nvPr/>
          </p:nvSpPr>
          <p:spPr bwMode="auto">
            <a:xfrm>
              <a:off x="4391025" y="4889322"/>
              <a:ext cx="776287" cy="517525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4" name="Rectangle 185"/>
            <p:cNvSpPr>
              <a:spLocks noChangeArrowheads="1"/>
            </p:cNvSpPr>
            <p:nvPr/>
          </p:nvSpPr>
          <p:spPr bwMode="auto">
            <a:xfrm>
              <a:off x="8277225" y="4889322"/>
              <a:ext cx="777875" cy="51752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5" name="Rectangle 186"/>
            <p:cNvSpPr>
              <a:spLocks noChangeArrowheads="1"/>
            </p:cNvSpPr>
            <p:nvPr/>
          </p:nvSpPr>
          <p:spPr bwMode="auto">
            <a:xfrm>
              <a:off x="503238" y="4892497"/>
              <a:ext cx="774700" cy="5127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  <p:sp>
          <p:nvSpPr>
            <p:cNvPr id="286" name="Rectangle 187"/>
            <p:cNvSpPr>
              <a:spLocks noChangeArrowheads="1"/>
            </p:cNvSpPr>
            <p:nvPr/>
          </p:nvSpPr>
          <p:spPr bwMode="auto">
            <a:xfrm>
              <a:off x="503238" y="4892497"/>
              <a:ext cx="774700" cy="512763"/>
            </a:xfrm>
            <a:prstGeom prst="rect">
              <a:avLst/>
            </a:prstGeom>
            <a:noFill/>
            <a:ln w="4763" cap="flat">
              <a:solidFill>
                <a:srgbClr val="E6E6E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742"/>
              <a:endParaRPr lang="en-US">
                <a:solidFill>
                  <a:srgbClr val="505050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21792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uts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60050" y="1497371"/>
            <a:ext cx="4825999" cy="1457312"/>
          </a:xfrm>
          <a:prstGeom prst="rect">
            <a:avLst/>
          </a:prstGeom>
        </p:spPr>
        <p:txBody>
          <a:bodyPr wrap="square" lIns="91440" anchor="b" anchorCtr="0"/>
          <a:lstStyle>
            <a:lvl1pPr marL="0" indent="0">
              <a:lnSpc>
                <a:spcPts val="2400"/>
              </a:lnSpc>
              <a:spcBef>
                <a:spcPts val="0"/>
              </a:spcBef>
              <a:buFontTx/>
              <a:buNone/>
              <a:defRPr lang="en-US" sz="2100" b="1" i="0" baseline="0" smtClean="0">
                <a:solidFill>
                  <a:srgbClr val="ADCB09"/>
                </a:solidFill>
                <a:effectLst/>
                <a:latin typeface="Segoe UI Semibold" charset="0"/>
                <a:ea typeface="Segoe UI Semibold" charset="0"/>
                <a:cs typeface="Segoe UI Semibold" charset="0"/>
              </a:defRPr>
            </a:lvl1pPr>
            <a:lvl2pPr>
              <a:lnSpc>
                <a:spcPct val="100000"/>
              </a:lnSpc>
              <a:defRPr sz="1600" baseline="0"/>
            </a:lvl2pPr>
            <a:lvl3pPr>
              <a:defRPr sz="1600" baseline="0"/>
            </a:lvl3pPr>
            <a:lvl4pPr>
              <a:defRPr sz="1600" baseline="0"/>
            </a:lvl4pPr>
            <a:lvl5pPr>
              <a:defRPr sz="1600" baseline="0"/>
            </a:lvl5pPr>
          </a:lstStyle>
          <a:p>
            <a:pPr lvl="0"/>
            <a:r>
              <a:rPr lang="en-US" dirty="0"/>
              <a:t>From device deployment to data management, academic research and partners offer streamlined solutions for: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1060050" y="3056283"/>
            <a:ext cx="4826000" cy="1758516"/>
          </a:xfrm>
          <a:prstGeom prst="rect">
            <a:avLst/>
          </a:prstGeom>
        </p:spPr>
        <p:txBody>
          <a:bodyPr/>
          <a:lstStyle>
            <a:lvl1pPr marL="137160" indent="-137160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defRPr sz="1400" b="0" i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6858000" y="1497371"/>
            <a:ext cx="5334000" cy="3317428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430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37160" rIns="137160" bIns="137160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>
          <a:xfrm>
            <a:off x="11430002" y="6553200"/>
            <a:ext cx="761999" cy="304801"/>
          </a:xfrm>
          <a:prstGeom prst="rect">
            <a:avLst/>
          </a:prstGeom>
        </p:spPr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228601" y="6553200"/>
            <a:ext cx="11201400" cy="304801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77812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1285369"/>
            <a:ext cx="8864600" cy="108952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72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 dirty="0"/>
              <a:t>Engage Students</a:t>
            </a: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11" hasCustomPrompt="1"/>
          </p:nvPr>
        </p:nvSpPr>
        <p:spPr>
          <a:xfrm>
            <a:off x="10956758" y="4406900"/>
            <a:ext cx="1098884" cy="34897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 i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 dirty="0"/>
              <a:t>Part Thre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2563995"/>
            <a:ext cx="8864600" cy="341632"/>
          </a:xfrm>
          <a:prstGeom prst="rect">
            <a:avLst/>
          </a:prstGeom>
        </p:spPr>
        <p:txBody>
          <a:bodyPr wrap="square" lIns="274320" anchor="b" anchorCtr="0">
            <a:spAutoFit/>
          </a:bodyPr>
          <a:lstStyle>
            <a:lvl1pPr marL="0" indent="0">
              <a:buNone/>
              <a:defRPr sz="1800" b="0" i="0" spc="1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r>
              <a:rPr lang="en-US" dirty="0"/>
              <a:t>Click here to add text</a:t>
            </a:r>
          </a:p>
        </p:txBody>
      </p:sp>
    </p:spTree>
    <p:extLst>
      <p:ext uri="{BB962C8B-B14F-4D97-AF65-F5344CB8AC3E}">
        <p14:creationId xmlns:p14="http://schemas.microsoft.com/office/powerpoint/2010/main" val="19018057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02" b="7802"/>
          <a:stretch/>
        </p:blipFill>
        <p:spPr>
          <a:xfrm>
            <a:off x="0" y="0"/>
            <a:ext cx="12192000" cy="6858973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84172"/>
            <a:ext cx="6274974" cy="3586208"/>
          </a:xfrm>
          <a:prstGeom prst="rect">
            <a:avLst/>
          </a:prstGeom>
          <a:solidFill>
            <a:srgbClr val="5C2D91">
              <a:alpha val="87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86"/>
            <a:ext cx="6276530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72727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1"/>
            <a:ext cx="6276530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72727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71237" y="6047101"/>
            <a:ext cx="1590852" cy="340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894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85" y="470067"/>
            <a:ext cx="1792850" cy="38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62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49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3146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5"/>
            <a:ext cx="5378548" cy="1877004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137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023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863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631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6"/>
            <a:ext cx="9860674" cy="778565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60102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596109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7775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Mai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1285369"/>
            <a:ext cx="8864600" cy="92333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6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 dirty="0"/>
              <a:t>Engage Students</a:t>
            </a:r>
          </a:p>
        </p:txBody>
      </p:sp>
    </p:spTree>
    <p:extLst>
      <p:ext uri="{BB962C8B-B14F-4D97-AF65-F5344CB8AC3E}">
        <p14:creationId xmlns:p14="http://schemas.microsoft.com/office/powerpoint/2010/main" val="19160538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0230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6742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98371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1" y="1217195"/>
            <a:ext cx="5378548" cy="1973570"/>
          </a:xfrm>
        </p:spPr>
        <p:txBody>
          <a:bodyPr>
            <a:spAutoFit/>
          </a:bodyPr>
          <a:lstStyle>
            <a:lvl1pPr>
              <a:defRPr sz="647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097556" y="0"/>
            <a:ext cx="6094444" cy="6856100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27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383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7803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4569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40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795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8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7251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34567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201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5" b="7865"/>
          <a:stretch/>
        </p:blipFill>
        <p:spPr>
          <a:xfrm>
            <a:off x="5" y="0"/>
            <a:ext cx="12191989" cy="685896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69239" y="2084172"/>
            <a:ext cx="8067823" cy="3586208"/>
          </a:xfrm>
          <a:prstGeom prst="rect">
            <a:avLst/>
          </a:prstGeom>
          <a:solidFill>
            <a:srgbClr val="5C2D91">
              <a:alpha val="87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86"/>
            <a:ext cx="8067761" cy="1793104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72727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2" y="3877271"/>
            <a:ext cx="8069380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>
                <a:gradFill>
                  <a:gsLst>
                    <a:gs pos="72727">
                      <a:srgbClr val="FFFFFF"/>
                    </a:gs>
                    <a:gs pos="3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71237" y="6047101"/>
            <a:ext cx="1590852" cy="340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74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806776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2"/>
                    </a:gs>
                    <a:gs pos="3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8585" y="476318"/>
            <a:ext cx="1792850" cy="38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0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26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89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1715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491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21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42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982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Intro">
    <p:bg>
      <p:bgPr>
        <a:solidFill>
          <a:srgbClr val="FF8C0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7251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04359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70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078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242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64054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286316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09762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99615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28298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3328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17129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 Intro">
    <p:bg>
      <p:bgPr>
        <a:solidFill>
          <a:srgbClr val="A8C50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7251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4850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18730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52256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493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9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30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273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28658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74764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10786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0737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356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 Intro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7251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03386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72">
          <p15:clr>
            <a:srgbClr val="FBAE40"/>
          </p15:clr>
        </p15:guide>
        <p15:guide id="3" pos="7008">
          <p15:clr>
            <a:srgbClr val="FBAE4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0579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46544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5056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987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2422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6871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lor Block Header&amp; Sub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2207" y="27027"/>
            <a:ext cx="3036599" cy="275113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ts val="3798"/>
              </a:lnSpc>
              <a:spcBef>
                <a:spcPts val="0"/>
              </a:spcBef>
              <a:buNone/>
              <a:defRPr sz="3598" b="0" cap="none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Segoe UI Light" pitchFamily="34" charset="0"/>
              </a:defRPr>
            </a:lvl1pPr>
            <a:lvl2pPr marL="607606" indent="0">
              <a:buNone/>
              <a:defRPr sz="2691" b="1"/>
            </a:lvl2pPr>
            <a:lvl3pPr marL="1215210" indent="0">
              <a:buNone/>
              <a:defRPr sz="2392" b="1"/>
            </a:lvl3pPr>
            <a:lvl4pPr marL="1822816" indent="0">
              <a:buNone/>
              <a:defRPr sz="2092" b="1"/>
            </a:lvl4pPr>
            <a:lvl5pPr marL="2430421" indent="0">
              <a:buNone/>
              <a:defRPr sz="2092" b="1"/>
            </a:lvl5pPr>
            <a:lvl6pPr marL="3038027" indent="0">
              <a:buNone/>
              <a:defRPr sz="2092" b="1"/>
            </a:lvl6pPr>
            <a:lvl7pPr marL="3645632" indent="0">
              <a:buNone/>
              <a:defRPr sz="2092" b="1"/>
            </a:lvl7pPr>
            <a:lvl8pPr marL="4253237" indent="0">
              <a:buNone/>
              <a:defRPr sz="2092" b="1"/>
            </a:lvl8pPr>
            <a:lvl9pPr marL="4860842" indent="0">
              <a:buNone/>
              <a:defRPr sz="2092" b="1"/>
            </a:lvl9pPr>
          </a:lstStyle>
          <a:p>
            <a:pPr lvl="0"/>
            <a:r>
              <a:rPr lang="en-US" dirty="0"/>
              <a:t>Click to edit Master text styles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33064" y="3054088"/>
            <a:ext cx="3036599" cy="357531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798" spc="0" baseline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400" spc="0" baseline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200" spc="0" baseline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400" spc="0" baseline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400" spc="0" baseline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0828" y="6100346"/>
            <a:ext cx="2165148" cy="749808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890390" y="1033461"/>
            <a:ext cx="7993557" cy="4860925"/>
          </a:xfr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2198">
                <a:solidFill>
                  <a:schemeClr val="bg2"/>
                </a:solidFill>
                <a:latin typeface="+mn-lt"/>
                <a:ea typeface="Segoe UI" pitchFamily="34" charset="0"/>
                <a:cs typeface="Segoe UI" pitchFamily="34" charset="0"/>
              </a:defRPr>
            </a:lvl1pPr>
          </a:lstStyle>
          <a:p>
            <a:pPr marL="0" lvl="0" algn="ctr" defTabSz="913551" fontAlgn="base"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28719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7620000" y="381000"/>
            <a:ext cx="3810000" cy="1905000"/>
          </a:xfrm>
          <a:prstGeom prst="rect">
            <a:avLst/>
          </a:prstGeom>
        </p:spPr>
        <p:txBody>
          <a:bodyPr vert="horz" wrap="square" lIns="108821" tIns="54411" rIns="108821" bIns="54411" rtlCol="0" anchor="ctr">
            <a:normAutofit/>
          </a:bodyPr>
          <a:lstStyle/>
          <a:p>
            <a:pPr defTabSz="1088105"/>
            <a:r>
              <a:rPr lang="en-US" sz="2000" dirty="0">
                <a:solidFill>
                  <a:srgbClr val="D2D2D2"/>
                </a:solidFill>
                <a:ea typeface="Segoe UI" pitchFamily="34" charset="0"/>
                <a:cs typeface="Segoe UI" pitchFamily="34" charset="0"/>
              </a:rPr>
              <a:t>Click View &gt; Slide Master to insert a photo as a background behind the colored boxes.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44" y="198357"/>
            <a:ext cx="1947103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09695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no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150852" y="2057400"/>
            <a:ext cx="5487829" cy="36576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50852" y="2057400"/>
            <a:ext cx="5487829" cy="2743426"/>
          </a:xfrm>
          <a:noFill/>
        </p:spPr>
        <p:txBody>
          <a:bodyPr vert="horz" lIns="137160" tIns="137160" rIns="137160" bIns="137160" rtlCol="0" anchor="t" anchorCtr="0">
            <a:normAutofit/>
          </a:bodyPr>
          <a:lstStyle>
            <a:lvl1pPr>
              <a:defRPr lang="en-US" sz="4400" spc="-98" dirty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50852" y="4800600"/>
            <a:ext cx="5487829" cy="914400"/>
          </a:xfrm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81674" indent="0">
              <a:buNone/>
              <a:defRPr sz="2000">
                <a:solidFill>
                  <a:schemeClr val="bg1"/>
                </a:solidFill>
              </a:defRPr>
            </a:lvl2pPr>
            <a:lvl3pPr marL="588476" indent="0">
              <a:buNone/>
              <a:defRPr sz="2000">
                <a:solidFill>
                  <a:schemeClr val="bg1"/>
                </a:solidFill>
              </a:defRPr>
            </a:lvl3pPr>
            <a:lvl4pPr marL="870150" indent="0">
              <a:buNone/>
              <a:defRPr sz="2000">
                <a:solidFill>
                  <a:schemeClr val="bg1"/>
                </a:solidFill>
              </a:defRPr>
            </a:lvl4pPr>
            <a:lvl5pPr marL="110554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40" y="200779"/>
            <a:ext cx="1947100" cy="716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10974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95">
          <p15:clr>
            <a:srgbClr val="5ACBF0"/>
          </p15:clr>
        </p15:guide>
        <p15:guide id="2" pos="671">
          <p15:clr>
            <a:srgbClr val="5ACBF0"/>
          </p15:clr>
        </p15:guide>
        <p15:guide id="3" pos="1247">
          <p15:clr>
            <a:srgbClr val="5ACBF0"/>
          </p15:clr>
        </p15:guide>
        <p15:guide id="4" pos="1823">
          <p15:clr>
            <a:srgbClr val="5ACBF0"/>
          </p15:clr>
        </p15:guide>
        <p15:guide id="5" pos="2399">
          <p15:clr>
            <a:srgbClr val="5ACBF0"/>
          </p15:clr>
        </p15:guide>
        <p15:guide id="6" pos="2975">
          <p15:clr>
            <a:srgbClr val="5ACBF0"/>
          </p15:clr>
        </p15:guide>
        <p15:guide id="7" pos="3551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64604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0"/>
            <a:ext cx="11890296" cy="457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37185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Top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4457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090557" y="0"/>
            <a:ext cx="61014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29821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1" y="6478588"/>
            <a:ext cx="761998" cy="379413"/>
          </a:xfrm>
          <a:prstGeom prst="rect">
            <a:avLst/>
          </a:prstGeom>
        </p:spPr>
        <p:txBody>
          <a:bodyPr/>
          <a:lstStyle/>
          <a:p>
            <a:fld id="{6A4C1A4A-E5E6-4CC1-B72C-A20A4EB3E2D2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64604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59909465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50853" y="1600200"/>
            <a:ext cx="11890296" cy="449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281674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88476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870150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1105540" indent="0">
              <a:buNone/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add developer cod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64604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74" indent="0">
              <a:buNone/>
              <a:defRPr/>
            </a:lvl2pPr>
            <a:lvl3pPr marL="588476" indent="0">
              <a:buNone/>
              <a:defRPr/>
            </a:lvl3pPr>
            <a:lvl4pPr marL="870150" indent="0">
              <a:buNone/>
              <a:defRPr/>
            </a:lvl4pPr>
            <a:lvl5pPr marL="1105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08783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>
                  <a:lumMod val="90000"/>
                  <a:lumOff val="1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defTabSz="1088105"/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665341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1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1" y="3877277"/>
            <a:ext cx="10061021" cy="1837723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2" y="1143000"/>
            <a:ext cx="10061020" cy="273427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6545979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1143000"/>
            <a:ext cx="10061019" cy="2734277"/>
          </a:xfrm>
          <a:noFill/>
        </p:spPr>
        <p:txBody>
          <a:bodyPr lIns="137160" tIns="137160" rIns="137160" bIns="137160" anchor="t" anchorCtr="0"/>
          <a:lstStyle>
            <a:lvl1pPr>
              <a:defRPr sz="7100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50852" y="3886200"/>
            <a:ext cx="10061020" cy="1828800"/>
          </a:xfrm>
          <a:noFill/>
        </p:spPr>
        <p:txBody>
          <a:bodyPr lIns="137160" tIns="137160" rIns="137160" bIns="137160">
            <a:noAutofit/>
          </a:bodyPr>
          <a:lstStyle>
            <a:lvl1pPr marL="0" indent="0">
              <a:spcBef>
                <a:spcPts val="0"/>
              </a:spcBef>
              <a:buNone/>
              <a:defRPr sz="2800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50853" y="1143000"/>
            <a:ext cx="10061019" cy="27432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0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4200887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Accent Colo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3959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Title Accent Colo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0700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Title Accent Colo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8115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2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713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Title Accent Col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4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mber Topic">
    <p:bg>
      <p:bgPr>
        <a:solidFill>
          <a:srgbClr val="FF8C0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838201" y="3628724"/>
            <a:ext cx="4457699" cy="175851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400"/>
              </a:spcBef>
              <a:spcAft>
                <a:spcPts val="0"/>
              </a:spcAft>
              <a:buNone/>
              <a:defRPr sz="1400" b="0" i="0" baseline="0">
                <a:solidFill>
                  <a:schemeClr val="bg1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 err="1"/>
              <a:t>Sldfkjslfkjlsdkjflskdjflsakjdfl</a:t>
            </a:r>
            <a:endParaRPr lang="en-US" dirty="0"/>
          </a:p>
          <a:p>
            <a:pPr lvl="0"/>
            <a:r>
              <a:rPr lang="en-US" dirty="0" err="1"/>
              <a:t>Lskjdflaskdjflaskdjflaskdfjlskdjflskdjf</a:t>
            </a:r>
            <a:endParaRPr lang="en-US" dirty="0"/>
          </a:p>
          <a:p>
            <a:pPr lvl="0"/>
            <a:r>
              <a:rPr lang="en-US" dirty="0"/>
              <a:t>Skajdhfksjdhfksdjfhskdjflskdjflsakdfjlsakdjflskdjflsakdfjlskdfjlslsdkfjlsdkfjlsdkfjlsdkfjsldkfjsldkfjslkdf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2298110"/>
            <a:ext cx="4457699" cy="1229013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572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  <a:lvl3pPr marL="9144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3pPr>
            <a:lvl4pPr marL="13716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4pPr>
            <a:lvl5pPr marL="1828800" indent="0">
              <a:buNone/>
              <a:defRPr sz="4000" b="0" i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090557" y="0"/>
            <a:ext cx="6101443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54361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Title Accent Color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0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0853" y="2057401"/>
            <a:ext cx="11890296" cy="1822988"/>
          </a:xfrm>
          <a:noFill/>
        </p:spPr>
        <p:txBody>
          <a:bodyPr lIns="137160" tIns="137160" rIns="137160" bIns="137160" anchor="t" anchorCtr="0"/>
          <a:lstStyle>
            <a:lvl1pPr>
              <a:defRPr sz="8600" spc="-98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150852" y="3886200"/>
            <a:ext cx="6402467" cy="2590800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0428" indent="-190428">
              <a:lnSpc>
                <a:spcPct val="80000"/>
              </a:lnSpc>
              <a:buNone/>
              <a:defRPr lang="en-US" sz="2000" kern="1200" dirty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08810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9572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note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4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227071" y="1600200"/>
            <a:ext cx="11356757" cy="45720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speaker not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7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 sz="3700" spc="-6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 slide topic</a:t>
            </a:r>
          </a:p>
        </p:txBody>
      </p:sp>
    </p:spTree>
    <p:extLst>
      <p:ext uri="{BB962C8B-B14F-4D97-AF65-F5344CB8AC3E}">
        <p14:creationId xmlns:p14="http://schemas.microsoft.com/office/powerpoint/2010/main" val="430600425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crosoft log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8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33" y="2899239"/>
            <a:ext cx="2881117" cy="105952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79" tIns="38089" rIns="76179" bIns="38089" rtlCol="0" anchor="ctr"/>
          <a:lstStyle/>
          <a:p>
            <a:pPr algn="ctr" defTabSz="1088105"/>
            <a:endParaRPr lang="en-US" sz="2200" dirty="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33" y="2899238"/>
            <a:ext cx="2884326" cy="1060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07834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142361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492533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387647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422408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51266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748346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75435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79.xml"/><Relationship Id="rId21" Type="http://schemas.openxmlformats.org/officeDocument/2006/relationships/image" Target="../media/image11.emf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86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77600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Engage Students</a:t>
            </a:r>
          </a:p>
        </p:txBody>
      </p:sp>
    </p:spTree>
    <p:extLst>
      <p:ext uri="{BB962C8B-B14F-4D97-AF65-F5344CB8AC3E}">
        <p14:creationId xmlns:p14="http://schemas.microsoft.com/office/powerpoint/2010/main" val="488845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71" r:id="rId2"/>
    <p:sldLayoutId id="2147483905" r:id="rId3"/>
    <p:sldLayoutId id="2147483892" r:id="rId4"/>
    <p:sldLayoutId id="2147483898" r:id="rId5"/>
    <p:sldLayoutId id="2147483899" r:id="rId6"/>
    <p:sldLayoutId id="2147483900" r:id="rId7"/>
    <p:sldLayoutId id="2147483893" r:id="rId8"/>
    <p:sldLayoutId id="2147483901" r:id="rId9"/>
    <p:sldLayoutId id="2147483903" r:id="rId10"/>
    <p:sldLayoutId id="2147483904" r:id="rId11"/>
    <p:sldLayoutId id="2147483872" r:id="rId12"/>
    <p:sldLayoutId id="2147483894" r:id="rId13"/>
    <p:sldLayoutId id="2147483907" r:id="rId14"/>
    <p:sldLayoutId id="2147483908" r:id="rId15"/>
    <p:sldLayoutId id="2147483909" r:id="rId16"/>
    <p:sldLayoutId id="2147483906" r:id="rId17"/>
    <p:sldLayoutId id="2147483896" r:id="rId18"/>
    <p:sldLayoutId id="2147483910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b="0" i="0" kern="1200" spc="30" baseline="0">
          <a:solidFill>
            <a:schemeClr val="bg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170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  <p:sldLayoutId id="2147483932" r:id="rId20"/>
    <p:sldLayoutId id="2147483933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29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978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  <p:sldLayoutId id="2147483952" r:id="rId18"/>
    <p:sldLayoutId id="2147483953" r:id="rId19"/>
    <p:sldLayoutId id="2147483954" r:id="rId20"/>
    <p:sldLayoutId id="2147483955" r:id="rId21"/>
    <p:sldLayoutId id="2147483956" r:id="rId22"/>
    <p:sldLayoutId id="2147483957" r:id="rId23"/>
    <p:sldLayoutId id="2147483958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9A4D1D-AA27-434F-857A-6CD85676BF87}" type="datetimeFigureOut">
              <a:rPr lang="en-US" smtClean="0"/>
              <a:t>6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F99370-00E9-479B-84B4-4B94A6BFF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606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  <p:sldLayoutId id="214748398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20" imgW="377" imgH="377" progId="TCLayout.ActiveDocument.1">
                  <p:embed/>
                </p:oleObj>
              </mc:Choice>
              <mc:Fallback>
                <p:oleObj name="think-cell Slide" r:id="rId20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2"/>
            <a:ext cx="12192000" cy="646042"/>
          </a:xfrm>
          <a:prstGeom prst="rect">
            <a:avLst/>
          </a:prstGeom>
        </p:spPr>
        <p:txBody>
          <a:bodyPr vert="horz" lIns="320040" tIns="152357" rIns="53325" bIns="53325" rtlCol="0" anchor="t">
            <a:normAutofit/>
          </a:bodyPr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048000" y="6477874"/>
            <a:ext cx="8382000" cy="380127"/>
          </a:xfrm>
          <a:prstGeom prst="rect">
            <a:avLst/>
          </a:prstGeom>
        </p:spPr>
        <p:txBody>
          <a:bodyPr vert="horz" lIns="76179" tIns="38089" rIns="76179" bIns="38089" rtlCol="0" anchor="ctr"/>
          <a:lstStyle>
            <a:lvl1pPr algn="l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50853" y="1600201"/>
            <a:ext cx="11890296" cy="4559531"/>
          </a:xfrm>
          <a:prstGeom prst="rect">
            <a:avLst/>
          </a:prstGeom>
        </p:spPr>
        <p:txBody>
          <a:bodyPr vert="horz" lIns="182880" tIns="91440" rIns="18288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4"/>
          </p:nvPr>
        </p:nvSpPr>
        <p:spPr>
          <a:xfrm>
            <a:off x="11430002" y="6477874"/>
            <a:ext cx="761998" cy="380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1088105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8105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750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  <p:sldLayoutId id="2147483999" r:id="rId10"/>
    <p:sldLayoutId id="2147484000" r:id="rId11"/>
    <p:sldLayoutId id="2147484001" r:id="rId12"/>
    <p:sldLayoutId id="2147484002" r:id="rId13"/>
    <p:sldLayoutId id="2147484003" r:id="rId14"/>
    <p:sldLayoutId id="2147484004" r:id="rId15"/>
    <p:sldLayoutId id="2147484005" r:id="rId16"/>
  </p:sldLayoutIdLst>
  <p:transition>
    <p:fade/>
  </p:transition>
  <p:hf sldNum="0" hdr="0" ftr="0" dt="0"/>
  <p:txStyles>
    <p:titleStyle>
      <a:lvl1pPr marL="0" algn="l" defTabSz="1088105" rtl="0" eaLnBrk="1" latinLnBrk="0" hangingPunct="1">
        <a:lnSpc>
          <a:spcPct val="90000"/>
        </a:lnSpc>
        <a:spcBef>
          <a:spcPct val="0"/>
        </a:spcBef>
        <a:buNone/>
        <a:defRPr lang="en-US" sz="4000" kern="1200" spc="-58" baseline="0" dirty="0">
          <a:solidFill>
            <a:schemeClr val="bg2"/>
          </a:solidFill>
          <a:latin typeface="Segoe UI Light" pitchFamily="34" charset="0"/>
          <a:ea typeface="Segoe UI" pitchFamily="34" charset="0"/>
          <a:cs typeface="Segoe UI" pitchFamily="34" charset="0"/>
        </a:defRPr>
      </a:lvl1pPr>
    </p:titleStyle>
    <p:bodyStyle>
      <a:lvl1pPr marL="0" indent="0" algn="l" defTabSz="1088105" rtl="0" eaLnBrk="1" latinLnBrk="0" hangingPunct="1">
        <a:spcBef>
          <a:spcPts val="1800"/>
        </a:spcBef>
        <a:buClr>
          <a:srgbClr val="0072C6"/>
        </a:buClr>
        <a:buSzPct val="100000"/>
        <a:buFont typeface="Wingdings" pitchFamily="2" charset="2"/>
        <a:buNone/>
        <a:defRPr sz="2400" kern="1200">
          <a:solidFill>
            <a:schemeClr val="tx2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476070" indent="-194396" algn="l" defTabSz="108810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761712" indent="-173236" algn="l" defTabSz="1088105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047354" indent="-177204" algn="l" defTabSz="108810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285389" indent="-179849" algn="l" defTabSz="108810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992290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42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396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48" indent="-272026" algn="l" defTabSz="108810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3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05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5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11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64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16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69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22" algn="l" defTabSz="108810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551">
          <p15:clr>
            <a:srgbClr val="5ACBF0"/>
          </p15:clr>
        </p15:guide>
        <p15:guide id="2" pos="2975">
          <p15:clr>
            <a:srgbClr val="5ACBF0"/>
          </p15:clr>
        </p15:guide>
        <p15:guide id="3" pos="2399">
          <p15:clr>
            <a:srgbClr val="5ACBF0"/>
          </p15:clr>
        </p15:guide>
        <p15:guide id="4" pos="1823">
          <p15:clr>
            <a:srgbClr val="5ACBF0"/>
          </p15:clr>
        </p15:guide>
        <p15:guide id="5" pos="1247">
          <p15:clr>
            <a:srgbClr val="5ACBF0"/>
          </p15:clr>
        </p15:guide>
        <p15:guide id="6" pos="671">
          <p15:clr>
            <a:srgbClr val="5ACBF0"/>
          </p15:clr>
        </p15:guide>
        <p15:guide id="7" pos="95">
          <p15:clr>
            <a:srgbClr val="5ACBF0"/>
          </p15:clr>
        </p15:guide>
        <p15:guide id="8" pos="4127">
          <p15:clr>
            <a:srgbClr val="5ACBF0"/>
          </p15:clr>
        </p15:guide>
        <p15:guide id="9" pos="4703">
          <p15:clr>
            <a:srgbClr val="5ACBF0"/>
          </p15:clr>
        </p15:guide>
        <p15:guide id="10" pos="5279">
          <p15:clr>
            <a:srgbClr val="5ACBF0"/>
          </p15:clr>
        </p15:guide>
        <p15:guide id="11" pos="5855">
          <p15:clr>
            <a:srgbClr val="5ACBF0"/>
          </p15:clr>
        </p15:guide>
        <p15:guide id="12" pos="6431">
          <p15:clr>
            <a:srgbClr val="5ACBF0"/>
          </p15:clr>
        </p15:guide>
        <p15:guide id="13" pos="7007">
          <p15:clr>
            <a:srgbClr val="5ACBF0"/>
          </p15:clr>
        </p15:guide>
        <p15:guide id="14" pos="7583">
          <p15:clr>
            <a:srgbClr val="5ACBF0"/>
          </p15:clr>
        </p15:guide>
        <p15:guide id="15" orient="horz" pos="144">
          <p15:clr>
            <a:srgbClr val="5ACBF0"/>
          </p15:clr>
        </p15:guide>
        <p15:guide id="16" orient="horz" pos="720">
          <p15:clr>
            <a:srgbClr val="5ACBF0"/>
          </p15:clr>
        </p15:guide>
        <p15:guide id="17" orient="horz" pos="1296">
          <p15:clr>
            <a:srgbClr val="5ACBF0"/>
          </p15:clr>
        </p15:guide>
        <p15:guide id="18" orient="horz" pos="1872">
          <p15:clr>
            <a:srgbClr val="5ACBF0"/>
          </p15:clr>
        </p15:guide>
        <p15:guide id="19" orient="horz" pos="2448">
          <p15:clr>
            <a:srgbClr val="5ACBF0"/>
          </p15:clr>
        </p15:guide>
        <p15:guide id="20" orient="horz" pos="3024">
          <p15:clr>
            <a:srgbClr val="5ACBF0"/>
          </p15:clr>
        </p15:guide>
        <p15:guide id="21" orient="horz" pos="3600">
          <p15:clr>
            <a:srgbClr val="5ACBF0"/>
          </p15:clr>
        </p15:guide>
        <p15:guide id="22" orient="horz" pos="4176">
          <p15:clr>
            <a:srgbClr val="5ACBF0"/>
          </p15:clr>
        </p15:guide>
        <p15:guide id="23" pos="191">
          <p15:clr>
            <a:srgbClr val="F26B43"/>
          </p15:clr>
        </p15:guide>
        <p15:guide id="24" pos="7487">
          <p15:clr>
            <a:srgbClr val="F26B43"/>
          </p15:clr>
        </p15:guide>
        <p15:guide id="25" orient="horz" pos="240">
          <p15:clr>
            <a:srgbClr val="F26B43"/>
          </p15:clr>
        </p15:guide>
        <p15:guide id="26" orient="horz" pos="4080">
          <p15:clr>
            <a:srgbClr val="F26B43"/>
          </p15:clr>
        </p15:guide>
        <p15:guide id="27" pos="3839">
          <p15:clr>
            <a:srgbClr val="F26B43"/>
          </p15:clr>
        </p15:guide>
        <p15:guide id="28" orient="horz" pos="2160">
          <p15:clr>
            <a:srgbClr val="F26B43"/>
          </p15:clr>
        </p15:guide>
        <p15:guide id="29" orient="horz" pos="816">
          <p15:clr>
            <a:srgbClr val="F26B43"/>
          </p15:clr>
        </p15:guide>
        <p15:guide id="30" orient="horz" pos="100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A67C82-FCBC-4932-A924-F97C2B30FCED}" type="datetimeFigureOut">
              <a:rPr lang="ru-RU" smtClean="0"/>
              <a:t>26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84B943-81C3-468F-B6C3-87A6F7BEF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7966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77600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Engage Students</a:t>
            </a:r>
          </a:p>
        </p:txBody>
      </p:sp>
    </p:spTree>
    <p:extLst>
      <p:ext uri="{BB962C8B-B14F-4D97-AF65-F5344CB8AC3E}">
        <p14:creationId xmlns:p14="http://schemas.microsoft.com/office/powerpoint/2010/main" val="787166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  <p:sldLayoutId id="2147484057" r:id="rId13"/>
    <p:sldLayoutId id="2147484058" r:id="rId14"/>
    <p:sldLayoutId id="2147484059" r:id="rId15"/>
    <p:sldLayoutId id="2147484060" r:id="rId16"/>
    <p:sldLayoutId id="2147484061" r:id="rId17"/>
    <p:sldLayoutId id="2147484062" r:id="rId18"/>
    <p:sldLayoutId id="2147484063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b="0" i="0" kern="1200" spc="30" baseline="0">
          <a:solidFill>
            <a:schemeClr val="bg1"/>
          </a:solidFill>
          <a:latin typeface="Segoe UI Light" charset="0"/>
          <a:ea typeface="Segoe UI Light" charset="0"/>
          <a:cs typeface="Segoe UI Light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Segoe UI" charset="0"/>
          <a:ea typeface="Segoe UI" charset="0"/>
          <a:cs typeface="Segoe UI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9.xml"/><Relationship Id="rId7" Type="http://schemas.openxmlformats.org/officeDocument/2006/relationships/image" Target="../media/image1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8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4" name="think-cell Slide" r:id="rId6" imgW="377" imgH="377" progId="TCLayout.ActiveDocument.1">
                  <p:embed/>
                </p:oleObj>
              </mc:Choice>
              <mc:Fallback>
                <p:oleObj name="think-cell Slide" r:id="rId6" imgW="377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7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52" name="Group 851"/>
          <p:cNvGrpSpPr/>
          <p:nvPr/>
        </p:nvGrpSpPr>
        <p:grpSpPr>
          <a:xfrm>
            <a:off x="8480045" y="937160"/>
            <a:ext cx="1791196" cy="1791192"/>
            <a:chOff x="8441230" y="913268"/>
            <a:chExt cx="1791196" cy="1791192"/>
          </a:xfrm>
        </p:grpSpPr>
        <p:sp>
          <p:nvSpPr>
            <p:cNvPr id="853" name="Freeform 852"/>
            <p:cNvSpPr>
              <a:spLocks noEditPoints="1"/>
            </p:cNvSpPr>
            <p:nvPr/>
          </p:nvSpPr>
          <p:spPr bwMode="black">
            <a:xfrm>
              <a:off x="9678332" y="1536353"/>
              <a:ext cx="338073" cy="681753"/>
            </a:xfrm>
            <a:custGeom>
              <a:avLst/>
              <a:gdLst/>
              <a:ahLst/>
              <a:cxnLst>
                <a:cxn ang="0">
                  <a:pos x="260" y="0"/>
                </a:cxn>
                <a:cxn ang="0">
                  <a:pos x="7" y="0"/>
                </a:cxn>
                <a:cxn ang="0">
                  <a:pos x="0" y="7"/>
                </a:cxn>
                <a:cxn ang="0">
                  <a:pos x="0" y="112"/>
                </a:cxn>
                <a:cxn ang="0">
                  <a:pos x="0" y="119"/>
                </a:cxn>
                <a:cxn ang="0">
                  <a:pos x="0" y="531"/>
                </a:cxn>
                <a:cxn ang="0">
                  <a:pos x="7" y="538"/>
                </a:cxn>
                <a:cxn ang="0">
                  <a:pos x="260" y="538"/>
                </a:cxn>
                <a:cxn ang="0">
                  <a:pos x="267" y="531"/>
                </a:cxn>
                <a:cxn ang="0">
                  <a:pos x="267" y="119"/>
                </a:cxn>
                <a:cxn ang="0">
                  <a:pos x="267" y="112"/>
                </a:cxn>
                <a:cxn ang="0">
                  <a:pos x="267" y="7"/>
                </a:cxn>
                <a:cxn ang="0">
                  <a:pos x="260" y="0"/>
                </a:cxn>
                <a:cxn ang="0">
                  <a:pos x="32" y="82"/>
                </a:cxn>
                <a:cxn ang="0">
                  <a:pos x="32" y="57"/>
                </a:cxn>
                <a:cxn ang="0">
                  <a:pos x="39" y="50"/>
                </a:cxn>
                <a:cxn ang="0">
                  <a:pos x="228" y="50"/>
                </a:cxn>
                <a:cxn ang="0">
                  <a:pos x="235" y="57"/>
                </a:cxn>
                <a:cxn ang="0">
                  <a:pos x="235" y="82"/>
                </a:cxn>
                <a:cxn ang="0">
                  <a:pos x="228" y="89"/>
                </a:cxn>
                <a:cxn ang="0">
                  <a:pos x="39" y="89"/>
                </a:cxn>
                <a:cxn ang="0">
                  <a:pos x="32" y="82"/>
                </a:cxn>
                <a:cxn ang="0">
                  <a:pos x="213" y="254"/>
                </a:cxn>
                <a:cxn ang="0">
                  <a:pos x="195" y="236"/>
                </a:cxn>
                <a:cxn ang="0">
                  <a:pos x="213" y="218"/>
                </a:cxn>
                <a:cxn ang="0">
                  <a:pos x="232" y="236"/>
                </a:cxn>
                <a:cxn ang="0">
                  <a:pos x="213" y="254"/>
                </a:cxn>
                <a:cxn ang="0">
                  <a:pos x="213" y="194"/>
                </a:cxn>
                <a:cxn ang="0">
                  <a:pos x="189" y="170"/>
                </a:cxn>
                <a:cxn ang="0">
                  <a:pos x="213" y="146"/>
                </a:cxn>
                <a:cxn ang="0">
                  <a:pos x="238" y="170"/>
                </a:cxn>
                <a:cxn ang="0">
                  <a:pos x="213" y="194"/>
                </a:cxn>
              </a:cxnLst>
              <a:rect l="0" t="0" r="r" b="b"/>
              <a:pathLst>
                <a:path w="267" h="538">
                  <a:moveTo>
                    <a:pt x="260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531"/>
                    <a:pt x="0" y="531"/>
                    <a:pt x="0" y="531"/>
                  </a:cubicBezTo>
                  <a:cubicBezTo>
                    <a:pt x="0" y="535"/>
                    <a:pt x="3" y="538"/>
                    <a:pt x="7" y="538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4" y="538"/>
                    <a:pt x="267" y="535"/>
                    <a:pt x="267" y="531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12"/>
                    <a:pt x="267" y="112"/>
                    <a:pt x="267" y="112"/>
                  </a:cubicBezTo>
                  <a:cubicBezTo>
                    <a:pt x="267" y="7"/>
                    <a:pt x="267" y="7"/>
                    <a:pt x="267" y="7"/>
                  </a:cubicBezTo>
                  <a:cubicBezTo>
                    <a:pt x="267" y="3"/>
                    <a:pt x="264" y="0"/>
                    <a:pt x="260" y="0"/>
                  </a:cubicBezTo>
                  <a:close/>
                  <a:moveTo>
                    <a:pt x="32" y="82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2" y="53"/>
                    <a:pt x="35" y="50"/>
                    <a:pt x="39" y="50"/>
                  </a:cubicBezTo>
                  <a:cubicBezTo>
                    <a:pt x="228" y="50"/>
                    <a:pt x="228" y="50"/>
                    <a:pt x="228" y="50"/>
                  </a:cubicBezTo>
                  <a:cubicBezTo>
                    <a:pt x="232" y="50"/>
                    <a:pt x="235" y="53"/>
                    <a:pt x="235" y="57"/>
                  </a:cubicBezTo>
                  <a:cubicBezTo>
                    <a:pt x="235" y="82"/>
                    <a:pt x="235" y="82"/>
                    <a:pt x="235" y="82"/>
                  </a:cubicBezTo>
                  <a:cubicBezTo>
                    <a:pt x="235" y="86"/>
                    <a:pt x="232" y="89"/>
                    <a:pt x="228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5" y="89"/>
                    <a:pt x="32" y="86"/>
                    <a:pt x="32" y="82"/>
                  </a:cubicBezTo>
                  <a:close/>
                  <a:moveTo>
                    <a:pt x="213" y="254"/>
                  </a:moveTo>
                  <a:cubicBezTo>
                    <a:pt x="203" y="254"/>
                    <a:pt x="195" y="246"/>
                    <a:pt x="195" y="236"/>
                  </a:cubicBezTo>
                  <a:cubicBezTo>
                    <a:pt x="195" y="226"/>
                    <a:pt x="203" y="218"/>
                    <a:pt x="213" y="218"/>
                  </a:cubicBezTo>
                  <a:cubicBezTo>
                    <a:pt x="223" y="218"/>
                    <a:pt x="232" y="226"/>
                    <a:pt x="232" y="236"/>
                  </a:cubicBezTo>
                  <a:cubicBezTo>
                    <a:pt x="232" y="246"/>
                    <a:pt x="223" y="254"/>
                    <a:pt x="213" y="254"/>
                  </a:cubicBezTo>
                  <a:close/>
                  <a:moveTo>
                    <a:pt x="213" y="194"/>
                  </a:moveTo>
                  <a:cubicBezTo>
                    <a:pt x="200" y="194"/>
                    <a:pt x="189" y="183"/>
                    <a:pt x="189" y="170"/>
                  </a:cubicBezTo>
                  <a:cubicBezTo>
                    <a:pt x="189" y="156"/>
                    <a:pt x="200" y="146"/>
                    <a:pt x="213" y="146"/>
                  </a:cubicBezTo>
                  <a:cubicBezTo>
                    <a:pt x="227" y="146"/>
                    <a:pt x="238" y="156"/>
                    <a:pt x="238" y="170"/>
                  </a:cubicBezTo>
                  <a:cubicBezTo>
                    <a:pt x="238" y="183"/>
                    <a:pt x="227" y="194"/>
                    <a:pt x="213" y="194"/>
                  </a:cubicBezTo>
                  <a:close/>
                </a:path>
              </a:pathLst>
            </a:custGeom>
            <a:solidFill>
              <a:srgbClr val="80B7E1">
                <a:alpha val="34000"/>
              </a:srgbClr>
            </a:solidFill>
            <a:ln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0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-122" normalizeH="0" baseline="0" noProof="0" dirty="0">
                <a:ln>
                  <a:noFill/>
                </a:ln>
                <a:solidFill>
                  <a:srgbClr val="505050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Segoe UI" panose="020B0502040204020203" pitchFamily="34" charset="0"/>
              </a:endParaRPr>
            </a:p>
          </p:txBody>
        </p:sp>
        <p:sp>
          <p:nvSpPr>
            <p:cNvPr id="854" name="Freeform 88"/>
            <p:cNvSpPr>
              <a:spLocks noEditPoints="1"/>
            </p:cNvSpPr>
            <p:nvPr/>
          </p:nvSpPr>
          <p:spPr bwMode="black">
            <a:xfrm>
              <a:off x="8774074" y="1498691"/>
              <a:ext cx="848373" cy="719415"/>
            </a:xfrm>
            <a:custGeom>
              <a:avLst/>
              <a:gdLst/>
              <a:ahLst/>
              <a:cxnLst>
                <a:cxn ang="0">
                  <a:pos x="494" y="0"/>
                </a:cxn>
                <a:cxn ang="0">
                  <a:pos x="17" y="0"/>
                </a:cxn>
                <a:cxn ang="0">
                  <a:pos x="0" y="16"/>
                </a:cxn>
                <a:cxn ang="0">
                  <a:pos x="0" y="361"/>
                </a:cxn>
                <a:cxn ang="0">
                  <a:pos x="17" y="377"/>
                </a:cxn>
                <a:cxn ang="0">
                  <a:pos x="174" y="377"/>
                </a:cxn>
                <a:cxn ang="0">
                  <a:pos x="174" y="402"/>
                </a:cxn>
                <a:cxn ang="0">
                  <a:pos x="139" y="435"/>
                </a:cxn>
                <a:cxn ang="0">
                  <a:pos x="380" y="435"/>
                </a:cxn>
                <a:cxn ang="0">
                  <a:pos x="346" y="402"/>
                </a:cxn>
                <a:cxn ang="0">
                  <a:pos x="346" y="377"/>
                </a:cxn>
                <a:cxn ang="0">
                  <a:pos x="494" y="377"/>
                </a:cxn>
                <a:cxn ang="0">
                  <a:pos x="510" y="361"/>
                </a:cxn>
                <a:cxn ang="0">
                  <a:pos x="510" y="16"/>
                </a:cxn>
                <a:cxn ang="0">
                  <a:pos x="494" y="0"/>
                </a:cxn>
                <a:cxn ang="0">
                  <a:pos x="481" y="335"/>
                </a:cxn>
                <a:cxn ang="0">
                  <a:pos x="467" y="349"/>
                </a:cxn>
                <a:cxn ang="0">
                  <a:pos x="44" y="349"/>
                </a:cxn>
                <a:cxn ang="0">
                  <a:pos x="30" y="335"/>
                </a:cxn>
                <a:cxn ang="0">
                  <a:pos x="30" y="42"/>
                </a:cxn>
                <a:cxn ang="0">
                  <a:pos x="44" y="28"/>
                </a:cxn>
                <a:cxn ang="0">
                  <a:pos x="467" y="28"/>
                </a:cxn>
                <a:cxn ang="0">
                  <a:pos x="481" y="42"/>
                </a:cxn>
                <a:cxn ang="0">
                  <a:pos x="481" y="335"/>
                </a:cxn>
              </a:cxnLst>
              <a:rect l="0" t="0" r="r" b="b"/>
              <a:pathLst>
                <a:path w="510" h="435">
                  <a:moveTo>
                    <a:pt x="494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361"/>
                    <a:pt x="0" y="361"/>
                    <a:pt x="0" y="361"/>
                  </a:cubicBezTo>
                  <a:cubicBezTo>
                    <a:pt x="0" y="370"/>
                    <a:pt x="8" y="377"/>
                    <a:pt x="17" y="377"/>
                  </a:cubicBezTo>
                  <a:cubicBezTo>
                    <a:pt x="174" y="377"/>
                    <a:pt x="174" y="377"/>
                    <a:pt x="174" y="377"/>
                  </a:cubicBezTo>
                  <a:cubicBezTo>
                    <a:pt x="174" y="402"/>
                    <a:pt x="174" y="402"/>
                    <a:pt x="174" y="402"/>
                  </a:cubicBezTo>
                  <a:cubicBezTo>
                    <a:pt x="139" y="435"/>
                    <a:pt x="139" y="435"/>
                    <a:pt x="139" y="435"/>
                  </a:cubicBezTo>
                  <a:cubicBezTo>
                    <a:pt x="380" y="435"/>
                    <a:pt x="380" y="435"/>
                    <a:pt x="380" y="435"/>
                  </a:cubicBezTo>
                  <a:cubicBezTo>
                    <a:pt x="346" y="402"/>
                    <a:pt x="346" y="402"/>
                    <a:pt x="346" y="402"/>
                  </a:cubicBezTo>
                  <a:cubicBezTo>
                    <a:pt x="346" y="377"/>
                    <a:pt x="346" y="377"/>
                    <a:pt x="346" y="377"/>
                  </a:cubicBezTo>
                  <a:cubicBezTo>
                    <a:pt x="494" y="377"/>
                    <a:pt x="494" y="377"/>
                    <a:pt x="494" y="377"/>
                  </a:cubicBezTo>
                  <a:cubicBezTo>
                    <a:pt x="503" y="377"/>
                    <a:pt x="510" y="370"/>
                    <a:pt x="510" y="361"/>
                  </a:cubicBezTo>
                  <a:cubicBezTo>
                    <a:pt x="510" y="16"/>
                    <a:pt x="510" y="16"/>
                    <a:pt x="510" y="16"/>
                  </a:cubicBezTo>
                  <a:cubicBezTo>
                    <a:pt x="510" y="7"/>
                    <a:pt x="503" y="0"/>
                    <a:pt x="494" y="0"/>
                  </a:cubicBezTo>
                  <a:close/>
                  <a:moveTo>
                    <a:pt x="481" y="335"/>
                  </a:moveTo>
                  <a:cubicBezTo>
                    <a:pt x="481" y="343"/>
                    <a:pt x="475" y="349"/>
                    <a:pt x="467" y="349"/>
                  </a:cubicBezTo>
                  <a:cubicBezTo>
                    <a:pt x="44" y="349"/>
                    <a:pt x="44" y="349"/>
                    <a:pt x="44" y="349"/>
                  </a:cubicBezTo>
                  <a:cubicBezTo>
                    <a:pt x="36" y="349"/>
                    <a:pt x="30" y="343"/>
                    <a:pt x="30" y="335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34"/>
                    <a:pt x="36" y="28"/>
                    <a:pt x="44" y="28"/>
                  </a:cubicBezTo>
                  <a:cubicBezTo>
                    <a:pt x="467" y="28"/>
                    <a:pt x="467" y="28"/>
                    <a:pt x="467" y="28"/>
                  </a:cubicBezTo>
                  <a:cubicBezTo>
                    <a:pt x="475" y="28"/>
                    <a:pt x="481" y="34"/>
                    <a:pt x="481" y="42"/>
                  </a:cubicBezTo>
                  <a:lnTo>
                    <a:pt x="481" y="335"/>
                  </a:lnTo>
                  <a:close/>
                </a:path>
              </a:pathLst>
            </a:custGeom>
            <a:solidFill>
              <a:srgbClr val="80B7E1">
                <a:alpha val="34000"/>
              </a:srgbClr>
            </a:solidFill>
            <a:ln>
              <a:noFill/>
              <a:headEnd type="none" w="med" len="med"/>
              <a:tailEnd type="none" w="med" len="med"/>
            </a:ln>
            <a:extLst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0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-122" normalizeH="0" baseline="0" noProof="0" dirty="0">
                <a:ln>
                  <a:noFill/>
                </a:ln>
                <a:solidFill>
                  <a:srgbClr val="505050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Segoe UI" panose="020B0502040204020203" pitchFamily="34" charset="0"/>
              </a:endParaRPr>
            </a:p>
          </p:txBody>
        </p:sp>
        <p:sp>
          <p:nvSpPr>
            <p:cNvPr id="855" name="Rounded Rectangle 47"/>
            <p:cNvSpPr/>
            <p:nvPr/>
          </p:nvSpPr>
          <p:spPr>
            <a:xfrm rot="5400000">
              <a:off x="8441232" y="913266"/>
              <a:ext cx="1791192" cy="1791196"/>
            </a:xfrm>
            <a:custGeom>
              <a:avLst/>
              <a:gdLst/>
              <a:ahLst/>
              <a:cxnLst/>
              <a:rect l="l" t="t" r="r" b="b"/>
              <a:pathLst>
                <a:path w="4796166" h="4796165">
                  <a:moveTo>
                    <a:pt x="4535493" y="1516069"/>
                  </a:moveTo>
                  <a:lnTo>
                    <a:pt x="4535493" y="921709"/>
                  </a:lnTo>
                  <a:lnTo>
                    <a:pt x="4697104" y="921709"/>
                  </a:lnTo>
                  <a:cubicBezTo>
                    <a:pt x="4751814" y="921709"/>
                    <a:pt x="4796166" y="966061"/>
                    <a:pt x="4796166" y="1020771"/>
                  </a:cubicBezTo>
                  <a:lnTo>
                    <a:pt x="4796166" y="1417007"/>
                  </a:lnTo>
                  <a:cubicBezTo>
                    <a:pt x="4796166" y="1471717"/>
                    <a:pt x="4751814" y="1516069"/>
                    <a:pt x="4697104" y="1516069"/>
                  </a:cubicBezTo>
                  <a:close/>
                  <a:moveTo>
                    <a:pt x="4535493" y="2695264"/>
                  </a:moveTo>
                  <a:lnTo>
                    <a:pt x="4535493" y="2100904"/>
                  </a:lnTo>
                  <a:lnTo>
                    <a:pt x="4697104" y="2100904"/>
                  </a:lnTo>
                  <a:cubicBezTo>
                    <a:pt x="4751814" y="2100904"/>
                    <a:pt x="4796166" y="2145256"/>
                    <a:pt x="4796166" y="2199966"/>
                  </a:cubicBezTo>
                  <a:lnTo>
                    <a:pt x="4796166" y="2596202"/>
                  </a:lnTo>
                  <a:cubicBezTo>
                    <a:pt x="4796166" y="2650912"/>
                    <a:pt x="4751814" y="2695264"/>
                    <a:pt x="4697104" y="2695264"/>
                  </a:cubicBezTo>
                  <a:close/>
                  <a:moveTo>
                    <a:pt x="4535493" y="3874459"/>
                  </a:moveTo>
                  <a:lnTo>
                    <a:pt x="4535493" y="3280099"/>
                  </a:lnTo>
                  <a:lnTo>
                    <a:pt x="4697104" y="3280099"/>
                  </a:lnTo>
                  <a:cubicBezTo>
                    <a:pt x="4751814" y="3280099"/>
                    <a:pt x="4796166" y="3324451"/>
                    <a:pt x="4796166" y="3379161"/>
                  </a:cubicBezTo>
                  <a:lnTo>
                    <a:pt x="4796166" y="3775397"/>
                  </a:lnTo>
                  <a:cubicBezTo>
                    <a:pt x="4796166" y="3830107"/>
                    <a:pt x="4751814" y="3874459"/>
                    <a:pt x="4697104" y="3874459"/>
                  </a:cubicBezTo>
                  <a:close/>
                  <a:moveTo>
                    <a:pt x="3280098" y="260673"/>
                  </a:moveTo>
                  <a:lnTo>
                    <a:pt x="3280098" y="99062"/>
                  </a:lnTo>
                  <a:cubicBezTo>
                    <a:pt x="3280098" y="44352"/>
                    <a:pt x="3324450" y="0"/>
                    <a:pt x="3379160" y="0"/>
                  </a:cubicBezTo>
                  <a:lnTo>
                    <a:pt x="3775396" y="0"/>
                  </a:lnTo>
                  <a:cubicBezTo>
                    <a:pt x="3830106" y="0"/>
                    <a:pt x="3874458" y="44352"/>
                    <a:pt x="3874458" y="99062"/>
                  </a:cubicBezTo>
                  <a:lnTo>
                    <a:pt x="3874458" y="260673"/>
                  </a:lnTo>
                  <a:close/>
                  <a:moveTo>
                    <a:pt x="3280098" y="4697103"/>
                  </a:moveTo>
                  <a:lnTo>
                    <a:pt x="3280098" y="4535493"/>
                  </a:lnTo>
                  <a:lnTo>
                    <a:pt x="3874458" y="4535493"/>
                  </a:lnTo>
                  <a:lnTo>
                    <a:pt x="3874458" y="4697103"/>
                  </a:lnTo>
                  <a:cubicBezTo>
                    <a:pt x="3874458" y="4751813"/>
                    <a:pt x="3830106" y="4796165"/>
                    <a:pt x="3775396" y="4796165"/>
                  </a:cubicBezTo>
                  <a:lnTo>
                    <a:pt x="3379160" y="4796165"/>
                  </a:lnTo>
                  <a:cubicBezTo>
                    <a:pt x="3324450" y="4796165"/>
                    <a:pt x="3280098" y="4751813"/>
                    <a:pt x="3280098" y="4697103"/>
                  </a:cubicBezTo>
                  <a:close/>
                  <a:moveTo>
                    <a:pt x="2100903" y="260673"/>
                  </a:moveTo>
                  <a:lnTo>
                    <a:pt x="2100903" y="99062"/>
                  </a:lnTo>
                  <a:cubicBezTo>
                    <a:pt x="2100903" y="44352"/>
                    <a:pt x="2145255" y="0"/>
                    <a:pt x="2199965" y="0"/>
                  </a:cubicBezTo>
                  <a:lnTo>
                    <a:pt x="2596201" y="0"/>
                  </a:lnTo>
                  <a:cubicBezTo>
                    <a:pt x="2650911" y="0"/>
                    <a:pt x="2695263" y="44352"/>
                    <a:pt x="2695263" y="99062"/>
                  </a:cubicBezTo>
                  <a:lnTo>
                    <a:pt x="2695263" y="260673"/>
                  </a:lnTo>
                  <a:close/>
                  <a:moveTo>
                    <a:pt x="2100903" y="4697103"/>
                  </a:moveTo>
                  <a:lnTo>
                    <a:pt x="2100903" y="4535493"/>
                  </a:lnTo>
                  <a:lnTo>
                    <a:pt x="2695263" y="4535493"/>
                  </a:lnTo>
                  <a:lnTo>
                    <a:pt x="2695263" y="4697103"/>
                  </a:lnTo>
                  <a:cubicBezTo>
                    <a:pt x="2695263" y="4751813"/>
                    <a:pt x="2650911" y="4796165"/>
                    <a:pt x="2596201" y="4796165"/>
                  </a:cubicBezTo>
                  <a:lnTo>
                    <a:pt x="2199965" y="4796165"/>
                  </a:lnTo>
                  <a:cubicBezTo>
                    <a:pt x="2145255" y="4796165"/>
                    <a:pt x="2100903" y="4751813"/>
                    <a:pt x="2100903" y="4697103"/>
                  </a:cubicBezTo>
                  <a:close/>
                  <a:moveTo>
                    <a:pt x="921708" y="260673"/>
                  </a:moveTo>
                  <a:lnTo>
                    <a:pt x="921708" y="99062"/>
                  </a:lnTo>
                  <a:cubicBezTo>
                    <a:pt x="921708" y="44352"/>
                    <a:pt x="966060" y="0"/>
                    <a:pt x="1020770" y="0"/>
                  </a:cubicBezTo>
                  <a:lnTo>
                    <a:pt x="1417006" y="0"/>
                  </a:lnTo>
                  <a:cubicBezTo>
                    <a:pt x="1471716" y="0"/>
                    <a:pt x="1516068" y="44352"/>
                    <a:pt x="1516068" y="99062"/>
                  </a:cubicBezTo>
                  <a:lnTo>
                    <a:pt x="1516068" y="260673"/>
                  </a:lnTo>
                  <a:close/>
                  <a:moveTo>
                    <a:pt x="921708" y="4697103"/>
                  </a:moveTo>
                  <a:lnTo>
                    <a:pt x="921708" y="4535493"/>
                  </a:lnTo>
                  <a:lnTo>
                    <a:pt x="1516068" y="4535493"/>
                  </a:lnTo>
                  <a:lnTo>
                    <a:pt x="1516068" y="4697103"/>
                  </a:lnTo>
                  <a:cubicBezTo>
                    <a:pt x="1516068" y="4751813"/>
                    <a:pt x="1471716" y="4796165"/>
                    <a:pt x="1417006" y="4796165"/>
                  </a:cubicBezTo>
                  <a:lnTo>
                    <a:pt x="1020770" y="4796165"/>
                  </a:lnTo>
                  <a:cubicBezTo>
                    <a:pt x="966060" y="4796165"/>
                    <a:pt x="921708" y="4751813"/>
                    <a:pt x="921708" y="4697103"/>
                  </a:cubicBezTo>
                  <a:close/>
                  <a:moveTo>
                    <a:pt x="0" y="1417007"/>
                  </a:moveTo>
                  <a:lnTo>
                    <a:pt x="0" y="1020771"/>
                  </a:lnTo>
                  <a:cubicBezTo>
                    <a:pt x="0" y="966061"/>
                    <a:pt x="44352" y="921709"/>
                    <a:pt x="99062" y="921709"/>
                  </a:cubicBezTo>
                  <a:lnTo>
                    <a:pt x="260673" y="921709"/>
                  </a:lnTo>
                  <a:lnTo>
                    <a:pt x="260673" y="1516069"/>
                  </a:lnTo>
                  <a:lnTo>
                    <a:pt x="99062" y="1516069"/>
                  </a:lnTo>
                  <a:cubicBezTo>
                    <a:pt x="44352" y="1516069"/>
                    <a:pt x="0" y="1471717"/>
                    <a:pt x="0" y="1417007"/>
                  </a:cubicBezTo>
                  <a:close/>
                  <a:moveTo>
                    <a:pt x="0" y="2596202"/>
                  </a:moveTo>
                  <a:lnTo>
                    <a:pt x="0" y="2199966"/>
                  </a:lnTo>
                  <a:cubicBezTo>
                    <a:pt x="0" y="2145256"/>
                    <a:pt x="44352" y="2100904"/>
                    <a:pt x="99062" y="2100904"/>
                  </a:cubicBezTo>
                  <a:lnTo>
                    <a:pt x="260673" y="2100904"/>
                  </a:lnTo>
                  <a:lnTo>
                    <a:pt x="260673" y="2695264"/>
                  </a:lnTo>
                  <a:lnTo>
                    <a:pt x="99062" y="2695264"/>
                  </a:lnTo>
                  <a:cubicBezTo>
                    <a:pt x="44352" y="2695264"/>
                    <a:pt x="0" y="2650912"/>
                    <a:pt x="0" y="2596202"/>
                  </a:cubicBezTo>
                  <a:close/>
                  <a:moveTo>
                    <a:pt x="0" y="3775397"/>
                  </a:moveTo>
                  <a:lnTo>
                    <a:pt x="0" y="3379161"/>
                  </a:lnTo>
                  <a:cubicBezTo>
                    <a:pt x="0" y="3324451"/>
                    <a:pt x="44352" y="3280099"/>
                    <a:pt x="99062" y="3280099"/>
                  </a:cubicBezTo>
                  <a:lnTo>
                    <a:pt x="260673" y="3280099"/>
                  </a:lnTo>
                  <a:lnTo>
                    <a:pt x="260673" y="3874459"/>
                  </a:lnTo>
                  <a:lnTo>
                    <a:pt x="99062" y="3874459"/>
                  </a:lnTo>
                  <a:cubicBezTo>
                    <a:pt x="44352" y="3874459"/>
                    <a:pt x="0" y="3830107"/>
                    <a:pt x="0" y="3775397"/>
                  </a:cubicBezTo>
                  <a:close/>
                </a:path>
              </a:pathLst>
            </a:custGeom>
            <a:solidFill>
              <a:srgbClr val="80B7E1">
                <a:alpha val="34000"/>
              </a:srgbClr>
            </a:solidFill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0" b="0" i="0" u="none" strike="noStrike" kern="0" cap="none" spc="0" normalizeH="0" baseline="0" noProof="0" dirty="0">
                <a:ln>
                  <a:solidFill>
                    <a:srgbClr val="50505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6" name="Freeform 855"/>
            <p:cNvSpPr/>
            <p:nvPr/>
          </p:nvSpPr>
          <p:spPr>
            <a:xfrm>
              <a:off x="8576999" y="1049038"/>
              <a:ext cx="1519656" cy="1519652"/>
            </a:xfrm>
            <a:custGeom>
              <a:avLst/>
              <a:gdLst>
                <a:gd name="connsiteX0" fmla="*/ 93115 w 1243081"/>
                <a:gd name="connsiteY0" fmla="*/ 39574 h 1243078"/>
                <a:gd name="connsiteX1" fmla="*/ 84364 w 1243081"/>
                <a:gd name="connsiteY1" fmla="*/ 41341 h 1243078"/>
                <a:gd name="connsiteX2" fmla="*/ 37097 w 1243081"/>
                <a:gd name="connsiteY2" fmla="*/ 41341 h 1243078"/>
                <a:gd name="connsiteX3" fmla="*/ 37097 w 1243081"/>
                <a:gd name="connsiteY3" fmla="*/ 1201739 h 1243078"/>
                <a:gd name="connsiteX4" fmla="*/ 1205984 w 1243081"/>
                <a:gd name="connsiteY4" fmla="*/ 1201739 h 1243078"/>
                <a:gd name="connsiteX5" fmla="*/ 1205984 w 1243081"/>
                <a:gd name="connsiteY5" fmla="*/ 41341 h 1243078"/>
                <a:gd name="connsiteX6" fmla="*/ 101866 w 1243081"/>
                <a:gd name="connsiteY6" fmla="*/ 41341 h 1243078"/>
                <a:gd name="connsiteX7" fmla="*/ 0 w 1243081"/>
                <a:gd name="connsiteY7" fmla="*/ 0 h 1243078"/>
                <a:gd name="connsiteX8" fmla="*/ 1243081 w 1243081"/>
                <a:gd name="connsiteY8" fmla="*/ 0 h 1243078"/>
                <a:gd name="connsiteX9" fmla="*/ 1243081 w 1243081"/>
                <a:gd name="connsiteY9" fmla="*/ 1243078 h 1243078"/>
                <a:gd name="connsiteX10" fmla="*/ 0 w 1243081"/>
                <a:gd name="connsiteY10" fmla="*/ 1243078 h 124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3081" h="1243078">
                  <a:moveTo>
                    <a:pt x="93115" y="39574"/>
                  </a:moveTo>
                  <a:lnTo>
                    <a:pt x="84364" y="41341"/>
                  </a:lnTo>
                  <a:lnTo>
                    <a:pt x="37097" y="41341"/>
                  </a:lnTo>
                  <a:lnTo>
                    <a:pt x="37097" y="1201739"/>
                  </a:lnTo>
                  <a:lnTo>
                    <a:pt x="1205984" y="1201739"/>
                  </a:lnTo>
                  <a:lnTo>
                    <a:pt x="1205984" y="41341"/>
                  </a:lnTo>
                  <a:lnTo>
                    <a:pt x="101866" y="41341"/>
                  </a:lnTo>
                  <a:close/>
                  <a:moveTo>
                    <a:pt x="0" y="0"/>
                  </a:moveTo>
                  <a:lnTo>
                    <a:pt x="1243081" y="0"/>
                  </a:lnTo>
                  <a:lnTo>
                    <a:pt x="1243081" y="1243078"/>
                  </a:lnTo>
                  <a:lnTo>
                    <a:pt x="0" y="1243078"/>
                  </a:lnTo>
                  <a:close/>
                </a:path>
              </a:pathLst>
            </a:custGeom>
            <a:solidFill>
              <a:srgbClr val="80B7E1">
                <a:alpha val="34000"/>
              </a:srgbClr>
            </a:solidFill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0" b="0" i="0" u="none" strike="noStrike" kern="0" cap="none" spc="0" normalizeH="0" baseline="0" noProof="0" dirty="0">
                <a:ln>
                  <a:solidFill>
                    <a:srgbClr val="505050">
                      <a:alpha val="0"/>
                    </a:srgbClr>
                  </a:solidFill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831" name="Freeform 830"/>
          <p:cNvSpPr/>
          <p:nvPr/>
        </p:nvSpPr>
        <p:spPr>
          <a:xfrm rot="18900000">
            <a:off x="2247362" y="2901538"/>
            <a:ext cx="196850" cy="751190"/>
          </a:xfrm>
          <a:custGeom>
            <a:avLst/>
            <a:gdLst>
              <a:gd name="connsiteX0" fmla="*/ 482600 w 482600"/>
              <a:gd name="connsiteY0" fmla="*/ 0 h 1758950"/>
              <a:gd name="connsiteX1" fmla="*/ 0 w 482600"/>
              <a:gd name="connsiteY1" fmla="*/ 488950 h 1758950"/>
              <a:gd name="connsiteX2" fmla="*/ 0 w 482600"/>
              <a:gd name="connsiteY2" fmla="*/ 1517650 h 1758950"/>
              <a:gd name="connsiteX3" fmla="*/ 196850 w 482600"/>
              <a:gd name="connsiteY3" fmla="*/ 1701800 h 1758950"/>
              <a:gd name="connsiteX4" fmla="*/ 196850 w 482600"/>
              <a:gd name="connsiteY4" fmla="*/ 1758950 h 1758950"/>
              <a:gd name="connsiteX0" fmla="*/ 482600 w 482600"/>
              <a:gd name="connsiteY0" fmla="*/ 0 h 1758950"/>
              <a:gd name="connsiteX1" fmla="*/ 0 w 482600"/>
              <a:gd name="connsiteY1" fmla="*/ 488950 h 1758950"/>
              <a:gd name="connsiteX2" fmla="*/ 3767 w 482600"/>
              <a:gd name="connsiteY2" fmla="*/ 1007760 h 1758950"/>
              <a:gd name="connsiteX3" fmla="*/ 0 w 482600"/>
              <a:gd name="connsiteY3" fmla="*/ 1517650 h 1758950"/>
              <a:gd name="connsiteX4" fmla="*/ 196850 w 482600"/>
              <a:gd name="connsiteY4" fmla="*/ 1701800 h 1758950"/>
              <a:gd name="connsiteX5" fmla="*/ 196850 w 482600"/>
              <a:gd name="connsiteY5" fmla="*/ 1758950 h 1758950"/>
              <a:gd name="connsiteX0" fmla="*/ 0 w 196850"/>
              <a:gd name="connsiteY0" fmla="*/ 0 h 1270000"/>
              <a:gd name="connsiteX1" fmla="*/ 3767 w 196850"/>
              <a:gd name="connsiteY1" fmla="*/ 518810 h 1270000"/>
              <a:gd name="connsiteX2" fmla="*/ 0 w 196850"/>
              <a:gd name="connsiteY2" fmla="*/ 1028700 h 1270000"/>
              <a:gd name="connsiteX3" fmla="*/ 196850 w 196850"/>
              <a:gd name="connsiteY3" fmla="*/ 1212850 h 1270000"/>
              <a:gd name="connsiteX4" fmla="*/ 196850 w 196850"/>
              <a:gd name="connsiteY4" fmla="*/ 1270000 h 1270000"/>
              <a:gd name="connsiteX0" fmla="*/ 3767 w 196850"/>
              <a:gd name="connsiteY0" fmla="*/ 0 h 751190"/>
              <a:gd name="connsiteX1" fmla="*/ 0 w 196850"/>
              <a:gd name="connsiteY1" fmla="*/ 509890 h 751190"/>
              <a:gd name="connsiteX2" fmla="*/ 196850 w 196850"/>
              <a:gd name="connsiteY2" fmla="*/ 694040 h 751190"/>
              <a:gd name="connsiteX3" fmla="*/ 196850 w 196850"/>
              <a:gd name="connsiteY3" fmla="*/ 751190 h 751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6850" h="751190">
                <a:moveTo>
                  <a:pt x="3767" y="0"/>
                </a:moveTo>
                <a:cubicBezTo>
                  <a:pt x="2511" y="169963"/>
                  <a:pt x="1256" y="339927"/>
                  <a:pt x="0" y="509890"/>
                </a:cubicBezTo>
                <a:lnTo>
                  <a:pt x="196850" y="694040"/>
                </a:lnTo>
                <a:lnTo>
                  <a:pt x="196850" y="75119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2" name="Freeform 831"/>
          <p:cNvSpPr/>
          <p:nvPr/>
        </p:nvSpPr>
        <p:spPr>
          <a:xfrm rot="18900000">
            <a:off x="2365892" y="2709003"/>
            <a:ext cx="317500" cy="1089859"/>
          </a:xfrm>
          <a:custGeom>
            <a:avLst/>
            <a:gdLst>
              <a:gd name="connsiteX0" fmla="*/ 565150 w 565150"/>
              <a:gd name="connsiteY0" fmla="*/ 0 h 2044700"/>
              <a:gd name="connsiteX1" fmla="*/ 63500 w 565150"/>
              <a:gd name="connsiteY1" fmla="*/ 533400 h 2044700"/>
              <a:gd name="connsiteX2" fmla="*/ 63500 w 565150"/>
              <a:gd name="connsiteY2" fmla="*/ 1511300 h 2044700"/>
              <a:gd name="connsiteX3" fmla="*/ 317500 w 565150"/>
              <a:gd name="connsiteY3" fmla="*/ 1765300 h 2044700"/>
              <a:gd name="connsiteX4" fmla="*/ 317500 w 565150"/>
              <a:gd name="connsiteY4" fmla="*/ 1803400 h 2044700"/>
              <a:gd name="connsiteX5" fmla="*/ 63500 w 565150"/>
              <a:gd name="connsiteY5" fmla="*/ 2044700 h 2044700"/>
              <a:gd name="connsiteX6" fmla="*/ 0 w 565150"/>
              <a:gd name="connsiteY6" fmla="*/ 2044700 h 2044700"/>
              <a:gd name="connsiteX0" fmla="*/ 565150 w 565150"/>
              <a:gd name="connsiteY0" fmla="*/ 0 h 2044700"/>
              <a:gd name="connsiteX1" fmla="*/ 63500 w 565150"/>
              <a:gd name="connsiteY1" fmla="*/ 533400 h 2044700"/>
              <a:gd name="connsiteX2" fmla="*/ 55922 w 565150"/>
              <a:gd name="connsiteY2" fmla="*/ 954841 h 2044700"/>
              <a:gd name="connsiteX3" fmla="*/ 63500 w 565150"/>
              <a:gd name="connsiteY3" fmla="*/ 1511300 h 2044700"/>
              <a:gd name="connsiteX4" fmla="*/ 317500 w 565150"/>
              <a:gd name="connsiteY4" fmla="*/ 1765300 h 2044700"/>
              <a:gd name="connsiteX5" fmla="*/ 317500 w 565150"/>
              <a:gd name="connsiteY5" fmla="*/ 1803400 h 2044700"/>
              <a:gd name="connsiteX6" fmla="*/ 63500 w 565150"/>
              <a:gd name="connsiteY6" fmla="*/ 2044700 h 2044700"/>
              <a:gd name="connsiteX7" fmla="*/ 0 w 565150"/>
              <a:gd name="connsiteY7" fmla="*/ 2044700 h 2044700"/>
              <a:gd name="connsiteX0" fmla="*/ 63500 w 317500"/>
              <a:gd name="connsiteY0" fmla="*/ 0 h 1511300"/>
              <a:gd name="connsiteX1" fmla="*/ 55922 w 317500"/>
              <a:gd name="connsiteY1" fmla="*/ 421441 h 1511300"/>
              <a:gd name="connsiteX2" fmla="*/ 63500 w 317500"/>
              <a:gd name="connsiteY2" fmla="*/ 977900 h 1511300"/>
              <a:gd name="connsiteX3" fmla="*/ 317500 w 317500"/>
              <a:gd name="connsiteY3" fmla="*/ 1231900 h 1511300"/>
              <a:gd name="connsiteX4" fmla="*/ 317500 w 317500"/>
              <a:gd name="connsiteY4" fmla="*/ 1270000 h 1511300"/>
              <a:gd name="connsiteX5" fmla="*/ 63500 w 317500"/>
              <a:gd name="connsiteY5" fmla="*/ 1511300 h 1511300"/>
              <a:gd name="connsiteX6" fmla="*/ 0 w 317500"/>
              <a:gd name="connsiteY6" fmla="*/ 1511300 h 1511300"/>
              <a:gd name="connsiteX0" fmla="*/ 55922 w 317500"/>
              <a:gd name="connsiteY0" fmla="*/ 0 h 1089859"/>
              <a:gd name="connsiteX1" fmla="*/ 63500 w 317500"/>
              <a:gd name="connsiteY1" fmla="*/ 556459 h 1089859"/>
              <a:gd name="connsiteX2" fmla="*/ 317500 w 317500"/>
              <a:gd name="connsiteY2" fmla="*/ 810459 h 1089859"/>
              <a:gd name="connsiteX3" fmla="*/ 317500 w 317500"/>
              <a:gd name="connsiteY3" fmla="*/ 848559 h 1089859"/>
              <a:gd name="connsiteX4" fmla="*/ 63500 w 317500"/>
              <a:gd name="connsiteY4" fmla="*/ 1089859 h 1089859"/>
              <a:gd name="connsiteX5" fmla="*/ 0 w 317500"/>
              <a:gd name="connsiteY5" fmla="*/ 1089859 h 1089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7500" h="1089859">
                <a:moveTo>
                  <a:pt x="55922" y="0"/>
                </a:moveTo>
                <a:lnTo>
                  <a:pt x="63500" y="556459"/>
                </a:lnTo>
                <a:lnTo>
                  <a:pt x="317500" y="810459"/>
                </a:lnTo>
                <a:lnTo>
                  <a:pt x="317500" y="848559"/>
                </a:lnTo>
                <a:lnTo>
                  <a:pt x="63500" y="1089859"/>
                </a:lnTo>
                <a:lnTo>
                  <a:pt x="0" y="1089859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3" name="Freeform 832"/>
          <p:cNvSpPr/>
          <p:nvPr/>
        </p:nvSpPr>
        <p:spPr>
          <a:xfrm rot="18900000">
            <a:off x="2402854" y="2672778"/>
            <a:ext cx="400050" cy="1255922"/>
          </a:xfrm>
          <a:custGeom>
            <a:avLst/>
            <a:gdLst>
              <a:gd name="connsiteX0" fmla="*/ 641350 w 641350"/>
              <a:gd name="connsiteY0" fmla="*/ 0 h 2203450"/>
              <a:gd name="connsiteX1" fmla="*/ 133350 w 641350"/>
              <a:gd name="connsiteY1" fmla="*/ 527050 h 2203450"/>
              <a:gd name="connsiteX2" fmla="*/ 133350 w 641350"/>
              <a:gd name="connsiteY2" fmla="*/ 1473200 h 2203450"/>
              <a:gd name="connsiteX3" fmla="*/ 400050 w 641350"/>
              <a:gd name="connsiteY3" fmla="*/ 1739900 h 2203450"/>
              <a:gd name="connsiteX4" fmla="*/ 400050 w 641350"/>
              <a:gd name="connsiteY4" fmla="*/ 1803400 h 2203450"/>
              <a:gd name="connsiteX5" fmla="*/ 0 w 641350"/>
              <a:gd name="connsiteY5" fmla="*/ 2203450 h 2203450"/>
              <a:gd name="connsiteX0" fmla="*/ 641350 w 641350"/>
              <a:gd name="connsiteY0" fmla="*/ 0 h 2203450"/>
              <a:gd name="connsiteX1" fmla="*/ 133350 w 641350"/>
              <a:gd name="connsiteY1" fmla="*/ 527050 h 2203450"/>
              <a:gd name="connsiteX2" fmla="*/ 134242 w 641350"/>
              <a:gd name="connsiteY2" fmla="*/ 947528 h 2203450"/>
              <a:gd name="connsiteX3" fmla="*/ 133350 w 641350"/>
              <a:gd name="connsiteY3" fmla="*/ 1473200 h 2203450"/>
              <a:gd name="connsiteX4" fmla="*/ 400050 w 641350"/>
              <a:gd name="connsiteY4" fmla="*/ 1739900 h 2203450"/>
              <a:gd name="connsiteX5" fmla="*/ 400050 w 641350"/>
              <a:gd name="connsiteY5" fmla="*/ 1803400 h 2203450"/>
              <a:gd name="connsiteX6" fmla="*/ 0 w 641350"/>
              <a:gd name="connsiteY6" fmla="*/ 2203450 h 2203450"/>
              <a:gd name="connsiteX0" fmla="*/ 133350 w 400050"/>
              <a:gd name="connsiteY0" fmla="*/ 0 h 1676400"/>
              <a:gd name="connsiteX1" fmla="*/ 134242 w 400050"/>
              <a:gd name="connsiteY1" fmla="*/ 420478 h 1676400"/>
              <a:gd name="connsiteX2" fmla="*/ 133350 w 400050"/>
              <a:gd name="connsiteY2" fmla="*/ 946150 h 1676400"/>
              <a:gd name="connsiteX3" fmla="*/ 400050 w 400050"/>
              <a:gd name="connsiteY3" fmla="*/ 1212850 h 1676400"/>
              <a:gd name="connsiteX4" fmla="*/ 400050 w 400050"/>
              <a:gd name="connsiteY4" fmla="*/ 1276350 h 1676400"/>
              <a:gd name="connsiteX5" fmla="*/ 0 w 400050"/>
              <a:gd name="connsiteY5" fmla="*/ 1676400 h 1676400"/>
              <a:gd name="connsiteX0" fmla="*/ 134242 w 400050"/>
              <a:gd name="connsiteY0" fmla="*/ 0 h 1255922"/>
              <a:gd name="connsiteX1" fmla="*/ 133350 w 400050"/>
              <a:gd name="connsiteY1" fmla="*/ 525672 h 1255922"/>
              <a:gd name="connsiteX2" fmla="*/ 400050 w 400050"/>
              <a:gd name="connsiteY2" fmla="*/ 792372 h 1255922"/>
              <a:gd name="connsiteX3" fmla="*/ 400050 w 400050"/>
              <a:gd name="connsiteY3" fmla="*/ 855872 h 1255922"/>
              <a:gd name="connsiteX4" fmla="*/ 0 w 400050"/>
              <a:gd name="connsiteY4" fmla="*/ 1255922 h 1255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0050" h="1255922">
                <a:moveTo>
                  <a:pt x="134242" y="0"/>
                </a:moveTo>
                <a:cubicBezTo>
                  <a:pt x="133945" y="175224"/>
                  <a:pt x="133647" y="350448"/>
                  <a:pt x="133350" y="525672"/>
                </a:cubicBezTo>
                <a:lnTo>
                  <a:pt x="400050" y="792372"/>
                </a:lnTo>
                <a:lnTo>
                  <a:pt x="400050" y="855872"/>
                </a:lnTo>
                <a:lnTo>
                  <a:pt x="0" y="1255922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4" name="Freeform 833"/>
          <p:cNvSpPr/>
          <p:nvPr/>
        </p:nvSpPr>
        <p:spPr>
          <a:xfrm rot="18900000">
            <a:off x="2460286" y="2603892"/>
            <a:ext cx="298450" cy="1065711"/>
          </a:xfrm>
          <a:custGeom>
            <a:avLst/>
            <a:gdLst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298450 w 533400"/>
              <a:gd name="connsiteY4" fmla="*/ 1828800 h 1997075"/>
              <a:gd name="connsiteX5" fmla="*/ 130175 w 533400"/>
              <a:gd name="connsiteY5" fmla="*/ 1997075 h 1997075"/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509 w 533400"/>
              <a:gd name="connsiteY2" fmla="*/ 931364 h 1997075"/>
              <a:gd name="connsiteX3" fmla="*/ 0 w 533400"/>
              <a:gd name="connsiteY3" fmla="*/ 1450975 h 1997075"/>
              <a:gd name="connsiteX4" fmla="*/ 298450 w 533400"/>
              <a:gd name="connsiteY4" fmla="*/ 1749425 h 1997075"/>
              <a:gd name="connsiteX5" fmla="*/ 298450 w 533400"/>
              <a:gd name="connsiteY5" fmla="*/ 1828800 h 1997075"/>
              <a:gd name="connsiteX6" fmla="*/ 130175 w 533400"/>
              <a:gd name="connsiteY6" fmla="*/ 1997075 h 1997075"/>
              <a:gd name="connsiteX0" fmla="*/ 0 w 298450"/>
              <a:gd name="connsiteY0" fmla="*/ 0 h 1457325"/>
              <a:gd name="connsiteX1" fmla="*/ 509 w 298450"/>
              <a:gd name="connsiteY1" fmla="*/ 391614 h 1457325"/>
              <a:gd name="connsiteX2" fmla="*/ 0 w 298450"/>
              <a:gd name="connsiteY2" fmla="*/ 911225 h 1457325"/>
              <a:gd name="connsiteX3" fmla="*/ 298450 w 298450"/>
              <a:gd name="connsiteY3" fmla="*/ 1209675 h 1457325"/>
              <a:gd name="connsiteX4" fmla="*/ 298450 w 298450"/>
              <a:gd name="connsiteY4" fmla="*/ 1289050 h 1457325"/>
              <a:gd name="connsiteX5" fmla="*/ 130175 w 298450"/>
              <a:gd name="connsiteY5" fmla="*/ 1457325 h 1457325"/>
              <a:gd name="connsiteX0" fmla="*/ 509 w 298450"/>
              <a:gd name="connsiteY0" fmla="*/ 0 h 1065711"/>
              <a:gd name="connsiteX1" fmla="*/ 0 w 298450"/>
              <a:gd name="connsiteY1" fmla="*/ 519611 h 1065711"/>
              <a:gd name="connsiteX2" fmla="*/ 298450 w 298450"/>
              <a:gd name="connsiteY2" fmla="*/ 818061 h 1065711"/>
              <a:gd name="connsiteX3" fmla="*/ 298450 w 298450"/>
              <a:gd name="connsiteY3" fmla="*/ 897436 h 1065711"/>
              <a:gd name="connsiteX4" fmla="*/ 130175 w 298450"/>
              <a:gd name="connsiteY4" fmla="*/ 1065711 h 1065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8450" h="1065711">
                <a:moveTo>
                  <a:pt x="509" y="0"/>
                </a:moveTo>
                <a:cubicBezTo>
                  <a:pt x="339" y="173204"/>
                  <a:pt x="170" y="346407"/>
                  <a:pt x="0" y="519611"/>
                </a:cubicBezTo>
                <a:lnTo>
                  <a:pt x="298450" y="818061"/>
                </a:lnTo>
                <a:lnTo>
                  <a:pt x="298450" y="897436"/>
                </a:lnTo>
                <a:lnTo>
                  <a:pt x="130175" y="1065711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5" name="Freeform 834"/>
          <p:cNvSpPr/>
          <p:nvPr/>
        </p:nvSpPr>
        <p:spPr>
          <a:xfrm rot="18900000">
            <a:off x="2557564" y="2535981"/>
            <a:ext cx="310735" cy="1237161"/>
          </a:xfrm>
          <a:custGeom>
            <a:avLst/>
            <a:gdLst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298450 w 533400"/>
              <a:gd name="connsiteY4" fmla="*/ 1828800 h 1997075"/>
              <a:gd name="connsiteX5" fmla="*/ 130175 w 533400"/>
              <a:gd name="connsiteY5" fmla="*/ 1997075 h 1997075"/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301625 w 533400"/>
              <a:gd name="connsiteY4" fmla="*/ 1873250 h 1997075"/>
              <a:gd name="connsiteX5" fmla="*/ 130175 w 533400"/>
              <a:gd name="connsiteY5" fmla="*/ 1997075 h 1997075"/>
              <a:gd name="connsiteX0" fmla="*/ 533400 w 533400"/>
              <a:gd name="connsiteY0" fmla="*/ 0 h 2168525"/>
              <a:gd name="connsiteX1" fmla="*/ 0 w 533400"/>
              <a:gd name="connsiteY1" fmla="*/ 539750 h 2168525"/>
              <a:gd name="connsiteX2" fmla="*/ 0 w 533400"/>
              <a:gd name="connsiteY2" fmla="*/ 1450975 h 2168525"/>
              <a:gd name="connsiteX3" fmla="*/ 298450 w 533400"/>
              <a:gd name="connsiteY3" fmla="*/ 1749425 h 2168525"/>
              <a:gd name="connsiteX4" fmla="*/ 301625 w 533400"/>
              <a:gd name="connsiteY4" fmla="*/ 1873250 h 2168525"/>
              <a:gd name="connsiteX5" fmla="*/ 9525 w 533400"/>
              <a:gd name="connsiteY5" fmla="*/ 2168525 h 2168525"/>
              <a:gd name="connsiteX0" fmla="*/ 542510 w 542510"/>
              <a:gd name="connsiteY0" fmla="*/ 0 h 2168525"/>
              <a:gd name="connsiteX1" fmla="*/ 9110 w 542510"/>
              <a:gd name="connsiteY1" fmla="*/ 539750 h 2168525"/>
              <a:gd name="connsiteX2" fmla="*/ 0 w 542510"/>
              <a:gd name="connsiteY2" fmla="*/ 931364 h 2168525"/>
              <a:gd name="connsiteX3" fmla="*/ 9110 w 542510"/>
              <a:gd name="connsiteY3" fmla="*/ 1450975 h 2168525"/>
              <a:gd name="connsiteX4" fmla="*/ 307560 w 542510"/>
              <a:gd name="connsiteY4" fmla="*/ 1749425 h 2168525"/>
              <a:gd name="connsiteX5" fmla="*/ 310735 w 542510"/>
              <a:gd name="connsiteY5" fmla="*/ 1873250 h 2168525"/>
              <a:gd name="connsiteX6" fmla="*/ 18635 w 542510"/>
              <a:gd name="connsiteY6" fmla="*/ 2168525 h 2168525"/>
              <a:gd name="connsiteX0" fmla="*/ 9110 w 310735"/>
              <a:gd name="connsiteY0" fmla="*/ 0 h 1628775"/>
              <a:gd name="connsiteX1" fmla="*/ 0 w 310735"/>
              <a:gd name="connsiteY1" fmla="*/ 391614 h 1628775"/>
              <a:gd name="connsiteX2" fmla="*/ 9110 w 310735"/>
              <a:gd name="connsiteY2" fmla="*/ 911225 h 1628775"/>
              <a:gd name="connsiteX3" fmla="*/ 307560 w 310735"/>
              <a:gd name="connsiteY3" fmla="*/ 1209675 h 1628775"/>
              <a:gd name="connsiteX4" fmla="*/ 310735 w 310735"/>
              <a:gd name="connsiteY4" fmla="*/ 1333500 h 1628775"/>
              <a:gd name="connsiteX5" fmla="*/ 18635 w 310735"/>
              <a:gd name="connsiteY5" fmla="*/ 1628775 h 1628775"/>
              <a:gd name="connsiteX0" fmla="*/ 0 w 310735"/>
              <a:gd name="connsiteY0" fmla="*/ 0 h 1237161"/>
              <a:gd name="connsiteX1" fmla="*/ 9110 w 310735"/>
              <a:gd name="connsiteY1" fmla="*/ 519611 h 1237161"/>
              <a:gd name="connsiteX2" fmla="*/ 307560 w 310735"/>
              <a:gd name="connsiteY2" fmla="*/ 818061 h 1237161"/>
              <a:gd name="connsiteX3" fmla="*/ 310735 w 310735"/>
              <a:gd name="connsiteY3" fmla="*/ 941886 h 1237161"/>
              <a:gd name="connsiteX4" fmla="*/ 18635 w 310735"/>
              <a:gd name="connsiteY4" fmla="*/ 1237161 h 1237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735" h="1237161">
                <a:moveTo>
                  <a:pt x="0" y="0"/>
                </a:moveTo>
                <a:lnTo>
                  <a:pt x="9110" y="519611"/>
                </a:lnTo>
                <a:lnTo>
                  <a:pt x="307560" y="818061"/>
                </a:lnTo>
                <a:cubicBezTo>
                  <a:pt x="308618" y="859336"/>
                  <a:pt x="309677" y="900611"/>
                  <a:pt x="310735" y="941886"/>
                </a:cubicBezTo>
                <a:lnTo>
                  <a:pt x="18635" y="1237161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6" name="Freeform 835"/>
          <p:cNvSpPr/>
          <p:nvPr/>
        </p:nvSpPr>
        <p:spPr>
          <a:xfrm rot="18900000">
            <a:off x="2525609" y="2512139"/>
            <a:ext cx="301625" cy="1019337"/>
          </a:xfrm>
          <a:custGeom>
            <a:avLst/>
            <a:gdLst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298450 w 533400"/>
              <a:gd name="connsiteY4" fmla="*/ 1828800 h 1997075"/>
              <a:gd name="connsiteX5" fmla="*/ 130175 w 533400"/>
              <a:gd name="connsiteY5" fmla="*/ 1997075 h 1997075"/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301625 w 533400"/>
              <a:gd name="connsiteY4" fmla="*/ 1873250 h 1997075"/>
              <a:gd name="connsiteX5" fmla="*/ 130175 w 533400"/>
              <a:gd name="connsiteY5" fmla="*/ 1997075 h 1997075"/>
              <a:gd name="connsiteX0" fmla="*/ 533400 w 533400"/>
              <a:gd name="connsiteY0" fmla="*/ 0 h 2168525"/>
              <a:gd name="connsiteX1" fmla="*/ 0 w 533400"/>
              <a:gd name="connsiteY1" fmla="*/ 539750 h 2168525"/>
              <a:gd name="connsiteX2" fmla="*/ 0 w 533400"/>
              <a:gd name="connsiteY2" fmla="*/ 1450975 h 2168525"/>
              <a:gd name="connsiteX3" fmla="*/ 298450 w 533400"/>
              <a:gd name="connsiteY3" fmla="*/ 1749425 h 2168525"/>
              <a:gd name="connsiteX4" fmla="*/ 301625 w 533400"/>
              <a:gd name="connsiteY4" fmla="*/ 1873250 h 2168525"/>
              <a:gd name="connsiteX5" fmla="*/ 9525 w 533400"/>
              <a:gd name="connsiteY5" fmla="*/ 2168525 h 2168525"/>
              <a:gd name="connsiteX0" fmla="*/ 533400 w 533400"/>
              <a:gd name="connsiteY0" fmla="*/ 0 h 1873250"/>
              <a:gd name="connsiteX1" fmla="*/ 0 w 533400"/>
              <a:gd name="connsiteY1" fmla="*/ 539750 h 1873250"/>
              <a:gd name="connsiteX2" fmla="*/ 0 w 533400"/>
              <a:gd name="connsiteY2" fmla="*/ 1450975 h 1873250"/>
              <a:gd name="connsiteX3" fmla="*/ 298450 w 533400"/>
              <a:gd name="connsiteY3" fmla="*/ 1749425 h 1873250"/>
              <a:gd name="connsiteX4" fmla="*/ 301625 w 533400"/>
              <a:gd name="connsiteY4" fmla="*/ 1873250 h 1873250"/>
              <a:gd name="connsiteX0" fmla="*/ 533400 w 533400"/>
              <a:gd name="connsiteY0" fmla="*/ 0 h 1939925"/>
              <a:gd name="connsiteX1" fmla="*/ 0 w 533400"/>
              <a:gd name="connsiteY1" fmla="*/ 539750 h 1939925"/>
              <a:gd name="connsiteX2" fmla="*/ 0 w 533400"/>
              <a:gd name="connsiteY2" fmla="*/ 1450975 h 1939925"/>
              <a:gd name="connsiteX3" fmla="*/ 298450 w 533400"/>
              <a:gd name="connsiteY3" fmla="*/ 1749425 h 1939925"/>
              <a:gd name="connsiteX4" fmla="*/ 301625 w 533400"/>
              <a:gd name="connsiteY4" fmla="*/ 1939925 h 1939925"/>
              <a:gd name="connsiteX0" fmla="*/ 533400 w 533400"/>
              <a:gd name="connsiteY0" fmla="*/ 0 h 1939925"/>
              <a:gd name="connsiteX1" fmla="*/ 0 w 533400"/>
              <a:gd name="connsiteY1" fmla="*/ 539750 h 1939925"/>
              <a:gd name="connsiteX2" fmla="*/ 2824 w 533400"/>
              <a:gd name="connsiteY2" fmla="*/ 920588 h 1939925"/>
              <a:gd name="connsiteX3" fmla="*/ 0 w 533400"/>
              <a:gd name="connsiteY3" fmla="*/ 1450975 h 1939925"/>
              <a:gd name="connsiteX4" fmla="*/ 298450 w 533400"/>
              <a:gd name="connsiteY4" fmla="*/ 1749425 h 1939925"/>
              <a:gd name="connsiteX5" fmla="*/ 301625 w 533400"/>
              <a:gd name="connsiteY5" fmla="*/ 1939925 h 1939925"/>
              <a:gd name="connsiteX0" fmla="*/ 0 w 301625"/>
              <a:gd name="connsiteY0" fmla="*/ 0 h 1400175"/>
              <a:gd name="connsiteX1" fmla="*/ 2824 w 301625"/>
              <a:gd name="connsiteY1" fmla="*/ 380838 h 1400175"/>
              <a:gd name="connsiteX2" fmla="*/ 0 w 301625"/>
              <a:gd name="connsiteY2" fmla="*/ 911225 h 1400175"/>
              <a:gd name="connsiteX3" fmla="*/ 298450 w 301625"/>
              <a:gd name="connsiteY3" fmla="*/ 1209675 h 1400175"/>
              <a:gd name="connsiteX4" fmla="*/ 301625 w 301625"/>
              <a:gd name="connsiteY4" fmla="*/ 1400175 h 1400175"/>
              <a:gd name="connsiteX0" fmla="*/ 2824 w 301625"/>
              <a:gd name="connsiteY0" fmla="*/ 0 h 1019337"/>
              <a:gd name="connsiteX1" fmla="*/ 0 w 301625"/>
              <a:gd name="connsiteY1" fmla="*/ 530387 h 1019337"/>
              <a:gd name="connsiteX2" fmla="*/ 298450 w 301625"/>
              <a:gd name="connsiteY2" fmla="*/ 828837 h 1019337"/>
              <a:gd name="connsiteX3" fmla="*/ 301625 w 301625"/>
              <a:gd name="connsiteY3" fmla="*/ 1019337 h 101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625" h="1019337">
                <a:moveTo>
                  <a:pt x="2824" y="0"/>
                </a:moveTo>
                <a:cubicBezTo>
                  <a:pt x="1883" y="176796"/>
                  <a:pt x="941" y="353591"/>
                  <a:pt x="0" y="530387"/>
                </a:cubicBezTo>
                <a:lnTo>
                  <a:pt x="298450" y="828837"/>
                </a:lnTo>
                <a:cubicBezTo>
                  <a:pt x="299508" y="870112"/>
                  <a:pt x="300567" y="978062"/>
                  <a:pt x="301625" y="1019337"/>
                </a:cubicBez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37" name="Freeform 836"/>
          <p:cNvSpPr/>
          <p:nvPr/>
        </p:nvSpPr>
        <p:spPr>
          <a:xfrm rot="18900000">
            <a:off x="2652664" y="2405480"/>
            <a:ext cx="301778" cy="1265351"/>
          </a:xfrm>
          <a:custGeom>
            <a:avLst/>
            <a:gdLst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298450 w 533400"/>
              <a:gd name="connsiteY4" fmla="*/ 1828800 h 1997075"/>
              <a:gd name="connsiteX5" fmla="*/ 130175 w 533400"/>
              <a:gd name="connsiteY5" fmla="*/ 1997075 h 1997075"/>
              <a:gd name="connsiteX0" fmla="*/ 533400 w 533400"/>
              <a:gd name="connsiteY0" fmla="*/ 0 h 1997075"/>
              <a:gd name="connsiteX1" fmla="*/ 0 w 533400"/>
              <a:gd name="connsiteY1" fmla="*/ 539750 h 1997075"/>
              <a:gd name="connsiteX2" fmla="*/ 0 w 533400"/>
              <a:gd name="connsiteY2" fmla="*/ 1450975 h 1997075"/>
              <a:gd name="connsiteX3" fmla="*/ 298450 w 533400"/>
              <a:gd name="connsiteY3" fmla="*/ 1749425 h 1997075"/>
              <a:gd name="connsiteX4" fmla="*/ 301625 w 533400"/>
              <a:gd name="connsiteY4" fmla="*/ 1873250 h 1997075"/>
              <a:gd name="connsiteX5" fmla="*/ 130175 w 533400"/>
              <a:gd name="connsiteY5" fmla="*/ 1997075 h 1997075"/>
              <a:gd name="connsiteX0" fmla="*/ 533400 w 533400"/>
              <a:gd name="connsiteY0" fmla="*/ 0 h 2168525"/>
              <a:gd name="connsiteX1" fmla="*/ 0 w 533400"/>
              <a:gd name="connsiteY1" fmla="*/ 539750 h 2168525"/>
              <a:gd name="connsiteX2" fmla="*/ 0 w 533400"/>
              <a:gd name="connsiteY2" fmla="*/ 1450975 h 2168525"/>
              <a:gd name="connsiteX3" fmla="*/ 298450 w 533400"/>
              <a:gd name="connsiteY3" fmla="*/ 1749425 h 2168525"/>
              <a:gd name="connsiteX4" fmla="*/ 301625 w 533400"/>
              <a:gd name="connsiteY4" fmla="*/ 1873250 h 2168525"/>
              <a:gd name="connsiteX5" fmla="*/ 9525 w 533400"/>
              <a:gd name="connsiteY5" fmla="*/ 2168525 h 2168525"/>
              <a:gd name="connsiteX0" fmla="*/ 533400 w 533400"/>
              <a:gd name="connsiteY0" fmla="*/ 0 h 1873250"/>
              <a:gd name="connsiteX1" fmla="*/ 0 w 533400"/>
              <a:gd name="connsiteY1" fmla="*/ 539750 h 1873250"/>
              <a:gd name="connsiteX2" fmla="*/ 0 w 533400"/>
              <a:gd name="connsiteY2" fmla="*/ 1450975 h 1873250"/>
              <a:gd name="connsiteX3" fmla="*/ 298450 w 533400"/>
              <a:gd name="connsiteY3" fmla="*/ 1749425 h 1873250"/>
              <a:gd name="connsiteX4" fmla="*/ 301625 w 533400"/>
              <a:gd name="connsiteY4" fmla="*/ 1873250 h 1873250"/>
              <a:gd name="connsiteX0" fmla="*/ 533400 w 533400"/>
              <a:gd name="connsiteY0" fmla="*/ 0 h 1939925"/>
              <a:gd name="connsiteX1" fmla="*/ 0 w 533400"/>
              <a:gd name="connsiteY1" fmla="*/ 539750 h 1939925"/>
              <a:gd name="connsiteX2" fmla="*/ 0 w 533400"/>
              <a:gd name="connsiteY2" fmla="*/ 1450975 h 1939925"/>
              <a:gd name="connsiteX3" fmla="*/ 298450 w 533400"/>
              <a:gd name="connsiteY3" fmla="*/ 1749425 h 1939925"/>
              <a:gd name="connsiteX4" fmla="*/ 301625 w 533400"/>
              <a:gd name="connsiteY4" fmla="*/ 1939925 h 1939925"/>
              <a:gd name="connsiteX0" fmla="*/ 533400 w 533400"/>
              <a:gd name="connsiteY0" fmla="*/ 0 h 2136775"/>
              <a:gd name="connsiteX1" fmla="*/ 0 w 533400"/>
              <a:gd name="connsiteY1" fmla="*/ 539750 h 2136775"/>
              <a:gd name="connsiteX2" fmla="*/ 0 w 533400"/>
              <a:gd name="connsiteY2" fmla="*/ 1450975 h 2136775"/>
              <a:gd name="connsiteX3" fmla="*/ 298450 w 533400"/>
              <a:gd name="connsiteY3" fmla="*/ 1749425 h 2136775"/>
              <a:gd name="connsiteX4" fmla="*/ 298450 w 533400"/>
              <a:gd name="connsiteY4" fmla="*/ 2136775 h 2136775"/>
              <a:gd name="connsiteX0" fmla="*/ 533400 w 533400"/>
              <a:gd name="connsiteY0" fmla="*/ 0 h 2136775"/>
              <a:gd name="connsiteX1" fmla="*/ 0 w 533400"/>
              <a:gd name="connsiteY1" fmla="*/ 539750 h 2136775"/>
              <a:gd name="connsiteX2" fmla="*/ 0 w 533400"/>
              <a:gd name="connsiteY2" fmla="*/ 1450975 h 2136775"/>
              <a:gd name="connsiteX3" fmla="*/ 298450 w 533400"/>
              <a:gd name="connsiteY3" fmla="*/ 1749425 h 2136775"/>
              <a:gd name="connsiteX4" fmla="*/ 298450 w 533400"/>
              <a:gd name="connsiteY4" fmla="*/ 2012950 h 2136775"/>
              <a:gd name="connsiteX5" fmla="*/ 298450 w 533400"/>
              <a:gd name="connsiteY5" fmla="*/ 2136775 h 2136775"/>
              <a:gd name="connsiteX0" fmla="*/ 533400 w 533400"/>
              <a:gd name="connsiteY0" fmla="*/ 0 h 2136775"/>
              <a:gd name="connsiteX1" fmla="*/ 0 w 533400"/>
              <a:gd name="connsiteY1" fmla="*/ 539750 h 2136775"/>
              <a:gd name="connsiteX2" fmla="*/ 0 w 533400"/>
              <a:gd name="connsiteY2" fmla="*/ 1450975 h 2136775"/>
              <a:gd name="connsiteX3" fmla="*/ 298450 w 533400"/>
              <a:gd name="connsiteY3" fmla="*/ 1749425 h 2136775"/>
              <a:gd name="connsiteX4" fmla="*/ 298450 w 533400"/>
              <a:gd name="connsiteY4" fmla="*/ 2012950 h 2136775"/>
              <a:gd name="connsiteX5" fmla="*/ 298450 w 533400"/>
              <a:gd name="connsiteY5" fmla="*/ 2136775 h 2136775"/>
              <a:gd name="connsiteX0" fmla="*/ 533400 w 533400"/>
              <a:gd name="connsiteY0" fmla="*/ 0 h 2136775"/>
              <a:gd name="connsiteX1" fmla="*/ 0 w 533400"/>
              <a:gd name="connsiteY1" fmla="*/ 539750 h 2136775"/>
              <a:gd name="connsiteX2" fmla="*/ 0 w 533400"/>
              <a:gd name="connsiteY2" fmla="*/ 1450975 h 2136775"/>
              <a:gd name="connsiteX3" fmla="*/ 298450 w 533400"/>
              <a:gd name="connsiteY3" fmla="*/ 1749425 h 2136775"/>
              <a:gd name="connsiteX4" fmla="*/ 298450 w 533400"/>
              <a:gd name="connsiteY4" fmla="*/ 2012950 h 2136775"/>
              <a:gd name="connsiteX5" fmla="*/ 298450 w 533400"/>
              <a:gd name="connsiteY5" fmla="*/ 2136775 h 2136775"/>
              <a:gd name="connsiteX0" fmla="*/ 533400 w 533400"/>
              <a:gd name="connsiteY0" fmla="*/ 0 h 2159000"/>
              <a:gd name="connsiteX1" fmla="*/ 0 w 533400"/>
              <a:gd name="connsiteY1" fmla="*/ 539750 h 2159000"/>
              <a:gd name="connsiteX2" fmla="*/ 0 w 533400"/>
              <a:gd name="connsiteY2" fmla="*/ 1450975 h 2159000"/>
              <a:gd name="connsiteX3" fmla="*/ 298450 w 533400"/>
              <a:gd name="connsiteY3" fmla="*/ 1749425 h 2159000"/>
              <a:gd name="connsiteX4" fmla="*/ 298450 w 533400"/>
              <a:gd name="connsiteY4" fmla="*/ 2012950 h 2159000"/>
              <a:gd name="connsiteX5" fmla="*/ 53975 w 533400"/>
              <a:gd name="connsiteY5" fmla="*/ 2159000 h 2159000"/>
              <a:gd name="connsiteX0" fmla="*/ 533400 w 533400"/>
              <a:gd name="connsiteY0" fmla="*/ 0 h 2159000"/>
              <a:gd name="connsiteX1" fmla="*/ 0 w 533400"/>
              <a:gd name="connsiteY1" fmla="*/ 539750 h 2159000"/>
              <a:gd name="connsiteX2" fmla="*/ 0 w 533400"/>
              <a:gd name="connsiteY2" fmla="*/ 1450975 h 2159000"/>
              <a:gd name="connsiteX3" fmla="*/ 298450 w 533400"/>
              <a:gd name="connsiteY3" fmla="*/ 1749425 h 2159000"/>
              <a:gd name="connsiteX4" fmla="*/ 301625 w 533400"/>
              <a:gd name="connsiteY4" fmla="*/ 2130425 h 2159000"/>
              <a:gd name="connsiteX5" fmla="*/ 53975 w 533400"/>
              <a:gd name="connsiteY5" fmla="*/ 2159000 h 2159000"/>
              <a:gd name="connsiteX0" fmla="*/ 533400 w 533400"/>
              <a:gd name="connsiteY0" fmla="*/ 0 h 2159000"/>
              <a:gd name="connsiteX1" fmla="*/ 0 w 533400"/>
              <a:gd name="connsiteY1" fmla="*/ 539750 h 2159000"/>
              <a:gd name="connsiteX2" fmla="*/ 0 w 533400"/>
              <a:gd name="connsiteY2" fmla="*/ 1450975 h 2159000"/>
              <a:gd name="connsiteX3" fmla="*/ 298450 w 533400"/>
              <a:gd name="connsiteY3" fmla="*/ 1749425 h 2159000"/>
              <a:gd name="connsiteX4" fmla="*/ 301625 w 533400"/>
              <a:gd name="connsiteY4" fmla="*/ 2130425 h 2159000"/>
              <a:gd name="connsiteX5" fmla="*/ 177800 w 533400"/>
              <a:gd name="connsiteY5" fmla="*/ 2143124 h 2159000"/>
              <a:gd name="connsiteX6" fmla="*/ 53975 w 533400"/>
              <a:gd name="connsiteY6" fmla="*/ 2159000 h 2159000"/>
              <a:gd name="connsiteX0" fmla="*/ 533400 w 533400"/>
              <a:gd name="connsiteY0" fmla="*/ 0 h 2174874"/>
              <a:gd name="connsiteX1" fmla="*/ 0 w 533400"/>
              <a:gd name="connsiteY1" fmla="*/ 539750 h 2174874"/>
              <a:gd name="connsiteX2" fmla="*/ 0 w 533400"/>
              <a:gd name="connsiteY2" fmla="*/ 1450975 h 2174874"/>
              <a:gd name="connsiteX3" fmla="*/ 298450 w 533400"/>
              <a:gd name="connsiteY3" fmla="*/ 1749425 h 2174874"/>
              <a:gd name="connsiteX4" fmla="*/ 301625 w 533400"/>
              <a:gd name="connsiteY4" fmla="*/ 2130425 h 2174874"/>
              <a:gd name="connsiteX5" fmla="*/ 257175 w 533400"/>
              <a:gd name="connsiteY5" fmla="*/ 2174874 h 2174874"/>
              <a:gd name="connsiteX6" fmla="*/ 53975 w 533400"/>
              <a:gd name="connsiteY6" fmla="*/ 2159000 h 2174874"/>
              <a:gd name="connsiteX0" fmla="*/ 533400 w 533400"/>
              <a:gd name="connsiteY0" fmla="*/ 0 h 2181225"/>
              <a:gd name="connsiteX1" fmla="*/ 0 w 533400"/>
              <a:gd name="connsiteY1" fmla="*/ 539750 h 2181225"/>
              <a:gd name="connsiteX2" fmla="*/ 0 w 533400"/>
              <a:gd name="connsiteY2" fmla="*/ 1450975 h 2181225"/>
              <a:gd name="connsiteX3" fmla="*/ 298450 w 533400"/>
              <a:gd name="connsiteY3" fmla="*/ 1749425 h 2181225"/>
              <a:gd name="connsiteX4" fmla="*/ 301625 w 533400"/>
              <a:gd name="connsiteY4" fmla="*/ 2130425 h 2181225"/>
              <a:gd name="connsiteX5" fmla="*/ 257175 w 533400"/>
              <a:gd name="connsiteY5" fmla="*/ 2174874 h 2181225"/>
              <a:gd name="connsiteX6" fmla="*/ 50800 w 533400"/>
              <a:gd name="connsiteY6" fmla="*/ 2181225 h 2181225"/>
              <a:gd name="connsiteX0" fmla="*/ 0 w 301625"/>
              <a:gd name="connsiteY0" fmla="*/ 0 h 1641475"/>
              <a:gd name="connsiteX1" fmla="*/ 0 w 301625"/>
              <a:gd name="connsiteY1" fmla="*/ 911225 h 1641475"/>
              <a:gd name="connsiteX2" fmla="*/ 298450 w 301625"/>
              <a:gd name="connsiteY2" fmla="*/ 1209675 h 1641475"/>
              <a:gd name="connsiteX3" fmla="*/ 301625 w 301625"/>
              <a:gd name="connsiteY3" fmla="*/ 1590675 h 1641475"/>
              <a:gd name="connsiteX4" fmla="*/ 257175 w 301625"/>
              <a:gd name="connsiteY4" fmla="*/ 1635124 h 1641475"/>
              <a:gd name="connsiteX5" fmla="*/ 50800 w 301625"/>
              <a:gd name="connsiteY5" fmla="*/ 1641475 h 1641475"/>
              <a:gd name="connsiteX0" fmla="*/ 153 w 301778"/>
              <a:gd name="connsiteY0" fmla="*/ 0 h 1641475"/>
              <a:gd name="connsiteX1" fmla="*/ 0 w 301778"/>
              <a:gd name="connsiteY1" fmla="*/ 376124 h 1641475"/>
              <a:gd name="connsiteX2" fmla="*/ 153 w 301778"/>
              <a:gd name="connsiteY2" fmla="*/ 911225 h 1641475"/>
              <a:gd name="connsiteX3" fmla="*/ 298603 w 301778"/>
              <a:gd name="connsiteY3" fmla="*/ 1209675 h 1641475"/>
              <a:gd name="connsiteX4" fmla="*/ 301778 w 301778"/>
              <a:gd name="connsiteY4" fmla="*/ 1590675 h 1641475"/>
              <a:gd name="connsiteX5" fmla="*/ 257328 w 301778"/>
              <a:gd name="connsiteY5" fmla="*/ 1635124 h 1641475"/>
              <a:gd name="connsiteX6" fmla="*/ 50953 w 301778"/>
              <a:gd name="connsiteY6" fmla="*/ 1641475 h 1641475"/>
              <a:gd name="connsiteX0" fmla="*/ 0 w 301778"/>
              <a:gd name="connsiteY0" fmla="*/ 0 h 1265351"/>
              <a:gd name="connsiteX1" fmla="*/ 153 w 301778"/>
              <a:gd name="connsiteY1" fmla="*/ 535101 h 1265351"/>
              <a:gd name="connsiteX2" fmla="*/ 298603 w 301778"/>
              <a:gd name="connsiteY2" fmla="*/ 833551 h 1265351"/>
              <a:gd name="connsiteX3" fmla="*/ 301778 w 301778"/>
              <a:gd name="connsiteY3" fmla="*/ 1214551 h 1265351"/>
              <a:gd name="connsiteX4" fmla="*/ 257328 w 301778"/>
              <a:gd name="connsiteY4" fmla="*/ 1259000 h 1265351"/>
              <a:gd name="connsiteX5" fmla="*/ 50953 w 301778"/>
              <a:gd name="connsiteY5" fmla="*/ 1265351 h 1265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1778" h="1265351">
                <a:moveTo>
                  <a:pt x="0" y="0"/>
                </a:moveTo>
                <a:lnTo>
                  <a:pt x="153" y="535101"/>
                </a:lnTo>
                <a:lnTo>
                  <a:pt x="298603" y="833551"/>
                </a:lnTo>
                <a:cubicBezTo>
                  <a:pt x="299661" y="960551"/>
                  <a:pt x="300720" y="1087551"/>
                  <a:pt x="301778" y="1214551"/>
                </a:cubicBezTo>
                <a:lnTo>
                  <a:pt x="257328" y="1259000"/>
                </a:lnTo>
                <a:lnTo>
                  <a:pt x="50953" y="1265351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42" name="Freeform 841"/>
          <p:cNvSpPr/>
          <p:nvPr/>
        </p:nvSpPr>
        <p:spPr>
          <a:xfrm rot="18900000">
            <a:off x="2651643" y="2230656"/>
            <a:ext cx="519112" cy="1198532"/>
          </a:xfrm>
          <a:custGeom>
            <a:avLst/>
            <a:gdLst>
              <a:gd name="connsiteX0" fmla="*/ 695325 w 695325"/>
              <a:gd name="connsiteY0" fmla="*/ 0 h 2100263"/>
              <a:gd name="connsiteX1" fmla="*/ 0 w 695325"/>
              <a:gd name="connsiteY1" fmla="*/ 695325 h 2100263"/>
              <a:gd name="connsiteX2" fmla="*/ 0 w 695325"/>
              <a:gd name="connsiteY2" fmla="*/ 1419225 h 2100263"/>
              <a:gd name="connsiteX3" fmla="*/ 471487 w 695325"/>
              <a:gd name="connsiteY3" fmla="*/ 1881188 h 2100263"/>
              <a:gd name="connsiteX4" fmla="*/ 471487 w 695325"/>
              <a:gd name="connsiteY4" fmla="*/ 2043113 h 2100263"/>
              <a:gd name="connsiteX5" fmla="*/ 519112 w 695325"/>
              <a:gd name="connsiteY5" fmla="*/ 2100263 h 2100263"/>
              <a:gd name="connsiteX0" fmla="*/ 695325 w 695325"/>
              <a:gd name="connsiteY0" fmla="*/ 0 h 2100263"/>
              <a:gd name="connsiteX1" fmla="*/ 0 w 695325"/>
              <a:gd name="connsiteY1" fmla="*/ 695325 h 2100263"/>
              <a:gd name="connsiteX2" fmla="*/ 9233 w 695325"/>
              <a:gd name="connsiteY2" fmla="*/ 901731 h 2100263"/>
              <a:gd name="connsiteX3" fmla="*/ 0 w 695325"/>
              <a:gd name="connsiteY3" fmla="*/ 1419225 h 2100263"/>
              <a:gd name="connsiteX4" fmla="*/ 471487 w 695325"/>
              <a:gd name="connsiteY4" fmla="*/ 1881188 h 2100263"/>
              <a:gd name="connsiteX5" fmla="*/ 471487 w 695325"/>
              <a:gd name="connsiteY5" fmla="*/ 2043113 h 2100263"/>
              <a:gd name="connsiteX6" fmla="*/ 519112 w 695325"/>
              <a:gd name="connsiteY6" fmla="*/ 2100263 h 2100263"/>
              <a:gd name="connsiteX0" fmla="*/ 0 w 519112"/>
              <a:gd name="connsiteY0" fmla="*/ 0 h 1404938"/>
              <a:gd name="connsiteX1" fmla="*/ 9233 w 519112"/>
              <a:gd name="connsiteY1" fmla="*/ 206406 h 1404938"/>
              <a:gd name="connsiteX2" fmla="*/ 0 w 519112"/>
              <a:gd name="connsiteY2" fmla="*/ 723900 h 1404938"/>
              <a:gd name="connsiteX3" fmla="*/ 471487 w 519112"/>
              <a:gd name="connsiteY3" fmla="*/ 1185863 h 1404938"/>
              <a:gd name="connsiteX4" fmla="*/ 471487 w 519112"/>
              <a:gd name="connsiteY4" fmla="*/ 1347788 h 1404938"/>
              <a:gd name="connsiteX5" fmla="*/ 519112 w 519112"/>
              <a:gd name="connsiteY5" fmla="*/ 1404938 h 1404938"/>
              <a:gd name="connsiteX0" fmla="*/ 9233 w 519112"/>
              <a:gd name="connsiteY0" fmla="*/ 0 h 1198532"/>
              <a:gd name="connsiteX1" fmla="*/ 0 w 519112"/>
              <a:gd name="connsiteY1" fmla="*/ 517494 h 1198532"/>
              <a:gd name="connsiteX2" fmla="*/ 471487 w 519112"/>
              <a:gd name="connsiteY2" fmla="*/ 979457 h 1198532"/>
              <a:gd name="connsiteX3" fmla="*/ 471487 w 519112"/>
              <a:gd name="connsiteY3" fmla="*/ 1141382 h 1198532"/>
              <a:gd name="connsiteX4" fmla="*/ 519112 w 519112"/>
              <a:gd name="connsiteY4" fmla="*/ 1198532 h 1198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9112" h="1198532">
                <a:moveTo>
                  <a:pt x="9233" y="0"/>
                </a:moveTo>
                <a:lnTo>
                  <a:pt x="0" y="517494"/>
                </a:lnTo>
                <a:lnTo>
                  <a:pt x="471487" y="979457"/>
                </a:lnTo>
                <a:lnTo>
                  <a:pt x="471487" y="1141382"/>
                </a:lnTo>
                <a:lnTo>
                  <a:pt x="519112" y="1198532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58" name="Freeform 457"/>
          <p:cNvSpPr/>
          <p:nvPr/>
        </p:nvSpPr>
        <p:spPr>
          <a:xfrm rot="8100000" flipV="1">
            <a:off x="4189564" y="-468324"/>
            <a:ext cx="819150" cy="3028950"/>
          </a:xfrm>
          <a:custGeom>
            <a:avLst/>
            <a:gdLst>
              <a:gd name="connsiteX0" fmla="*/ 819150 w 819150"/>
              <a:gd name="connsiteY0" fmla="*/ 0 h 3028950"/>
              <a:gd name="connsiteX1" fmla="*/ 19050 w 819150"/>
              <a:gd name="connsiteY1" fmla="*/ 806450 h 3028950"/>
              <a:gd name="connsiteX2" fmla="*/ 19050 w 819150"/>
              <a:gd name="connsiteY2" fmla="*/ 1219200 h 3028950"/>
              <a:gd name="connsiteX3" fmla="*/ 723900 w 819150"/>
              <a:gd name="connsiteY3" fmla="*/ 1924050 h 3028950"/>
              <a:gd name="connsiteX4" fmla="*/ 723900 w 819150"/>
              <a:gd name="connsiteY4" fmla="*/ 2095500 h 3028950"/>
              <a:gd name="connsiteX5" fmla="*/ 184150 w 819150"/>
              <a:gd name="connsiteY5" fmla="*/ 2635250 h 3028950"/>
              <a:gd name="connsiteX6" fmla="*/ 184150 w 819150"/>
              <a:gd name="connsiteY6" fmla="*/ 2844800 h 3028950"/>
              <a:gd name="connsiteX7" fmla="*/ 0 w 819150"/>
              <a:gd name="connsiteY7" fmla="*/ 3028950 h 302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9150" h="3028950">
                <a:moveTo>
                  <a:pt x="819150" y="0"/>
                </a:moveTo>
                <a:lnTo>
                  <a:pt x="19050" y="806450"/>
                </a:lnTo>
                <a:lnTo>
                  <a:pt x="19050" y="1219200"/>
                </a:lnTo>
                <a:lnTo>
                  <a:pt x="723900" y="1924050"/>
                </a:lnTo>
                <a:lnTo>
                  <a:pt x="723900" y="2095500"/>
                </a:lnTo>
                <a:lnTo>
                  <a:pt x="184150" y="2635250"/>
                </a:lnTo>
                <a:lnTo>
                  <a:pt x="184150" y="2844800"/>
                </a:lnTo>
                <a:lnTo>
                  <a:pt x="0" y="302895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59" name="Freeform 458"/>
          <p:cNvSpPr/>
          <p:nvPr/>
        </p:nvSpPr>
        <p:spPr>
          <a:xfrm rot="8100000" flipV="1">
            <a:off x="3462867" y="-105732"/>
            <a:ext cx="768350" cy="1104900"/>
          </a:xfrm>
          <a:custGeom>
            <a:avLst/>
            <a:gdLst>
              <a:gd name="connsiteX0" fmla="*/ 768350 w 768350"/>
              <a:gd name="connsiteY0" fmla="*/ 0 h 1104900"/>
              <a:gd name="connsiteX1" fmla="*/ 0 w 768350"/>
              <a:gd name="connsiteY1" fmla="*/ 768350 h 1104900"/>
              <a:gd name="connsiteX2" fmla="*/ 0 w 768350"/>
              <a:gd name="connsiteY2" fmla="*/ 946150 h 1104900"/>
              <a:gd name="connsiteX3" fmla="*/ 69850 w 768350"/>
              <a:gd name="connsiteY3" fmla="*/ 1016000 h 1104900"/>
              <a:gd name="connsiteX4" fmla="*/ 69850 w 768350"/>
              <a:gd name="connsiteY4" fmla="*/ 110490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8350" h="1104900">
                <a:moveTo>
                  <a:pt x="768350" y="0"/>
                </a:moveTo>
                <a:lnTo>
                  <a:pt x="0" y="768350"/>
                </a:lnTo>
                <a:lnTo>
                  <a:pt x="0" y="946150"/>
                </a:lnTo>
                <a:lnTo>
                  <a:pt x="69850" y="1016000"/>
                </a:lnTo>
                <a:lnTo>
                  <a:pt x="69850" y="11049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0" name="Freeform 459"/>
          <p:cNvSpPr/>
          <p:nvPr/>
        </p:nvSpPr>
        <p:spPr>
          <a:xfrm rot="8100000" flipV="1">
            <a:off x="2854925" y="-240953"/>
            <a:ext cx="1275656" cy="1716009"/>
          </a:xfrm>
          <a:custGeom>
            <a:avLst/>
            <a:gdLst>
              <a:gd name="connsiteX0" fmla="*/ 774700 w 774700"/>
              <a:gd name="connsiteY0" fmla="*/ 0 h 1308100"/>
              <a:gd name="connsiteX1" fmla="*/ 0 w 774700"/>
              <a:gd name="connsiteY1" fmla="*/ 774700 h 1308100"/>
              <a:gd name="connsiteX2" fmla="*/ 0 w 774700"/>
              <a:gd name="connsiteY2" fmla="*/ 939800 h 1308100"/>
              <a:gd name="connsiteX3" fmla="*/ 146050 w 774700"/>
              <a:gd name="connsiteY3" fmla="*/ 1085850 h 1308100"/>
              <a:gd name="connsiteX4" fmla="*/ 146050 w 774700"/>
              <a:gd name="connsiteY4" fmla="*/ 1162050 h 1308100"/>
              <a:gd name="connsiteX5" fmla="*/ 63500 w 774700"/>
              <a:gd name="connsiteY5" fmla="*/ 1244600 h 1308100"/>
              <a:gd name="connsiteX6" fmla="*/ 63500 w 774700"/>
              <a:gd name="connsiteY6" fmla="*/ 1308100 h 1308100"/>
              <a:gd name="connsiteX0" fmla="*/ 1545206 w 1545206"/>
              <a:gd name="connsiteY0" fmla="*/ 0 h 2078606"/>
              <a:gd name="connsiteX1" fmla="*/ 0 w 1545206"/>
              <a:gd name="connsiteY1" fmla="*/ 1545206 h 2078606"/>
              <a:gd name="connsiteX2" fmla="*/ 0 w 1545206"/>
              <a:gd name="connsiteY2" fmla="*/ 1710306 h 2078606"/>
              <a:gd name="connsiteX3" fmla="*/ 146050 w 1545206"/>
              <a:gd name="connsiteY3" fmla="*/ 1856356 h 2078606"/>
              <a:gd name="connsiteX4" fmla="*/ 146050 w 1545206"/>
              <a:gd name="connsiteY4" fmla="*/ 1932556 h 2078606"/>
              <a:gd name="connsiteX5" fmla="*/ 63500 w 1545206"/>
              <a:gd name="connsiteY5" fmla="*/ 2015106 h 2078606"/>
              <a:gd name="connsiteX6" fmla="*/ 63500 w 1545206"/>
              <a:gd name="connsiteY6" fmla="*/ 2078606 h 2078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45206" h="2078606">
                <a:moveTo>
                  <a:pt x="1545206" y="0"/>
                </a:moveTo>
                <a:lnTo>
                  <a:pt x="0" y="1545206"/>
                </a:lnTo>
                <a:lnTo>
                  <a:pt x="0" y="1710306"/>
                </a:lnTo>
                <a:lnTo>
                  <a:pt x="146050" y="1856356"/>
                </a:lnTo>
                <a:lnTo>
                  <a:pt x="146050" y="1932556"/>
                </a:lnTo>
                <a:lnTo>
                  <a:pt x="63500" y="2015106"/>
                </a:lnTo>
                <a:lnTo>
                  <a:pt x="63500" y="2078606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1" name="Freeform 460"/>
          <p:cNvSpPr/>
          <p:nvPr/>
        </p:nvSpPr>
        <p:spPr>
          <a:xfrm rot="8100000" flipV="1">
            <a:off x="3418992" y="-290497"/>
            <a:ext cx="1309003" cy="3306948"/>
          </a:xfrm>
          <a:custGeom>
            <a:avLst/>
            <a:gdLst>
              <a:gd name="connsiteX0" fmla="*/ 736600 w 736600"/>
              <a:gd name="connsiteY0" fmla="*/ 0 h 2965450"/>
              <a:gd name="connsiteX1" fmla="*/ 63500 w 736600"/>
              <a:gd name="connsiteY1" fmla="*/ 673100 h 2965450"/>
              <a:gd name="connsiteX2" fmla="*/ 63500 w 736600"/>
              <a:gd name="connsiteY2" fmla="*/ 749300 h 2965450"/>
              <a:gd name="connsiteX3" fmla="*/ 146050 w 736600"/>
              <a:gd name="connsiteY3" fmla="*/ 831850 h 2965450"/>
              <a:gd name="connsiteX4" fmla="*/ 323850 w 736600"/>
              <a:gd name="connsiteY4" fmla="*/ 831850 h 2965450"/>
              <a:gd name="connsiteX5" fmla="*/ 438150 w 736600"/>
              <a:gd name="connsiteY5" fmla="*/ 946150 h 2965450"/>
              <a:gd name="connsiteX6" fmla="*/ 438150 w 736600"/>
              <a:gd name="connsiteY6" fmla="*/ 1066800 h 2965450"/>
              <a:gd name="connsiteX7" fmla="*/ 260350 w 736600"/>
              <a:gd name="connsiteY7" fmla="*/ 1244600 h 2965450"/>
              <a:gd name="connsiteX8" fmla="*/ 260350 w 736600"/>
              <a:gd name="connsiteY8" fmla="*/ 1346200 h 2965450"/>
              <a:gd name="connsiteX9" fmla="*/ 311150 w 736600"/>
              <a:gd name="connsiteY9" fmla="*/ 1397000 h 2965450"/>
              <a:gd name="connsiteX10" fmla="*/ 311150 w 736600"/>
              <a:gd name="connsiteY10" fmla="*/ 1479550 h 2965450"/>
              <a:gd name="connsiteX11" fmla="*/ 311150 w 736600"/>
              <a:gd name="connsiteY11" fmla="*/ 1638300 h 2965450"/>
              <a:gd name="connsiteX12" fmla="*/ 546100 w 736600"/>
              <a:gd name="connsiteY12" fmla="*/ 1873250 h 2965450"/>
              <a:gd name="connsiteX13" fmla="*/ 546100 w 736600"/>
              <a:gd name="connsiteY13" fmla="*/ 2146300 h 2965450"/>
              <a:gd name="connsiteX14" fmla="*/ 0 w 736600"/>
              <a:gd name="connsiteY14" fmla="*/ 2692400 h 2965450"/>
              <a:gd name="connsiteX15" fmla="*/ 0 w 736600"/>
              <a:gd name="connsiteY15" fmla="*/ 2965450 h 2965450"/>
              <a:gd name="connsiteX0" fmla="*/ 1453225 w 1453225"/>
              <a:gd name="connsiteY0" fmla="*/ 0 h 3671298"/>
              <a:gd name="connsiteX1" fmla="*/ 63500 w 1453225"/>
              <a:gd name="connsiteY1" fmla="*/ 1378948 h 3671298"/>
              <a:gd name="connsiteX2" fmla="*/ 63500 w 1453225"/>
              <a:gd name="connsiteY2" fmla="*/ 1455148 h 3671298"/>
              <a:gd name="connsiteX3" fmla="*/ 146050 w 1453225"/>
              <a:gd name="connsiteY3" fmla="*/ 1537698 h 3671298"/>
              <a:gd name="connsiteX4" fmla="*/ 323850 w 1453225"/>
              <a:gd name="connsiteY4" fmla="*/ 1537698 h 3671298"/>
              <a:gd name="connsiteX5" fmla="*/ 438150 w 1453225"/>
              <a:gd name="connsiteY5" fmla="*/ 1651998 h 3671298"/>
              <a:gd name="connsiteX6" fmla="*/ 438150 w 1453225"/>
              <a:gd name="connsiteY6" fmla="*/ 1772648 h 3671298"/>
              <a:gd name="connsiteX7" fmla="*/ 260350 w 1453225"/>
              <a:gd name="connsiteY7" fmla="*/ 1950448 h 3671298"/>
              <a:gd name="connsiteX8" fmla="*/ 260350 w 1453225"/>
              <a:gd name="connsiteY8" fmla="*/ 2052048 h 3671298"/>
              <a:gd name="connsiteX9" fmla="*/ 311150 w 1453225"/>
              <a:gd name="connsiteY9" fmla="*/ 2102848 h 3671298"/>
              <a:gd name="connsiteX10" fmla="*/ 311150 w 1453225"/>
              <a:gd name="connsiteY10" fmla="*/ 2185398 h 3671298"/>
              <a:gd name="connsiteX11" fmla="*/ 311150 w 1453225"/>
              <a:gd name="connsiteY11" fmla="*/ 2344148 h 3671298"/>
              <a:gd name="connsiteX12" fmla="*/ 546100 w 1453225"/>
              <a:gd name="connsiteY12" fmla="*/ 2579098 h 3671298"/>
              <a:gd name="connsiteX13" fmla="*/ 546100 w 1453225"/>
              <a:gd name="connsiteY13" fmla="*/ 2852148 h 3671298"/>
              <a:gd name="connsiteX14" fmla="*/ 0 w 1453225"/>
              <a:gd name="connsiteY14" fmla="*/ 3398248 h 3671298"/>
              <a:gd name="connsiteX15" fmla="*/ 0 w 1453225"/>
              <a:gd name="connsiteY15" fmla="*/ 3671298 h 3671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453225" h="3671298">
                <a:moveTo>
                  <a:pt x="1453225" y="0"/>
                </a:moveTo>
                <a:lnTo>
                  <a:pt x="63500" y="1378948"/>
                </a:lnTo>
                <a:lnTo>
                  <a:pt x="63500" y="1455148"/>
                </a:lnTo>
                <a:lnTo>
                  <a:pt x="146050" y="1537698"/>
                </a:lnTo>
                <a:lnTo>
                  <a:pt x="323850" y="1537698"/>
                </a:lnTo>
                <a:lnTo>
                  <a:pt x="438150" y="1651998"/>
                </a:lnTo>
                <a:lnTo>
                  <a:pt x="438150" y="1772648"/>
                </a:lnTo>
                <a:lnTo>
                  <a:pt x="260350" y="1950448"/>
                </a:lnTo>
                <a:lnTo>
                  <a:pt x="260350" y="2052048"/>
                </a:lnTo>
                <a:lnTo>
                  <a:pt x="311150" y="2102848"/>
                </a:lnTo>
                <a:lnTo>
                  <a:pt x="311150" y="2185398"/>
                </a:lnTo>
                <a:lnTo>
                  <a:pt x="311150" y="2344148"/>
                </a:lnTo>
                <a:lnTo>
                  <a:pt x="546100" y="2579098"/>
                </a:lnTo>
                <a:lnTo>
                  <a:pt x="546100" y="2852148"/>
                </a:lnTo>
                <a:lnTo>
                  <a:pt x="0" y="3398248"/>
                </a:lnTo>
                <a:lnTo>
                  <a:pt x="0" y="3671298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2" name="Freeform 461"/>
          <p:cNvSpPr/>
          <p:nvPr/>
        </p:nvSpPr>
        <p:spPr>
          <a:xfrm rot="8100000" flipV="1">
            <a:off x="5927008" y="2154747"/>
            <a:ext cx="1153178" cy="1348441"/>
          </a:xfrm>
          <a:custGeom>
            <a:avLst/>
            <a:gdLst>
              <a:gd name="connsiteX0" fmla="*/ 614363 w 614363"/>
              <a:gd name="connsiteY0" fmla="*/ 0 h 809625"/>
              <a:gd name="connsiteX1" fmla="*/ 0 w 614363"/>
              <a:gd name="connsiteY1" fmla="*/ 614363 h 809625"/>
              <a:gd name="connsiteX2" fmla="*/ 0 w 614363"/>
              <a:gd name="connsiteY2" fmla="*/ 809625 h 809625"/>
              <a:gd name="connsiteX0" fmla="*/ 1147790 w 1147790"/>
              <a:gd name="connsiteY0" fmla="*/ 0 h 1332276"/>
              <a:gd name="connsiteX1" fmla="*/ 0 w 1147790"/>
              <a:gd name="connsiteY1" fmla="*/ 1137014 h 1332276"/>
              <a:gd name="connsiteX2" fmla="*/ 0 w 1147790"/>
              <a:gd name="connsiteY2" fmla="*/ 1332276 h 1332276"/>
              <a:gd name="connsiteX0" fmla="*/ 1153178 w 1153178"/>
              <a:gd name="connsiteY0" fmla="*/ 0 h 1348441"/>
              <a:gd name="connsiteX1" fmla="*/ 0 w 1153178"/>
              <a:gd name="connsiteY1" fmla="*/ 1153179 h 1348441"/>
              <a:gd name="connsiteX2" fmla="*/ 0 w 1153178"/>
              <a:gd name="connsiteY2" fmla="*/ 1348441 h 1348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53178" h="1348441">
                <a:moveTo>
                  <a:pt x="1153178" y="0"/>
                </a:moveTo>
                <a:lnTo>
                  <a:pt x="0" y="1153179"/>
                </a:lnTo>
                <a:lnTo>
                  <a:pt x="0" y="1348441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3" name="Freeform 462"/>
          <p:cNvSpPr/>
          <p:nvPr/>
        </p:nvSpPr>
        <p:spPr>
          <a:xfrm rot="8100000" flipV="1">
            <a:off x="2492697" y="869132"/>
            <a:ext cx="1559508" cy="1064460"/>
          </a:xfrm>
          <a:custGeom>
            <a:avLst/>
            <a:gdLst>
              <a:gd name="connsiteX0" fmla="*/ 1804987 w 1804987"/>
              <a:gd name="connsiteY0" fmla="*/ 0 h 1309688"/>
              <a:gd name="connsiteX1" fmla="*/ 495299 w 1804987"/>
              <a:gd name="connsiteY1" fmla="*/ 1309688 h 1309688"/>
              <a:gd name="connsiteX2" fmla="*/ 319087 w 1804987"/>
              <a:gd name="connsiteY2" fmla="*/ 1309688 h 1309688"/>
              <a:gd name="connsiteX3" fmla="*/ 266700 w 1804987"/>
              <a:gd name="connsiteY3" fmla="*/ 1257301 h 1309688"/>
              <a:gd name="connsiteX4" fmla="*/ 0 w 1804987"/>
              <a:gd name="connsiteY4" fmla="*/ 1257301 h 1309688"/>
              <a:gd name="connsiteX0" fmla="*/ 1804987 w 1804987"/>
              <a:gd name="connsiteY0" fmla="*/ 0 h 1309688"/>
              <a:gd name="connsiteX1" fmla="*/ 1559508 w 1804987"/>
              <a:gd name="connsiteY1" fmla="*/ 245228 h 1309688"/>
              <a:gd name="connsiteX2" fmla="*/ 495299 w 1804987"/>
              <a:gd name="connsiteY2" fmla="*/ 1309688 h 1309688"/>
              <a:gd name="connsiteX3" fmla="*/ 319087 w 1804987"/>
              <a:gd name="connsiteY3" fmla="*/ 1309688 h 1309688"/>
              <a:gd name="connsiteX4" fmla="*/ 266700 w 1804987"/>
              <a:gd name="connsiteY4" fmla="*/ 1257301 h 1309688"/>
              <a:gd name="connsiteX5" fmla="*/ 0 w 1804987"/>
              <a:gd name="connsiteY5" fmla="*/ 1257301 h 1309688"/>
              <a:gd name="connsiteX0" fmla="*/ 1559508 w 1559508"/>
              <a:gd name="connsiteY0" fmla="*/ 0 h 1064460"/>
              <a:gd name="connsiteX1" fmla="*/ 495299 w 1559508"/>
              <a:gd name="connsiteY1" fmla="*/ 1064460 h 1064460"/>
              <a:gd name="connsiteX2" fmla="*/ 319087 w 1559508"/>
              <a:gd name="connsiteY2" fmla="*/ 1064460 h 1064460"/>
              <a:gd name="connsiteX3" fmla="*/ 266700 w 1559508"/>
              <a:gd name="connsiteY3" fmla="*/ 1012073 h 1064460"/>
              <a:gd name="connsiteX4" fmla="*/ 0 w 1559508"/>
              <a:gd name="connsiteY4" fmla="*/ 1012073 h 1064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9508" h="1064460">
                <a:moveTo>
                  <a:pt x="1559508" y="0"/>
                </a:moveTo>
                <a:lnTo>
                  <a:pt x="495299" y="1064460"/>
                </a:lnTo>
                <a:lnTo>
                  <a:pt x="319087" y="1064460"/>
                </a:lnTo>
                <a:lnTo>
                  <a:pt x="266700" y="1012073"/>
                </a:lnTo>
                <a:lnTo>
                  <a:pt x="0" y="1012073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4" name="Freeform 463"/>
          <p:cNvSpPr/>
          <p:nvPr/>
        </p:nvSpPr>
        <p:spPr>
          <a:xfrm rot="8100000" flipV="1">
            <a:off x="2635143" y="926798"/>
            <a:ext cx="1487591" cy="1397158"/>
          </a:xfrm>
          <a:custGeom>
            <a:avLst/>
            <a:gdLst>
              <a:gd name="connsiteX0" fmla="*/ 1809750 w 1809750"/>
              <a:gd name="connsiteY0" fmla="*/ 0 h 1714500"/>
              <a:gd name="connsiteX1" fmla="*/ 433388 w 1809750"/>
              <a:gd name="connsiteY1" fmla="*/ 1376362 h 1714500"/>
              <a:gd name="connsiteX2" fmla="*/ 247650 w 1809750"/>
              <a:gd name="connsiteY2" fmla="*/ 1376362 h 1714500"/>
              <a:gd name="connsiteX3" fmla="*/ 0 w 1809750"/>
              <a:gd name="connsiteY3" fmla="*/ 1624012 h 1714500"/>
              <a:gd name="connsiteX4" fmla="*/ 0 w 1809750"/>
              <a:gd name="connsiteY4" fmla="*/ 1714500 h 1714500"/>
              <a:gd name="connsiteX0" fmla="*/ 1809750 w 1809750"/>
              <a:gd name="connsiteY0" fmla="*/ 0 h 1714500"/>
              <a:gd name="connsiteX1" fmla="*/ 1487591 w 1809750"/>
              <a:gd name="connsiteY1" fmla="*/ 317342 h 1714500"/>
              <a:gd name="connsiteX2" fmla="*/ 433388 w 1809750"/>
              <a:gd name="connsiteY2" fmla="*/ 1376362 h 1714500"/>
              <a:gd name="connsiteX3" fmla="*/ 247650 w 1809750"/>
              <a:gd name="connsiteY3" fmla="*/ 1376362 h 1714500"/>
              <a:gd name="connsiteX4" fmla="*/ 0 w 1809750"/>
              <a:gd name="connsiteY4" fmla="*/ 1624012 h 1714500"/>
              <a:gd name="connsiteX5" fmla="*/ 0 w 1809750"/>
              <a:gd name="connsiteY5" fmla="*/ 1714500 h 1714500"/>
              <a:gd name="connsiteX0" fmla="*/ 1487591 w 1487591"/>
              <a:gd name="connsiteY0" fmla="*/ 0 h 1397158"/>
              <a:gd name="connsiteX1" fmla="*/ 433388 w 1487591"/>
              <a:gd name="connsiteY1" fmla="*/ 1059020 h 1397158"/>
              <a:gd name="connsiteX2" fmla="*/ 247650 w 1487591"/>
              <a:gd name="connsiteY2" fmla="*/ 1059020 h 1397158"/>
              <a:gd name="connsiteX3" fmla="*/ 0 w 1487591"/>
              <a:gd name="connsiteY3" fmla="*/ 1306670 h 1397158"/>
              <a:gd name="connsiteX4" fmla="*/ 0 w 1487591"/>
              <a:gd name="connsiteY4" fmla="*/ 1397158 h 1397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7591" h="1397158">
                <a:moveTo>
                  <a:pt x="1487591" y="0"/>
                </a:moveTo>
                <a:lnTo>
                  <a:pt x="433388" y="1059020"/>
                </a:lnTo>
                <a:lnTo>
                  <a:pt x="247650" y="1059020"/>
                </a:lnTo>
                <a:lnTo>
                  <a:pt x="0" y="1306670"/>
                </a:lnTo>
                <a:lnTo>
                  <a:pt x="0" y="1397158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5" name="Freeform 464"/>
          <p:cNvSpPr/>
          <p:nvPr/>
        </p:nvSpPr>
        <p:spPr>
          <a:xfrm rot="8100000" flipV="1">
            <a:off x="2711752" y="1116369"/>
            <a:ext cx="1473164" cy="1405808"/>
          </a:xfrm>
          <a:custGeom>
            <a:avLst/>
            <a:gdLst>
              <a:gd name="connsiteX0" fmla="*/ 1966913 w 1966913"/>
              <a:gd name="connsiteY0" fmla="*/ 0 h 1900238"/>
              <a:gd name="connsiteX1" fmla="*/ 66675 w 1966913"/>
              <a:gd name="connsiteY1" fmla="*/ 1900238 h 1900238"/>
              <a:gd name="connsiteX2" fmla="*/ 0 w 1966913"/>
              <a:gd name="connsiteY2" fmla="*/ 1900238 h 1900238"/>
              <a:gd name="connsiteX0" fmla="*/ 1966913 w 1966913"/>
              <a:gd name="connsiteY0" fmla="*/ 0 h 1900238"/>
              <a:gd name="connsiteX1" fmla="*/ 1473164 w 1966913"/>
              <a:gd name="connsiteY1" fmla="*/ 494430 h 1900238"/>
              <a:gd name="connsiteX2" fmla="*/ 66675 w 1966913"/>
              <a:gd name="connsiteY2" fmla="*/ 1900238 h 1900238"/>
              <a:gd name="connsiteX3" fmla="*/ 0 w 1966913"/>
              <a:gd name="connsiteY3" fmla="*/ 1900238 h 1900238"/>
              <a:gd name="connsiteX0" fmla="*/ 1473164 w 1473164"/>
              <a:gd name="connsiteY0" fmla="*/ 0 h 1405808"/>
              <a:gd name="connsiteX1" fmla="*/ 66675 w 1473164"/>
              <a:gd name="connsiteY1" fmla="*/ 1405808 h 1405808"/>
              <a:gd name="connsiteX2" fmla="*/ 0 w 1473164"/>
              <a:gd name="connsiteY2" fmla="*/ 1405808 h 1405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3164" h="1405808">
                <a:moveTo>
                  <a:pt x="1473164" y="0"/>
                </a:moveTo>
                <a:lnTo>
                  <a:pt x="66675" y="1405808"/>
                </a:lnTo>
                <a:lnTo>
                  <a:pt x="0" y="1405808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6" name="Freeform 465"/>
          <p:cNvSpPr/>
          <p:nvPr/>
        </p:nvSpPr>
        <p:spPr>
          <a:xfrm rot="8100000" flipV="1">
            <a:off x="3014853" y="562824"/>
            <a:ext cx="2644417" cy="2748252"/>
          </a:xfrm>
          <a:custGeom>
            <a:avLst/>
            <a:gdLst>
              <a:gd name="connsiteX0" fmla="*/ 2867025 w 2867025"/>
              <a:gd name="connsiteY0" fmla="*/ 0 h 3200400"/>
              <a:gd name="connsiteX1" fmla="*/ 909637 w 2867025"/>
              <a:gd name="connsiteY1" fmla="*/ 1957388 h 3200400"/>
              <a:gd name="connsiteX2" fmla="*/ 909637 w 2867025"/>
              <a:gd name="connsiteY2" fmla="*/ 2047875 h 3200400"/>
              <a:gd name="connsiteX3" fmla="*/ 271462 w 2867025"/>
              <a:gd name="connsiteY3" fmla="*/ 2686050 h 3200400"/>
              <a:gd name="connsiteX4" fmla="*/ 271462 w 2867025"/>
              <a:gd name="connsiteY4" fmla="*/ 2995613 h 3200400"/>
              <a:gd name="connsiteX5" fmla="*/ 66675 w 2867025"/>
              <a:gd name="connsiteY5" fmla="*/ 3200400 h 3200400"/>
              <a:gd name="connsiteX6" fmla="*/ 0 w 2867025"/>
              <a:gd name="connsiteY6" fmla="*/ 3200400 h 3200400"/>
              <a:gd name="connsiteX0" fmla="*/ 3163373 w 3163373"/>
              <a:gd name="connsiteY0" fmla="*/ 0 h 3200400"/>
              <a:gd name="connsiteX1" fmla="*/ 1205985 w 3163373"/>
              <a:gd name="connsiteY1" fmla="*/ 1957388 h 3200400"/>
              <a:gd name="connsiteX2" fmla="*/ 1205985 w 3163373"/>
              <a:gd name="connsiteY2" fmla="*/ 2047875 h 3200400"/>
              <a:gd name="connsiteX3" fmla="*/ 567810 w 3163373"/>
              <a:gd name="connsiteY3" fmla="*/ 2686050 h 3200400"/>
              <a:gd name="connsiteX4" fmla="*/ 567810 w 3163373"/>
              <a:gd name="connsiteY4" fmla="*/ 2995613 h 3200400"/>
              <a:gd name="connsiteX5" fmla="*/ 363023 w 3163373"/>
              <a:gd name="connsiteY5" fmla="*/ 3200400 h 3200400"/>
              <a:gd name="connsiteX6" fmla="*/ 0 w 3163373"/>
              <a:gd name="connsiteY6" fmla="*/ 3159988 h 3200400"/>
              <a:gd name="connsiteX0" fmla="*/ 3163373 w 3163373"/>
              <a:gd name="connsiteY0" fmla="*/ 0 h 3200400"/>
              <a:gd name="connsiteX1" fmla="*/ 1205985 w 3163373"/>
              <a:gd name="connsiteY1" fmla="*/ 1957388 h 3200400"/>
              <a:gd name="connsiteX2" fmla="*/ 1205985 w 3163373"/>
              <a:gd name="connsiteY2" fmla="*/ 2047875 h 3200400"/>
              <a:gd name="connsiteX3" fmla="*/ 567810 w 3163373"/>
              <a:gd name="connsiteY3" fmla="*/ 2686050 h 3200400"/>
              <a:gd name="connsiteX4" fmla="*/ 567810 w 3163373"/>
              <a:gd name="connsiteY4" fmla="*/ 2995613 h 3200400"/>
              <a:gd name="connsiteX5" fmla="*/ 363023 w 3163373"/>
              <a:gd name="connsiteY5" fmla="*/ 3200400 h 3200400"/>
              <a:gd name="connsiteX6" fmla="*/ 161376 w 3163373"/>
              <a:gd name="connsiteY6" fmla="*/ 3168674 h 3200400"/>
              <a:gd name="connsiteX7" fmla="*/ 0 w 3163373"/>
              <a:gd name="connsiteY7" fmla="*/ 3159988 h 3200400"/>
              <a:gd name="connsiteX0" fmla="*/ 3126329 w 3126329"/>
              <a:gd name="connsiteY0" fmla="*/ 0 h 3230707"/>
              <a:gd name="connsiteX1" fmla="*/ 1168941 w 3126329"/>
              <a:gd name="connsiteY1" fmla="*/ 1957388 h 3230707"/>
              <a:gd name="connsiteX2" fmla="*/ 1168941 w 3126329"/>
              <a:gd name="connsiteY2" fmla="*/ 2047875 h 3230707"/>
              <a:gd name="connsiteX3" fmla="*/ 530766 w 3126329"/>
              <a:gd name="connsiteY3" fmla="*/ 2686050 h 3230707"/>
              <a:gd name="connsiteX4" fmla="*/ 530766 w 3126329"/>
              <a:gd name="connsiteY4" fmla="*/ 2995613 h 3230707"/>
              <a:gd name="connsiteX5" fmla="*/ 325979 w 3126329"/>
              <a:gd name="connsiteY5" fmla="*/ 3200400 h 3230707"/>
              <a:gd name="connsiteX6" fmla="*/ 124332 w 3126329"/>
              <a:gd name="connsiteY6" fmla="*/ 3168674 h 3230707"/>
              <a:gd name="connsiteX7" fmla="*/ 0 w 3126329"/>
              <a:gd name="connsiteY7" fmla="*/ 3230707 h 3230707"/>
              <a:gd name="connsiteX0" fmla="*/ 3126329 w 3126329"/>
              <a:gd name="connsiteY0" fmla="*/ 0 h 3230707"/>
              <a:gd name="connsiteX1" fmla="*/ 1168941 w 3126329"/>
              <a:gd name="connsiteY1" fmla="*/ 1957388 h 3230707"/>
              <a:gd name="connsiteX2" fmla="*/ 1168941 w 3126329"/>
              <a:gd name="connsiteY2" fmla="*/ 2047875 h 3230707"/>
              <a:gd name="connsiteX3" fmla="*/ 530766 w 3126329"/>
              <a:gd name="connsiteY3" fmla="*/ 2686050 h 3230707"/>
              <a:gd name="connsiteX4" fmla="*/ 530766 w 3126329"/>
              <a:gd name="connsiteY4" fmla="*/ 2995613 h 3230707"/>
              <a:gd name="connsiteX5" fmla="*/ 325979 w 3126329"/>
              <a:gd name="connsiteY5" fmla="*/ 3200400 h 3230707"/>
              <a:gd name="connsiteX6" fmla="*/ 77186 w 3126329"/>
              <a:gd name="connsiteY6" fmla="*/ 3161939 h 3230707"/>
              <a:gd name="connsiteX7" fmla="*/ 0 w 3126329"/>
              <a:gd name="connsiteY7" fmla="*/ 3230707 h 3230707"/>
              <a:gd name="connsiteX0" fmla="*/ 3126329 w 3126329"/>
              <a:gd name="connsiteY0" fmla="*/ 0 h 3230707"/>
              <a:gd name="connsiteX1" fmla="*/ 2644417 w 3126329"/>
              <a:gd name="connsiteY1" fmla="*/ 482455 h 3230707"/>
              <a:gd name="connsiteX2" fmla="*/ 1168941 w 3126329"/>
              <a:gd name="connsiteY2" fmla="*/ 1957388 h 3230707"/>
              <a:gd name="connsiteX3" fmla="*/ 1168941 w 3126329"/>
              <a:gd name="connsiteY3" fmla="*/ 2047875 h 3230707"/>
              <a:gd name="connsiteX4" fmla="*/ 530766 w 3126329"/>
              <a:gd name="connsiteY4" fmla="*/ 2686050 h 3230707"/>
              <a:gd name="connsiteX5" fmla="*/ 530766 w 3126329"/>
              <a:gd name="connsiteY5" fmla="*/ 2995613 h 3230707"/>
              <a:gd name="connsiteX6" fmla="*/ 325979 w 3126329"/>
              <a:gd name="connsiteY6" fmla="*/ 3200400 h 3230707"/>
              <a:gd name="connsiteX7" fmla="*/ 77186 w 3126329"/>
              <a:gd name="connsiteY7" fmla="*/ 3161939 h 3230707"/>
              <a:gd name="connsiteX8" fmla="*/ 0 w 3126329"/>
              <a:gd name="connsiteY8" fmla="*/ 3230707 h 3230707"/>
              <a:gd name="connsiteX0" fmla="*/ 2644417 w 2644417"/>
              <a:gd name="connsiteY0" fmla="*/ 0 h 2748252"/>
              <a:gd name="connsiteX1" fmla="*/ 1168941 w 2644417"/>
              <a:gd name="connsiteY1" fmla="*/ 1474933 h 2748252"/>
              <a:gd name="connsiteX2" fmla="*/ 1168941 w 2644417"/>
              <a:gd name="connsiteY2" fmla="*/ 1565420 h 2748252"/>
              <a:gd name="connsiteX3" fmla="*/ 530766 w 2644417"/>
              <a:gd name="connsiteY3" fmla="*/ 2203595 h 2748252"/>
              <a:gd name="connsiteX4" fmla="*/ 530766 w 2644417"/>
              <a:gd name="connsiteY4" fmla="*/ 2513158 h 2748252"/>
              <a:gd name="connsiteX5" fmla="*/ 325979 w 2644417"/>
              <a:gd name="connsiteY5" fmla="*/ 2717945 h 2748252"/>
              <a:gd name="connsiteX6" fmla="*/ 77186 w 2644417"/>
              <a:gd name="connsiteY6" fmla="*/ 2679484 h 2748252"/>
              <a:gd name="connsiteX7" fmla="*/ 0 w 2644417"/>
              <a:gd name="connsiteY7" fmla="*/ 2748252 h 2748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44417" h="2748252">
                <a:moveTo>
                  <a:pt x="2644417" y="0"/>
                </a:moveTo>
                <a:lnTo>
                  <a:pt x="1168941" y="1474933"/>
                </a:lnTo>
                <a:lnTo>
                  <a:pt x="1168941" y="1565420"/>
                </a:lnTo>
                <a:lnTo>
                  <a:pt x="530766" y="2203595"/>
                </a:lnTo>
                <a:lnTo>
                  <a:pt x="530766" y="2513158"/>
                </a:lnTo>
                <a:lnTo>
                  <a:pt x="325979" y="2717945"/>
                </a:lnTo>
                <a:lnTo>
                  <a:pt x="77186" y="2679484"/>
                </a:lnTo>
                <a:lnTo>
                  <a:pt x="0" y="2748252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7" name="Freeform 466"/>
          <p:cNvSpPr/>
          <p:nvPr/>
        </p:nvSpPr>
        <p:spPr>
          <a:xfrm rot="8100000" flipV="1">
            <a:off x="3056365" y="614600"/>
            <a:ext cx="2564892" cy="2827340"/>
          </a:xfrm>
          <a:custGeom>
            <a:avLst/>
            <a:gdLst>
              <a:gd name="connsiteX0" fmla="*/ 2919413 w 2919413"/>
              <a:gd name="connsiteY0" fmla="*/ 0 h 3228975"/>
              <a:gd name="connsiteX1" fmla="*/ 1057275 w 2919413"/>
              <a:gd name="connsiteY1" fmla="*/ 1862138 h 3228975"/>
              <a:gd name="connsiteX2" fmla="*/ 1057275 w 2919413"/>
              <a:gd name="connsiteY2" fmla="*/ 1976438 h 3228975"/>
              <a:gd name="connsiteX3" fmla="*/ 466725 w 2919413"/>
              <a:gd name="connsiteY3" fmla="*/ 2566988 h 3228975"/>
              <a:gd name="connsiteX4" fmla="*/ 466725 w 2919413"/>
              <a:gd name="connsiteY4" fmla="*/ 2867025 h 3228975"/>
              <a:gd name="connsiteX5" fmla="*/ 104775 w 2919413"/>
              <a:gd name="connsiteY5" fmla="*/ 3228975 h 3228975"/>
              <a:gd name="connsiteX6" fmla="*/ 0 w 2919413"/>
              <a:gd name="connsiteY6" fmla="*/ 3228975 h 3228975"/>
              <a:gd name="connsiteX0" fmla="*/ 3070954 w 3070954"/>
              <a:gd name="connsiteY0" fmla="*/ 0 h 3228975"/>
              <a:gd name="connsiteX1" fmla="*/ 1208816 w 3070954"/>
              <a:gd name="connsiteY1" fmla="*/ 1862138 h 3228975"/>
              <a:gd name="connsiteX2" fmla="*/ 1208816 w 3070954"/>
              <a:gd name="connsiteY2" fmla="*/ 1976438 h 3228975"/>
              <a:gd name="connsiteX3" fmla="*/ 618266 w 3070954"/>
              <a:gd name="connsiteY3" fmla="*/ 2566988 h 3228975"/>
              <a:gd name="connsiteX4" fmla="*/ 618266 w 3070954"/>
              <a:gd name="connsiteY4" fmla="*/ 2867025 h 3228975"/>
              <a:gd name="connsiteX5" fmla="*/ 256316 w 3070954"/>
              <a:gd name="connsiteY5" fmla="*/ 3228975 h 3228975"/>
              <a:gd name="connsiteX6" fmla="*/ 0 w 3070954"/>
              <a:gd name="connsiteY6" fmla="*/ 3218872 h 3228975"/>
              <a:gd name="connsiteX0" fmla="*/ 3070954 w 3070954"/>
              <a:gd name="connsiteY0" fmla="*/ 0 h 3228975"/>
              <a:gd name="connsiteX1" fmla="*/ 1208816 w 3070954"/>
              <a:gd name="connsiteY1" fmla="*/ 1862138 h 3228975"/>
              <a:gd name="connsiteX2" fmla="*/ 1208816 w 3070954"/>
              <a:gd name="connsiteY2" fmla="*/ 1976438 h 3228975"/>
              <a:gd name="connsiteX3" fmla="*/ 618266 w 3070954"/>
              <a:gd name="connsiteY3" fmla="*/ 2566988 h 3228975"/>
              <a:gd name="connsiteX4" fmla="*/ 618266 w 3070954"/>
              <a:gd name="connsiteY4" fmla="*/ 2867025 h 3228975"/>
              <a:gd name="connsiteX5" fmla="*/ 256316 w 3070954"/>
              <a:gd name="connsiteY5" fmla="*/ 3228975 h 3228975"/>
              <a:gd name="connsiteX6" fmla="*/ 115526 w 3070954"/>
              <a:gd name="connsiteY6" fmla="*/ 3219863 h 3228975"/>
              <a:gd name="connsiteX7" fmla="*/ 0 w 3070954"/>
              <a:gd name="connsiteY7" fmla="*/ 3218872 h 3228975"/>
              <a:gd name="connsiteX0" fmla="*/ 3017073 w 3017073"/>
              <a:gd name="connsiteY0" fmla="*/ 0 h 3272753"/>
              <a:gd name="connsiteX1" fmla="*/ 1154935 w 3017073"/>
              <a:gd name="connsiteY1" fmla="*/ 1862138 h 3272753"/>
              <a:gd name="connsiteX2" fmla="*/ 1154935 w 3017073"/>
              <a:gd name="connsiteY2" fmla="*/ 1976438 h 3272753"/>
              <a:gd name="connsiteX3" fmla="*/ 564385 w 3017073"/>
              <a:gd name="connsiteY3" fmla="*/ 2566988 h 3272753"/>
              <a:gd name="connsiteX4" fmla="*/ 564385 w 3017073"/>
              <a:gd name="connsiteY4" fmla="*/ 2867025 h 3272753"/>
              <a:gd name="connsiteX5" fmla="*/ 202435 w 3017073"/>
              <a:gd name="connsiteY5" fmla="*/ 3228975 h 3272753"/>
              <a:gd name="connsiteX6" fmla="*/ 61645 w 3017073"/>
              <a:gd name="connsiteY6" fmla="*/ 3219863 h 3272753"/>
              <a:gd name="connsiteX7" fmla="*/ 0 w 3017073"/>
              <a:gd name="connsiteY7" fmla="*/ 3272753 h 3272753"/>
              <a:gd name="connsiteX0" fmla="*/ 3003603 w 3003603"/>
              <a:gd name="connsiteY0" fmla="*/ 0 h 3272753"/>
              <a:gd name="connsiteX1" fmla="*/ 1141465 w 3003603"/>
              <a:gd name="connsiteY1" fmla="*/ 1862138 h 3272753"/>
              <a:gd name="connsiteX2" fmla="*/ 1141465 w 3003603"/>
              <a:gd name="connsiteY2" fmla="*/ 1976438 h 3272753"/>
              <a:gd name="connsiteX3" fmla="*/ 550915 w 3003603"/>
              <a:gd name="connsiteY3" fmla="*/ 2566988 h 3272753"/>
              <a:gd name="connsiteX4" fmla="*/ 550915 w 3003603"/>
              <a:gd name="connsiteY4" fmla="*/ 2867025 h 3272753"/>
              <a:gd name="connsiteX5" fmla="*/ 188965 w 3003603"/>
              <a:gd name="connsiteY5" fmla="*/ 3228975 h 3272753"/>
              <a:gd name="connsiteX6" fmla="*/ 48175 w 3003603"/>
              <a:gd name="connsiteY6" fmla="*/ 3219863 h 3272753"/>
              <a:gd name="connsiteX7" fmla="*/ 0 w 3003603"/>
              <a:gd name="connsiteY7" fmla="*/ 3272753 h 3272753"/>
              <a:gd name="connsiteX0" fmla="*/ 3013706 w 3013706"/>
              <a:gd name="connsiteY0" fmla="*/ 0 h 3269385"/>
              <a:gd name="connsiteX1" fmla="*/ 1151568 w 3013706"/>
              <a:gd name="connsiteY1" fmla="*/ 1862138 h 3269385"/>
              <a:gd name="connsiteX2" fmla="*/ 1151568 w 3013706"/>
              <a:gd name="connsiteY2" fmla="*/ 1976438 h 3269385"/>
              <a:gd name="connsiteX3" fmla="*/ 561018 w 3013706"/>
              <a:gd name="connsiteY3" fmla="*/ 2566988 h 3269385"/>
              <a:gd name="connsiteX4" fmla="*/ 561018 w 3013706"/>
              <a:gd name="connsiteY4" fmla="*/ 2867025 h 3269385"/>
              <a:gd name="connsiteX5" fmla="*/ 199068 w 3013706"/>
              <a:gd name="connsiteY5" fmla="*/ 3228975 h 3269385"/>
              <a:gd name="connsiteX6" fmla="*/ 58278 w 3013706"/>
              <a:gd name="connsiteY6" fmla="*/ 3219863 h 3269385"/>
              <a:gd name="connsiteX7" fmla="*/ 0 w 3013706"/>
              <a:gd name="connsiteY7" fmla="*/ 3269385 h 3269385"/>
              <a:gd name="connsiteX0" fmla="*/ 3013706 w 3013706"/>
              <a:gd name="connsiteY0" fmla="*/ 0 h 3269385"/>
              <a:gd name="connsiteX1" fmla="*/ 2564892 w 3013706"/>
              <a:gd name="connsiteY1" fmla="*/ 442045 h 3269385"/>
              <a:gd name="connsiteX2" fmla="*/ 1151568 w 3013706"/>
              <a:gd name="connsiteY2" fmla="*/ 1862138 h 3269385"/>
              <a:gd name="connsiteX3" fmla="*/ 1151568 w 3013706"/>
              <a:gd name="connsiteY3" fmla="*/ 1976438 h 3269385"/>
              <a:gd name="connsiteX4" fmla="*/ 561018 w 3013706"/>
              <a:gd name="connsiteY4" fmla="*/ 2566988 h 3269385"/>
              <a:gd name="connsiteX5" fmla="*/ 561018 w 3013706"/>
              <a:gd name="connsiteY5" fmla="*/ 2867025 h 3269385"/>
              <a:gd name="connsiteX6" fmla="*/ 199068 w 3013706"/>
              <a:gd name="connsiteY6" fmla="*/ 3228975 h 3269385"/>
              <a:gd name="connsiteX7" fmla="*/ 58278 w 3013706"/>
              <a:gd name="connsiteY7" fmla="*/ 3219863 h 3269385"/>
              <a:gd name="connsiteX8" fmla="*/ 0 w 3013706"/>
              <a:gd name="connsiteY8" fmla="*/ 3269385 h 3269385"/>
              <a:gd name="connsiteX0" fmla="*/ 2564892 w 2564892"/>
              <a:gd name="connsiteY0" fmla="*/ 0 h 2827340"/>
              <a:gd name="connsiteX1" fmla="*/ 1151568 w 2564892"/>
              <a:gd name="connsiteY1" fmla="*/ 1420093 h 2827340"/>
              <a:gd name="connsiteX2" fmla="*/ 1151568 w 2564892"/>
              <a:gd name="connsiteY2" fmla="*/ 1534393 h 2827340"/>
              <a:gd name="connsiteX3" fmla="*/ 561018 w 2564892"/>
              <a:gd name="connsiteY3" fmla="*/ 2124943 h 2827340"/>
              <a:gd name="connsiteX4" fmla="*/ 561018 w 2564892"/>
              <a:gd name="connsiteY4" fmla="*/ 2424980 h 2827340"/>
              <a:gd name="connsiteX5" fmla="*/ 199068 w 2564892"/>
              <a:gd name="connsiteY5" fmla="*/ 2786930 h 2827340"/>
              <a:gd name="connsiteX6" fmla="*/ 58278 w 2564892"/>
              <a:gd name="connsiteY6" fmla="*/ 2777818 h 2827340"/>
              <a:gd name="connsiteX7" fmla="*/ 0 w 2564892"/>
              <a:gd name="connsiteY7" fmla="*/ 2827340 h 2827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64892" h="2827340">
                <a:moveTo>
                  <a:pt x="2564892" y="0"/>
                </a:moveTo>
                <a:lnTo>
                  <a:pt x="1151568" y="1420093"/>
                </a:lnTo>
                <a:lnTo>
                  <a:pt x="1151568" y="1534393"/>
                </a:lnTo>
                <a:lnTo>
                  <a:pt x="561018" y="2124943"/>
                </a:lnTo>
                <a:lnTo>
                  <a:pt x="561018" y="2424980"/>
                </a:lnTo>
                <a:lnTo>
                  <a:pt x="199068" y="2786930"/>
                </a:lnTo>
                <a:lnTo>
                  <a:pt x="58278" y="2777818"/>
                </a:lnTo>
                <a:lnTo>
                  <a:pt x="0" y="282734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8" name="Freeform 467"/>
          <p:cNvSpPr/>
          <p:nvPr/>
        </p:nvSpPr>
        <p:spPr>
          <a:xfrm rot="8100000" flipV="1">
            <a:off x="3084664" y="682781"/>
            <a:ext cx="2487198" cy="2894060"/>
          </a:xfrm>
          <a:custGeom>
            <a:avLst/>
            <a:gdLst>
              <a:gd name="connsiteX0" fmla="*/ 2895601 w 2895601"/>
              <a:gd name="connsiteY0" fmla="*/ 0 h 3305175"/>
              <a:gd name="connsiteX1" fmla="*/ 1081088 w 2895601"/>
              <a:gd name="connsiteY1" fmla="*/ 1814513 h 3305175"/>
              <a:gd name="connsiteX2" fmla="*/ 1081088 w 2895601"/>
              <a:gd name="connsiteY2" fmla="*/ 1947862 h 3305175"/>
              <a:gd name="connsiteX3" fmla="*/ 495300 w 2895601"/>
              <a:gd name="connsiteY3" fmla="*/ 2533650 h 3305175"/>
              <a:gd name="connsiteX4" fmla="*/ 495300 w 2895601"/>
              <a:gd name="connsiteY4" fmla="*/ 2809875 h 3305175"/>
              <a:gd name="connsiteX5" fmla="*/ 0 w 2895601"/>
              <a:gd name="connsiteY5" fmla="*/ 3305175 h 3305175"/>
              <a:gd name="connsiteX0" fmla="*/ 2895601 w 2895601"/>
              <a:gd name="connsiteY0" fmla="*/ 0 h 3305175"/>
              <a:gd name="connsiteX1" fmla="*/ 2487198 w 2895601"/>
              <a:gd name="connsiteY1" fmla="*/ 411115 h 3305175"/>
              <a:gd name="connsiteX2" fmla="*/ 1081088 w 2895601"/>
              <a:gd name="connsiteY2" fmla="*/ 1814513 h 3305175"/>
              <a:gd name="connsiteX3" fmla="*/ 1081088 w 2895601"/>
              <a:gd name="connsiteY3" fmla="*/ 1947862 h 3305175"/>
              <a:gd name="connsiteX4" fmla="*/ 495300 w 2895601"/>
              <a:gd name="connsiteY4" fmla="*/ 2533650 h 3305175"/>
              <a:gd name="connsiteX5" fmla="*/ 495300 w 2895601"/>
              <a:gd name="connsiteY5" fmla="*/ 2809875 h 3305175"/>
              <a:gd name="connsiteX6" fmla="*/ 0 w 2895601"/>
              <a:gd name="connsiteY6" fmla="*/ 3305175 h 3305175"/>
              <a:gd name="connsiteX0" fmla="*/ 2487198 w 2487198"/>
              <a:gd name="connsiteY0" fmla="*/ 0 h 2894060"/>
              <a:gd name="connsiteX1" fmla="*/ 1081088 w 2487198"/>
              <a:gd name="connsiteY1" fmla="*/ 1403398 h 2894060"/>
              <a:gd name="connsiteX2" fmla="*/ 1081088 w 2487198"/>
              <a:gd name="connsiteY2" fmla="*/ 1536747 h 2894060"/>
              <a:gd name="connsiteX3" fmla="*/ 495300 w 2487198"/>
              <a:gd name="connsiteY3" fmla="*/ 2122535 h 2894060"/>
              <a:gd name="connsiteX4" fmla="*/ 495300 w 2487198"/>
              <a:gd name="connsiteY4" fmla="*/ 2398760 h 2894060"/>
              <a:gd name="connsiteX5" fmla="*/ 0 w 2487198"/>
              <a:gd name="connsiteY5" fmla="*/ 2894060 h 2894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7198" h="2894060">
                <a:moveTo>
                  <a:pt x="2487198" y="0"/>
                </a:moveTo>
                <a:lnTo>
                  <a:pt x="1081088" y="1403398"/>
                </a:lnTo>
                <a:lnTo>
                  <a:pt x="1081088" y="1536747"/>
                </a:lnTo>
                <a:lnTo>
                  <a:pt x="495300" y="2122535"/>
                </a:lnTo>
                <a:lnTo>
                  <a:pt x="495300" y="2398760"/>
                </a:lnTo>
                <a:lnTo>
                  <a:pt x="0" y="289406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9" name="Freeform 468"/>
          <p:cNvSpPr/>
          <p:nvPr/>
        </p:nvSpPr>
        <p:spPr>
          <a:xfrm rot="8100000" flipV="1">
            <a:off x="2973432" y="1043470"/>
            <a:ext cx="1835312" cy="2248812"/>
          </a:xfrm>
          <a:custGeom>
            <a:avLst/>
            <a:gdLst>
              <a:gd name="connsiteX0" fmla="*/ 2238375 w 2238375"/>
              <a:gd name="connsiteY0" fmla="*/ 0 h 2647950"/>
              <a:gd name="connsiteX1" fmla="*/ 457200 w 2238375"/>
              <a:gd name="connsiteY1" fmla="*/ 1781175 h 2647950"/>
              <a:gd name="connsiteX2" fmla="*/ 457200 w 2238375"/>
              <a:gd name="connsiteY2" fmla="*/ 1928813 h 2647950"/>
              <a:gd name="connsiteX3" fmla="*/ 390525 w 2238375"/>
              <a:gd name="connsiteY3" fmla="*/ 1995488 h 2647950"/>
              <a:gd name="connsiteX4" fmla="*/ 390525 w 2238375"/>
              <a:gd name="connsiteY4" fmla="*/ 2219325 h 2647950"/>
              <a:gd name="connsiteX5" fmla="*/ 271463 w 2238375"/>
              <a:gd name="connsiteY5" fmla="*/ 2338387 h 2647950"/>
              <a:gd name="connsiteX6" fmla="*/ 190500 w 2238375"/>
              <a:gd name="connsiteY6" fmla="*/ 2338387 h 2647950"/>
              <a:gd name="connsiteX7" fmla="*/ 0 w 2238375"/>
              <a:gd name="connsiteY7" fmla="*/ 2528887 h 2647950"/>
              <a:gd name="connsiteX8" fmla="*/ 0 w 2238375"/>
              <a:gd name="connsiteY8" fmla="*/ 2647950 h 2647950"/>
              <a:gd name="connsiteX0" fmla="*/ 2238375 w 2238375"/>
              <a:gd name="connsiteY0" fmla="*/ 0 h 2647950"/>
              <a:gd name="connsiteX1" fmla="*/ 1835312 w 2238375"/>
              <a:gd name="connsiteY1" fmla="*/ 399138 h 2647950"/>
              <a:gd name="connsiteX2" fmla="*/ 457200 w 2238375"/>
              <a:gd name="connsiteY2" fmla="*/ 1781175 h 2647950"/>
              <a:gd name="connsiteX3" fmla="*/ 457200 w 2238375"/>
              <a:gd name="connsiteY3" fmla="*/ 1928813 h 2647950"/>
              <a:gd name="connsiteX4" fmla="*/ 390525 w 2238375"/>
              <a:gd name="connsiteY4" fmla="*/ 1995488 h 2647950"/>
              <a:gd name="connsiteX5" fmla="*/ 390525 w 2238375"/>
              <a:gd name="connsiteY5" fmla="*/ 2219325 h 2647950"/>
              <a:gd name="connsiteX6" fmla="*/ 271463 w 2238375"/>
              <a:gd name="connsiteY6" fmla="*/ 2338387 h 2647950"/>
              <a:gd name="connsiteX7" fmla="*/ 190500 w 2238375"/>
              <a:gd name="connsiteY7" fmla="*/ 2338387 h 2647950"/>
              <a:gd name="connsiteX8" fmla="*/ 0 w 2238375"/>
              <a:gd name="connsiteY8" fmla="*/ 2528887 h 2647950"/>
              <a:gd name="connsiteX9" fmla="*/ 0 w 2238375"/>
              <a:gd name="connsiteY9" fmla="*/ 2647950 h 2647950"/>
              <a:gd name="connsiteX0" fmla="*/ 1835312 w 1835312"/>
              <a:gd name="connsiteY0" fmla="*/ 0 h 2248812"/>
              <a:gd name="connsiteX1" fmla="*/ 457200 w 1835312"/>
              <a:gd name="connsiteY1" fmla="*/ 1382037 h 2248812"/>
              <a:gd name="connsiteX2" fmla="*/ 457200 w 1835312"/>
              <a:gd name="connsiteY2" fmla="*/ 1529675 h 2248812"/>
              <a:gd name="connsiteX3" fmla="*/ 390525 w 1835312"/>
              <a:gd name="connsiteY3" fmla="*/ 1596350 h 2248812"/>
              <a:gd name="connsiteX4" fmla="*/ 390525 w 1835312"/>
              <a:gd name="connsiteY4" fmla="*/ 1820187 h 2248812"/>
              <a:gd name="connsiteX5" fmla="*/ 271463 w 1835312"/>
              <a:gd name="connsiteY5" fmla="*/ 1939249 h 2248812"/>
              <a:gd name="connsiteX6" fmla="*/ 190500 w 1835312"/>
              <a:gd name="connsiteY6" fmla="*/ 1939249 h 2248812"/>
              <a:gd name="connsiteX7" fmla="*/ 0 w 1835312"/>
              <a:gd name="connsiteY7" fmla="*/ 2129749 h 2248812"/>
              <a:gd name="connsiteX8" fmla="*/ 0 w 1835312"/>
              <a:gd name="connsiteY8" fmla="*/ 2248812 h 2248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35312" h="2248812">
                <a:moveTo>
                  <a:pt x="1835312" y="0"/>
                </a:moveTo>
                <a:lnTo>
                  <a:pt x="457200" y="1382037"/>
                </a:lnTo>
                <a:lnTo>
                  <a:pt x="457200" y="1529675"/>
                </a:lnTo>
                <a:lnTo>
                  <a:pt x="390525" y="1596350"/>
                </a:lnTo>
                <a:lnTo>
                  <a:pt x="390525" y="1820187"/>
                </a:lnTo>
                <a:lnTo>
                  <a:pt x="271463" y="1939249"/>
                </a:lnTo>
                <a:lnTo>
                  <a:pt x="190500" y="1939249"/>
                </a:lnTo>
                <a:lnTo>
                  <a:pt x="0" y="2129749"/>
                </a:lnTo>
                <a:lnTo>
                  <a:pt x="0" y="2248812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0" name="Freeform 469"/>
          <p:cNvSpPr/>
          <p:nvPr/>
        </p:nvSpPr>
        <p:spPr>
          <a:xfrm rot="8100000" flipV="1">
            <a:off x="2921699" y="1173298"/>
            <a:ext cx="1670935" cy="2068075"/>
          </a:xfrm>
          <a:custGeom>
            <a:avLst/>
            <a:gdLst>
              <a:gd name="connsiteX0" fmla="*/ 2028825 w 2028825"/>
              <a:gd name="connsiteY0" fmla="*/ 0 h 2424112"/>
              <a:gd name="connsiteX1" fmla="*/ 314325 w 2028825"/>
              <a:gd name="connsiteY1" fmla="*/ 1714500 h 2424112"/>
              <a:gd name="connsiteX2" fmla="*/ 314325 w 2028825"/>
              <a:gd name="connsiteY2" fmla="*/ 1876425 h 2424112"/>
              <a:gd name="connsiteX3" fmla="*/ 233362 w 2028825"/>
              <a:gd name="connsiteY3" fmla="*/ 1957388 h 2424112"/>
              <a:gd name="connsiteX4" fmla="*/ 233362 w 2028825"/>
              <a:gd name="connsiteY4" fmla="*/ 2190750 h 2424112"/>
              <a:gd name="connsiteX5" fmla="*/ 0 w 2028825"/>
              <a:gd name="connsiteY5" fmla="*/ 2424112 h 2424112"/>
              <a:gd name="connsiteX0" fmla="*/ 2028825 w 2028825"/>
              <a:gd name="connsiteY0" fmla="*/ 0 h 2424112"/>
              <a:gd name="connsiteX1" fmla="*/ 1670935 w 2028825"/>
              <a:gd name="connsiteY1" fmla="*/ 356037 h 2424112"/>
              <a:gd name="connsiteX2" fmla="*/ 314325 w 2028825"/>
              <a:gd name="connsiteY2" fmla="*/ 1714500 h 2424112"/>
              <a:gd name="connsiteX3" fmla="*/ 314325 w 2028825"/>
              <a:gd name="connsiteY3" fmla="*/ 1876425 h 2424112"/>
              <a:gd name="connsiteX4" fmla="*/ 233362 w 2028825"/>
              <a:gd name="connsiteY4" fmla="*/ 1957388 h 2424112"/>
              <a:gd name="connsiteX5" fmla="*/ 233362 w 2028825"/>
              <a:gd name="connsiteY5" fmla="*/ 2190750 h 2424112"/>
              <a:gd name="connsiteX6" fmla="*/ 0 w 2028825"/>
              <a:gd name="connsiteY6" fmla="*/ 2424112 h 2424112"/>
              <a:gd name="connsiteX0" fmla="*/ 1670935 w 1670935"/>
              <a:gd name="connsiteY0" fmla="*/ 0 h 2068075"/>
              <a:gd name="connsiteX1" fmla="*/ 314325 w 1670935"/>
              <a:gd name="connsiteY1" fmla="*/ 1358463 h 2068075"/>
              <a:gd name="connsiteX2" fmla="*/ 314325 w 1670935"/>
              <a:gd name="connsiteY2" fmla="*/ 1520388 h 2068075"/>
              <a:gd name="connsiteX3" fmla="*/ 233362 w 1670935"/>
              <a:gd name="connsiteY3" fmla="*/ 1601351 h 2068075"/>
              <a:gd name="connsiteX4" fmla="*/ 233362 w 1670935"/>
              <a:gd name="connsiteY4" fmla="*/ 1834713 h 2068075"/>
              <a:gd name="connsiteX5" fmla="*/ 0 w 1670935"/>
              <a:gd name="connsiteY5" fmla="*/ 2068075 h 2068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70935" h="2068075">
                <a:moveTo>
                  <a:pt x="1670935" y="0"/>
                </a:moveTo>
                <a:lnTo>
                  <a:pt x="314325" y="1358463"/>
                </a:lnTo>
                <a:lnTo>
                  <a:pt x="314325" y="1520388"/>
                </a:lnTo>
                <a:lnTo>
                  <a:pt x="233362" y="1601351"/>
                </a:lnTo>
                <a:lnTo>
                  <a:pt x="233362" y="1834713"/>
                </a:lnTo>
                <a:lnTo>
                  <a:pt x="0" y="2068075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2" name="Freeform 471"/>
          <p:cNvSpPr/>
          <p:nvPr/>
        </p:nvSpPr>
        <p:spPr>
          <a:xfrm>
            <a:off x="9274176" y="1422401"/>
            <a:ext cx="2919412" cy="2524125"/>
          </a:xfrm>
          <a:custGeom>
            <a:avLst/>
            <a:gdLst>
              <a:gd name="connsiteX0" fmla="*/ 2919412 w 2919412"/>
              <a:gd name="connsiteY0" fmla="*/ 0 h 2524125"/>
              <a:gd name="connsiteX1" fmla="*/ 1695449 w 2919412"/>
              <a:gd name="connsiteY1" fmla="*/ 1223963 h 2524125"/>
              <a:gd name="connsiteX2" fmla="*/ 1695449 w 2919412"/>
              <a:gd name="connsiteY2" fmla="*/ 1371600 h 2524125"/>
              <a:gd name="connsiteX3" fmla="*/ 1285874 w 2919412"/>
              <a:gd name="connsiteY3" fmla="*/ 1781175 h 2524125"/>
              <a:gd name="connsiteX4" fmla="*/ 1176337 w 2919412"/>
              <a:gd name="connsiteY4" fmla="*/ 1781175 h 2524125"/>
              <a:gd name="connsiteX5" fmla="*/ 1028700 w 2919412"/>
              <a:gd name="connsiteY5" fmla="*/ 1633538 h 2524125"/>
              <a:gd name="connsiteX6" fmla="*/ 976312 w 2919412"/>
              <a:gd name="connsiteY6" fmla="*/ 1633538 h 2524125"/>
              <a:gd name="connsiteX7" fmla="*/ 885825 w 2919412"/>
              <a:gd name="connsiteY7" fmla="*/ 1724025 h 2524125"/>
              <a:gd name="connsiteX8" fmla="*/ 885825 w 2919412"/>
              <a:gd name="connsiteY8" fmla="*/ 1833563 h 2524125"/>
              <a:gd name="connsiteX9" fmla="*/ 514350 w 2919412"/>
              <a:gd name="connsiteY9" fmla="*/ 2205038 h 2524125"/>
              <a:gd name="connsiteX10" fmla="*/ 376237 w 2919412"/>
              <a:gd name="connsiteY10" fmla="*/ 2205038 h 2524125"/>
              <a:gd name="connsiteX11" fmla="*/ 314325 w 2919412"/>
              <a:gd name="connsiteY11" fmla="*/ 2266950 h 2524125"/>
              <a:gd name="connsiteX12" fmla="*/ 109537 w 2919412"/>
              <a:gd name="connsiteY12" fmla="*/ 2266950 h 2524125"/>
              <a:gd name="connsiteX13" fmla="*/ 0 w 2919412"/>
              <a:gd name="connsiteY13" fmla="*/ 2376487 h 2524125"/>
              <a:gd name="connsiteX14" fmla="*/ 0 w 2919412"/>
              <a:gd name="connsiteY14" fmla="*/ 2524125 h 252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9412" h="2524125">
                <a:moveTo>
                  <a:pt x="2919412" y="0"/>
                </a:moveTo>
                <a:lnTo>
                  <a:pt x="1695449" y="1223963"/>
                </a:lnTo>
                <a:lnTo>
                  <a:pt x="1695449" y="1371600"/>
                </a:lnTo>
                <a:lnTo>
                  <a:pt x="1285874" y="1781175"/>
                </a:lnTo>
                <a:lnTo>
                  <a:pt x="1176337" y="1781175"/>
                </a:lnTo>
                <a:lnTo>
                  <a:pt x="1028700" y="1633538"/>
                </a:lnTo>
                <a:lnTo>
                  <a:pt x="976312" y="1633538"/>
                </a:lnTo>
                <a:lnTo>
                  <a:pt x="885825" y="1724025"/>
                </a:lnTo>
                <a:lnTo>
                  <a:pt x="885825" y="1833563"/>
                </a:lnTo>
                <a:lnTo>
                  <a:pt x="514350" y="2205038"/>
                </a:lnTo>
                <a:lnTo>
                  <a:pt x="376237" y="2205038"/>
                </a:lnTo>
                <a:lnTo>
                  <a:pt x="314325" y="2266950"/>
                </a:lnTo>
                <a:lnTo>
                  <a:pt x="109537" y="2266950"/>
                </a:lnTo>
                <a:lnTo>
                  <a:pt x="0" y="2376487"/>
                </a:lnTo>
                <a:lnTo>
                  <a:pt x="0" y="2524125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7" name="Freeform 476"/>
          <p:cNvSpPr/>
          <p:nvPr/>
        </p:nvSpPr>
        <p:spPr>
          <a:xfrm>
            <a:off x="9436102" y="2389189"/>
            <a:ext cx="2757487" cy="1595437"/>
          </a:xfrm>
          <a:custGeom>
            <a:avLst/>
            <a:gdLst>
              <a:gd name="connsiteX0" fmla="*/ 2757487 w 2757487"/>
              <a:gd name="connsiteY0" fmla="*/ 0 h 1595437"/>
              <a:gd name="connsiteX1" fmla="*/ 2400300 w 2757487"/>
              <a:gd name="connsiteY1" fmla="*/ 357187 h 1595437"/>
              <a:gd name="connsiteX2" fmla="*/ 2400300 w 2757487"/>
              <a:gd name="connsiteY2" fmla="*/ 576262 h 1595437"/>
              <a:gd name="connsiteX3" fmla="*/ 2128837 w 2757487"/>
              <a:gd name="connsiteY3" fmla="*/ 847725 h 1595437"/>
              <a:gd name="connsiteX4" fmla="*/ 1614487 w 2757487"/>
              <a:gd name="connsiteY4" fmla="*/ 847725 h 1595437"/>
              <a:gd name="connsiteX5" fmla="*/ 976312 w 2757487"/>
              <a:gd name="connsiteY5" fmla="*/ 1485900 h 1595437"/>
              <a:gd name="connsiteX6" fmla="*/ 781050 w 2757487"/>
              <a:gd name="connsiteY6" fmla="*/ 1485900 h 1595437"/>
              <a:gd name="connsiteX7" fmla="*/ 723900 w 2757487"/>
              <a:gd name="connsiteY7" fmla="*/ 1428750 h 1595437"/>
              <a:gd name="connsiteX8" fmla="*/ 481012 w 2757487"/>
              <a:gd name="connsiteY8" fmla="*/ 1428750 h 1595437"/>
              <a:gd name="connsiteX9" fmla="*/ 419100 w 2757487"/>
              <a:gd name="connsiteY9" fmla="*/ 1366838 h 1595437"/>
              <a:gd name="connsiteX10" fmla="*/ 300037 w 2757487"/>
              <a:gd name="connsiteY10" fmla="*/ 1366838 h 1595437"/>
              <a:gd name="connsiteX11" fmla="*/ 161925 w 2757487"/>
              <a:gd name="connsiteY11" fmla="*/ 1504950 h 1595437"/>
              <a:gd name="connsiteX12" fmla="*/ 90487 w 2757487"/>
              <a:gd name="connsiteY12" fmla="*/ 1504950 h 1595437"/>
              <a:gd name="connsiteX13" fmla="*/ 0 w 2757487"/>
              <a:gd name="connsiteY13" fmla="*/ 1595437 h 1595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57487" h="1595437">
                <a:moveTo>
                  <a:pt x="2757487" y="0"/>
                </a:moveTo>
                <a:lnTo>
                  <a:pt x="2400300" y="357187"/>
                </a:lnTo>
                <a:lnTo>
                  <a:pt x="2400300" y="576262"/>
                </a:lnTo>
                <a:lnTo>
                  <a:pt x="2128837" y="847725"/>
                </a:lnTo>
                <a:lnTo>
                  <a:pt x="1614487" y="847725"/>
                </a:lnTo>
                <a:lnTo>
                  <a:pt x="976312" y="1485900"/>
                </a:lnTo>
                <a:lnTo>
                  <a:pt x="781050" y="1485900"/>
                </a:lnTo>
                <a:lnTo>
                  <a:pt x="723900" y="1428750"/>
                </a:lnTo>
                <a:lnTo>
                  <a:pt x="481012" y="1428750"/>
                </a:lnTo>
                <a:lnTo>
                  <a:pt x="419100" y="1366838"/>
                </a:lnTo>
                <a:lnTo>
                  <a:pt x="300037" y="1366838"/>
                </a:lnTo>
                <a:lnTo>
                  <a:pt x="161925" y="1504950"/>
                </a:lnTo>
                <a:lnTo>
                  <a:pt x="90487" y="1504950"/>
                </a:lnTo>
                <a:lnTo>
                  <a:pt x="0" y="1595437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8" name="Freeform 477"/>
          <p:cNvSpPr/>
          <p:nvPr/>
        </p:nvSpPr>
        <p:spPr>
          <a:xfrm>
            <a:off x="9659939" y="2470151"/>
            <a:ext cx="2524125" cy="1681163"/>
          </a:xfrm>
          <a:custGeom>
            <a:avLst/>
            <a:gdLst>
              <a:gd name="connsiteX0" fmla="*/ 2524125 w 2524125"/>
              <a:gd name="connsiteY0" fmla="*/ 0 h 1681163"/>
              <a:gd name="connsiteX1" fmla="*/ 2243138 w 2524125"/>
              <a:gd name="connsiteY1" fmla="*/ 280987 h 1681163"/>
              <a:gd name="connsiteX2" fmla="*/ 2243138 w 2524125"/>
              <a:gd name="connsiteY2" fmla="*/ 509588 h 1681163"/>
              <a:gd name="connsiteX3" fmla="*/ 1947863 w 2524125"/>
              <a:gd name="connsiteY3" fmla="*/ 804863 h 1681163"/>
              <a:gd name="connsiteX4" fmla="*/ 1447800 w 2524125"/>
              <a:gd name="connsiteY4" fmla="*/ 804863 h 1681163"/>
              <a:gd name="connsiteX5" fmla="*/ 790575 w 2524125"/>
              <a:gd name="connsiteY5" fmla="*/ 1462088 h 1681163"/>
              <a:gd name="connsiteX6" fmla="*/ 528638 w 2524125"/>
              <a:gd name="connsiteY6" fmla="*/ 1462088 h 1681163"/>
              <a:gd name="connsiteX7" fmla="*/ 471488 w 2524125"/>
              <a:gd name="connsiteY7" fmla="*/ 1404938 h 1681163"/>
              <a:gd name="connsiteX8" fmla="*/ 266700 w 2524125"/>
              <a:gd name="connsiteY8" fmla="*/ 1404938 h 1681163"/>
              <a:gd name="connsiteX9" fmla="*/ 190500 w 2524125"/>
              <a:gd name="connsiteY9" fmla="*/ 1328738 h 1681163"/>
              <a:gd name="connsiteX10" fmla="*/ 104775 w 2524125"/>
              <a:gd name="connsiteY10" fmla="*/ 1328738 h 1681163"/>
              <a:gd name="connsiteX11" fmla="*/ 0 w 2524125"/>
              <a:gd name="connsiteY11" fmla="*/ 1433513 h 1681163"/>
              <a:gd name="connsiteX12" fmla="*/ 0 w 2524125"/>
              <a:gd name="connsiteY12" fmla="*/ 1681163 h 1681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24125" h="1681163">
                <a:moveTo>
                  <a:pt x="2524125" y="0"/>
                </a:moveTo>
                <a:lnTo>
                  <a:pt x="2243138" y="280987"/>
                </a:lnTo>
                <a:lnTo>
                  <a:pt x="2243138" y="509588"/>
                </a:lnTo>
                <a:lnTo>
                  <a:pt x="1947863" y="804863"/>
                </a:lnTo>
                <a:lnTo>
                  <a:pt x="1447800" y="804863"/>
                </a:lnTo>
                <a:lnTo>
                  <a:pt x="790575" y="1462088"/>
                </a:lnTo>
                <a:lnTo>
                  <a:pt x="528638" y="1462088"/>
                </a:lnTo>
                <a:lnTo>
                  <a:pt x="471488" y="1404938"/>
                </a:lnTo>
                <a:lnTo>
                  <a:pt x="266700" y="1404938"/>
                </a:lnTo>
                <a:lnTo>
                  <a:pt x="190500" y="1328738"/>
                </a:lnTo>
                <a:lnTo>
                  <a:pt x="104775" y="1328738"/>
                </a:lnTo>
                <a:lnTo>
                  <a:pt x="0" y="1433513"/>
                </a:lnTo>
                <a:lnTo>
                  <a:pt x="0" y="1681163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75" name="Freeform 674"/>
          <p:cNvSpPr/>
          <p:nvPr/>
        </p:nvSpPr>
        <p:spPr>
          <a:xfrm>
            <a:off x="9736139" y="3260725"/>
            <a:ext cx="2462213" cy="1581150"/>
          </a:xfrm>
          <a:custGeom>
            <a:avLst/>
            <a:gdLst>
              <a:gd name="connsiteX0" fmla="*/ 2462213 w 2462213"/>
              <a:gd name="connsiteY0" fmla="*/ 0 h 1581150"/>
              <a:gd name="connsiteX1" fmla="*/ 2219325 w 2462213"/>
              <a:gd name="connsiteY1" fmla="*/ 242888 h 1581150"/>
              <a:gd name="connsiteX2" fmla="*/ 2119313 w 2462213"/>
              <a:gd name="connsiteY2" fmla="*/ 242888 h 1581150"/>
              <a:gd name="connsiteX3" fmla="*/ 1909763 w 2462213"/>
              <a:gd name="connsiteY3" fmla="*/ 452438 h 1581150"/>
              <a:gd name="connsiteX4" fmla="*/ 1762125 w 2462213"/>
              <a:gd name="connsiteY4" fmla="*/ 452438 h 1581150"/>
              <a:gd name="connsiteX5" fmla="*/ 1428750 w 2462213"/>
              <a:gd name="connsiteY5" fmla="*/ 785813 h 1581150"/>
              <a:gd name="connsiteX6" fmla="*/ 1066800 w 2462213"/>
              <a:gd name="connsiteY6" fmla="*/ 785813 h 1581150"/>
              <a:gd name="connsiteX7" fmla="*/ 719138 w 2462213"/>
              <a:gd name="connsiteY7" fmla="*/ 1133475 h 1581150"/>
              <a:gd name="connsiteX8" fmla="*/ 342900 w 2462213"/>
              <a:gd name="connsiteY8" fmla="*/ 1133475 h 1581150"/>
              <a:gd name="connsiteX9" fmla="*/ 9525 w 2462213"/>
              <a:gd name="connsiteY9" fmla="*/ 1466850 h 1581150"/>
              <a:gd name="connsiteX10" fmla="*/ 0 w 2462213"/>
              <a:gd name="connsiteY10" fmla="*/ 1581150 h 158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62213" h="1581150">
                <a:moveTo>
                  <a:pt x="2462213" y="0"/>
                </a:moveTo>
                <a:lnTo>
                  <a:pt x="2219325" y="242888"/>
                </a:lnTo>
                <a:lnTo>
                  <a:pt x="2119313" y="242888"/>
                </a:lnTo>
                <a:lnTo>
                  <a:pt x="1909763" y="452438"/>
                </a:lnTo>
                <a:lnTo>
                  <a:pt x="1762125" y="452438"/>
                </a:lnTo>
                <a:lnTo>
                  <a:pt x="1428750" y="785813"/>
                </a:lnTo>
                <a:lnTo>
                  <a:pt x="1066800" y="785813"/>
                </a:lnTo>
                <a:lnTo>
                  <a:pt x="719138" y="1133475"/>
                </a:lnTo>
                <a:lnTo>
                  <a:pt x="342900" y="1133475"/>
                </a:lnTo>
                <a:lnTo>
                  <a:pt x="9525" y="1466850"/>
                </a:lnTo>
                <a:lnTo>
                  <a:pt x="0" y="158115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76" name="Freeform 675"/>
          <p:cNvSpPr/>
          <p:nvPr/>
        </p:nvSpPr>
        <p:spPr>
          <a:xfrm>
            <a:off x="8561388" y="3841750"/>
            <a:ext cx="3644900" cy="2628900"/>
          </a:xfrm>
          <a:custGeom>
            <a:avLst/>
            <a:gdLst>
              <a:gd name="connsiteX0" fmla="*/ 3644900 w 3644900"/>
              <a:gd name="connsiteY0" fmla="*/ 0 h 2628900"/>
              <a:gd name="connsiteX1" fmla="*/ 3403600 w 3644900"/>
              <a:gd name="connsiteY1" fmla="*/ 0 h 2628900"/>
              <a:gd name="connsiteX2" fmla="*/ 3136900 w 3644900"/>
              <a:gd name="connsiteY2" fmla="*/ 266700 h 2628900"/>
              <a:gd name="connsiteX3" fmla="*/ 2882900 w 3644900"/>
              <a:gd name="connsiteY3" fmla="*/ 266700 h 2628900"/>
              <a:gd name="connsiteX4" fmla="*/ 2432050 w 3644900"/>
              <a:gd name="connsiteY4" fmla="*/ 717550 h 2628900"/>
              <a:gd name="connsiteX5" fmla="*/ 1854200 w 3644900"/>
              <a:gd name="connsiteY5" fmla="*/ 717550 h 2628900"/>
              <a:gd name="connsiteX6" fmla="*/ 1530350 w 3644900"/>
              <a:gd name="connsiteY6" fmla="*/ 1041400 h 2628900"/>
              <a:gd name="connsiteX7" fmla="*/ 1435100 w 3644900"/>
              <a:gd name="connsiteY7" fmla="*/ 1041400 h 2628900"/>
              <a:gd name="connsiteX8" fmla="*/ 863600 w 3644900"/>
              <a:gd name="connsiteY8" fmla="*/ 1612900 h 2628900"/>
              <a:gd name="connsiteX9" fmla="*/ 863600 w 3644900"/>
              <a:gd name="connsiteY9" fmla="*/ 1835150 h 2628900"/>
              <a:gd name="connsiteX10" fmla="*/ 793750 w 3644900"/>
              <a:gd name="connsiteY10" fmla="*/ 1835150 h 2628900"/>
              <a:gd name="connsiteX11" fmla="*/ 0 w 3644900"/>
              <a:gd name="connsiteY11" fmla="*/ 2628900 h 262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44900" h="2628900">
                <a:moveTo>
                  <a:pt x="3644900" y="0"/>
                </a:moveTo>
                <a:lnTo>
                  <a:pt x="3403600" y="0"/>
                </a:lnTo>
                <a:lnTo>
                  <a:pt x="3136900" y="266700"/>
                </a:lnTo>
                <a:lnTo>
                  <a:pt x="2882900" y="266700"/>
                </a:lnTo>
                <a:lnTo>
                  <a:pt x="2432050" y="717550"/>
                </a:lnTo>
                <a:lnTo>
                  <a:pt x="1854200" y="717550"/>
                </a:lnTo>
                <a:lnTo>
                  <a:pt x="1530350" y="1041400"/>
                </a:lnTo>
                <a:lnTo>
                  <a:pt x="1435100" y="1041400"/>
                </a:lnTo>
                <a:lnTo>
                  <a:pt x="863600" y="1612900"/>
                </a:lnTo>
                <a:lnTo>
                  <a:pt x="863600" y="1835150"/>
                </a:lnTo>
                <a:lnTo>
                  <a:pt x="793750" y="1835150"/>
                </a:lnTo>
                <a:lnTo>
                  <a:pt x="0" y="26289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77" name="Freeform 676"/>
          <p:cNvSpPr/>
          <p:nvPr/>
        </p:nvSpPr>
        <p:spPr>
          <a:xfrm>
            <a:off x="8485188" y="3905250"/>
            <a:ext cx="3714750" cy="2781300"/>
          </a:xfrm>
          <a:custGeom>
            <a:avLst/>
            <a:gdLst>
              <a:gd name="connsiteX0" fmla="*/ 3714750 w 3714750"/>
              <a:gd name="connsiteY0" fmla="*/ 0 h 2781300"/>
              <a:gd name="connsiteX1" fmla="*/ 3511550 w 3714750"/>
              <a:gd name="connsiteY1" fmla="*/ 0 h 2781300"/>
              <a:gd name="connsiteX2" fmla="*/ 3219450 w 3714750"/>
              <a:gd name="connsiteY2" fmla="*/ 292100 h 2781300"/>
              <a:gd name="connsiteX3" fmla="*/ 2965450 w 3714750"/>
              <a:gd name="connsiteY3" fmla="*/ 292100 h 2781300"/>
              <a:gd name="connsiteX4" fmla="*/ 2520950 w 3714750"/>
              <a:gd name="connsiteY4" fmla="*/ 736600 h 2781300"/>
              <a:gd name="connsiteX5" fmla="*/ 1949450 w 3714750"/>
              <a:gd name="connsiteY5" fmla="*/ 736600 h 2781300"/>
              <a:gd name="connsiteX6" fmla="*/ 1612900 w 3714750"/>
              <a:gd name="connsiteY6" fmla="*/ 1073150 h 2781300"/>
              <a:gd name="connsiteX7" fmla="*/ 1517650 w 3714750"/>
              <a:gd name="connsiteY7" fmla="*/ 1073150 h 2781300"/>
              <a:gd name="connsiteX8" fmla="*/ 1041400 w 3714750"/>
              <a:gd name="connsiteY8" fmla="*/ 1549400 h 2781300"/>
              <a:gd name="connsiteX9" fmla="*/ 1041400 w 3714750"/>
              <a:gd name="connsiteY9" fmla="*/ 1879600 h 2781300"/>
              <a:gd name="connsiteX10" fmla="*/ 901700 w 3714750"/>
              <a:gd name="connsiteY10" fmla="*/ 1879600 h 2781300"/>
              <a:gd name="connsiteX11" fmla="*/ 0 w 3714750"/>
              <a:gd name="connsiteY11" fmla="*/ 2781300 h 278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714750" h="2781300">
                <a:moveTo>
                  <a:pt x="3714750" y="0"/>
                </a:moveTo>
                <a:lnTo>
                  <a:pt x="3511550" y="0"/>
                </a:lnTo>
                <a:lnTo>
                  <a:pt x="3219450" y="292100"/>
                </a:lnTo>
                <a:lnTo>
                  <a:pt x="2965450" y="292100"/>
                </a:lnTo>
                <a:lnTo>
                  <a:pt x="2520950" y="736600"/>
                </a:lnTo>
                <a:lnTo>
                  <a:pt x="1949450" y="736600"/>
                </a:lnTo>
                <a:lnTo>
                  <a:pt x="1612900" y="1073150"/>
                </a:lnTo>
                <a:lnTo>
                  <a:pt x="1517650" y="1073150"/>
                </a:lnTo>
                <a:lnTo>
                  <a:pt x="1041400" y="1549400"/>
                </a:lnTo>
                <a:lnTo>
                  <a:pt x="1041400" y="1879600"/>
                </a:lnTo>
                <a:lnTo>
                  <a:pt x="901700" y="1879600"/>
                </a:lnTo>
                <a:lnTo>
                  <a:pt x="0" y="27813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78" name="Group 677"/>
          <p:cNvGrpSpPr/>
          <p:nvPr/>
        </p:nvGrpSpPr>
        <p:grpSpPr>
          <a:xfrm flipV="1">
            <a:off x="5143588" y="12700"/>
            <a:ext cx="2901950" cy="2216150"/>
            <a:chOff x="9017000" y="4648200"/>
            <a:chExt cx="2901950" cy="2216150"/>
          </a:xfrm>
        </p:grpSpPr>
        <p:sp>
          <p:nvSpPr>
            <p:cNvPr id="822" name="Freeform 821"/>
            <p:cNvSpPr/>
            <p:nvPr/>
          </p:nvSpPr>
          <p:spPr>
            <a:xfrm>
              <a:off x="9017000" y="5346700"/>
              <a:ext cx="1568450" cy="1511300"/>
            </a:xfrm>
            <a:custGeom>
              <a:avLst/>
              <a:gdLst>
                <a:gd name="connsiteX0" fmla="*/ 0 w 1568450"/>
                <a:gd name="connsiteY0" fmla="*/ 1511300 h 1511300"/>
                <a:gd name="connsiteX1" fmla="*/ 781050 w 1568450"/>
                <a:gd name="connsiteY1" fmla="*/ 730250 h 1511300"/>
                <a:gd name="connsiteX2" fmla="*/ 781050 w 1568450"/>
                <a:gd name="connsiteY2" fmla="*/ 539750 h 1511300"/>
                <a:gd name="connsiteX3" fmla="*/ 1250950 w 1568450"/>
                <a:gd name="connsiteY3" fmla="*/ 69850 h 1511300"/>
                <a:gd name="connsiteX4" fmla="*/ 1409700 w 1568450"/>
                <a:gd name="connsiteY4" fmla="*/ 69850 h 1511300"/>
                <a:gd name="connsiteX5" fmla="*/ 1479550 w 1568450"/>
                <a:gd name="connsiteY5" fmla="*/ 0 h 1511300"/>
                <a:gd name="connsiteX6" fmla="*/ 1568450 w 1568450"/>
                <a:gd name="connsiteY6" fmla="*/ 0 h 151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8450" h="1511300">
                  <a:moveTo>
                    <a:pt x="0" y="1511300"/>
                  </a:moveTo>
                  <a:lnTo>
                    <a:pt x="781050" y="730250"/>
                  </a:lnTo>
                  <a:lnTo>
                    <a:pt x="781050" y="539750"/>
                  </a:lnTo>
                  <a:lnTo>
                    <a:pt x="1250950" y="69850"/>
                  </a:lnTo>
                  <a:lnTo>
                    <a:pt x="1409700" y="69850"/>
                  </a:lnTo>
                  <a:lnTo>
                    <a:pt x="1479550" y="0"/>
                  </a:lnTo>
                  <a:lnTo>
                    <a:pt x="156845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3" name="Freeform 822"/>
            <p:cNvSpPr/>
            <p:nvPr/>
          </p:nvSpPr>
          <p:spPr>
            <a:xfrm>
              <a:off x="9118600" y="5511800"/>
              <a:ext cx="1390650" cy="1352550"/>
            </a:xfrm>
            <a:custGeom>
              <a:avLst/>
              <a:gdLst>
                <a:gd name="connsiteX0" fmla="*/ 0 w 1390650"/>
                <a:gd name="connsiteY0" fmla="*/ 1352550 h 1352550"/>
                <a:gd name="connsiteX1" fmla="*/ 850900 w 1390650"/>
                <a:gd name="connsiteY1" fmla="*/ 501650 h 1352550"/>
                <a:gd name="connsiteX2" fmla="*/ 908050 w 1390650"/>
                <a:gd name="connsiteY2" fmla="*/ 501650 h 1352550"/>
                <a:gd name="connsiteX3" fmla="*/ 958850 w 1390650"/>
                <a:gd name="connsiteY3" fmla="*/ 450850 h 1352550"/>
                <a:gd name="connsiteX4" fmla="*/ 958850 w 1390650"/>
                <a:gd name="connsiteY4" fmla="*/ 190500 h 1352550"/>
                <a:gd name="connsiteX5" fmla="*/ 1149350 w 1390650"/>
                <a:gd name="connsiteY5" fmla="*/ 0 h 1352550"/>
                <a:gd name="connsiteX6" fmla="*/ 1339850 w 1390650"/>
                <a:gd name="connsiteY6" fmla="*/ 0 h 1352550"/>
                <a:gd name="connsiteX7" fmla="*/ 1390650 w 1390650"/>
                <a:gd name="connsiteY7" fmla="*/ 50800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0650" h="1352550">
                  <a:moveTo>
                    <a:pt x="0" y="1352550"/>
                  </a:moveTo>
                  <a:lnTo>
                    <a:pt x="850900" y="501650"/>
                  </a:lnTo>
                  <a:lnTo>
                    <a:pt x="908050" y="501650"/>
                  </a:lnTo>
                  <a:lnTo>
                    <a:pt x="958850" y="450850"/>
                  </a:lnTo>
                  <a:lnTo>
                    <a:pt x="958850" y="190500"/>
                  </a:lnTo>
                  <a:lnTo>
                    <a:pt x="1149350" y="0"/>
                  </a:lnTo>
                  <a:lnTo>
                    <a:pt x="1339850" y="0"/>
                  </a:lnTo>
                  <a:lnTo>
                    <a:pt x="1390650" y="5080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4" name="Freeform 823"/>
            <p:cNvSpPr/>
            <p:nvPr/>
          </p:nvSpPr>
          <p:spPr>
            <a:xfrm>
              <a:off x="9175750" y="5702300"/>
              <a:ext cx="1301750" cy="1155700"/>
            </a:xfrm>
            <a:custGeom>
              <a:avLst/>
              <a:gdLst>
                <a:gd name="connsiteX0" fmla="*/ 0 w 1301750"/>
                <a:gd name="connsiteY0" fmla="*/ 1155700 h 1155700"/>
                <a:gd name="connsiteX1" fmla="*/ 781050 w 1301750"/>
                <a:gd name="connsiteY1" fmla="*/ 374650 h 1155700"/>
                <a:gd name="connsiteX2" fmla="*/ 927100 w 1301750"/>
                <a:gd name="connsiteY2" fmla="*/ 374650 h 1155700"/>
                <a:gd name="connsiteX3" fmla="*/ 1301750 w 1301750"/>
                <a:gd name="connsiteY3" fmla="*/ 0 h 1155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01750" h="1155700">
                  <a:moveTo>
                    <a:pt x="0" y="1155700"/>
                  </a:moveTo>
                  <a:lnTo>
                    <a:pt x="781050" y="374650"/>
                  </a:lnTo>
                  <a:lnTo>
                    <a:pt x="927100" y="374650"/>
                  </a:lnTo>
                  <a:lnTo>
                    <a:pt x="130175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5" name="Freeform 824"/>
            <p:cNvSpPr/>
            <p:nvPr/>
          </p:nvSpPr>
          <p:spPr>
            <a:xfrm>
              <a:off x="9232900" y="4648200"/>
              <a:ext cx="2508250" cy="2216150"/>
            </a:xfrm>
            <a:custGeom>
              <a:avLst/>
              <a:gdLst>
                <a:gd name="connsiteX0" fmla="*/ 0 w 2508250"/>
                <a:gd name="connsiteY0" fmla="*/ 2216150 h 2216150"/>
                <a:gd name="connsiteX1" fmla="*/ 704850 w 2508250"/>
                <a:gd name="connsiteY1" fmla="*/ 1511300 h 2216150"/>
                <a:gd name="connsiteX2" fmla="*/ 946150 w 2508250"/>
                <a:gd name="connsiteY2" fmla="*/ 1511300 h 2216150"/>
                <a:gd name="connsiteX3" fmla="*/ 1638300 w 2508250"/>
                <a:gd name="connsiteY3" fmla="*/ 819150 h 2216150"/>
                <a:gd name="connsiteX4" fmla="*/ 1638300 w 2508250"/>
                <a:gd name="connsiteY4" fmla="*/ 679450 h 2216150"/>
                <a:gd name="connsiteX5" fmla="*/ 1752600 w 2508250"/>
                <a:gd name="connsiteY5" fmla="*/ 565150 h 2216150"/>
                <a:gd name="connsiteX6" fmla="*/ 1943100 w 2508250"/>
                <a:gd name="connsiteY6" fmla="*/ 565150 h 2216150"/>
                <a:gd name="connsiteX7" fmla="*/ 2508250 w 2508250"/>
                <a:gd name="connsiteY7" fmla="*/ 0 h 2216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08250" h="2216150">
                  <a:moveTo>
                    <a:pt x="0" y="2216150"/>
                  </a:moveTo>
                  <a:lnTo>
                    <a:pt x="704850" y="1511300"/>
                  </a:lnTo>
                  <a:lnTo>
                    <a:pt x="946150" y="1511300"/>
                  </a:lnTo>
                  <a:lnTo>
                    <a:pt x="1638300" y="819150"/>
                  </a:lnTo>
                  <a:lnTo>
                    <a:pt x="1638300" y="679450"/>
                  </a:lnTo>
                  <a:lnTo>
                    <a:pt x="1752600" y="565150"/>
                  </a:lnTo>
                  <a:lnTo>
                    <a:pt x="1943100" y="565150"/>
                  </a:lnTo>
                  <a:lnTo>
                    <a:pt x="250825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6" name="Freeform 825"/>
            <p:cNvSpPr/>
            <p:nvPr/>
          </p:nvSpPr>
          <p:spPr>
            <a:xfrm>
              <a:off x="9436100" y="5302250"/>
              <a:ext cx="1593850" cy="1562100"/>
            </a:xfrm>
            <a:custGeom>
              <a:avLst/>
              <a:gdLst>
                <a:gd name="connsiteX0" fmla="*/ 0 w 1593850"/>
                <a:gd name="connsiteY0" fmla="*/ 1562100 h 1562100"/>
                <a:gd name="connsiteX1" fmla="*/ 622300 w 1593850"/>
                <a:gd name="connsiteY1" fmla="*/ 939800 h 1562100"/>
                <a:gd name="connsiteX2" fmla="*/ 825500 w 1593850"/>
                <a:gd name="connsiteY2" fmla="*/ 939800 h 1562100"/>
                <a:gd name="connsiteX3" fmla="*/ 1593850 w 1593850"/>
                <a:gd name="connsiteY3" fmla="*/ 171450 h 1562100"/>
                <a:gd name="connsiteX4" fmla="*/ 1593850 w 1593850"/>
                <a:gd name="connsiteY4" fmla="*/ 0 h 156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850" h="1562100">
                  <a:moveTo>
                    <a:pt x="0" y="1562100"/>
                  </a:moveTo>
                  <a:lnTo>
                    <a:pt x="622300" y="939800"/>
                  </a:lnTo>
                  <a:lnTo>
                    <a:pt x="825500" y="939800"/>
                  </a:lnTo>
                  <a:lnTo>
                    <a:pt x="1593850" y="171450"/>
                  </a:lnTo>
                  <a:lnTo>
                    <a:pt x="159385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7" name="Freeform 826"/>
            <p:cNvSpPr/>
            <p:nvPr/>
          </p:nvSpPr>
          <p:spPr>
            <a:xfrm>
              <a:off x="9874250" y="5638800"/>
              <a:ext cx="1365250" cy="1212850"/>
            </a:xfrm>
            <a:custGeom>
              <a:avLst/>
              <a:gdLst>
                <a:gd name="connsiteX0" fmla="*/ 0 w 1365250"/>
                <a:gd name="connsiteY0" fmla="*/ 1212850 h 1212850"/>
                <a:gd name="connsiteX1" fmla="*/ 730250 w 1365250"/>
                <a:gd name="connsiteY1" fmla="*/ 482600 h 1212850"/>
                <a:gd name="connsiteX2" fmla="*/ 863600 w 1365250"/>
                <a:gd name="connsiteY2" fmla="*/ 482600 h 1212850"/>
                <a:gd name="connsiteX3" fmla="*/ 927100 w 1365250"/>
                <a:gd name="connsiteY3" fmla="*/ 419100 h 1212850"/>
                <a:gd name="connsiteX4" fmla="*/ 927100 w 1365250"/>
                <a:gd name="connsiteY4" fmla="*/ 184150 h 1212850"/>
                <a:gd name="connsiteX5" fmla="*/ 1111250 w 1365250"/>
                <a:gd name="connsiteY5" fmla="*/ 0 h 1212850"/>
                <a:gd name="connsiteX6" fmla="*/ 1320800 w 1365250"/>
                <a:gd name="connsiteY6" fmla="*/ 0 h 1212850"/>
                <a:gd name="connsiteX7" fmla="*/ 1365250 w 1365250"/>
                <a:gd name="connsiteY7" fmla="*/ 444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65250" h="1212850">
                  <a:moveTo>
                    <a:pt x="0" y="1212850"/>
                  </a:moveTo>
                  <a:lnTo>
                    <a:pt x="730250" y="482600"/>
                  </a:lnTo>
                  <a:lnTo>
                    <a:pt x="863600" y="482600"/>
                  </a:lnTo>
                  <a:lnTo>
                    <a:pt x="927100" y="419100"/>
                  </a:lnTo>
                  <a:lnTo>
                    <a:pt x="927100" y="184150"/>
                  </a:lnTo>
                  <a:lnTo>
                    <a:pt x="1111250" y="0"/>
                  </a:lnTo>
                  <a:lnTo>
                    <a:pt x="1320800" y="0"/>
                  </a:lnTo>
                  <a:lnTo>
                    <a:pt x="1365250" y="4445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8" name="Freeform 827"/>
            <p:cNvSpPr/>
            <p:nvPr/>
          </p:nvSpPr>
          <p:spPr>
            <a:xfrm>
              <a:off x="10001250" y="5219700"/>
              <a:ext cx="1460500" cy="1638300"/>
            </a:xfrm>
            <a:custGeom>
              <a:avLst/>
              <a:gdLst>
                <a:gd name="connsiteX0" fmla="*/ 0 w 1460500"/>
                <a:gd name="connsiteY0" fmla="*/ 1638300 h 1638300"/>
                <a:gd name="connsiteX1" fmla="*/ 641350 w 1460500"/>
                <a:gd name="connsiteY1" fmla="*/ 996950 h 1638300"/>
                <a:gd name="connsiteX2" fmla="*/ 857250 w 1460500"/>
                <a:gd name="connsiteY2" fmla="*/ 996950 h 1638300"/>
                <a:gd name="connsiteX3" fmla="*/ 1460500 w 1460500"/>
                <a:gd name="connsiteY3" fmla="*/ 393700 h 1638300"/>
                <a:gd name="connsiteX4" fmla="*/ 1460500 w 1460500"/>
                <a:gd name="connsiteY4" fmla="*/ 0 h 163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0500" h="1638300">
                  <a:moveTo>
                    <a:pt x="0" y="1638300"/>
                  </a:moveTo>
                  <a:lnTo>
                    <a:pt x="641350" y="996950"/>
                  </a:lnTo>
                  <a:lnTo>
                    <a:pt x="857250" y="996950"/>
                  </a:lnTo>
                  <a:lnTo>
                    <a:pt x="1460500" y="393700"/>
                  </a:lnTo>
                  <a:lnTo>
                    <a:pt x="146050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9" name="Freeform 828"/>
            <p:cNvSpPr/>
            <p:nvPr/>
          </p:nvSpPr>
          <p:spPr>
            <a:xfrm>
              <a:off x="10071100" y="4686300"/>
              <a:ext cx="1847850" cy="2178050"/>
            </a:xfrm>
            <a:custGeom>
              <a:avLst/>
              <a:gdLst>
                <a:gd name="connsiteX0" fmla="*/ 0 w 1847850"/>
                <a:gd name="connsiteY0" fmla="*/ 2178050 h 2178050"/>
                <a:gd name="connsiteX1" fmla="*/ 584200 w 1847850"/>
                <a:gd name="connsiteY1" fmla="*/ 1593850 h 2178050"/>
                <a:gd name="connsiteX2" fmla="*/ 838200 w 1847850"/>
                <a:gd name="connsiteY2" fmla="*/ 1593850 h 2178050"/>
                <a:gd name="connsiteX3" fmla="*/ 1479550 w 1847850"/>
                <a:gd name="connsiteY3" fmla="*/ 952500 h 2178050"/>
                <a:gd name="connsiteX4" fmla="*/ 1479550 w 1847850"/>
                <a:gd name="connsiteY4" fmla="*/ 698500 h 2178050"/>
                <a:gd name="connsiteX5" fmla="*/ 1847850 w 1847850"/>
                <a:gd name="connsiteY5" fmla="*/ 330200 h 2178050"/>
                <a:gd name="connsiteX6" fmla="*/ 1847850 w 1847850"/>
                <a:gd name="connsiteY6" fmla="*/ 0 h 2178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47850" h="2178050">
                  <a:moveTo>
                    <a:pt x="0" y="2178050"/>
                  </a:moveTo>
                  <a:lnTo>
                    <a:pt x="584200" y="1593850"/>
                  </a:lnTo>
                  <a:lnTo>
                    <a:pt x="838200" y="1593850"/>
                  </a:lnTo>
                  <a:lnTo>
                    <a:pt x="1479550" y="952500"/>
                  </a:lnTo>
                  <a:lnTo>
                    <a:pt x="1479550" y="698500"/>
                  </a:lnTo>
                  <a:lnTo>
                    <a:pt x="1847850" y="330200"/>
                  </a:lnTo>
                  <a:lnTo>
                    <a:pt x="184785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0" name="Freeform 829"/>
            <p:cNvSpPr/>
            <p:nvPr/>
          </p:nvSpPr>
          <p:spPr>
            <a:xfrm>
              <a:off x="10166350" y="5422900"/>
              <a:ext cx="1536700" cy="1441450"/>
            </a:xfrm>
            <a:custGeom>
              <a:avLst/>
              <a:gdLst>
                <a:gd name="connsiteX0" fmla="*/ 0 w 1536700"/>
                <a:gd name="connsiteY0" fmla="*/ 1441450 h 1441450"/>
                <a:gd name="connsiteX1" fmla="*/ 508000 w 1536700"/>
                <a:gd name="connsiteY1" fmla="*/ 933450 h 1441450"/>
                <a:gd name="connsiteX2" fmla="*/ 793750 w 1536700"/>
                <a:gd name="connsiteY2" fmla="*/ 933450 h 1441450"/>
                <a:gd name="connsiteX3" fmla="*/ 1536700 w 1536700"/>
                <a:gd name="connsiteY3" fmla="*/ 190500 h 1441450"/>
                <a:gd name="connsiteX4" fmla="*/ 1536700 w 1536700"/>
                <a:gd name="connsiteY4" fmla="*/ 0 h 144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36700" h="1441450">
                  <a:moveTo>
                    <a:pt x="0" y="1441450"/>
                  </a:moveTo>
                  <a:lnTo>
                    <a:pt x="508000" y="933450"/>
                  </a:lnTo>
                  <a:lnTo>
                    <a:pt x="793750" y="933450"/>
                  </a:lnTo>
                  <a:lnTo>
                    <a:pt x="1536700" y="190500"/>
                  </a:lnTo>
                  <a:lnTo>
                    <a:pt x="1536700" y="0"/>
                  </a:lnTo>
                </a:path>
              </a:pathLst>
            </a:custGeom>
            <a:noFill/>
            <a:ln w="19050">
              <a:solidFill>
                <a:schemeClr val="accent4">
                  <a:alpha val="2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79" name="Freeform 678"/>
          <p:cNvSpPr/>
          <p:nvPr/>
        </p:nvSpPr>
        <p:spPr>
          <a:xfrm>
            <a:off x="10460038" y="4121150"/>
            <a:ext cx="1727200" cy="977900"/>
          </a:xfrm>
          <a:custGeom>
            <a:avLst/>
            <a:gdLst>
              <a:gd name="connsiteX0" fmla="*/ 1727200 w 1727200"/>
              <a:gd name="connsiteY0" fmla="*/ 0 h 977900"/>
              <a:gd name="connsiteX1" fmla="*/ 1562100 w 1727200"/>
              <a:gd name="connsiteY1" fmla="*/ 0 h 977900"/>
              <a:gd name="connsiteX2" fmla="*/ 812800 w 1727200"/>
              <a:gd name="connsiteY2" fmla="*/ 749300 h 977900"/>
              <a:gd name="connsiteX3" fmla="*/ 228600 w 1727200"/>
              <a:gd name="connsiteY3" fmla="*/ 749300 h 977900"/>
              <a:gd name="connsiteX4" fmla="*/ 0 w 1727200"/>
              <a:gd name="connsiteY4" fmla="*/ 977900 h 97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27200" h="977900">
                <a:moveTo>
                  <a:pt x="1727200" y="0"/>
                </a:moveTo>
                <a:lnTo>
                  <a:pt x="1562100" y="0"/>
                </a:lnTo>
                <a:lnTo>
                  <a:pt x="812800" y="749300"/>
                </a:lnTo>
                <a:lnTo>
                  <a:pt x="228600" y="749300"/>
                </a:lnTo>
                <a:lnTo>
                  <a:pt x="0" y="9779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1" name="Freeform 680"/>
          <p:cNvSpPr/>
          <p:nvPr/>
        </p:nvSpPr>
        <p:spPr>
          <a:xfrm>
            <a:off x="7431088" y="4273550"/>
            <a:ext cx="2597150" cy="2616200"/>
          </a:xfrm>
          <a:custGeom>
            <a:avLst/>
            <a:gdLst>
              <a:gd name="connsiteX0" fmla="*/ 0 w 2597150"/>
              <a:gd name="connsiteY0" fmla="*/ 2616200 h 2616200"/>
              <a:gd name="connsiteX1" fmla="*/ 1885950 w 2597150"/>
              <a:gd name="connsiteY1" fmla="*/ 730250 h 2616200"/>
              <a:gd name="connsiteX2" fmla="*/ 1924050 w 2597150"/>
              <a:gd name="connsiteY2" fmla="*/ 692150 h 2616200"/>
              <a:gd name="connsiteX3" fmla="*/ 2082800 w 2597150"/>
              <a:gd name="connsiteY3" fmla="*/ 533400 h 2616200"/>
              <a:gd name="connsiteX4" fmla="*/ 2082800 w 2597150"/>
              <a:gd name="connsiteY4" fmla="*/ 330200 h 2616200"/>
              <a:gd name="connsiteX5" fmla="*/ 2279650 w 2597150"/>
              <a:gd name="connsiteY5" fmla="*/ 133350 h 2616200"/>
              <a:gd name="connsiteX6" fmla="*/ 2463800 w 2597150"/>
              <a:gd name="connsiteY6" fmla="*/ 133350 h 2616200"/>
              <a:gd name="connsiteX7" fmla="*/ 2597150 w 2597150"/>
              <a:gd name="connsiteY7" fmla="*/ 0 h 261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7150" h="2616200">
                <a:moveTo>
                  <a:pt x="0" y="2616200"/>
                </a:moveTo>
                <a:lnTo>
                  <a:pt x="1885950" y="730250"/>
                </a:lnTo>
                <a:lnTo>
                  <a:pt x="1924050" y="692150"/>
                </a:lnTo>
                <a:lnTo>
                  <a:pt x="2082800" y="533400"/>
                </a:lnTo>
                <a:lnTo>
                  <a:pt x="2082800" y="330200"/>
                </a:lnTo>
                <a:lnTo>
                  <a:pt x="2279650" y="133350"/>
                </a:lnTo>
                <a:lnTo>
                  <a:pt x="2463800" y="133350"/>
                </a:lnTo>
                <a:lnTo>
                  <a:pt x="259715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2" name="Freeform 681"/>
          <p:cNvSpPr/>
          <p:nvPr/>
        </p:nvSpPr>
        <p:spPr>
          <a:xfrm>
            <a:off x="7005638" y="4394200"/>
            <a:ext cx="2546350" cy="2463800"/>
          </a:xfrm>
          <a:custGeom>
            <a:avLst/>
            <a:gdLst>
              <a:gd name="connsiteX0" fmla="*/ 0 w 2546350"/>
              <a:gd name="connsiteY0" fmla="*/ 2463800 h 2463800"/>
              <a:gd name="connsiteX1" fmla="*/ 1428750 w 2546350"/>
              <a:gd name="connsiteY1" fmla="*/ 1035050 h 2463800"/>
              <a:gd name="connsiteX2" fmla="*/ 1835150 w 2546350"/>
              <a:gd name="connsiteY2" fmla="*/ 1035050 h 2463800"/>
              <a:gd name="connsiteX3" fmla="*/ 2063750 w 2546350"/>
              <a:gd name="connsiteY3" fmla="*/ 806450 h 2463800"/>
              <a:gd name="connsiteX4" fmla="*/ 2063750 w 2546350"/>
              <a:gd name="connsiteY4" fmla="*/ 654050 h 2463800"/>
              <a:gd name="connsiteX5" fmla="*/ 2343150 w 2546350"/>
              <a:gd name="connsiteY5" fmla="*/ 374650 h 2463800"/>
              <a:gd name="connsiteX6" fmla="*/ 2343150 w 2546350"/>
              <a:gd name="connsiteY6" fmla="*/ 107950 h 2463800"/>
              <a:gd name="connsiteX7" fmla="*/ 2451100 w 2546350"/>
              <a:gd name="connsiteY7" fmla="*/ 0 h 2463800"/>
              <a:gd name="connsiteX8" fmla="*/ 2546350 w 2546350"/>
              <a:gd name="connsiteY8" fmla="*/ 0 h 2463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46350" h="2463800">
                <a:moveTo>
                  <a:pt x="0" y="2463800"/>
                </a:moveTo>
                <a:lnTo>
                  <a:pt x="1428750" y="1035050"/>
                </a:lnTo>
                <a:lnTo>
                  <a:pt x="1835150" y="1035050"/>
                </a:lnTo>
                <a:lnTo>
                  <a:pt x="2063750" y="806450"/>
                </a:lnTo>
                <a:lnTo>
                  <a:pt x="2063750" y="654050"/>
                </a:lnTo>
                <a:lnTo>
                  <a:pt x="2343150" y="374650"/>
                </a:lnTo>
                <a:lnTo>
                  <a:pt x="2343150" y="107950"/>
                </a:lnTo>
                <a:lnTo>
                  <a:pt x="2451100" y="0"/>
                </a:lnTo>
                <a:lnTo>
                  <a:pt x="254635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83" name="Freeform 682"/>
          <p:cNvSpPr/>
          <p:nvPr/>
        </p:nvSpPr>
        <p:spPr>
          <a:xfrm>
            <a:off x="6865938" y="4273550"/>
            <a:ext cx="2971800" cy="2597150"/>
          </a:xfrm>
          <a:custGeom>
            <a:avLst/>
            <a:gdLst>
              <a:gd name="connsiteX0" fmla="*/ 0 w 2971800"/>
              <a:gd name="connsiteY0" fmla="*/ 2597150 h 2597150"/>
              <a:gd name="connsiteX1" fmla="*/ 1485900 w 2971800"/>
              <a:gd name="connsiteY1" fmla="*/ 1111250 h 2597150"/>
              <a:gd name="connsiteX2" fmla="*/ 1930400 w 2971800"/>
              <a:gd name="connsiteY2" fmla="*/ 1111250 h 2597150"/>
              <a:gd name="connsiteX3" fmla="*/ 2127250 w 2971800"/>
              <a:gd name="connsiteY3" fmla="*/ 914400 h 2597150"/>
              <a:gd name="connsiteX4" fmla="*/ 2127250 w 2971800"/>
              <a:gd name="connsiteY4" fmla="*/ 711200 h 2597150"/>
              <a:gd name="connsiteX5" fmla="*/ 2374900 w 2971800"/>
              <a:gd name="connsiteY5" fmla="*/ 463550 h 2597150"/>
              <a:gd name="connsiteX6" fmla="*/ 2374900 w 2971800"/>
              <a:gd name="connsiteY6" fmla="*/ 0 h 2597150"/>
              <a:gd name="connsiteX7" fmla="*/ 2971800 w 2971800"/>
              <a:gd name="connsiteY7" fmla="*/ 0 h 259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71800" h="2597150">
                <a:moveTo>
                  <a:pt x="0" y="2597150"/>
                </a:moveTo>
                <a:lnTo>
                  <a:pt x="1485900" y="1111250"/>
                </a:lnTo>
                <a:lnTo>
                  <a:pt x="1930400" y="1111250"/>
                </a:lnTo>
                <a:lnTo>
                  <a:pt x="2127250" y="914400"/>
                </a:lnTo>
                <a:lnTo>
                  <a:pt x="2127250" y="711200"/>
                </a:lnTo>
                <a:lnTo>
                  <a:pt x="2374900" y="463550"/>
                </a:lnTo>
                <a:lnTo>
                  <a:pt x="2374900" y="0"/>
                </a:lnTo>
                <a:lnTo>
                  <a:pt x="29718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28" name="Freeform 727"/>
          <p:cNvSpPr/>
          <p:nvPr/>
        </p:nvSpPr>
        <p:spPr>
          <a:xfrm rot="8100000" flipH="1" flipV="1">
            <a:off x="5299032" y="3340640"/>
            <a:ext cx="2384108" cy="2272261"/>
          </a:xfrm>
          <a:custGeom>
            <a:avLst/>
            <a:gdLst>
              <a:gd name="connsiteX0" fmla="*/ 0 w 2571750"/>
              <a:gd name="connsiteY0" fmla="*/ 2451100 h 2451100"/>
              <a:gd name="connsiteX1" fmla="*/ 1670050 w 2571750"/>
              <a:gd name="connsiteY1" fmla="*/ 781050 h 2451100"/>
              <a:gd name="connsiteX2" fmla="*/ 2120900 w 2571750"/>
              <a:gd name="connsiteY2" fmla="*/ 781050 h 2451100"/>
              <a:gd name="connsiteX3" fmla="*/ 2324100 w 2571750"/>
              <a:gd name="connsiteY3" fmla="*/ 577850 h 2451100"/>
              <a:gd name="connsiteX4" fmla="*/ 2324100 w 2571750"/>
              <a:gd name="connsiteY4" fmla="*/ 438150 h 2451100"/>
              <a:gd name="connsiteX5" fmla="*/ 2571750 w 2571750"/>
              <a:gd name="connsiteY5" fmla="*/ 190500 h 2451100"/>
              <a:gd name="connsiteX6" fmla="*/ 2571750 w 2571750"/>
              <a:gd name="connsiteY6" fmla="*/ 0 h 245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71750" h="2451100">
                <a:moveTo>
                  <a:pt x="0" y="2451100"/>
                </a:moveTo>
                <a:lnTo>
                  <a:pt x="1670050" y="781050"/>
                </a:lnTo>
                <a:lnTo>
                  <a:pt x="2120900" y="781050"/>
                </a:lnTo>
                <a:lnTo>
                  <a:pt x="2324100" y="577850"/>
                </a:lnTo>
                <a:lnTo>
                  <a:pt x="2324100" y="438150"/>
                </a:lnTo>
                <a:lnTo>
                  <a:pt x="2571750" y="190500"/>
                </a:lnTo>
                <a:lnTo>
                  <a:pt x="257175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headEnd type="oval"/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76" name="Freeform 775"/>
          <p:cNvSpPr/>
          <p:nvPr/>
        </p:nvSpPr>
        <p:spPr>
          <a:xfrm>
            <a:off x="2328319" y="2537759"/>
            <a:ext cx="2578769" cy="1294598"/>
          </a:xfrm>
          <a:custGeom>
            <a:avLst/>
            <a:gdLst>
              <a:gd name="connsiteX0" fmla="*/ 0 w 2685449"/>
              <a:gd name="connsiteY0" fmla="*/ 0 h 1751798"/>
              <a:gd name="connsiteX1" fmla="*/ 0 w 2685449"/>
              <a:gd name="connsiteY1" fmla="*/ 365760 h 1751798"/>
              <a:gd name="connsiteX2" fmla="*/ 413886 w 2685449"/>
              <a:gd name="connsiteY2" fmla="*/ 779646 h 1751798"/>
              <a:gd name="connsiteX3" fmla="*/ 1713297 w 2685449"/>
              <a:gd name="connsiteY3" fmla="*/ 779646 h 1751798"/>
              <a:gd name="connsiteX4" fmla="*/ 2685449 w 2685449"/>
              <a:gd name="connsiteY4" fmla="*/ 1751798 h 1751798"/>
              <a:gd name="connsiteX0" fmla="*/ 0 w 2685449"/>
              <a:gd name="connsiteY0" fmla="*/ 0 h 1386038"/>
              <a:gd name="connsiteX1" fmla="*/ 413886 w 2685449"/>
              <a:gd name="connsiteY1" fmla="*/ 413886 h 1386038"/>
              <a:gd name="connsiteX2" fmla="*/ 1713297 w 2685449"/>
              <a:gd name="connsiteY2" fmla="*/ 413886 h 1386038"/>
              <a:gd name="connsiteX3" fmla="*/ 2685449 w 2685449"/>
              <a:gd name="connsiteY3" fmla="*/ 1386038 h 1386038"/>
              <a:gd name="connsiteX0" fmla="*/ 0 w 2578769"/>
              <a:gd name="connsiteY0" fmla="*/ 0 h 1294598"/>
              <a:gd name="connsiteX1" fmla="*/ 307206 w 2578769"/>
              <a:gd name="connsiteY1" fmla="*/ 322446 h 1294598"/>
              <a:gd name="connsiteX2" fmla="*/ 1606617 w 2578769"/>
              <a:gd name="connsiteY2" fmla="*/ 322446 h 1294598"/>
              <a:gd name="connsiteX3" fmla="*/ 2578769 w 2578769"/>
              <a:gd name="connsiteY3" fmla="*/ 1294598 h 129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78769" h="1294598">
                <a:moveTo>
                  <a:pt x="0" y="0"/>
                </a:moveTo>
                <a:lnTo>
                  <a:pt x="307206" y="322446"/>
                </a:lnTo>
                <a:lnTo>
                  <a:pt x="1606617" y="322446"/>
                </a:lnTo>
                <a:lnTo>
                  <a:pt x="2578769" y="1294598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77" name="Freeform 776"/>
          <p:cNvSpPr/>
          <p:nvPr/>
        </p:nvSpPr>
        <p:spPr>
          <a:xfrm>
            <a:off x="2408720" y="127000"/>
            <a:ext cx="3231668" cy="1386840"/>
          </a:xfrm>
          <a:custGeom>
            <a:avLst/>
            <a:gdLst>
              <a:gd name="connsiteX0" fmla="*/ 0 w 3596640"/>
              <a:gd name="connsiteY0" fmla="*/ 228600 h 1386840"/>
              <a:gd name="connsiteX1" fmla="*/ 0 w 3596640"/>
              <a:gd name="connsiteY1" fmla="*/ 0 h 1386840"/>
              <a:gd name="connsiteX2" fmla="*/ 2369820 w 3596640"/>
              <a:gd name="connsiteY2" fmla="*/ 0 h 1386840"/>
              <a:gd name="connsiteX3" fmla="*/ 2674620 w 3596640"/>
              <a:gd name="connsiteY3" fmla="*/ 304800 h 1386840"/>
              <a:gd name="connsiteX4" fmla="*/ 2674620 w 3596640"/>
              <a:gd name="connsiteY4" fmla="*/ 1295400 h 1386840"/>
              <a:gd name="connsiteX5" fmla="*/ 2766060 w 3596640"/>
              <a:gd name="connsiteY5" fmla="*/ 1386840 h 1386840"/>
              <a:gd name="connsiteX6" fmla="*/ 3596640 w 3596640"/>
              <a:gd name="connsiteY6" fmla="*/ 1386840 h 1386840"/>
              <a:gd name="connsiteX0" fmla="*/ 0 w 3596640"/>
              <a:gd name="connsiteY0" fmla="*/ 0 h 1386840"/>
              <a:gd name="connsiteX1" fmla="*/ 2369820 w 3596640"/>
              <a:gd name="connsiteY1" fmla="*/ 0 h 1386840"/>
              <a:gd name="connsiteX2" fmla="*/ 2674620 w 3596640"/>
              <a:gd name="connsiteY2" fmla="*/ 304800 h 1386840"/>
              <a:gd name="connsiteX3" fmla="*/ 2674620 w 3596640"/>
              <a:gd name="connsiteY3" fmla="*/ 1295400 h 1386840"/>
              <a:gd name="connsiteX4" fmla="*/ 2766060 w 3596640"/>
              <a:gd name="connsiteY4" fmla="*/ 1386840 h 1386840"/>
              <a:gd name="connsiteX5" fmla="*/ 3596640 w 3596640"/>
              <a:gd name="connsiteY5" fmla="*/ 1386840 h 1386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96640" h="1386840">
                <a:moveTo>
                  <a:pt x="0" y="0"/>
                </a:moveTo>
                <a:lnTo>
                  <a:pt x="2369820" y="0"/>
                </a:lnTo>
                <a:lnTo>
                  <a:pt x="2674620" y="304800"/>
                </a:lnTo>
                <a:lnTo>
                  <a:pt x="2674620" y="1295400"/>
                </a:lnTo>
                <a:lnTo>
                  <a:pt x="2766060" y="1386840"/>
                </a:lnTo>
                <a:lnTo>
                  <a:pt x="3596640" y="138684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0" name="Freeform 779"/>
          <p:cNvSpPr/>
          <p:nvPr/>
        </p:nvSpPr>
        <p:spPr>
          <a:xfrm>
            <a:off x="2425406" y="2179638"/>
            <a:ext cx="2510132" cy="342900"/>
          </a:xfrm>
          <a:custGeom>
            <a:avLst/>
            <a:gdLst>
              <a:gd name="connsiteX0" fmla="*/ 0 w 2686050"/>
              <a:gd name="connsiteY0" fmla="*/ 0 h 342900"/>
              <a:gd name="connsiteX1" fmla="*/ 1985963 w 2686050"/>
              <a:gd name="connsiteY1" fmla="*/ 0 h 342900"/>
              <a:gd name="connsiteX2" fmla="*/ 2114550 w 2686050"/>
              <a:gd name="connsiteY2" fmla="*/ 128587 h 342900"/>
              <a:gd name="connsiteX3" fmla="*/ 2309813 w 2686050"/>
              <a:gd name="connsiteY3" fmla="*/ 128587 h 342900"/>
              <a:gd name="connsiteX4" fmla="*/ 2419350 w 2686050"/>
              <a:gd name="connsiteY4" fmla="*/ 238124 h 342900"/>
              <a:gd name="connsiteX5" fmla="*/ 2686050 w 2686050"/>
              <a:gd name="connsiteY5" fmla="*/ 238124 h 342900"/>
              <a:gd name="connsiteX6" fmla="*/ 2686050 w 2686050"/>
              <a:gd name="connsiteY6" fmla="*/ 342900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86050" h="342900">
                <a:moveTo>
                  <a:pt x="0" y="0"/>
                </a:moveTo>
                <a:lnTo>
                  <a:pt x="1985963" y="0"/>
                </a:lnTo>
                <a:lnTo>
                  <a:pt x="2114550" y="128587"/>
                </a:lnTo>
                <a:lnTo>
                  <a:pt x="2309813" y="128587"/>
                </a:lnTo>
                <a:lnTo>
                  <a:pt x="2419350" y="238124"/>
                </a:lnTo>
                <a:lnTo>
                  <a:pt x="2686050" y="238124"/>
                </a:lnTo>
                <a:lnTo>
                  <a:pt x="2686050" y="3429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non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4" name="Freeform 783"/>
          <p:cNvSpPr/>
          <p:nvPr/>
        </p:nvSpPr>
        <p:spPr>
          <a:xfrm>
            <a:off x="6421639" y="2669273"/>
            <a:ext cx="2916454" cy="4215864"/>
          </a:xfrm>
          <a:custGeom>
            <a:avLst/>
            <a:gdLst>
              <a:gd name="connsiteX0" fmla="*/ 2916454 w 2916454"/>
              <a:gd name="connsiteY0" fmla="*/ 0 h 4215864"/>
              <a:gd name="connsiteX1" fmla="*/ 2916454 w 2916454"/>
              <a:gd name="connsiteY1" fmla="*/ 298383 h 4215864"/>
              <a:gd name="connsiteX2" fmla="*/ 2550694 w 2916454"/>
              <a:gd name="connsiteY2" fmla="*/ 664143 h 4215864"/>
              <a:gd name="connsiteX3" fmla="*/ 2550694 w 2916454"/>
              <a:gd name="connsiteY3" fmla="*/ 1973179 h 4215864"/>
              <a:gd name="connsiteX4" fmla="*/ 2358189 w 2916454"/>
              <a:gd name="connsiteY4" fmla="*/ 2165684 h 4215864"/>
              <a:gd name="connsiteX5" fmla="*/ 2358189 w 2916454"/>
              <a:gd name="connsiteY5" fmla="*/ 2319688 h 4215864"/>
              <a:gd name="connsiteX6" fmla="*/ 2127183 w 2916454"/>
              <a:gd name="connsiteY6" fmla="*/ 2550694 h 4215864"/>
              <a:gd name="connsiteX7" fmla="*/ 1665170 w 2916454"/>
              <a:gd name="connsiteY7" fmla="*/ 2550694 h 4215864"/>
              <a:gd name="connsiteX8" fmla="*/ 0 w 2916454"/>
              <a:gd name="connsiteY8" fmla="*/ 4215864 h 4215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6454" h="4215864">
                <a:moveTo>
                  <a:pt x="2916454" y="0"/>
                </a:moveTo>
                <a:lnTo>
                  <a:pt x="2916454" y="298383"/>
                </a:lnTo>
                <a:lnTo>
                  <a:pt x="2550694" y="664143"/>
                </a:lnTo>
                <a:lnTo>
                  <a:pt x="2550694" y="1973179"/>
                </a:lnTo>
                <a:lnTo>
                  <a:pt x="2358189" y="2165684"/>
                </a:lnTo>
                <a:lnTo>
                  <a:pt x="2358189" y="2319688"/>
                </a:lnTo>
                <a:lnTo>
                  <a:pt x="2127183" y="2550694"/>
                </a:lnTo>
                <a:lnTo>
                  <a:pt x="1665170" y="2550694"/>
                </a:lnTo>
                <a:lnTo>
                  <a:pt x="0" y="4215864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5" name="Freeform 784"/>
          <p:cNvSpPr/>
          <p:nvPr/>
        </p:nvSpPr>
        <p:spPr>
          <a:xfrm>
            <a:off x="8750952" y="2650023"/>
            <a:ext cx="134754" cy="2021305"/>
          </a:xfrm>
          <a:custGeom>
            <a:avLst/>
            <a:gdLst>
              <a:gd name="connsiteX0" fmla="*/ 134754 w 134754"/>
              <a:gd name="connsiteY0" fmla="*/ 0 h 2021305"/>
              <a:gd name="connsiteX1" fmla="*/ 134754 w 134754"/>
              <a:gd name="connsiteY1" fmla="*/ 567891 h 2021305"/>
              <a:gd name="connsiteX2" fmla="*/ 0 w 134754"/>
              <a:gd name="connsiteY2" fmla="*/ 702645 h 2021305"/>
              <a:gd name="connsiteX3" fmla="*/ 0 w 134754"/>
              <a:gd name="connsiteY3" fmla="*/ 2021305 h 2021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4754" h="2021305">
                <a:moveTo>
                  <a:pt x="134754" y="0"/>
                </a:moveTo>
                <a:lnTo>
                  <a:pt x="134754" y="567891"/>
                </a:lnTo>
                <a:lnTo>
                  <a:pt x="0" y="702645"/>
                </a:lnTo>
                <a:lnTo>
                  <a:pt x="0" y="2021305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2" name="Freeform 801"/>
          <p:cNvSpPr/>
          <p:nvPr/>
        </p:nvSpPr>
        <p:spPr>
          <a:xfrm>
            <a:off x="2263776" y="1274763"/>
            <a:ext cx="723900" cy="176212"/>
          </a:xfrm>
          <a:custGeom>
            <a:avLst/>
            <a:gdLst>
              <a:gd name="connsiteX0" fmla="*/ 0 w 723900"/>
              <a:gd name="connsiteY0" fmla="*/ 176212 h 176212"/>
              <a:gd name="connsiteX1" fmla="*/ 723900 w 723900"/>
              <a:gd name="connsiteY1" fmla="*/ 176212 h 176212"/>
              <a:gd name="connsiteX2" fmla="*/ 723900 w 723900"/>
              <a:gd name="connsiteY2" fmla="*/ 0 h 176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3900" h="176212">
                <a:moveTo>
                  <a:pt x="0" y="176212"/>
                </a:moveTo>
                <a:lnTo>
                  <a:pt x="723900" y="176212"/>
                </a:lnTo>
                <a:lnTo>
                  <a:pt x="7239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3" name="Freeform 802"/>
          <p:cNvSpPr/>
          <p:nvPr/>
        </p:nvSpPr>
        <p:spPr>
          <a:xfrm>
            <a:off x="2296395" y="1284288"/>
            <a:ext cx="938213" cy="214312"/>
          </a:xfrm>
          <a:custGeom>
            <a:avLst/>
            <a:gdLst>
              <a:gd name="connsiteX0" fmla="*/ 0 w 938213"/>
              <a:gd name="connsiteY0" fmla="*/ 214312 h 214312"/>
              <a:gd name="connsiteX1" fmla="*/ 938213 w 938213"/>
              <a:gd name="connsiteY1" fmla="*/ 214312 h 214312"/>
              <a:gd name="connsiteX2" fmla="*/ 938213 w 938213"/>
              <a:gd name="connsiteY2" fmla="*/ 0 h 21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8213" h="214312">
                <a:moveTo>
                  <a:pt x="0" y="214312"/>
                </a:moveTo>
                <a:lnTo>
                  <a:pt x="938213" y="214312"/>
                </a:lnTo>
                <a:lnTo>
                  <a:pt x="938213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4" name="Freeform 803"/>
          <p:cNvSpPr/>
          <p:nvPr/>
        </p:nvSpPr>
        <p:spPr>
          <a:xfrm>
            <a:off x="3402014" y="1112838"/>
            <a:ext cx="671513" cy="366712"/>
          </a:xfrm>
          <a:custGeom>
            <a:avLst/>
            <a:gdLst>
              <a:gd name="connsiteX0" fmla="*/ 671513 w 671513"/>
              <a:gd name="connsiteY0" fmla="*/ 0 h 366712"/>
              <a:gd name="connsiteX1" fmla="*/ 481013 w 671513"/>
              <a:gd name="connsiteY1" fmla="*/ 190500 h 366712"/>
              <a:gd name="connsiteX2" fmla="*/ 481013 w 671513"/>
              <a:gd name="connsiteY2" fmla="*/ 319087 h 366712"/>
              <a:gd name="connsiteX3" fmla="*/ 433388 w 671513"/>
              <a:gd name="connsiteY3" fmla="*/ 366712 h 366712"/>
              <a:gd name="connsiteX4" fmla="*/ 0 w 671513"/>
              <a:gd name="connsiteY4" fmla="*/ 366712 h 366712"/>
              <a:gd name="connsiteX5" fmla="*/ 0 w 671513"/>
              <a:gd name="connsiteY5" fmla="*/ 171450 h 366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1513" h="366712">
                <a:moveTo>
                  <a:pt x="671513" y="0"/>
                </a:moveTo>
                <a:lnTo>
                  <a:pt x="481013" y="190500"/>
                </a:lnTo>
                <a:lnTo>
                  <a:pt x="481013" y="319087"/>
                </a:lnTo>
                <a:lnTo>
                  <a:pt x="433388" y="366712"/>
                </a:lnTo>
                <a:lnTo>
                  <a:pt x="0" y="366712"/>
                </a:lnTo>
                <a:lnTo>
                  <a:pt x="0" y="17145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5" name="Freeform 804"/>
          <p:cNvSpPr/>
          <p:nvPr/>
        </p:nvSpPr>
        <p:spPr>
          <a:xfrm>
            <a:off x="8240814" y="2226511"/>
            <a:ext cx="433137" cy="1097280"/>
          </a:xfrm>
          <a:custGeom>
            <a:avLst/>
            <a:gdLst>
              <a:gd name="connsiteX0" fmla="*/ 221381 w 433137"/>
              <a:gd name="connsiteY0" fmla="*/ 0 h 1097280"/>
              <a:gd name="connsiteX1" fmla="*/ 86628 w 433137"/>
              <a:gd name="connsiteY1" fmla="*/ 0 h 1097280"/>
              <a:gd name="connsiteX2" fmla="*/ 86628 w 433137"/>
              <a:gd name="connsiteY2" fmla="*/ 182880 h 1097280"/>
              <a:gd name="connsiteX3" fmla="*/ 433137 w 433137"/>
              <a:gd name="connsiteY3" fmla="*/ 529389 h 1097280"/>
              <a:gd name="connsiteX4" fmla="*/ 433137 w 433137"/>
              <a:gd name="connsiteY4" fmla="*/ 1097280 h 1097280"/>
              <a:gd name="connsiteX5" fmla="*/ 0 w 433137"/>
              <a:gd name="connsiteY5" fmla="*/ 1097280 h 109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3137" h="1097280">
                <a:moveTo>
                  <a:pt x="221381" y="0"/>
                </a:moveTo>
                <a:lnTo>
                  <a:pt x="86628" y="0"/>
                </a:lnTo>
                <a:lnTo>
                  <a:pt x="86628" y="182880"/>
                </a:lnTo>
                <a:lnTo>
                  <a:pt x="433137" y="529389"/>
                </a:lnTo>
                <a:lnTo>
                  <a:pt x="433137" y="1097280"/>
                </a:lnTo>
                <a:lnTo>
                  <a:pt x="0" y="109728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6" name="Freeform 805"/>
          <p:cNvSpPr/>
          <p:nvPr/>
        </p:nvSpPr>
        <p:spPr>
          <a:xfrm>
            <a:off x="8221563" y="3651049"/>
            <a:ext cx="385010" cy="1078030"/>
          </a:xfrm>
          <a:custGeom>
            <a:avLst/>
            <a:gdLst>
              <a:gd name="connsiteX0" fmla="*/ 0 w 385010"/>
              <a:gd name="connsiteY0" fmla="*/ 0 h 1078030"/>
              <a:gd name="connsiteX1" fmla="*/ 385010 w 385010"/>
              <a:gd name="connsiteY1" fmla="*/ 0 h 1078030"/>
              <a:gd name="connsiteX2" fmla="*/ 385010 w 385010"/>
              <a:gd name="connsiteY2" fmla="*/ 1078030 h 1078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5010" h="1078030">
                <a:moveTo>
                  <a:pt x="0" y="0"/>
                </a:moveTo>
                <a:lnTo>
                  <a:pt x="385010" y="0"/>
                </a:lnTo>
                <a:lnTo>
                  <a:pt x="385010" y="107803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7" name="Freeform 806"/>
          <p:cNvSpPr/>
          <p:nvPr/>
        </p:nvSpPr>
        <p:spPr>
          <a:xfrm>
            <a:off x="8240814" y="3959059"/>
            <a:ext cx="231007" cy="0"/>
          </a:xfrm>
          <a:custGeom>
            <a:avLst/>
            <a:gdLst>
              <a:gd name="connsiteX0" fmla="*/ 0 w 231007"/>
              <a:gd name="connsiteY0" fmla="*/ 0 h 0"/>
              <a:gd name="connsiteX1" fmla="*/ 231007 w 231007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31007">
                <a:moveTo>
                  <a:pt x="0" y="0"/>
                </a:moveTo>
                <a:lnTo>
                  <a:pt x="231007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8" name="Freeform 807"/>
          <p:cNvSpPr/>
          <p:nvPr/>
        </p:nvSpPr>
        <p:spPr>
          <a:xfrm>
            <a:off x="611188" y="3644900"/>
            <a:ext cx="6426200" cy="3238500"/>
          </a:xfrm>
          <a:custGeom>
            <a:avLst/>
            <a:gdLst>
              <a:gd name="connsiteX0" fmla="*/ 0 w 6451600"/>
              <a:gd name="connsiteY0" fmla="*/ 3175000 h 3175000"/>
              <a:gd name="connsiteX1" fmla="*/ 419100 w 6451600"/>
              <a:gd name="connsiteY1" fmla="*/ 2755900 h 3175000"/>
              <a:gd name="connsiteX2" fmla="*/ 5778500 w 6451600"/>
              <a:gd name="connsiteY2" fmla="*/ 2755900 h 3175000"/>
              <a:gd name="connsiteX3" fmla="*/ 6070600 w 6451600"/>
              <a:gd name="connsiteY3" fmla="*/ 2463800 h 3175000"/>
              <a:gd name="connsiteX4" fmla="*/ 6070600 w 6451600"/>
              <a:gd name="connsiteY4" fmla="*/ 190500 h 3175000"/>
              <a:gd name="connsiteX5" fmla="*/ 6261100 w 6451600"/>
              <a:gd name="connsiteY5" fmla="*/ 0 h 3175000"/>
              <a:gd name="connsiteX6" fmla="*/ 6451600 w 6451600"/>
              <a:gd name="connsiteY6" fmla="*/ 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51600" h="3175000">
                <a:moveTo>
                  <a:pt x="0" y="3175000"/>
                </a:moveTo>
                <a:lnTo>
                  <a:pt x="419100" y="2755900"/>
                </a:lnTo>
                <a:lnTo>
                  <a:pt x="5778500" y="2755900"/>
                </a:lnTo>
                <a:lnTo>
                  <a:pt x="6070600" y="2463800"/>
                </a:lnTo>
                <a:lnTo>
                  <a:pt x="6070600" y="190500"/>
                </a:lnTo>
                <a:lnTo>
                  <a:pt x="6261100" y="0"/>
                </a:lnTo>
                <a:lnTo>
                  <a:pt x="64516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9" name="Freeform 808"/>
          <p:cNvSpPr/>
          <p:nvPr/>
        </p:nvSpPr>
        <p:spPr>
          <a:xfrm>
            <a:off x="763588" y="3975100"/>
            <a:ext cx="6261100" cy="2895600"/>
          </a:xfrm>
          <a:custGeom>
            <a:avLst/>
            <a:gdLst>
              <a:gd name="connsiteX0" fmla="*/ 0 w 6311900"/>
              <a:gd name="connsiteY0" fmla="*/ 2857500 h 2857500"/>
              <a:gd name="connsiteX1" fmla="*/ 317500 w 6311900"/>
              <a:gd name="connsiteY1" fmla="*/ 2540000 h 2857500"/>
              <a:gd name="connsiteX2" fmla="*/ 5638800 w 6311900"/>
              <a:gd name="connsiteY2" fmla="*/ 2540000 h 2857500"/>
              <a:gd name="connsiteX3" fmla="*/ 5994400 w 6311900"/>
              <a:gd name="connsiteY3" fmla="*/ 2184400 h 2857500"/>
              <a:gd name="connsiteX4" fmla="*/ 5994400 w 6311900"/>
              <a:gd name="connsiteY4" fmla="*/ 0 h 2857500"/>
              <a:gd name="connsiteX5" fmla="*/ 6311900 w 6311900"/>
              <a:gd name="connsiteY5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1900" h="2857500">
                <a:moveTo>
                  <a:pt x="0" y="2857500"/>
                </a:moveTo>
                <a:lnTo>
                  <a:pt x="317500" y="2540000"/>
                </a:lnTo>
                <a:lnTo>
                  <a:pt x="5638800" y="2540000"/>
                </a:lnTo>
                <a:lnTo>
                  <a:pt x="5994400" y="2184400"/>
                </a:lnTo>
                <a:lnTo>
                  <a:pt x="5994400" y="0"/>
                </a:lnTo>
                <a:lnTo>
                  <a:pt x="63119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1" name="Freeform 810"/>
          <p:cNvSpPr/>
          <p:nvPr/>
        </p:nvSpPr>
        <p:spPr>
          <a:xfrm>
            <a:off x="1068388" y="4318000"/>
            <a:ext cx="6896100" cy="2540000"/>
          </a:xfrm>
          <a:custGeom>
            <a:avLst/>
            <a:gdLst>
              <a:gd name="connsiteX0" fmla="*/ 0 w 6921500"/>
              <a:gd name="connsiteY0" fmla="*/ 2540000 h 2540000"/>
              <a:gd name="connsiteX1" fmla="*/ 139700 w 6921500"/>
              <a:gd name="connsiteY1" fmla="*/ 2400300 h 2540000"/>
              <a:gd name="connsiteX2" fmla="*/ 5295900 w 6921500"/>
              <a:gd name="connsiteY2" fmla="*/ 2400300 h 2540000"/>
              <a:gd name="connsiteX3" fmla="*/ 6921500 w 6921500"/>
              <a:gd name="connsiteY3" fmla="*/ 774700 h 2540000"/>
              <a:gd name="connsiteX4" fmla="*/ 6921500 w 6921500"/>
              <a:gd name="connsiteY4" fmla="*/ 0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1500" h="2540000">
                <a:moveTo>
                  <a:pt x="0" y="2540000"/>
                </a:moveTo>
                <a:lnTo>
                  <a:pt x="139700" y="2400300"/>
                </a:lnTo>
                <a:lnTo>
                  <a:pt x="5295900" y="2400300"/>
                </a:lnTo>
                <a:lnTo>
                  <a:pt x="6921500" y="774700"/>
                </a:lnTo>
                <a:lnTo>
                  <a:pt x="69215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2" name="Freeform 811"/>
          <p:cNvSpPr/>
          <p:nvPr/>
        </p:nvSpPr>
        <p:spPr>
          <a:xfrm>
            <a:off x="6923088" y="4241800"/>
            <a:ext cx="723900" cy="1651000"/>
          </a:xfrm>
          <a:custGeom>
            <a:avLst/>
            <a:gdLst>
              <a:gd name="connsiteX0" fmla="*/ 723900 w 723900"/>
              <a:gd name="connsiteY0" fmla="*/ 0 h 1651000"/>
              <a:gd name="connsiteX1" fmla="*/ 723900 w 723900"/>
              <a:gd name="connsiteY1" fmla="*/ 927100 h 1651000"/>
              <a:gd name="connsiteX2" fmla="*/ 0 w 723900"/>
              <a:gd name="connsiteY2" fmla="*/ 1651000 h 165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3900" h="1651000">
                <a:moveTo>
                  <a:pt x="723900" y="0"/>
                </a:moveTo>
                <a:lnTo>
                  <a:pt x="723900" y="927100"/>
                </a:lnTo>
                <a:lnTo>
                  <a:pt x="0" y="16510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3" name="Freeform 812"/>
          <p:cNvSpPr/>
          <p:nvPr/>
        </p:nvSpPr>
        <p:spPr>
          <a:xfrm>
            <a:off x="7024688" y="4241800"/>
            <a:ext cx="330200" cy="1181100"/>
          </a:xfrm>
          <a:custGeom>
            <a:avLst/>
            <a:gdLst>
              <a:gd name="connsiteX0" fmla="*/ 330200 w 330200"/>
              <a:gd name="connsiteY0" fmla="*/ 0 h 1181100"/>
              <a:gd name="connsiteX1" fmla="*/ 330200 w 330200"/>
              <a:gd name="connsiteY1" fmla="*/ 292100 h 1181100"/>
              <a:gd name="connsiteX2" fmla="*/ 0 w 330200"/>
              <a:gd name="connsiteY2" fmla="*/ 622300 h 1181100"/>
              <a:gd name="connsiteX3" fmla="*/ 0 w 330200"/>
              <a:gd name="connsiteY3" fmla="*/ 1181100 h 118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0200" h="1181100">
                <a:moveTo>
                  <a:pt x="330200" y="0"/>
                </a:moveTo>
                <a:lnTo>
                  <a:pt x="330200" y="292100"/>
                </a:lnTo>
                <a:lnTo>
                  <a:pt x="0" y="622300"/>
                </a:lnTo>
                <a:lnTo>
                  <a:pt x="0" y="11811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4" name="Freeform 813"/>
          <p:cNvSpPr/>
          <p:nvPr/>
        </p:nvSpPr>
        <p:spPr>
          <a:xfrm>
            <a:off x="6797024" y="2274638"/>
            <a:ext cx="856648" cy="798897"/>
          </a:xfrm>
          <a:custGeom>
            <a:avLst/>
            <a:gdLst>
              <a:gd name="connsiteX0" fmla="*/ 0 w 856648"/>
              <a:gd name="connsiteY0" fmla="*/ 0 h 798897"/>
              <a:gd name="connsiteX1" fmla="*/ 606391 w 856648"/>
              <a:gd name="connsiteY1" fmla="*/ 0 h 798897"/>
              <a:gd name="connsiteX2" fmla="*/ 856648 w 856648"/>
              <a:gd name="connsiteY2" fmla="*/ 250257 h 798897"/>
              <a:gd name="connsiteX3" fmla="*/ 856648 w 856648"/>
              <a:gd name="connsiteY3" fmla="*/ 798897 h 798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6648" h="798897">
                <a:moveTo>
                  <a:pt x="0" y="0"/>
                </a:moveTo>
                <a:lnTo>
                  <a:pt x="606391" y="0"/>
                </a:lnTo>
                <a:lnTo>
                  <a:pt x="856648" y="250257"/>
                </a:lnTo>
                <a:lnTo>
                  <a:pt x="856648" y="798897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5" name="Freeform 814"/>
          <p:cNvSpPr/>
          <p:nvPr/>
        </p:nvSpPr>
        <p:spPr>
          <a:xfrm>
            <a:off x="6797025" y="2120633"/>
            <a:ext cx="1135781" cy="914400"/>
          </a:xfrm>
          <a:custGeom>
            <a:avLst/>
            <a:gdLst>
              <a:gd name="connsiteX0" fmla="*/ 0 w 1126155"/>
              <a:gd name="connsiteY0" fmla="*/ 0 h 914400"/>
              <a:gd name="connsiteX1" fmla="*/ 664143 w 1126155"/>
              <a:gd name="connsiteY1" fmla="*/ 0 h 914400"/>
              <a:gd name="connsiteX2" fmla="*/ 1126155 w 1126155"/>
              <a:gd name="connsiteY2" fmla="*/ 462012 h 914400"/>
              <a:gd name="connsiteX3" fmla="*/ 1126155 w 1126155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6155" h="914400">
                <a:moveTo>
                  <a:pt x="0" y="0"/>
                </a:moveTo>
                <a:lnTo>
                  <a:pt x="664143" y="0"/>
                </a:lnTo>
                <a:lnTo>
                  <a:pt x="1126155" y="462012"/>
                </a:lnTo>
                <a:lnTo>
                  <a:pt x="1126155" y="9144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6" name="Freeform 815"/>
          <p:cNvSpPr/>
          <p:nvPr/>
        </p:nvSpPr>
        <p:spPr>
          <a:xfrm>
            <a:off x="6787399" y="1976254"/>
            <a:ext cx="510138" cy="0"/>
          </a:xfrm>
          <a:custGeom>
            <a:avLst/>
            <a:gdLst>
              <a:gd name="connsiteX0" fmla="*/ 0 w 510138"/>
              <a:gd name="connsiteY0" fmla="*/ 0 h 0"/>
              <a:gd name="connsiteX1" fmla="*/ 510138 w 51013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0138">
                <a:moveTo>
                  <a:pt x="0" y="0"/>
                </a:moveTo>
                <a:lnTo>
                  <a:pt x="510138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8" name="Freeform 817"/>
          <p:cNvSpPr/>
          <p:nvPr/>
        </p:nvSpPr>
        <p:spPr>
          <a:xfrm>
            <a:off x="9336088" y="523240"/>
            <a:ext cx="1059180" cy="419100"/>
          </a:xfrm>
          <a:custGeom>
            <a:avLst/>
            <a:gdLst>
              <a:gd name="connsiteX0" fmla="*/ 1005840 w 1005840"/>
              <a:gd name="connsiteY0" fmla="*/ 0 h 419100"/>
              <a:gd name="connsiteX1" fmla="*/ 312420 w 1005840"/>
              <a:gd name="connsiteY1" fmla="*/ 0 h 419100"/>
              <a:gd name="connsiteX2" fmla="*/ 190500 w 1005840"/>
              <a:gd name="connsiteY2" fmla="*/ 121920 h 419100"/>
              <a:gd name="connsiteX3" fmla="*/ 0 w 1005840"/>
              <a:gd name="connsiteY3" fmla="*/ 121920 h 419100"/>
              <a:gd name="connsiteX4" fmla="*/ 0 w 1005840"/>
              <a:gd name="connsiteY4" fmla="*/ 419100 h 41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40" h="419100">
                <a:moveTo>
                  <a:pt x="1005840" y="0"/>
                </a:moveTo>
                <a:lnTo>
                  <a:pt x="312420" y="0"/>
                </a:lnTo>
                <a:lnTo>
                  <a:pt x="190500" y="121920"/>
                </a:lnTo>
                <a:lnTo>
                  <a:pt x="0" y="121920"/>
                </a:lnTo>
                <a:lnTo>
                  <a:pt x="0" y="41910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19" name="Freeform 818"/>
          <p:cNvSpPr/>
          <p:nvPr/>
        </p:nvSpPr>
        <p:spPr>
          <a:xfrm>
            <a:off x="8932228" y="340360"/>
            <a:ext cx="1455420" cy="586740"/>
          </a:xfrm>
          <a:custGeom>
            <a:avLst/>
            <a:gdLst>
              <a:gd name="connsiteX0" fmla="*/ 1455420 w 1455420"/>
              <a:gd name="connsiteY0" fmla="*/ 0 h 586740"/>
              <a:gd name="connsiteX1" fmla="*/ 685800 w 1455420"/>
              <a:gd name="connsiteY1" fmla="*/ 0 h 586740"/>
              <a:gd name="connsiteX2" fmla="*/ 586740 w 1455420"/>
              <a:gd name="connsiteY2" fmla="*/ 99060 h 586740"/>
              <a:gd name="connsiteX3" fmla="*/ 175260 w 1455420"/>
              <a:gd name="connsiteY3" fmla="*/ 99060 h 586740"/>
              <a:gd name="connsiteX4" fmla="*/ 0 w 1455420"/>
              <a:gd name="connsiteY4" fmla="*/ 274320 h 586740"/>
              <a:gd name="connsiteX5" fmla="*/ 0 w 1455420"/>
              <a:gd name="connsiteY5" fmla="*/ 586740 h 586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55420" h="586740">
                <a:moveTo>
                  <a:pt x="1455420" y="0"/>
                </a:moveTo>
                <a:lnTo>
                  <a:pt x="685800" y="0"/>
                </a:lnTo>
                <a:lnTo>
                  <a:pt x="586740" y="99060"/>
                </a:lnTo>
                <a:lnTo>
                  <a:pt x="175260" y="99060"/>
                </a:lnTo>
                <a:lnTo>
                  <a:pt x="0" y="274320"/>
                </a:lnTo>
                <a:lnTo>
                  <a:pt x="0" y="58674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157" name="Group 1156"/>
          <p:cNvGrpSpPr/>
          <p:nvPr/>
        </p:nvGrpSpPr>
        <p:grpSpPr>
          <a:xfrm>
            <a:off x="7011121" y="3018642"/>
            <a:ext cx="1243820" cy="1243814"/>
            <a:chOff x="7017864" y="3022334"/>
            <a:chExt cx="1243820" cy="1243814"/>
          </a:xfrm>
        </p:grpSpPr>
        <p:sp>
          <p:nvSpPr>
            <p:cNvPr id="1158" name="Rounded Rectangle 5"/>
            <p:cNvSpPr/>
            <p:nvPr/>
          </p:nvSpPr>
          <p:spPr>
            <a:xfrm>
              <a:off x="7203873" y="3345744"/>
              <a:ext cx="871802" cy="596995"/>
            </a:xfrm>
            <a:custGeom>
              <a:avLst/>
              <a:gdLst/>
              <a:ahLst/>
              <a:cxnLst/>
              <a:rect l="l" t="t" r="r" b="b"/>
              <a:pathLst>
                <a:path w="2103120" h="1440180">
                  <a:moveTo>
                    <a:pt x="108334" y="103348"/>
                  </a:moveTo>
                  <a:cubicBezTo>
                    <a:pt x="94006" y="103348"/>
                    <a:pt x="82391" y="114963"/>
                    <a:pt x="82391" y="129291"/>
                  </a:cubicBezTo>
                  <a:lnTo>
                    <a:pt x="82391" y="1284063"/>
                  </a:lnTo>
                  <a:cubicBezTo>
                    <a:pt x="82391" y="1298391"/>
                    <a:pt x="94006" y="1310006"/>
                    <a:pt x="108334" y="1310006"/>
                  </a:cubicBezTo>
                  <a:lnTo>
                    <a:pt x="1994786" y="1310006"/>
                  </a:lnTo>
                  <a:cubicBezTo>
                    <a:pt x="2009114" y="1310006"/>
                    <a:pt x="2020729" y="1298391"/>
                    <a:pt x="2020729" y="1284063"/>
                  </a:cubicBezTo>
                  <a:lnTo>
                    <a:pt x="2020729" y="129291"/>
                  </a:lnTo>
                  <a:cubicBezTo>
                    <a:pt x="2020729" y="114963"/>
                    <a:pt x="2009114" y="103348"/>
                    <a:pt x="1994786" y="103348"/>
                  </a:cubicBezTo>
                  <a:close/>
                  <a:moveTo>
                    <a:pt x="1051561" y="37624"/>
                  </a:moveTo>
                  <a:cubicBezTo>
                    <a:pt x="1038936" y="37624"/>
                    <a:pt x="1028701" y="47859"/>
                    <a:pt x="1028701" y="60484"/>
                  </a:cubicBezTo>
                  <a:cubicBezTo>
                    <a:pt x="1028701" y="73109"/>
                    <a:pt x="1038936" y="83344"/>
                    <a:pt x="1051561" y="83344"/>
                  </a:cubicBezTo>
                  <a:cubicBezTo>
                    <a:pt x="1064186" y="83344"/>
                    <a:pt x="1074421" y="73109"/>
                    <a:pt x="1074421" y="60484"/>
                  </a:cubicBezTo>
                  <a:cubicBezTo>
                    <a:pt x="1074421" y="47859"/>
                    <a:pt x="1064186" y="37624"/>
                    <a:pt x="1051561" y="37624"/>
                  </a:cubicBezTo>
                  <a:close/>
                  <a:moveTo>
                    <a:pt x="30964" y="0"/>
                  </a:moveTo>
                  <a:lnTo>
                    <a:pt x="2072156" y="0"/>
                  </a:lnTo>
                  <a:cubicBezTo>
                    <a:pt x="2089257" y="0"/>
                    <a:pt x="2103120" y="13863"/>
                    <a:pt x="2103120" y="30964"/>
                  </a:cubicBezTo>
                  <a:lnTo>
                    <a:pt x="2103120" y="1409216"/>
                  </a:lnTo>
                  <a:cubicBezTo>
                    <a:pt x="2103120" y="1426317"/>
                    <a:pt x="2089257" y="1440180"/>
                    <a:pt x="2072156" y="1440180"/>
                  </a:cubicBezTo>
                  <a:lnTo>
                    <a:pt x="30964" y="1440180"/>
                  </a:lnTo>
                  <a:cubicBezTo>
                    <a:pt x="13863" y="1440180"/>
                    <a:pt x="0" y="1426317"/>
                    <a:pt x="0" y="1409216"/>
                  </a:cubicBezTo>
                  <a:lnTo>
                    <a:pt x="0" y="30964"/>
                  </a:lnTo>
                  <a:cubicBezTo>
                    <a:pt x="0" y="13863"/>
                    <a:pt x="13863" y="0"/>
                    <a:pt x="30964" y="0"/>
                  </a:cubicBez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159" name="Group 1158"/>
            <p:cNvGrpSpPr/>
            <p:nvPr/>
          </p:nvGrpSpPr>
          <p:grpSpPr>
            <a:xfrm>
              <a:off x="7017864" y="3022334"/>
              <a:ext cx="1243820" cy="1243814"/>
              <a:chOff x="7172539" y="1843152"/>
              <a:chExt cx="1465201" cy="1465198"/>
            </a:xfrm>
            <a:solidFill>
              <a:srgbClr val="1A3762"/>
            </a:solidFill>
          </p:grpSpPr>
          <p:sp>
            <p:nvSpPr>
              <p:cNvPr id="1160" name="Rounded Rectangle 47"/>
              <p:cNvSpPr/>
              <p:nvPr/>
            </p:nvSpPr>
            <p:spPr>
              <a:xfrm rot="5400000">
                <a:off x="7172541" y="1843150"/>
                <a:ext cx="1465198" cy="1465201"/>
              </a:xfrm>
              <a:custGeom>
                <a:avLst/>
                <a:gdLst/>
                <a:ahLst/>
                <a:cxnLst/>
                <a:rect l="l" t="t" r="r" b="b"/>
                <a:pathLst>
                  <a:path w="4796166" h="4796165">
                    <a:moveTo>
                      <a:pt x="4535493" y="1516069"/>
                    </a:moveTo>
                    <a:lnTo>
                      <a:pt x="4535493" y="921709"/>
                    </a:lnTo>
                    <a:lnTo>
                      <a:pt x="4697104" y="921709"/>
                    </a:lnTo>
                    <a:cubicBezTo>
                      <a:pt x="4751814" y="921709"/>
                      <a:pt x="4796166" y="966061"/>
                      <a:pt x="4796166" y="1020771"/>
                    </a:cubicBezTo>
                    <a:lnTo>
                      <a:pt x="4796166" y="1417007"/>
                    </a:lnTo>
                    <a:cubicBezTo>
                      <a:pt x="4796166" y="1471717"/>
                      <a:pt x="4751814" y="1516069"/>
                      <a:pt x="4697104" y="1516069"/>
                    </a:cubicBezTo>
                    <a:close/>
                    <a:moveTo>
                      <a:pt x="4535493" y="2695264"/>
                    </a:moveTo>
                    <a:lnTo>
                      <a:pt x="4535493" y="2100904"/>
                    </a:lnTo>
                    <a:lnTo>
                      <a:pt x="4697104" y="2100904"/>
                    </a:lnTo>
                    <a:cubicBezTo>
                      <a:pt x="4751814" y="2100904"/>
                      <a:pt x="4796166" y="2145256"/>
                      <a:pt x="4796166" y="2199966"/>
                    </a:cubicBezTo>
                    <a:lnTo>
                      <a:pt x="4796166" y="2596202"/>
                    </a:lnTo>
                    <a:cubicBezTo>
                      <a:pt x="4796166" y="2650912"/>
                      <a:pt x="4751814" y="2695264"/>
                      <a:pt x="4697104" y="2695264"/>
                    </a:cubicBezTo>
                    <a:close/>
                    <a:moveTo>
                      <a:pt x="4535493" y="3874459"/>
                    </a:moveTo>
                    <a:lnTo>
                      <a:pt x="4535493" y="3280099"/>
                    </a:lnTo>
                    <a:lnTo>
                      <a:pt x="4697104" y="3280099"/>
                    </a:lnTo>
                    <a:cubicBezTo>
                      <a:pt x="4751814" y="3280099"/>
                      <a:pt x="4796166" y="3324451"/>
                      <a:pt x="4796166" y="3379161"/>
                    </a:cubicBezTo>
                    <a:lnTo>
                      <a:pt x="4796166" y="3775397"/>
                    </a:lnTo>
                    <a:cubicBezTo>
                      <a:pt x="4796166" y="3830107"/>
                      <a:pt x="4751814" y="3874459"/>
                      <a:pt x="4697104" y="3874459"/>
                    </a:cubicBezTo>
                    <a:close/>
                    <a:moveTo>
                      <a:pt x="3280098" y="260673"/>
                    </a:moveTo>
                    <a:lnTo>
                      <a:pt x="3280098" y="99062"/>
                    </a:lnTo>
                    <a:cubicBezTo>
                      <a:pt x="3280098" y="44352"/>
                      <a:pt x="3324450" y="0"/>
                      <a:pt x="3379160" y="0"/>
                    </a:cubicBezTo>
                    <a:lnTo>
                      <a:pt x="3775396" y="0"/>
                    </a:lnTo>
                    <a:cubicBezTo>
                      <a:pt x="3830106" y="0"/>
                      <a:pt x="3874458" y="44352"/>
                      <a:pt x="3874458" y="99062"/>
                    </a:cubicBezTo>
                    <a:lnTo>
                      <a:pt x="3874458" y="260673"/>
                    </a:lnTo>
                    <a:close/>
                    <a:moveTo>
                      <a:pt x="3280098" y="4697103"/>
                    </a:moveTo>
                    <a:lnTo>
                      <a:pt x="3280098" y="4535493"/>
                    </a:lnTo>
                    <a:lnTo>
                      <a:pt x="3874458" y="4535493"/>
                    </a:lnTo>
                    <a:lnTo>
                      <a:pt x="3874458" y="4697103"/>
                    </a:lnTo>
                    <a:cubicBezTo>
                      <a:pt x="3874458" y="4751813"/>
                      <a:pt x="3830106" y="4796165"/>
                      <a:pt x="3775396" y="4796165"/>
                    </a:cubicBezTo>
                    <a:lnTo>
                      <a:pt x="3379160" y="4796165"/>
                    </a:lnTo>
                    <a:cubicBezTo>
                      <a:pt x="3324450" y="4796165"/>
                      <a:pt x="3280098" y="4751813"/>
                      <a:pt x="3280098" y="4697103"/>
                    </a:cubicBezTo>
                    <a:close/>
                    <a:moveTo>
                      <a:pt x="2100903" y="260673"/>
                    </a:moveTo>
                    <a:lnTo>
                      <a:pt x="2100903" y="99062"/>
                    </a:lnTo>
                    <a:cubicBezTo>
                      <a:pt x="2100903" y="44352"/>
                      <a:pt x="2145255" y="0"/>
                      <a:pt x="2199965" y="0"/>
                    </a:cubicBezTo>
                    <a:lnTo>
                      <a:pt x="2596201" y="0"/>
                    </a:lnTo>
                    <a:cubicBezTo>
                      <a:pt x="2650911" y="0"/>
                      <a:pt x="2695263" y="44352"/>
                      <a:pt x="2695263" y="99062"/>
                    </a:cubicBezTo>
                    <a:lnTo>
                      <a:pt x="2695263" y="260673"/>
                    </a:lnTo>
                    <a:close/>
                    <a:moveTo>
                      <a:pt x="2100903" y="4697103"/>
                    </a:moveTo>
                    <a:lnTo>
                      <a:pt x="2100903" y="4535493"/>
                    </a:lnTo>
                    <a:lnTo>
                      <a:pt x="2695263" y="4535493"/>
                    </a:lnTo>
                    <a:lnTo>
                      <a:pt x="2695263" y="4697103"/>
                    </a:lnTo>
                    <a:cubicBezTo>
                      <a:pt x="2695263" y="4751813"/>
                      <a:pt x="2650911" y="4796165"/>
                      <a:pt x="2596201" y="4796165"/>
                    </a:cubicBezTo>
                    <a:lnTo>
                      <a:pt x="2199965" y="4796165"/>
                    </a:lnTo>
                    <a:cubicBezTo>
                      <a:pt x="2145255" y="4796165"/>
                      <a:pt x="2100903" y="4751813"/>
                      <a:pt x="2100903" y="4697103"/>
                    </a:cubicBezTo>
                    <a:close/>
                    <a:moveTo>
                      <a:pt x="921708" y="260673"/>
                    </a:moveTo>
                    <a:lnTo>
                      <a:pt x="921708" y="99062"/>
                    </a:lnTo>
                    <a:cubicBezTo>
                      <a:pt x="921708" y="44352"/>
                      <a:pt x="966060" y="0"/>
                      <a:pt x="1020770" y="0"/>
                    </a:cubicBezTo>
                    <a:lnTo>
                      <a:pt x="1417006" y="0"/>
                    </a:lnTo>
                    <a:cubicBezTo>
                      <a:pt x="1471716" y="0"/>
                      <a:pt x="1516068" y="44352"/>
                      <a:pt x="1516068" y="99062"/>
                    </a:cubicBezTo>
                    <a:lnTo>
                      <a:pt x="1516068" y="260673"/>
                    </a:lnTo>
                    <a:close/>
                    <a:moveTo>
                      <a:pt x="921708" y="4697103"/>
                    </a:moveTo>
                    <a:lnTo>
                      <a:pt x="921708" y="4535493"/>
                    </a:lnTo>
                    <a:lnTo>
                      <a:pt x="1516068" y="4535493"/>
                    </a:lnTo>
                    <a:lnTo>
                      <a:pt x="1516068" y="4697103"/>
                    </a:lnTo>
                    <a:cubicBezTo>
                      <a:pt x="1516068" y="4751813"/>
                      <a:pt x="1471716" y="4796165"/>
                      <a:pt x="1417006" y="4796165"/>
                    </a:cubicBezTo>
                    <a:lnTo>
                      <a:pt x="1020770" y="4796165"/>
                    </a:lnTo>
                    <a:cubicBezTo>
                      <a:pt x="966060" y="4796165"/>
                      <a:pt x="921708" y="4751813"/>
                      <a:pt x="921708" y="4697103"/>
                    </a:cubicBezTo>
                    <a:close/>
                    <a:moveTo>
                      <a:pt x="0" y="1417007"/>
                    </a:moveTo>
                    <a:lnTo>
                      <a:pt x="0" y="1020771"/>
                    </a:lnTo>
                    <a:cubicBezTo>
                      <a:pt x="0" y="966061"/>
                      <a:pt x="44352" y="921709"/>
                      <a:pt x="99062" y="921709"/>
                    </a:cubicBezTo>
                    <a:lnTo>
                      <a:pt x="260673" y="921709"/>
                    </a:lnTo>
                    <a:lnTo>
                      <a:pt x="260673" y="1516069"/>
                    </a:lnTo>
                    <a:lnTo>
                      <a:pt x="99062" y="1516069"/>
                    </a:lnTo>
                    <a:cubicBezTo>
                      <a:pt x="44352" y="1516069"/>
                      <a:pt x="0" y="1471717"/>
                      <a:pt x="0" y="1417007"/>
                    </a:cubicBezTo>
                    <a:close/>
                    <a:moveTo>
                      <a:pt x="0" y="2596202"/>
                    </a:moveTo>
                    <a:lnTo>
                      <a:pt x="0" y="2199966"/>
                    </a:lnTo>
                    <a:cubicBezTo>
                      <a:pt x="0" y="2145256"/>
                      <a:pt x="44352" y="2100904"/>
                      <a:pt x="99062" y="2100904"/>
                    </a:cubicBezTo>
                    <a:lnTo>
                      <a:pt x="260673" y="2100904"/>
                    </a:lnTo>
                    <a:lnTo>
                      <a:pt x="260673" y="2695264"/>
                    </a:lnTo>
                    <a:lnTo>
                      <a:pt x="99062" y="2695264"/>
                    </a:lnTo>
                    <a:cubicBezTo>
                      <a:pt x="44352" y="2695264"/>
                      <a:pt x="0" y="2650912"/>
                      <a:pt x="0" y="2596202"/>
                    </a:cubicBezTo>
                    <a:close/>
                    <a:moveTo>
                      <a:pt x="0" y="3775397"/>
                    </a:moveTo>
                    <a:lnTo>
                      <a:pt x="0" y="3379161"/>
                    </a:lnTo>
                    <a:cubicBezTo>
                      <a:pt x="0" y="3324451"/>
                      <a:pt x="44352" y="3280099"/>
                      <a:pt x="99062" y="3280099"/>
                    </a:cubicBezTo>
                    <a:lnTo>
                      <a:pt x="260673" y="3280099"/>
                    </a:lnTo>
                    <a:lnTo>
                      <a:pt x="260673" y="3874459"/>
                    </a:lnTo>
                    <a:lnTo>
                      <a:pt x="99062" y="3874459"/>
                    </a:lnTo>
                    <a:cubicBezTo>
                      <a:pt x="44352" y="3874459"/>
                      <a:pt x="0" y="3830107"/>
                      <a:pt x="0" y="3775397"/>
                    </a:cubicBez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88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61" name="Freeform 1160"/>
              <p:cNvSpPr/>
              <p:nvPr/>
            </p:nvSpPr>
            <p:spPr>
              <a:xfrm>
                <a:off x="7283599" y="1954211"/>
                <a:ext cx="1243081" cy="1243078"/>
              </a:xfrm>
              <a:custGeom>
                <a:avLst/>
                <a:gdLst>
                  <a:gd name="connsiteX0" fmla="*/ 93115 w 1243081"/>
                  <a:gd name="connsiteY0" fmla="*/ 39574 h 1243078"/>
                  <a:gd name="connsiteX1" fmla="*/ 84364 w 1243081"/>
                  <a:gd name="connsiteY1" fmla="*/ 41341 h 1243078"/>
                  <a:gd name="connsiteX2" fmla="*/ 37097 w 1243081"/>
                  <a:gd name="connsiteY2" fmla="*/ 41341 h 1243078"/>
                  <a:gd name="connsiteX3" fmla="*/ 37097 w 1243081"/>
                  <a:gd name="connsiteY3" fmla="*/ 1201739 h 1243078"/>
                  <a:gd name="connsiteX4" fmla="*/ 1205984 w 1243081"/>
                  <a:gd name="connsiteY4" fmla="*/ 1201739 h 1243078"/>
                  <a:gd name="connsiteX5" fmla="*/ 1205984 w 1243081"/>
                  <a:gd name="connsiteY5" fmla="*/ 41341 h 1243078"/>
                  <a:gd name="connsiteX6" fmla="*/ 101866 w 1243081"/>
                  <a:gd name="connsiteY6" fmla="*/ 41341 h 1243078"/>
                  <a:gd name="connsiteX7" fmla="*/ 0 w 1243081"/>
                  <a:gd name="connsiteY7" fmla="*/ 0 h 1243078"/>
                  <a:gd name="connsiteX8" fmla="*/ 1243081 w 1243081"/>
                  <a:gd name="connsiteY8" fmla="*/ 0 h 1243078"/>
                  <a:gd name="connsiteX9" fmla="*/ 1243081 w 1243081"/>
                  <a:gd name="connsiteY9" fmla="*/ 1243078 h 1243078"/>
                  <a:gd name="connsiteX10" fmla="*/ 0 w 1243081"/>
                  <a:gd name="connsiteY10" fmla="*/ 1243078 h 1243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3081" h="1243078">
                    <a:moveTo>
                      <a:pt x="93115" y="39574"/>
                    </a:moveTo>
                    <a:lnTo>
                      <a:pt x="84364" y="41341"/>
                    </a:lnTo>
                    <a:lnTo>
                      <a:pt x="37097" y="41341"/>
                    </a:lnTo>
                    <a:lnTo>
                      <a:pt x="37097" y="1201739"/>
                    </a:lnTo>
                    <a:lnTo>
                      <a:pt x="1205984" y="1201739"/>
                    </a:lnTo>
                    <a:lnTo>
                      <a:pt x="1205984" y="41341"/>
                    </a:lnTo>
                    <a:lnTo>
                      <a:pt x="101866" y="41341"/>
                    </a:lnTo>
                    <a:close/>
                    <a:moveTo>
                      <a:pt x="0" y="0"/>
                    </a:moveTo>
                    <a:lnTo>
                      <a:pt x="1243081" y="0"/>
                    </a:lnTo>
                    <a:lnTo>
                      <a:pt x="1243081" y="1243078"/>
                    </a:lnTo>
                    <a:lnTo>
                      <a:pt x="0" y="1243078"/>
                    </a:lnTo>
                    <a:close/>
                  </a:path>
                </a:pathLst>
              </a:custGeom>
              <a:solidFill>
                <a:srgbClr val="80B7E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1088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55" name="Group 954"/>
          <p:cNvGrpSpPr/>
          <p:nvPr/>
        </p:nvGrpSpPr>
        <p:grpSpPr>
          <a:xfrm>
            <a:off x="39875" y="687828"/>
            <a:ext cx="2380672" cy="4173005"/>
            <a:chOff x="3991813" y="534665"/>
            <a:chExt cx="2302694" cy="4036319"/>
          </a:xfrm>
        </p:grpSpPr>
        <p:grpSp>
          <p:nvGrpSpPr>
            <p:cNvPr id="956" name="Group 955"/>
            <p:cNvGrpSpPr/>
            <p:nvPr/>
          </p:nvGrpSpPr>
          <p:grpSpPr>
            <a:xfrm>
              <a:off x="4056801" y="1120491"/>
              <a:ext cx="2180016" cy="3398614"/>
              <a:chOff x="3945730" y="1235076"/>
              <a:chExt cx="1850233" cy="2884487"/>
            </a:xfrm>
          </p:grpSpPr>
          <p:grpSp>
            <p:nvGrpSpPr>
              <p:cNvPr id="999" name="Group 998"/>
              <p:cNvGrpSpPr/>
              <p:nvPr/>
            </p:nvGrpSpPr>
            <p:grpSpPr>
              <a:xfrm>
                <a:off x="4614862" y="1235076"/>
                <a:ext cx="1181101" cy="2884487"/>
                <a:chOff x="4614862" y="1235076"/>
                <a:chExt cx="1181101" cy="2884487"/>
              </a:xfrm>
            </p:grpSpPr>
            <p:sp>
              <p:nvSpPr>
                <p:cNvPr id="1013" name="Freeform 1012"/>
                <p:cNvSpPr/>
                <p:nvPr/>
              </p:nvSpPr>
              <p:spPr>
                <a:xfrm>
                  <a:off x="5143501" y="1781176"/>
                  <a:ext cx="652462" cy="233838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652462"/>
                    <a:gd name="connsiteY0" fmla="*/ 2338387 h 2338387"/>
                    <a:gd name="connsiteX1" fmla="*/ 33337 w 652462"/>
                    <a:gd name="connsiteY1" fmla="*/ 1724025 h 2338387"/>
                    <a:gd name="connsiteX2" fmla="*/ 176212 w 652462"/>
                    <a:gd name="connsiteY2" fmla="*/ 1476375 h 2338387"/>
                    <a:gd name="connsiteX3" fmla="*/ 185737 w 652462"/>
                    <a:gd name="connsiteY3" fmla="*/ 1200150 h 2338387"/>
                    <a:gd name="connsiteX4" fmla="*/ 280987 w 652462"/>
                    <a:gd name="connsiteY4" fmla="*/ 876300 h 2338387"/>
                    <a:gd name="connsiteX5" fmla="*/ 585787 w 652462"/>
                    <a:gd name="connsiteY5" fmla="*/ 390525 h 2338387"/>
                    <a:gd name="connsiteX6" fmla="*/ 652462 w 652462"/>
                    <a:gd name="connsiteY6" fmla="*/ 0 h 233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52462" h="2338387">
                      <a:moveTo>
                        <a:pt x="0" y="2338387"/>
                      </a:moveTo>
                      <a:cubicBezTo>
                        <a:pt x="43656" y="2215356"/>
                        <a:pt x="3968" y="1867694"/>
                        <a:pt x="33337" y="1724025"/>
                      </a:cubicBezTo>
                      <a:cubicBezTo>
                        <a:pt x="62706" y="1580356"/>
                        <a:pt x="150812" y="1563687"/>
                        <a:pt x="176212" y="1476375"/>
                      </a:cubicBezTo>
                      <a:cubicBezTo>
                        <a:pt x="201612" y="1389063"/>
                        <a:pt x="168275" y="1300162"/>
                        <a:pt x="185737" y="1200150"/>
                      </a:cubicBezTo>
                      <a:cubicBezTo>
                        <a:pt x="203199" y="1100138"/>
                        <a:pt x="214312" y="1011237"/>
                        <a:pt x="280987" y="876300"/>
                      </a:cubicBezTo>
                      <a:cubicBezTo>
                        <a:pt x="347662" y="741363"/>
                        <a:pt x="523875" y="536575"/>
                        <a:pt x="585787" y="390525"/>
                      </a:cubicBezTo>
                      <a:cubicBezTo>
                        <a:pt x="647699" y="244475"/>
                        <a:pt x="650080" y="122237"/>
                        <a:pt x="652462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14" name="Freeform 1013"/>
                <p:cNvSpPr/>
                <p:nvPr/>
              </p:nvSpPr>
              <p:spPr>
                <a:xfrm>
                  <a:off x="5100638" y="1781176"/>
                  <a:ext cx="652462" cy="233838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652462"/>
                    <a:gd name="connsiteY0" fmla="*/ 2338387 h 2338387"/>
                    <a:gd name="connsiteX1" fmla="*/ 33337 w 652462"/>
                    <a:gd name="connsiteY1" fmla="*/ 1724025 h 2338387"/>
                    <a:gd name="connsiteX2" fmla="*/ 176212 w 652462"/>
                    <a:gd name="connsiteY2" fmla="*/ 1476375 h 2338387"/>
                    <a:gd name="connsiteX3" fmla="*/ 185737 w 652462"/>
                    <a:gd name="connsiteY3" fmla="*/ 1200150 h 2338387"/>
                    <a:gd name="connsiteX4" fmla="*/ 280987 w 652462"/>
                    <a:gd name="connsiteY4" fmla="*/ 876300 h 2338387"/>
                    <a:gd name="connsiteX5" fmla="*/ 585787 w 652462"/>
                    <a:gd name="connsiteY5" fmla="*/ 390525 h 2338387"/>
                    <a:gd name="connsiteX6" fmla="*/ 652462 w 652462"/>
                    <a:gd name="connsiteY6" fmla="*/ 0 h 233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52462" h="2338387">
                      <a:moveTo>
                        <a:pt x="0" y="2338387"/>
                      </a:moveTo>
                      <a:cubicBezTo>
                        <a:pt x="43656" y="2215356"/>
                        <a:pt x="3968" y="1867694"/>
                        <a:pt x="33337" y="1724025"/>
                      </a:cubicBezTo>
                      <a:cubicBezTo>
                        <a:pt x="62706" y="1580356"/>
                        <a:pt x="150812" y="1563687"/>
                        <a:pt x="176212" y="1476375"/>
                      </a:cubicBezTo>
                      <a:cubicBezTo>
                        <a:pt x="201612" y="1389063"/>
                        <a:pt x="168275" y="1300162"/>
                        <a:pt x="185737" y="1200150"/>
                      </a:cubicBezTo>
                      <a:cubicBezTo>
                        <a:pt x="203199" y="1100138"/>
                        <a:pt x="214312" y="1011237"/>
                        <a:pt x="280987" y="876300"/>
                      </a:cubicBezTo>
                      <a:cubicBezTo>
                        <a:pt x="347662" y="741363"/>
                        <a:pt x="523875" y="536575"/>
                        <a:pt x="585787" y="390525"/>
                      </a:cubicBezTo>
                      <a:cubicBezTo>
                        <a:pt x="647699" y="244475"/>
                        <a:pt x="650080" y="122237"/>
                        <a:pt x="652462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15" name="Freeform 1014"/>
                <p:cNvSpPr/>
                <p:nvPr/>
              </p:nvSpPr>
              <p:spPr>
                <a:xfrm>
                  <a:off x="5053013" y="1781176"/>
                  <a:ext cx="652462" cy="233838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652462"/>
                    <a:gd name="connsiteY0" fmla="*/ 2338387 h 2338387"/>
                    <a:gd name="connsiteX1" fmla="*/ 33337 w 652462"/>
                    <a:gd name="connsiteY1" fmla="*/ 1724025 h 2338387"/>
                    <a:gd name="connsiteX2" fmla="*/ 176212 w 652462"/>
                    <a:gd name="connsiteY2" fmla="*/ 1476375 h 2338387"/>
                    <a:gd name="connsiteX3" fmla="*/ 185737 w 652462"/>
                    <a:gd name="connsiteY3" fmla="*/ 1200150 h 2338387"/>
                    <a:gd name="connsiteX4" fmla="*/ 280987 w 652462"/>
                    <a:gd name="connsiteY4" fmla="*/ 876300 h 2338387"/>
                    <a:gd name="connsiteX5" fmla="*/ 585787 w 652462"/>
                    <a:gd name="connsiteY5" fmla="*/ 390525 h 2338387"/>
                    <a:gd name="connsiteX6" fmla="*/ 652462 w 652462"/>
                    <a:gd name="connsiteY6" fmla="*/ 0 h 233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52462" h="2338387">
                      <a:moveTo>
                        <a:pt x="0" y="2338387"/>
                      </a:moveTo>
                      <a:cubicBezTo>
                        <a:pt x="43656" y="2215356"/>
                        <a:pt x="3968" y="1867694"/>
                        <a:pt x="33337" y="1724025"/>
                      </a:cubicBezTo>
                      <a:cubicBezTo>
                        <a:pt x="62706" y="1580356"/>
                        <a:pt x="150812" y="1563687"/>
                        <a:pt x="176212" y="1476375"/>
                      </a:cubicBezTo>
                      <a:cubicBezTo>
                        <a:pt x="201612" y="1389063"/>
                        <a:pt x="168275" y="1300162"/>
                        <a:pt x="185737" y="1200150"/>
                      </a:cubicBezTo>
                      <a:cubicBezTo>
                        <a:pt x="203199" y="1100138"/>
                        <a:pt x="214312" y="1011237"/>
                        <a:pt x="280987" y="876300"/>
                      </a:cubicBezTo>
                      <a:cubicBezTo>
                        <a:pt x="347662" y="741363"/>
                        <a:pt x="523875" y="536575"/>
                        <a:pt x="585787" y="390525"/>
                      </a:cubicBezTo>
                      <a:cubicBezTo>
                        <a:pt x="647699" y="244475"/>
                        <a:pt x="650080" y="122237"/>
                        <a:pt x="652462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16" name="Freeform 1015"/>
                <p:cNvSpPr/>
                <p:nvPr/>
              </p:nvSpPr>
              <p:spPr>
                <a:xfrm>
                  <a:off x="5000626" y="1781176"/>
                  <a:ext cx="652462" cy="233838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652462"/>
                    <a:gd name="connsiteY0" fmla="*/ 2338387 h 2338387"/>
                    <a:gd name="connsiteX1" fmla="*/ 33337 w 652462"/>
                    <a:gd name="connsiteY1" fmla="*/ 1724025 h 2338387"/>
                    <a:gd name="connsiteX2" fmla="*/ 176212 w 652462"/>
                    <a:gd name="connsiteY2" fmla="*/ 1476375 h 2338387"/>
                    <a:gd name="connsiteX3" fmla="*/ 185737 w 652462"/>
                    <a:gd name="connsiteY3" fmla="*/ 1200150 h 2338387"/>
                    <a:gd name="connsiteX4" fmla="*/ 280987 w 652462"/>
                    <a:gd name="connsiteY4" fmla="*/ 876300 h 2338387"/>
                    <a:gd name="connsiteX5" fmla="*/ 585787 w 652462"/>
                    <a:gd name="connsiteY5" fmla="*/ 390525 h 2338387"/>
                    <a:gd name="connsiteX6" fmla="*/ 652462 w 652462"/>
                    <a:gd name="connsiteY6" fmla="*/ 0 h 233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52462" h="2338387">
                      <a:moveTo>
                        <a:pt x="0" y="2338387"/>
                      </a:moveTo>
                      <a:cubicBezTo>
                        <a:pt x="43656" y="2215356"/>
                        <a:pt x="3968" y="1867694"/>
                        <a:pt x="33337" y="1724025"/>
                      </a:cubicBezTo>
                      <a:cubicBezTo>
                        <a:pt x="62706" y="1580356"/>
                        <a:pt x="150812" y="1563687"/>
                        <a:pt x="176212" y="1476375"/>
                      </a:cubicBezTo>
                      <a:cubicBezTo>
                        <a:pt x="201612" y="1389063"/>
                        <a:pt x="168275" y="1300162"/>
                        <a:pt x="185737" y="1200150"/>
                      </a:cubicBezTo>
                      <a:cubicBezTo>
                        <a:pt x="203199" y="1100138"/>
                        <a:pt x="214312" y="1011237"/>
                        <a:pt x="280987" y="876300"/>
                      </a:cubicBezTo>
                      <a:cubicBezTo>
                        <a:pt x="347662" y="741363"/>
                        <a:pt x="523875" y="536575"/>
                        <a:pt x="585787" y="390525"/>
                      </a:cubicBezTo>
                      <a:cubicBezTo>
                        <a:pt x="647699" y="244475"/>
                        <a:pt x="650080" y="122237"/>
                        <a:pt x="652462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17" name="Freeform 1016"/>
                <p:cNvSpPr/>
                <p:nvPr/>
              </p:nvSpPr>
              <p:spPr>
                <a:xfrm>
                  <a:off x="4957763" y="1612901"/>
                  <a:ext cx="788987" cy="2506662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1004887"/>
                    <a:gd name="connsiteY0" fmla="*/ 2681287 h 2684536"/>
                    <a:gd name="connsiteX1" fmla="*/ 228600 w 1004887"/>
                    <a:gd name="connsiteY1" fmla="*/ 2557462 h 2684536"/>
                    <a:gd name="connsiteX2" fmla="*/ 261937 w 1004887"/>
                    <a:gd name="connsiteY2" fmla="*/ 1943100 h 2684536"/>
                    <a:gd name="connsiteX3" fmla="*/ 404812 w 1004887"/>
                    <a:gd name="connsiteY3" fmla="*/ 1695450 h 2684536"/>
                    <a:gd name="connsiteX4" fmla="*/ 414337 w 1004887"/>
                    <a:gd name="connsiteY4" fmla="*/ 1419225 h 2684536"/>
                    <a:gd name="connsiteX5" fmla="*/ 509587 w 1004887"/>
                    <a:gd name="connsiteY5" fmla="*/ 1095375 h 2684536"/>
                    <a:gd name="connsiteX6" fmla="*/ 814387 w 1004887"/>
                    <a:gd name="connsiteY6" fmla="*/ 609600 h 2684536"/>
                    <a:gd name="connsiteX7" fmla="*/ 1004887 w 1004887"/>
                    <a:gd name="connsiteY7" fmla="*/ 0 h 2684536"/>
                    <a:gd name="connsiteX0" fmla="*/ 0 w 1004887"/>
                    <a:gd name="connsiteY0" fmla="*/ 2681287 h 2684536"/>
                    <a:gd name="connsiteX1" fmla="*/ 228600 w 1004887"/>
                    <a:gd name="connsiteY1" fmla="*/ 2557462 h 2684536"/>
                    <a:gd name="connsiteX2" fmla="*/ 261937 w 1004887"/>
                    <a:gd name="connsiteY2" fmla="*/ 1943100 h 2684536"/>
                    <a:gd name="connsiteX3" fmla="*/ 404812 w 1004887"/>
                    <a:gd name="connsiteY3" fmla="*/ 1695450 h 2684536"/>
                    <a:gd name="connsiteX4" fmla="*/ 414337 w 1004887"/>
                    <a:gd name="connsiteY4" fmla="*/ 1419225 h 2684536"/>
                    <a:gd name="connsiteX5" fmla="*/ 509587 w 1004887"/>
                    <a:gd name="connsiteY5" fmla="*/ 1095375 h 2684536"/>
                    <a:gd name="connsiteX6" fmla="*/ 814387 w 1004887"/>
                    <a:gd name="connsiteY6" fmla="*/ 609600 h 2684536"/>
                    <a:gd name="connsiteX7" fmla="*/ 1004887 w 1004887"/>
                    <a:gd name="connsiteY7" fmla="*/ 0 h 2684536"/>
                    <a:gd name="connsiteX0" fmla="*/ 0 w 1017587"/>
                    <a:gd name="connsiteY0" fmla="*/ 2630487 h 2633736"/>
                    <a:gd name="connsiteX1" fmla="*/ 228600 w 1017587"/>
                    <a:gd name="connsiteY1" fmla="*/ 2506662 h 2633736"/>
                    <a:gd name="connsiteX2" fmla="*/ 261937 w 1017587"/>
                    <a:gd name="connsiteY2" fmla="*/ 1892300 h 2633736"/>
                    <a:gd name="connsiteX3" fmla="*/ 404812 w 1017587"/>
                    <a:gd name="connsiteY3" fmla="*/ 1644650 h 2633736"/>
                    <a:gd name="connsiteX4" fmla="*/ 414337 w 1017587"/>
                    <a:gd name="connsiteY4" fmla="*/ 1368425 h 2633736"/>
                    <a:gd name="connsiteX5" fmla="*/ 509587 w 1017587"/>
                    <a:gd name="connsiteY5" fmla="*/ 1044575 h 2633736"/>
                    <a:gd name="connsiteX6" fmla="*/ 814387 w 1017587"/>
                    <a:gd name="connsiteY6" fmla="*/ 558800 h 2633736"/>
                    <a:gd name="connsiteX7" fmla="*/ 1017587 w 1017587"/>
                    <a:gd name="connsiteY7" fmla="*/ 0 h 2633736"/>
                    <a:gd name="connsiteX0" fmla="*/ 0 w 1017587"/>
                    <a:gd name="connsiteY0" fmla="*/ 2630487 h 2633736"/>
                    <a:gd name="connsiteX1" fmla="*/ 228600 w 1017587"/>
                    <a:gd name="connsiteY1" fmla="*/ 2506662 h 2633736"/>
                    <a:gd name="connsiteX2" fmla="*/ 261937 w 1017587"/>
                    <a:gd name="connsiteY2" fmla="*/ 1892300 h 2633736"/>
                    <a:gd name="connsiteX3" fmla="*/ 404812 w 1017587"/>
                    <a:gd name="connsiteY3" fmla="*/ 1644650 h 2633736"/>
                    <a:gd name="connsiteX4" fmla="*/ 414337 w 1017587"/>
                    <a:gd name="connsiteY4" fmla="*/ 1368425 h 2633736"/>
                    <a:gd name="connsiteX5" fmla="*/ 509587 w 1017587"/>
                    <a:gd name="connsiteY5" fmla="*/ 1044575 h 2633736"/>
                    <a:gd name="connsiteX6" fmla="*/ 814387 w 1017587"/>
                    <a:gd name="connsiteY6" fmla="*/ 558800 h 2633736"/>
                    <a:gd name="connsiteX7" fmla="*/ 1017587 w 1017587"/>
                    <a:gd name="connsiteY7" fmla="*/ 0 h 2633736"/>
                    <a:gd name="connsiteX0" fmla="*/ 0 w 788987"/>
                    <a:gd name="connsiteY0" fmla="*/ 2506662 h 2506662"/>
                    <a:gd name="connsiteX1" fmla="*/ 33337 w 788987"/>
                    <a:gd name="connsiteY1" fmla="*/ 1892300 h 2506662"/>
                    <a:gd name="connsiteX2" fmla="*/ 176212 w 788987"/>
                    <a:gd name="connsiteY2" fmla="*/ 1644650 h 2506662"/>
                    <a:gd name="connsiteX3" fmla="*/ 185737 w 788987"/>
                    <a:gd name="connsiteY3" fmla="*/ 1368425 h 2506662"/>
                    <a:gd name="connsiteX4" fmla="*/ 280987 w 788987"/>
                    <a:gd name="connsiteY4" fmla="*/ 1044575 h 2506662"/>
                    <a:gd name="connsiteX5" fmla="*/ 585787 w 788987"/>
                    <a:gd name="connsiteY5" fmla="*/ 558800 h 2506662"/>
                    <a:gd name="connsiteX6" fmla="*/ 788987 w 788987"/>
                    <a:gd name="connsiteY6" fmla="*/ 0 h 2506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88987" h="2506662">
                      <a:moveTo>
                        <a:pt x="0" y="2506662"/>
                      </a:moveTo>
                      <a:cubicBezTo>
                        <a:pt x="43656" y="2383631"/>
                        <a:pt x="3968" y="2035969"/>
                        <a:pt x="33337" y="1892300"/>
                      </a:cubicBezTo>
                      <a:cubicBezTo>
                        <a:pt x="62706" y="1748631"/>
                        <a:pt x="150812" y="1731962"/>
                        <a:pt x="176212" y="1644650"/>
                      </a:cubicBezTo>
                      <a:cubicBezTo>
                        <a:pt x="201612" y="1557338"/>
                        <a:pt x="168275" y="1468437"/>
                        <a:pt x="185737" y="1368425"/>
                      </a:cubicBezTo>
                      <a:cubicBezTo>
                        <a:pt x="203199" y="1268413"/>
                        <a:pt x="214312" y="1179512"/>
                        <a:pt x="280987" y="1044575"/>
                      </a:cubicBezTo>
                      <a:cubicBezTo>
                        <a:pt x="347662" y="909638"/>
                        <a:pt x="501120" y="732896"/>
                        <a:pt x="585787" y="558800"/>
                      </a:cubicBezTo>
                      <a:cubicBezTo>
                        <a:pt x="670454" y="384704"/>
                        <a:pt x="500855" y="182562"/>
                        <a:pt x="78898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18" name="Freeform 1017"/>
                <p:cNvSpPr/>
                <p:nvPr/>
              </p:nvSpPr>
              <p:spPr>
                <a:xfrm>
                  <a:off x="4905376" y="1504951"/>
                  <a:ext cx="804862" cy="2614612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1033462"/>
                    <a:gd name="connsiteY0" fmla="*/ 2738437 h 2741686"/>
                    <a:gd name="connsiteX1" fmla="*/ 228600 w 1033462"/>
                    <a:gd name="connsiteY1" fmla="*/ 2614612 h 2741686"/>
                    <a:gd name="connsiteX2" fmla="*/ 261937 w 1033462"/>
                    <a:gd name="connsiteY2" fmla="*/ 2000250 h 2741686"/>
                    <a:gd name="connsiteX3" fmla="*/ 404812 w 1033462"/>
                    <a:gd name="connsiteY3" fmla="*/ 1752600 h 2741686"/>
                    <a:gd name="connsiteX4" fmla="*/ 414337 w 1033462"/>
                    <a:gd name="connsiteY4" fmla="*/ 1476375 h 2741686"/>
                    <a:gd name="connsiteX5" fmla="*/ 509587 w 1033462"/>
                    <a:gd name="connsiteY5" fmla="*/ 1152525 h 2741686"/>
                    <a:gd name="connsiteX6" fmla="*/ 814387 w 1033462"/>
                    <a:gd name="connsiteY6" fmla="*/ 666750 h 2741686"/>
                    <a:gd name="connsiteX7" fmla="*/ 1033462 w 1033462"/>
                    <a:gd name="connsiteY7" fmla="*/ 0 h 2741686"/>
                    <a:gd name="connsiteX0" fmla="*/ 0 w 1033462"/>
                    <a:gd name="connsiteY0" fmla="*/ 2738437 h 2741686"/>
                    <a:gd name="connsiteX1" fmla="*/ 228600 w 1033462"/>
                    <a:gd name="connsiteY1" fmla="*/ 2614612 h 2741686"/>
                    <a:gd name="connsiteX2" fmla="*/ 261937 w 1033462"/>
                    <a:gd name="connsiteY2" fmla="*/ 2000250 h 2741686"/>
                    <a:gd name="connsiteX3" fmla="*/ 404812 w 1033462"/>
                    <a:gd name="connsiteY3" fmla="*/ 1752600 h 2741686"/>
                    <a:gd name="connsiteX4" fmla="*/ 414337 w 1033462"/>
                    <a:gd name="connsiteY4" fmla="*/ 1476375 h 2741686"/>
                    <a:gd name="connsiteX5" fmla="*/ 509587 w 1033462"/>
                    <a:gd name="connsiteY5" fmla="*/ 1152525 h 2741686"/>
                    <a:gd name="connsiteX6" fmla="*/ 814387 w 1033462"/>
                    <a:gd name="connsiteY6" fmla="*/ 666750 h 2741686"/>
                    <a:gd name="connsiteX7" fmla="*/ 1033462 w 1033462"/>
                    <a:gd name="connsiteY7" fmla="*/ 0 h 2741686"/>
                    <a:gd name="connsiteX0" fmla="*/ 0 w 804862"/>
                    <a:gd name="connsiteY0" fmla="*/ 2614612 h 2614612"/>
                    <a:gd name="connsiteX1" fmla="*/ 33337 w 804862"/>
                    <a:gd name="connsiteY1" fmla="*/ 2000250 h 2614612"/>
                    <a:gd name="connsiteX2" fmla="*/ 176212 w 804862"/>
                    <a:gd name="connsiteY2" fmla="*/ 1752600 h 2614612"/>
                    <a:gd name="connsiteX3" fmla="*/ 185737 w 804862"/>
                    <a:gd name="connsiteY3" fmla="*/ 1476375 h 2614612"/>
                    <a:gd name="connsiteX4" fmla="*/ 280987 w 804862"/>
                    <a:gd name="connsiteY4" fmla="*/ 1152525 h 2614612"/>
                    <a:gd name="connsiteX5" fmla="*/ 585787 w 804862"/>
                    <a:gd name="connsiteY5" fmla="*/ 666750 h 2614612"/>
                    <a:gd name="connsiteX6" fmla="*/ 804862 w 804862"/>
                    <a:gd name="connsiteY6" fmla="*/ 0 h 2614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4862" h="2614612">
                      <a:moveTo>
                        <a:pt x="0" y="2614612"/>
                      </a:moveTo>
                      <a:cubicBezTo>
                        <a:pt x="43656" y="2491581"/>
                        <a:pt x="3968" y="2143919"/>
                        <a:pt x="33337" y="2000250"/>
                      </a:cubicBezTo>
                      <a:cubicBezTo>
                        <a:pt x="62706" y="1856581"/>
                        <a:pt x="150812" y="1839912"/>
                        <a:pt x="176212" y="1752600"/>
                      </a:cubicBezTo>
                      <a:cubicBezTo>
                        <a:pt x="201612" y="1665288"/>
                        <a:pt x="168275" y="1576387"/>
                        <a:pt x="185737" y="1476375"/>
                      </a:cubicBezTo>
                      <a:cubicBezTo>
                        <a:pt x="203199" y="1376363"/>
                        <a:pt x="214312" y="1287462"/>
                        <a:pt x="280987" y="1152525"/>
                      </a:cubicBezTo>
                      <a:cubicBezTo>
                        <a:pt x="347662" y="1017588"/>
                        <a:pt x="498474" y="858838"/>
                        <a:pt x="585787" y="666750"/>
                      </a:cubicBezTo>
                      <a:cubicBezTo>
                        <a:pt x="673100" y="474662"/>
                        <a:pt x="519905" y="204787"/>
                        <a:pt x="804862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19" name="Freeform 1018"/>
                <p:cNvSpPr/>
                <p:nvPr/>
              </p:nvSpPr>
              <p:spPr>
                <a:xfrm>
                  <a:off x="4852989" y="1435101"/>
                  <a:ext cx="782637" cy="2684462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1011237"/>
                    <a:gd name="connsiteY0" fmla="*/ 2808287 h 2811536"/>
                    <a:gd name="connsiteX1" fmla="*/ 228600 w 1011237"/>
                    <a:gd name="connsiteY1" fmla="*/ 2684462 h 2811536"/>
                    <a:gd name="connsiteX2" fmla="*/ 261937 w 1011237"/>
                    <a:gd name="connsiteY2" fmla="*/ 2070100 h 2811536"/>
                    <a:gd name="connsiteX3" fmla="*/ 404812 w 1011237"/>
                    <a:gd name="connsiteY3" fmla="*/ 1822450 h 2811536"/>
                    <a:gd name="connsiteX4" fmla="*/ 414337 w 1011237"/>
                    <a:gd name="connsiteY4" fmla="*/ 1546225 h 2811536"/>
                    <a:gd name="connsiteX5" fmla="*/ 509587 w 1011237"/>
                    <a:gd name="connsiteY5" fmla="*/ 1222375 h 2811536"/>
                    <a:gd name="connsiteX6" fmla="*/ 814387 w 1011237"/>
                    <a:gd name="connsiteY6" fmla="*/ 736600 h 2811536"/>
                    <a:gd name="connsiteX7" fmla="*/ 1011237 w 1011237"/>
                    <a:gd name="connsiteY7" fmla="*/ 0 h 2811536"/>
                    <a:gd name="connsiteX0" fmla="*/ 0 w 1011237"/>
                    <a:gd name="connsiteY0" fmla="*/ 2808287 h 2811536"/>
                    <a:gd name="connsiteX1" fmla="*/ 228600 w 1011237"/>
                    <a:gd name="connsiteY1" fmla="*/ 2684462 h 2811536"/>
                    <a:gd name="connsiteX2" fmla="*/ 261937 w 1011237"/>
                    <a:gd name="connsiteY2" fmla="*/ 2070100 h 2811536"/>
                    <a:gd name="connsiteX3" fmla="*/ 404812 w 1011237"/>
                    <a:gd name="connsiteY3" fmla="*/ 1822450 h 2811536"/>
                    <a:gd name="connsiteX4" fmla="*/ 414337 w 1011237"/>
                    <a:gd name="connsiteY4" fmla="*/ 1546225 h 2811536"/>
                    <a:gd name="connsiteX5" fmla="*/ 509587 w 1011237"/>
                    <a:gd name="connsiteY5" fmla="*/ 1222375 h 2811536"/>
                    <a:gd name="connsiteX6" fmla="*/ 814387 w 1011237"/>
                    <a:gd name="connsiteY6" fmla="*/ 736600 h 2811536"/>
                    <a:gd name="connsiteX7" fmla="*/ 1011237 w 1011237"/>
                    <a:gd name="connsiteY7" fmla="*/ 0 h 2811536"/>
                    <a:gd name="connsiteX0" fmla="*/ 0 w 782637"/>
                    <a:gd name="connsiteY0" fmla="*/ 2684462 h 2684462"/>
                    <a:gd name="connsiteX1" fmla="*/ 33337 w 782637"/>
                    <a:gd name="connsiteY1" fmla="*/ 2070100 h 2684462"/>
                    <a:gd name="connsiteX2" fmla="*/ 176212 w 782637"/>
                    <a:gd name="connsiteY2" fmla="*/ 1822450 h 2684462"/>
                    <a:gd name="connsiteX3" fmla="*/ 185737 w 782637"/>
                    <a:gd name="connsiteY3" fmla="*/ 1546225 h 2684462"/>
                    <a:gd name="connsiteX4" fmla="*/ 280987 w 782637"/>
                    <a:gd name="connsiteY4" fmla="*/ 1222375 h 2684462"/>
                    <a:gd name="connsiteX5" fmla="*/ 585787 w 782637"/>
                    <a:gd name="connsiteY5" fmla="*/ 736600 h 2684462"/>
                    <a:gd name="connsiteX6" fmla="*/ 782637 w 782637"/>
                    <a:gd name="connsiteY6" fmla="*/ 0 h 2684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82637" h="2684462">
                      <a:moveTo>
                        <a:pt x="0" y="2684462"/>
                      </a:moveTo>
                      <a:cubicBezTo>
                        <a:pt x="43656" y="2561431"/>
                        <a:pt x="3968" y="2213769"/>
                        <a:pt x="33337" y="2070100"/>
                      </a:cubicBezTo>
                      <a:cubicBezTo>
                        <a:pt x="62706" y="1926431"/>
                        <a:pt x="150812" y="1909762"/>
                        <a:pt x="176212" y="1822450"/>
                      </a:cubicBezTo>
                      <a:cubicBezTo>
                        <a:pt x="201612" y="1735138"/>
                        <a:pt x="168275" y="1646237"/>
                        <a:pt x="185737" y="1546225"/>
                      </a:cubicBezTo>
                      <a:cubicBezTo>
                        <a:pt x="203199" y="1446213"/>
                        <a:pt x="214312" y="1357312"/>
                        <a:pt x="280987" y="1222375"/>
                      </a:cubicBezTo>
                      <a:cubicBezTo>
                        <a:pt x="347662" y="1087438"/>
                        <a:pt x="502179" y="940329"/>
                        <a:pt x="585787" y="736600"/>
                      </a:cubicBezTo>
                      <a:cubicBezTo>
                        <a:pt x="669395" y="532871"/>
                        <a:pt x="504030" y="255587"/>
                        <a:pt x="78263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20" name="Freeform 1019"/>
                <p:cNvSpPr/>
                <p:nvPr/>
              </p:nvSpPr>
              <p:spPr>
                <a:xfrm>
                  <a:off x="4810125" y="1358901"/>
                  <a:ext cx="769937" cy="2760662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843795"/>
                    <a:gd name="connsiteY0" fmla="*/ 2659062 h 2662311"/>
                    <a:gd name="connsiteX1" fmla="*/ 228600 w 843795"/>
                    <a:gd name="connsiteY1" fmla="*/ 2535237 h 2662311"/>
                    <a:gd name="connsiteX2" fmla="*/ 261937 w 843795"/>
                    <a:gd name="connsiteY2" fmla="*/ 1920875 h 2662311"/>
                    <a:gd name="connsiteX3" fmla="*/ 404812 w 843795"/>
                    <a:gd name="connsiteY3" fmla="*/ 1673225 h 2662311"/>
                    <a:gd name="connsiteX4" fmla="*/ 414337 w 843795"/>
                    <a:gd name="connsiteY4" fmla="*/ 1397000 h 2662311"/>
                    <a:gd name="connsiteX5" fmla="*/ 509587 w 843795"/>
                    <a:gd name="connsiteY5" fmla="*/ 1073150 h 2662311"/>
                    <a:gd name="connsiteX6" fmla="*/ 814387 w 843795"/>
                    <a:gd name="connsiteY6" fmla="*/ 587375 h 2662311"/>
                    <a:gd name="connsiteX7" fmla="*/ 833437 w 843795"/>
                    <a:gd name="connsiteY7" fmla="*/ 0 h 2662311"/>
                    <a:gd name="connsiteX0" fmla="*/ 0 w 1008062"/>
                    <a:gd name="connsiteY0" fmla="*/ 2868612 h 2871861"/>
                    <a:gd name="connsiteX1" fmla="*/ 228600 w 1008062"/>
                    <a:gd name="connsiteY1" fmla="*/ 2744787 h 2871861"/>
                    <a:gd name="connsiteX2" fmla="*/ 261937 w 1008062"/>
                    <a:gd name="connsiteY2" fmla="*/ 2130425 h 2871861"/>
                    <a:gd name="connsiteX3" fmla="*/ 404812 w 1008062"/>
                    <a:gd name="connsiteY3" fmla="*/ 1882775 h 2871861"/>
                    <a:gd name="connsiteX4" fmla="*/ 414337 w 1008062"/>
                    <a:gd name="connsiteY4" fmla="*/ 1606550 h 2871861"/>
                    <a:gd name="connsiteX5" fmla="*/ 509587 w 1008062"/>
                    <a:gd name="connsiteY5" fmla="*/ 1282700 h 2871861"/>
                    <a:gd name="connsiteX6" fmla="*/ 814387 w 1008062"/>
                    <a:gd name="connsiteY6" fmla="*/ 796925 h 2871861"/>
                    <a:gd name="connsiteX7" fmla="*/ 1008062 w 1008062"/>
                    <a:gd name="connsiteY7" fmla="*/ 0 h 2871861"/>
                    <a:gd name="connsiteX0" fmla="*/ 0 w 1008062"/>
                    <a:gd name="connsiteY0" fmla="*/ 2868612 h 2871861"/>
                    <a:gd name="connsiteX1" fmla="*/ 228600 w 1008062"/>
                    <a:gd name="connsiteY1" fmla="*/ 2744787 h 2871861"/>
                    <a:gd name="connsiteX2" fmla="*/ 261937 w 1008062"/>
                    <a:gd name="connsiteY2" fmla="*/ 2130425 h 2871861"/>
                    <a:gd name="connsiteX3" fmla="*/ 404812 w 1008062"/>
                    <a:gd name="connsiteY3" fmla="*/ 1882775 h 2871861"/>
                    <a:gd name="connsiteX4" fmla="*/ 414337 w 1008062"/>
                    <a:gd name="connsiteY4" fmla="*/ 1606550 h 2871861"/>
                    <a:gd name="connsiteX5" fmla="*/ 509587 w 1008062"/>
                    <a:gd name="connsiteY5" fmla="*/ 1282700 h 2871861"/>
                    <a:gd name="connsiteX6" fmla="*/ 814387 w 1008062"/>
                    <a:gd name="connsiteY6" fmla="*/ 796925 h 2871861"/>
                    <a:gd name="connsiteX7" fmla="*/ 1008062 w 1008062"/>
                    <a:gd name="connsiteY7" fmla="*/ 0 h 2871861"/>
                    <a:gd name="connsiteX0" fmla="*/ 0 w 998537"/>
                    <a:gd name="connsiteY0" fmla="*/ 2884487 h 2887736"/>
                    <a:gd name="connsiteX1" fmla="*/ 228600 w 998537"/>
                    <a:gd name="connsiteY1" fmla="*/ 2760662 h 2887736"/>
                    <a:gd name="connsiteX2" fmla="*/ 261937 w 998537"/>
                    <a:gd name="connsiteY2" fmla="*/ 2146300 h 2887736"/>
                    <a:gd name="connsiteX3" fmla="*/ 404812 w 998537"/>
                    <a:gd name="connsiteY3" fmla="*/ 1898650 h 2887736"/>
                    <a:gd name="connsiteX4" fmla="*/ 414337 w 998537"/>
                    <a:gd name="connsiteY4" fmla="*/ 1622425 h 2887736"/>
                    <a:gd name="connsiteX5" fmla="*/ 509587 w 998537"/>
                    <a:gd name="connsiteY5" fmla="*/ 1298575 h 2887736"/>
                    <a:gd name="connsiteX6" fmla="*/ 814387 w 998537"/>
                    <a:gd name="connsiteY6" fmla="*/ 812800 h 2887736"/>
                    <a:gd name="connsiteX7" fmla="*/ 998537 w 998537"/>
                    <a:gd name="connsiteY7" fmla="*/ 0 h 2887736"/>
                    <a:gd name="connsiteX0" fmla="*/ 0 w 998537"/>
                    <a:gd name="connsiteY0" fmla="*/ 2884487 h 2887736"/>
                    <a:gd name="connsiteX1" fmla="*/ 228600 w 998537"/>
                    <a:gd name="connsiteY1" fmla="*/ 2760662 h 2887736"/>
                    <a:gd name="connsiteX2" fmla="*/ 261937 w 998537"/>
                    <a:gd name="connsiteY2" fmla="*/ 2146300 h 2887736"/>
                    <a:gd name="connsiteX3" fmla="*/ 404812 w 998537"/>
                    <a:gd name="connsiteY3" fmla="*/ 1898650 h 2887736"/>
                    <a:gd name="connsiteX4" fmla="*/ 414337 w 998537"/>
                    <a:gd name="connsiteY4" fmla="*/ 1622425 h 2887736"/>
                    <a:gd name="connsiteX5" fmla="*/ 509587 w 998537"/>
                    <a:gd name="connsiteY5" fmla="*/ 1298575 h 2887736"/>
                    <a:gd name="connsiteX6" fmla="*/ 814387 w 998537"/>
                    <a:gd name="connsiteY6" fmla="*/ 812800 h 2887736"/>
                    <a:gd name="connsiteX7" fmla="*/ 998537 w 998537"/>
                    <a:gd name="connsiteY7" fmla="*/ 0 h 2887736"/>
                    <a:gd name="connsiteX0" fmla="*/ 0 w 998537"/>
                    <a:gd name="connsiteY0" fmla="*/ 2884487 h 2887736"/>
                    <a:gd name="connsiteX1" fmla="*/ 228600 w 998537"/>
                    <a:gd name="connsiteY1" fmla="*/ 2760662 h 2887736"/>
                    <a:gd name="connsiteX2" fmla="*/ 261937 w 998537"/>
                    <a:gd name="connsiteY2" fmla="*/ 2146300 h 2887736"/>
                    <a:gd name="connsiteX3" fmla="*/ 404812 w 998537"/>
                    <a:gd name="connsiteY3" fmla="*/ 1898650 h 2887736"/>
                    <a:gd name="connsiteX4" fmla="*/ 414337 w 998537"/>
                    <a:gd name="connsiteY4" fmla="*/ 1622425 h 2887736"/>
                    <a:gd name="connsiteX5" fmla="*/ 509587 w 998537"/>
                    <a:gd name="connsiteY5" fmla="*/ 1298575 h 2887736"/>
                    <a:gd name="connsiteX6" fmla="*/ 814387 w 998537"/>
                    <a:gd name="connsiteY6" fmla="*/ 812800 h 2887736"/>
                    <a:gd name="connsiteX7" fmla="*/ 998537 w 998537"/>
                    <a:gd name="connsiteY7" fmla="*/ 0 h 2887736"/>
                    <a:gd name="connsiteX0" fmla="*/ 0 w 769937"/>
                    <a:gd name="connsiteY0" fmla="*/ 2760662 h 2760662"/>
                    <a:gd name="connsiteX1" fmla="*/ 33337 w 769937"/>
                    <a:gd name="connsiteY1" fmla="*/ 2146300 h 2760662"/>
                    <a:gd name="connsiteX2" fmla="*/ 176212 w 769937"/>
                    <a:gd name="connsiteY2" fmla="*/ 1898650 h 2760662"/>
                    <a:gd name="connsiteX3" fmla="*/ 185737 w 769937"/>
                    <a:gd name="connsiteY3" fmla="*/ 1622425 h 2760662"/>
                    <a:gd name="connsiteX4" fmla="*/ 280987 w 769937"/>
                    <a:gd name="connsiteY4" fmla="*/ 1298575 h 2760662"/>
                    <a:gd name="connsiteX5" fmla="*/ 585787 w 769937"/>
                    <a:gd name="connsiteY5" fmla="*/ 812800 h 2760662"/>
                    <a:gd name="connsiteX6" fmla="*/ 769937 w 769937"/>
                    <a:gd name="connsiteY6" fmla="*/ 0 h 2760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9937" h="2760662">
                      <a:moveTo>
                        <a:pt x="0" y="2760662"/>
                      </a:moveTo>
                      <a:cubicBezTo>
                        <a:pt x="43656" y="2637631"/>
                        <a:pt x="3968" y="2289969"/>
                        <a:pt x="33337" y="2146300"/>
                      </a:cubicBezTo>
                      <a:cubicBezTo>
                        <a:pt x="62706" y="2002631"/>
                        <a:pt x="150812" y="1985962"/>
                        <a:pt x="176212" y="1898650"/>
                      </a:cubicBezTo>
                      <a:cubicBezTo>
                        <a:pt x="201612" y="1811338"/>
                        <a:pt x="168275" y="1722437"/>
                        <a:pt x="185737" y="1622425"/>
                      </a:cubicBezTo>
                      <a:cubicBezTo>
                        <a:pt x="203199" y="1522413"/>
                        <a:pt x="214312" y="1433512"/>
                        <a:pt x="280987" y="1298575"/>
                      </a:cubicBezTo>
                      <a:cubicBezTo>
                        <a:pt x="347662" y="1163638"/>
                        <a:pt x="504295" y="1029229"/>
                        <a:pt x="585787" y="812800"/>
                      </a:cubicBezTo>
                      <a:cubicBezTo>
                        <a:pt x="667279" y="596371"/>
                        <a:pt x="438942" y="441325"/>
                        <a:pt x="76993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21" name="Freeform 1020"/>
                <p:cNvSpPr/>
                <p:nvPr/>
              </p:nvSpPr>
              <p:spPr>
                <a:xfrm>
                  <a:off x="4752976" y="1266826"/>
                  <a:ext cx="738187" cy="285273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966787"/>
                    <a:gd name="connsiteY0" fmla="*/ 2976562 h 2979811"/>
                    <a:gd name="connsiteX1" fmla="*/ 228600 w 966787"/>
                    <a:gd name="connsiteY1" fmla="*/ 2852737 h 2979811"/>
                    <a:gd name="connsiteX2" fmla="*/ 261937 w 966787"/>
                    <a:gd name="connsiteY2" fmla="*/ 2238375 h 2979811"/>
                    <a:gd name="connsiteX3" fmla="*/ 404812 w 966787"/>
                    <a:gd name="connsiteY3" fmla="*/ 1990725 h 2979811"/>
                    <a:gd name="connsiteX4" fmla="*/ 414337 w 966787"/>
                    <a:gd name="connsiteY4" fmla="*/ 1714500 h 2979811"/>
                    <a:gd name="connsiteX5" fmla="*/ 509587 w 966787"/>
                    <a:gd name="connsiteY5" fmla="*/ 1390650 h 2979811"/>
                    <a:gd name="connsiteX6" fmla="*/ 814387 w 966787"/>
                    <a:gd name="connsiteY6" fmla="*/ 904875 h 2979811"/>
                    <a:gd name="connsiteX7" fmla="*/ 966787 w 966787"/>
                    <a:gd name="connsiteY7" fmla="*/ 0 h 2979811"/>
                    <a:gd name="connsiteX0" fmla="*/ 0 w 966787"/>
                    <a:gd name="connsiteY0" fmla="*/ 2976562 h 2979811"/>
                    <a:gd name="connsiteX1" fmla="*/ 228600 w 966787"/>
                    <a:gd name="connsiteY1" fmla="*/ 2852737 h 2979811"/>
                    <a:gd name="connsiteX2" fmla="*/ 261937 w 966787"/>
                    <a:gd name="connsiteY2" fmla="*/ 2238375 h 2979811"/>
                    <a:gd name="connsiteX3" fmla="*/ 404812 w 966787"/>
                    <a:gd name="connsiteY3" fmla="*/ 1990725 h 2979811"/>
                    <a:gd name="connsiteX4" fmla="*/ 414337 w 966787"/>
                    <a:gd name="connsiteY4" fmla="*/ 1714500 h 2979811"/>
                    <a:gd name="connsiteX5" fmla="*/ 509587 w 966787"/>
                    <a:gd name="connsiteY5" fmla="*/ 1390650 h 2979811"/>
                    <a:gd name="connsiteX6" fmla="*/ 814387 w 966787"/>
                    <a:gd name="connsiteY6" fmla="*/ 904875 h 2979811"/>
                    <a:gd name="connsiteX7" fmla="*/ 966787 w 966787"/>
                    <a:gd name="connsiteY7" fmla="*/ 0 h 2979811"/>
                    <a:gd name="connsiteX0" fmla="*/ 0 w 966787"/>
                    <a:gd name="connsiteY0" fmla="*/ 2976562 h 2979811"/>
                    <a:gd name="connsiteX1" fmla="*/ 228600 w 966787"/>
                    <a:gd name="connsiteY1" fmla="*/ 2852737 h 2979811"/>
                    <a:gd name="connsiteX2" fmla="*/ 261937 w 966787"/>
                    <a:gd name="connsiteY2" fmla="*/ 2238375 h 2979811"/>
                    <a:gd name="connsiteX3" fmla="*/ 404812 w 966787"/>
                    <a:gd name="connsiteY3" fmla="*/ 1990725 h 2979811"/>
                    <a:gd name="connsiteX4" fmla="*/ 414337 w 966787"/>
                    <a:gd name="connsiteY4" fmla="*/ 1714500 h 2979811"/>
                    <a:gd name="connsiteX5" fmla="*/ 509587 w 966787"/>
                    <a:gd name="connsiteY5" fmla="*/ 1390650 h 2979811"/>
                    <a:gd name="connsiteX6" fmla="*/ 814387 w 966787"/>
                    <a:gd name="connsiteY6" fmla="*/ 904875 h 2979811"/>
                    <a:gd name="connsiteX7" fmla="*/ 966787 w 966787"/>
                    <a:gd name="connsiteY7" fmla="*/ 0 h 2979811"/>
                    <a:gd name="connsiteX0" fmla="*/ 0 w 966787"/>
                    <a:gd name="connsiteY0" fmla="*/ 2976562 h 2979811"/>
                    <a:gd name="connsiteX1" fmla="*/ 228600 w 966787"/>
                    <a:gd name="connsiteY1" fmla="*/ 2852737 h 2979811"/>
                    <a:gd name="connsiteX2" fmla="*/ 261937 w 966787"/>
                    <a:gd name="connsiteY2" fmla="*/ 2238375 h 2979811"/>
                    <a:gd name="connsiteX3" fmla="*/ 404812 w 966787"/>
                    <a:gd name="connsiteY3" fmla="*/ 1990725 h 2979811"/>
                    <a:gd name="connsiteX4" fmla="*/ 414337 w 966787"/>
                    <a:gd name="connsiteY4" fmla="*/ 1714500 h 2979811"/>
                    <a:gd name="connsiteX5" fmla="*/ 509587 w 966787"/>
                    <a:gd name="connsiteY5" fmla="*/ 1390650 h 2979811"/>
                    <a:gd name="connsiteX6" fmla="*/ 814387 w 966787"/>
                    <a:gd name="connsiteY6" fmla="*/ 904875 h 2979811"/>
                    <a:gd name="connsiteX7" fmla="*/ 966787 w 966787"/>
                    <a:gd name="connsiteY7" fmla="*/ 0 h 2979811"/>
                    <a:gd name="connsiteX0" fmla="*/ 0 w 966787"/>
                    <a:gd name="connsiteY0" fmla="*/ 2976562 h 2979811"/>
                    <a:gd name="connsiteX1" fmla="*/ 228600 w 966787"/>
                    <a:gd name="connsiteY1" fmla="*/ 2852737 h 2979811"/>
                    <a:gd name="connsiteX2" fmla="*/ 261937 w 966787"/>
                    <a:gd name="connsiteY2" fmla="*/ 2238375 h 2979811"/>
                    <a:gd name="connsiteX3" fmla="*/ 404812 w 966787"/>
                    <a:gd name="connsiteY3" fmla="*/ 1990725 h 2979811"/>
                    <a:gd name="connsiteX4" fmla="*/ 414337 w 966787"/>
                    <a:gd name="connsiteY4" fmla="*/ 1714500 h 2979811"/>
                    <a:gd name="connsiteX5" fmla="*/ 509587 w 966787"/>
                    <a:gd name="connsiteY5" fmla="*/ 1390650 h 2979811"/>
                    <a:gd name="connsiteX6" fmla="*/ 814387 w 966787"/>
                    <a:gd name="connsiteY6" fmla="*/ 904875 h 2979811"/>
                    <a:gd name="connsiteX7" fmla="*/ 966787 w 966787"/>
                    <a:gd name="connsiteY7" fmla="*/ 0 h 2979811"/>
                    <a:gd name="connsiteX0" fmla="*/ 0 w 738187"/>
                    <a:gd name="connsiteY0" fmla="*/ 2852737 h 2852737"/>
                    <a:gd name="connsiteX1" fmla="*/ 33337 w 738187"/>
                    <a:gd name="connsiteY1" fmla="*/ 2238375 h 2852737"/>
                    <a:gd name="connsiteX2" fmla="*/ 176212 w 738187"/>
                    <a:gd name="connsiteY2" fmla="*/ 1990725 h 2852737"/>
                    <a:gd name="connsiteX3" fmla="*/ 185737 w 738187"/>
                    <a:gd name="connsiteY3" fmla="*/ 1714500 h 2852737"/>
                    <a:gd name="connsiteX4" fmla="*/ 280987 w 738187"/>
                    <a:gd name="connsiteY4" fmla="*/ 1390650 h 2852737"/>
                    <a:gd name="connsiteX5" fmla="*/ 585787 w 738187"/>
                    <a:gd name="connsiteY5" fmla="*/ 904875 h 2852737"/>
                    <a:gd name="connsiteX6" fmla="*/ 738187 w 738187"/>
                    <a:gd name="connsiteY6" fmla="*/ 0 h 2852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38187" h="2852737">
                      <a:moveTo>
                        <a:pt x="0" y="2852737"/>
                      </a:moveTo>
                      <a:cubicBezTo>
                        <a:pt x="43656" y="2729706"/>
                        <a:pt x="3968" y="2382044"/>
                        <a:pt x="33337" y="2238375"/>
                      </a:cubicBezTo>
                      <a:cubicBezTo>
                        <a:pt x="62706" y="2094706"/>
                        <a:pt x="150812" y="2078037"/>
                        <a:pt x="176212" y="1990725"/>
                      </a:cubicBezTo>
                      <a:cubicBezTo>
                        <a:pt x="201612" y="1903413"/>
                        <a:pt x="168275" y="1814512"/>
                        <a:pt x="185737" y="1714500"/>
                      </a:cubicBezTo>
                      <a:cubicBezTo>
                        <a:pt x="203199" y="1614488"/>
                        <a:pt x="214312" y="1525587"/>
                        <a:pt x="280987" y="1390650"/>
                      </a:cubicBezTo>
                      <a:cubicBezTo>
                        <a:pt x="347662" y="1255713"/>
                        <a:pt x="509587" y="1136650"/>
                        <a:pt x="585787" y="904875"/>
                      </a:cubicBezTo>
                      <a:cubicBezTo>
                        <a:pt x="661987" y="673100"/>
                        <a:pt x="383380" y="612774"/>
                        <a:pt x="73818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22" name="Freeform 1021"/>
                <p:cNvSpPr/>
                <p:nvPr/>
              </p:nvSpPr>
              <p:spPr>
                <a:xfrm>
                  <a:off x="4705351" y="1235076"/>
                  <a:ext cx="706437" cy="288448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935037"/>
                    <a:gd name="connsiteY0" fmla="*/ 3008312 h 3011561"/>
                    <a:gd name="connsiteX1" fmla="*/ 228600 w 935037"/>
                    <a:gd name="connsiteY1" fmla="*/ 2884487 h 3011561"/>
                    <a:gd name="connsiteX2" fmla="*/ 261937 w 935037"/>
                    <a:gd name="connsiteY2" fmla="*/ 2270125 h 3011561"/>
                    <a:gd name="connsiteX3" fmla="*/ 404812 w 935037"/>
                    <a:gd name="connsiteY3" fmla="*/ 2022475 h 3011561"/>
                    <a:gd name="connsiteX4" fmla="*/ 414337 w 935037"/>
                    <a:gd name="connsiteY4" fmla="*/ 1746250 h 3011561"/>
                    <a:gd name="connsiteX5" fmla="*/ 509587 w 935037"/>
                    <a:gd name="connsiteY5" fmla="*/ 1422400 h 3011561"/>
                    <a:gd name="connsiteX6" fmla="*/ 814387 w 935037"/>
                    <a:gd name="connsiteY6" fmla="*/ 936625 h 3011561"/>
                    <a:gd name="connsiteX7" fmla="*/ 935037 w 935037"/>
                    <a:gd name="connsiteY7" fmla="*/ 0 h 3011561"/>
                    <a:gd name="connsiteX0" fmla="*/ 0 w 935037"/>
                    <a:gd name="connsiteY0" fmla="*/ 3008312 h 3011561"/>
                    <a:gd name="connsiteX1" fmla="*/ 228600 w 935037"/>
                    <a:gd name="connsiteY1" fmla="*/ 2884487 h 3011561"/>
                    <a:gd name="connsiteX2" fmla="*/ 261937 w 935037"/>
                    <a:gd name="connsiteY2" fmla="*/ 2270125 h 3011561"/>
                    <a:gd name="connsiteX3" fmla="*/ 404812 w 935037"/>
                    <a:gd name="connsiteY3" fmla="*/ 2022475 h 3011561"/>
                    <a:gd name="connsiteX4" fmla="*/ 414337 w 935037"/>
                    <a:gd name="connsiteY4" fmla="*/ 1746250 h 3011561"/>
                    <a:gd name="connsiteX5" fmla="*/ 509587 w 935037"/>
                    <a:gd name="connsiteY5" fmla="*/ 1422400 h 3011561"/>
                    <a:gd name="connsiteX6" fmla="*/ 814387 w 935037"/>
                    <a:gd name="connsiteY6" fmla="*/ 936625 h 3011561"/>
                    <a:gd name="connsiteX7" fmla="*/ 935037 w 935037"/>
                    <a:gd name="connsiteY7" fmla="*/ 0 h 3011561"/>
                    <a:gd name="connsiteX0" fmla="*/ 0 w 706437"/>
                    <a:gd name="connsiteY0" fmla="*/ 2884487 h 2884487"/>
                    <a:gd name="connsiteX1" fmla="*/ 33337 w 706437"/>
                    <a:gd name="connsiteY1" fmla="*/ 2270125 h 2884487"/>
                    <a:gd name="connsiteX2" fmla="*/ 176212 w 706437"/>
                    <a:gd name="connsiteY2" fmla="*/ 2022475 h 2884487"/>
                    <a:gd name="connsiteX3" fmla="*/ 185737 w 706437"/>
                    <a:gd name="connsiteY3" fmla="*/ 1746250 h 2884487"/>
                    <a:gd name="connsiteX4" fmla="*/ 280987 w 706437"/>
                    <a:gd name="connsiteY4" fmla="*/ 1422400 h 2884487"/>
                    <a:gd name="connsiteX5" fmla="*/ 585787 w 706437"/>
                    <a:gd name="connsiteY5" fmla="*/ 936625 h 2884487"/>
                    <a:gd name="connsiteX6" fmla="*/ 706437 w 706437"/>
                    <a:gd name="connsiteY6" fmla="*/ 0 h 28844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06437" h="2884487">
                      <a:moveTo>
                        <a:pt x="0" y="2884487"/>
                      </a:moveTo>
                      <a:cubicBezTo>
                        <a:pt x="43656" y="2761456"/>
                        <a:pt x="3968" y="2413794"/>
                        <a:pt x="33337" y="2270125"/>
                      </a:cubicBezTo>
                      <a:cubicBezTo>
                        <a:pt x="62706" y="2126456"/>
                        <a:pt x="150812" y="2109787"/>
                        <a:pt x="176212" y="2022475"/>
                      </a:cubicBezTo>
                      <a:cubicBezTo>
                        <a:pt x="201612" y="1935163"/>
                        <a:pt x="168275" y="1846262"/>
                        <a:pt x="185737" y="1746250"/>
                      </a:cubicBezTo>
                      <a:cubicBezTo>
                        <a:pt x="203199" y="1646238"/>
                        <a:pt x="214312" y="1557337"/>
                        <a:pt x="280987" y="1422400"/>
                      </a:cubicBezTo>
                      <a:cubicBezTo>
                        <a:pt x="347662" y="1287463"/>
                        <a:pt x="514879" y="1173692"/>
                        <a:pt x="585787" y="936625"/>
                      </a:cubicBezTo>
                      <a:cubicBezTo>
                        <a:pt x="656695" y="699558"/>
                        <a:pt x="348455" y="611187"/>
                        <a:pt x="70643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23" name="Freeform 1022"/>
                <p:cNvSpPr/>
                <p:nvPr/>
              </p:nvSpPr>
              <p:spPr>
                <a:xfrm>
                  <a:off x="4662488" y="1287463"/>
                  <a:ext cx="591708" cy="2832099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814642"/>
                    <a:gd name="connsiteY0" fmla="*/ 2800349 h 2803598"/>
                    <a:gd name="connsiteX1" fmla="*/ 228600 w 814642"/>
                    <a:gd name="connsiteY1" fmla="*/ 2676524 h 2803598"/>
                    <a:gd name="connsiteX2" fmla="*/ 261937 w 814642"/>
                    <a:gd name="connsiteY2" fmla="*/ 2062162 h 2803598"/>
                    <a:gd name="connsiteX3" fmla="*/ 404812 w 814642"/>
                    <a:gd name="connsiteY3" fmla="*/ 1814512 h 2803598"/>
                    <a:gd name="connsiteX4" fmla="*/ 414337 w 814642"/>
                    <a:gd name="connsiteY4" fmla="*/ 1538287 h 2803598"/>
                    <a:gd name="connsiteX5" fmla="*/ 509587 w 814642"/>
                    <a:gd name="connsiteY5" fmla="*/ 1214437 h 2803598"/>
                    <a:gd name="connsiteX6" fmla="*/ 814387 w 814642"/>
                    <a:gd name="connsiteY6" fmla="*/ 728662 h 2803598"/>
                    <a:gd name="connsiteX7" fmla="*/ 566737 w 814642"/>
                    <a:gd name="connsiteY7" fmla="*/ 0 h 2803598"/>
                    <a:gd name="connsiteX0" fmla="*/ 0 w 814548"/>
                    <a:gd name="connsiteY0" fmla="*/ 2800349 h 2803598"/>
                    <a:gd name="connsiteX1" fmla="*/ 228600 w 814548"/>
                    <a:gd name="connsiteY1" fmla="*/ 2676524 h 2803598"/>
                    <a:gd name="connsiteX2" fmla="*/ 261937 w 814548"/>
                    <a:gd name="connsiteY2" fmla="*/ 2062162 h 2803598"/>
                    <a:gd name="connsiteX3" fmla="*/ 404812 w 814548"/>
                    <a:gd name="connsiteY3" fmla="*/ 1814512 h 2803598"/>
                    <a:gd name="connsiteX4" fmla="*/ 414337 w 814548"/>
                    <a:gd name="connsiteY4" fmla="*/ 1538287 h 2803598"/>
                    <a:gd name="connsiteX5" fmla="*/ 509587 w 814548"/>
                    <a:gd name="connsiteY5" fmla="*/ 1214437 h 2803598"/>
                    <a:gd name="connsiteX6" fmla="*/ 814387 w 814548"/>
                    <a:gd name="connsiteY6" fmla="*/ 728662 h 2803598"/>
                    <a:gd name="connsiteX7" fmla="*/ 566737 w 814548"/>
                    <a:gd name="connsiteY7" fmla="*/ 0 h 2803598"/>
                    <a:gd name="connsiteX0" fmla="*/ 0 w 820308"/>
                    <a:gd name="connsiteY0" fmla="*/ 2955924 h 2959173"/>
                    <a:gd name="connsiteX1" fmla="*/ 228600 w 820308"/>
                    <a:gd name="connsiteY1" fmla="*/ 2832099 h 2959173"/>
                    <a:gd name="connsiteX2" fmla="*/ 261937 w 820308"/>
                    <a:gd name="connsiteY2" fmla="*/ 2217737 h 2959173"/>
                    <a:gd name="connsiteX3" fmla="*/ 404812 w 820308"/>
                    <a:gd name="connsiteY3" fmla="*/ 1970087 h 2959173"/>
                    <a:gd name="connsiteX4" fmla="*/ 414337 w 820308"/>
                    <a:gd name="connsiteY4" fmla="*/ 1693862 h 2959173"/>
                    <a:gd name="connsiteX5" fmla="*/ 509587 w 820308"/>
                    <a:gd name="connsiteY5" fmla="*/ 1370012 h 2959173"/>
                    <a:gd name="connsiteX6" fmla="*/ 814387 w 820308"/>
                    <a:gd name="connsiteY6" fmla="*/ 884237 h 2959173"/>
                    <a:gd name="connsiteX7" fmla="*/ 782637 w 820308"/>
                    <a:gd name="connsiteY7" fmla="*/ 0 h 2959173"/>
                    <a:gd name="connsiteX0" fmla="*/ 0 w 591708"/>
                    <a:gd name="connsiteY0" fmla="*/ 2832099 h 2832099"/>
                    <a:gd name="connsiteX1" fmla="*/ 33337 w 591708"/>
                    <a:gd name="connsiteY1" fmla="*/ 2217737 h 2832099"/>
                    <a:gd name="connsiteX2" fmla="*/ 176212 w 591708"/>
                    <a:gd name="connsiteY2" fmla="*/ 1970087 h 2832099"/>
                    <a:gd name="connsiteX3" fmla="*/ 185737 w 591708"/>
                    <a:gd name="connsiteY3" fmla="*/ 1693862 h 2832099"/>
                    <a:gd name="connsiteX4" fmla="*/ 280987 w 591708"/>
                    <a:gd name="connsiteY4" fmla="*/ 1370012 h 2832099"/>
                    <a:gd name="connsiteX5" fmla="*/ 585787 w 591708"/>
                    <a:gd name="connsiteY5" fmla="*/ 884237 h 2832099"/>
                    <a:gd name="connsiteX6" fmla="*/ 554037 w 591708"/>
                    <a:gd name="connsiteY6" fmla="*/ 0 h 283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1708" h="2832099">
                      <a:moveTo>
                        <a:pt x="0" y="2832099"/>
                      </a:moveTo>
                      <a:cubicBezTo>
                        <a:pt x="43656" y="2709068"/>
                        <a:pt x="3968" y="2361406"/>
                        <a:pt x="33337" y="2217737"/>
                      </a:cubicBezTo>
                      <a:cubicBezTo>
                        <a:pt x="62706" y="2074068"/>
                        <a:pt x="150812" y="2057399"/>
                        <a:pt x="176212" y="1970087"/>
                      </a:cubicBezTo>
                      <a:cubicBezTo>
                        <a:pt x="201612" y="1882775"/>
                        <a:pt x="168275" y="1793874"/>
                        <a:pt x="185737" y="1693862"/>
                      </a:cubicBezTo>
                      <a:cubicBezTo>
                        <a:pt x="203199" y="1593850"/>
                        <a:pt x="214312" y="1504949"/>
                        <a:pt x="280987" y="1370012"/>
                      </a:cubicBezTo>
                      <a:cubicBezTo>
                        <a:pt x="347662" y="1235075"/>
                        <a:pt x="540279" y="1112572"/>
                        <a:pt x="585787" y="884237"/>
                      </a:cubicBezTo>
                      <a:cubicBezTo>
                        <a:pt x="631295" y="655902"/>
                        <a:pt x="394492" y="455612"/>
                        <a:pt x="55403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24" name="Freeform 1023"/>
                <p:cNvSpPr/>
                <p:nvPr/>
              </p:nvSpPr>
              <p:spPr>
                <a:xfrm>
                  <a:off x="4614862" y="1309689"/>
                  <a:ext cx="577533" cy="2809874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814747"/>
                    <a:gd name="connsiteY0" fmla="*/ 2481262 h 2484511"/>
                    <a:gd name="connsiteX1" fmla="*/ 228600 w 814747"/>
                    <a:gd name="connsiteY1" fmla="*/ 2357437 h 2484511"/>
                    <a:gd name="connsiteX2" fmla="*/ 261937 w 814747"/>
                    <a:gd name="connsiteY2" fmla="*/ 1743075 h 2484511"/>
                    <a:gd name="connsiteX3" fmla="*/ 404812 w 814747"/>
                    <a:gd name="connsiteY3" fmla="*/ 1495425 h 2484511"/>
                    <a:gd name="connsiteX4" fmla="*/ 414337 w 814747"/>
                    <a:gd name="connsiteY4" fmla="*/ 1219200 h 2484511"/>
                    <a:gd name="connsiteX5" fmla="*/ 509587 w 814747"/>
                    <a:gd name="connsiteY5" fmla="*/ 895350 h 2484511"/>
                    <a:gd name="connsiteX6" fmla="*/ 814387 w 814747"/>
                    <a:gd name="connsiteY6" fmla="*/ 409575 h 2484511"/>
                    <a:gd name="connsiteX7" fmla="*/ 442912 w 814747"/>
                    <a:gd name="connsiteY7" fmla="*/ 0 h 2484511"/>
                    <a:gd name="connsiteX0" fmla="*/ 0 w 814747"/>
                    <a:gd name="connsiteY0" fmla="*/ 2481262 h 2484511"/>
                    <a:gd name="connsiteX1" fmla="*/ 228600 w 814747"/>
                    <a:gd name="connsiteY1" fmla="*/ 2357437 h 2484511"/>
                    <a:gd name="connsiteX2" fmla="*/ 261937 w 814747"/>
                    <a:gd name="connsiteY2" fmla="*/ 1743075 h 2484511"/>
                    <a:gd name="connsiteX3" fmla="*/ 404812 w 814747"/>
                    <a:gd name="connsiteY3" fmla="*/ 1495425 h 2484511"/>
                    <a:gd name="connsiteX4" fmla="*/ 414337 w 814747"/>
                    <a:gd name="connsiteY4" fmla="*/ 1219200 h 2484511"/>
                    <a:gd name="connsiteX5" fmla="*/ 509587 w 814747"/>
                    <a:gd name="connsiteY5" fmla="*/ 895350 h 2484511"/>
                    <a:gd name="connsiteX6" fmla="*/ 814387 w 814747"/>
                    <a:gd name="connsiteY6" fmla="*/ 409575 h 2484511"/>
                    <a:gd name="connsiteX7" fmla="*/ 442912 w 814747"/>
                    <a:gd name="connsiteY7" fmla="*/ 0 h 2484511"/>
                    <a:gd name="connsiteX0" fmla="*/ 0 w 814909"/>
                    <a:gd name="connsiteY0" fmla="*/ 2800349 h 2803598"/>
                    <a:gd name="connsiteX1" fmla="*/ 228600 w 814909"/>
                    <a:gd name="connsiteY1" fmla="*/ 2676524 h 2803598"/>
                    <a:gd name="connsiteX2" fmla="*/ 261937 w 814909"/>
                    <a:gd name="connsiteY2" fmla="*/ 2062162 h 2803598"/>
                    <a:gd name="connsiteX3" fmla="*/ 404812 w 814909"/>
                    <a:gd name="connsiteY3" fmla="*/ 1814512 h 2803598"/>
                    <a:gd name="connsiteX4" fmla="*/ 414337 w 814909"/>
                    <a:gd name="connsiteY4" fmla="*/ 1538287 h 2803598"/>
                    <a:gd name="connsiteX5" fmla="*/ 509587 w 814909"/>
                    <a:gd name="connsiteY5" fmla="*/ 1214437 h 2803598"/>
                    <a:gd name="connsiteX6" fmla="*/ 814387 w 814909"/>
                    <a:gd name="connsiteY6" fmla="*/ 728662 h 2803598"/>
                    <a:gd name="connsiteX7" fmla="*/ 428624 w 814909"/>
                    <a:gd name="connsiteY7" fmla="*/ 0 h 2803598"/>
                    <a:gd name="connsiteX0" fmla="*/ 0 w 748375"/>
                    <a:gd name="connsiteY0" fmla="*/ 2800349 h 2803598"/>
                    <a:gd name="connsiteX1" fmla="*/ 228600 w 748375"/>
                    <a:gd name="connsiteY1" fmla="*/ 2676524 h 2803598"/>
                    <a:gd name="connsiteX2" fmla="*/ 261937 w 748375"/>
                    <a:gd name="connsiteY2" fmla="*/ 2062162 h 2803598"/>
                    <a:gd name="connsiteX3" fmla="*/ 404812 w 748375"/>
                    <a:gd name="connsiteY3" fmla="*/ 1814512 h 2803598"/>
                    <a:gd name="connsiteX4" fmla="*/ 414337 w 748375"/>
                    <a:gd name="connsiteY4" fmla="*/ 1538287 h 2803598"/>
                    <a:gd name="connsiteX5" fmla="*/ 509587 w 748375"/>
                    <a:gd name="connsiteY5" fmla="*/ 1214437 h 2803598"/>
                    <a:gd name="connsiteX6" fmla="*/ 747712 w 748375"/>
                    <a:gd name="connsiteY6" fmla="*/ 723900 h 2803598"/>
                    <a:gd name="connsiteX7" fmla="*/ 428624 w 748375"/>
                    <a:gd name="connsiteY7" fmla="*/ 0 h 2803598"/>
                    <a:gd name="connsiteX0" fmla="*/ 0 w 752341"/>
                    <a:gd name="connsiteY0" fmla="*/ 2955924 h 2959173"/>
                    <a:gd name="connsiteX1" fmla="*/ 228600 w 752341"/>
                    <a:gd name="connsiteY1" fmla="*/ 2832099 h 2959173"/>
                    <a:gd name="connsiteX2" fmla="*/ 261937 w 752341"/>
                    <a:gd name="connsiteY2" fmla="*/ 2217737 h 2959173"/>
                    <a:gd name="connsiteX3" fmla="*/ 404812 w 752341"/>
                    <a:gd name="connsiteY3" fmla="*/ 1970087 h 2959173"/>
                    <a:gd name="connsiteX4" fmla="*/ 414337 w 752341"/>
                    <a:gd name="connsiteY4" fmla="*/ 1693862 h 2959173"/>
                    <a:gd name="connsiteX5" fmla="*/ 509587 w 752341"/>
                    <a:gd name="connsiteY5" fmla="*/ 1370012 h 2959173"/>
                    <a:gd name="connsiteX6" fmla="*/ 747712 w 752341"/>
                    <a:gd name="connsiteY6" fmla="*/ 879475 h 2959173"/>
                    <a:gd name="connsiteX7" fmla="*/ 692149 w 752341"/>
                    <a:gd name="connsiteY7" fmla="*/ 0 h 2959173"/>
                    <a:gd name="connsiteX0" fmla="*/ 0 w 805083"/>
                    <a:gd name="connsiteY0" fmla="*/ 2955924 h 2959173"/>
                    <a:gd name="connsiteX1" fmla="*/ 228600 w 805083"/>
                    <a:gd name="connsiteY1" fmla="*/ 2832099 h 2959173"/>
                    <a:gd name="connsiteX2" fmla="*/ 261937 w 805083"/>
                    <a:gd name="connsiteY2" fmla="*/ 2217737 h 2959173"/>
                    <a:gd name="connsiteX3" fmla="*/ 404812 w 805083"/>
                    <a:gd name="connsiteY3" fmla="*/ 1970087 h 2959173"/>
                    <a:gd name="connsiteX4" fmla="*/ 414337 w 805083"/>
                    <a:gd name="connsiteY4" fmla="*/ 1693862 h 2959173"/>
                    <a:gd name="connsiteX5" fmla="*/ 509587 w 805083"/>
                    <a:gd name="connsiteY5" fmla="*/ 1370012 h 2959173"/>
                    <a:gd name="connsiteX6" fmla="*/ 801687 w 805083"/>
                    <a:gd name="connsiteY6" fmla="*/ 901700 h 2959173"/>
                    <a:gd name="connsiteX7" fmla="*/ 692149 w 805083"/>
                    <a:gd name="connsiteY7" fmla="*/ 0 h 2959173"/>
                    <a:gd name="connsiteX0" fmla="*/ 0 w 806133"/>
                    <a:gd name="connsiteY0" fmla="*/ 2933699 h 2936948"/>
                    <a:gd name="connsiteX1" fmla="*/ 228600 w 806133"/>
                    <a:gd name="connsiteY1" fmla="*/ 2809874 h 2936948"/>
                    <a:gd name="connsiteX2" fmla="*/ 261937 w 806133"/>
                    <a:gd name="connsiteY2" fmla="*/ 2195512 h 2936948"/>
                    <a:gd name="connsiteX3" fmla="*/ 404812 w 806133"/>
                    <a:gd name="connsiteY3" fmla="*/ 1947862 h 2936948"/>
                    <a:gd name="connsiteX4" fmla="*/ 414337 w 806133"/>
                    <a:gd name="connsiteY4" fmla="*/ 1671637 h 2936948"/>
                    <a:gd name="connsiteX5" fmla="*/ 509587 w 806133"/>
                    <a:gd name="connsiteY5" fmla="*/ 1347787 h 2936948"/>
                    <a:gd name="connsiteX6" fmla="*/ 801687 w 806133"/>
                    <a:gd name="connsiteY6" fmla="*/ 879475 h 2936948"/>
                    <a:gd name="connsiteX7" fmla="*/ 711199 w 806133"/>
                    <a:gd name="connsiteY7" fmla="*/ 0 h 2936948"/>
                    <a:gd name="connsiteX0" fmla="*/ 0 w 577533"/>
                    <a:gd name="connsiteY0" fmla="*/ 2809874 h 2809874"/>
                    <a:gd name="connsiteX1" fmla="*/ 33337 w 577533"/>
                    <a:gd name="connsiteY1" fmla="*/ 2195512 h 2809874"/>
                    <a:gd name="connsiteX2" fmla="*/ 176212 w 577533"/>
                    <a:gd name="connsiteY2" fmla="*/ 1947862 h 2809874"/>
                    <a:gd name="connsiteX3" fmla="*/ 185737 w 577533"/>
                    <a:gd name="connsiteY3" fmla="*/ 1671637 h 2809874"/>
                    <a:gd name="connsiteX4" fmla="*/ 280987 w 577533"/>
                    <a:gd name="connsiteY4" fmla="*/ 1347787 h 2809874"/>
                    <a:gd name="connsiteX5" fmla="*/ 573087 w 577533"/>
                    <a:gd name="connsiteY5" fmla="*/ 879475 h 2809874"/>
                    <a:gd name="connsiteX6" fmla="*/ 482599 w 577533"/>
                    <a:gd name="connsiteY6" fmla="*/ 0 h 28098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7533" h="2809874">
                      <a:moveTo>
                        <a:pt x="0" y="2809874"/>
                      </a:moveTo>
                      <a:cubicBezTo>
                        <a:pt x="43656" y="2686843"/>
                        <a:pt x="3968" y="2339181"/>
                        <a:pt x="33337" y="2195512"/>
                      </a:cubicBezTo>
                      <a:cubicBezTo>
                        <a:pt x="62706" y="2051843"/>
                        <a:pt x="150812" y="2035174"/>
                        <a:pt x="176212" y="1947862"/>
                      </a:cubicBezTo>
                      <a:cubicBezTo>
                        <a:pt x="201612" y="1860550"/>
                        <a:pt x="168275" y="1771649"/>
                        <a:pt x="185737" y="1671637"/>
                      </a:cubicBezTo>
                      <a:cubicBezTo>
                        <a:pt x="203199" y="1571625"/>
                        <a:pt x="216429" y="1479814"/>
                        <a:pt x="280987" y="1347787"/>
                      </a:cubicBezTo>
                      <a:cubicBezTo>
                        <a:pt x="345545" y="1215760"/>
                        <a:pt x="539485" y="1104106"/>
                        <a:pt x="573087" y="879475"/>
                      </a:cubicBezTo>
                      <a:cubicBezTo>
                        <a:pt x="606689" y="654844"/>
                        <a:pt x="437354" y="484187"/>
                        <a:pt x="482599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00" name="Group 999"/>
              <p:cNvGrpSpPr/>
              <p:nvPr/>
            </p:nvGrpSpPr>
            <p:grpSpPr>
              <a:xfrm flipH="1">
                <a:off x="3945730" y="1235076"/>
                <a:ext cx="1181101" cy="2884487"/>
                <a:chOff x="4614862" y="1235076"/>
                <a:chExt cx="1181101" cy="2884487"/>
              </a:xfrm>
            </p:grpSpPr>
            <p:sp>
              <p:nvSpPr>
                <p:cNvPr id="1001" name="Freeform 1000"/>
                <p:cNvSpPr/>
                <p:nvPr/>
              </p:nvSpPr>
              <p:spPr>
                <a:xfrm>
                  <a:off x="5143501" y="1781176"/>
                  <a:ext cx="652462" cy="233838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652462"/>
                    <a:gd name="connsiteY0" fmla="*/ 2338387 h 2338387"/>
                    <a:gd name="connsiteX1" fmla="*/ 33337 w 652462"/>
                    <a:gd name="connsiteY1" fmla="*/ 1724025 h 2338387"/>
                    <a:gd name="connsiteX2" fmla="*/ 176212 w 652462"/>
                    <a:gd name="connsiteY2" fmla="*/ 1476375 h 2338387"/>
                    <a:gd name="connsiteX3" fmla="*/ 185737 w 652462"/>
                    <a:gd name="connsiteY3" fmla="*/ 1200150 h 2338387"/>
                    <a:gd name="connsiteX4" fmla="*/ 280987 w 652462"/>
                    <a:gd name="connsiteY4" fmla="*/ 876300 h 2338387"/>
                    <a:gd name="connsiteX5" fmla="*/ 585787 w 652462"/>
                    <a:gd name="connsiteY5" fmla="*/ 390525 h 2338387"/>
                    <a:gd name="connsiteX6" fmla="*/ 652462 w 652462"/>
                    <a:gd name="connsiteY6" fmla="*/ 0 h 233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52462" h="2338387">
                      <a:moveTo>
                        <a:pt x="0" y="2338387"/>
                      </a:moveTo>
                      <a:cubicBezTo>
                        <a:pt x="43656" y="2215356"/>
                        <a:pt x="3968" y="1867694"/>
                        <a:pt x="33337" y="1724025"/>
                      </a:cubicBezTo>
                      <a:cubicBezTo>
                        <a:pt x="62706" y="1580356"/>
                        <a:pt x="150812" y="1563687"/>
                        <a:pt x="176212" y="1476375"/>
                      </a:cubicBezTo>
                      <a:cubicBezTo>
                        <a:pt x="201612" y="1389063"/>
                        <a:pt x="168275" y="1300162"/>
                        <a:pt x="185737" y="1200150"/>
                      </a:cubicBezTo>
                      <a:cubicBezTo>
                        <a:pt x="203199" y="1100138"/>
                        <a:pt x="214312" y="1011237"/>
                        <a:pt x="280987" y="876300"/>
                      </a:cubicBezTo>
                      <a:cubicBezTo>
                        <a:pt x="347662" y="741363"/>
                        <a:pt x="523875" y="536575"/>
                        <a:pt x="585787" y="390525"/>
                      </a:cubicBezTo>
                      <a:cubicBezTo>
                        <a:pt x="647699" y="244475"/>
                        <a:pt x="650080" y="122237"/>
                        <a:pt x="652462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02" name="Freeform 1001"/>
                <p:cNvSpPr/>
                <p:nvPr/>
              </p:nvSpPr>
              <p:spPr>
                <a:xfrm>
                  <a:off x="5100638" y="1781176"/>
                  <a:ext cx="652462" cy="233838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652462"/>
                    <a:gd name="connsiteY0" fmla="*/ 2338387 h 2338387"/>
                    <a:gd name="connsiteX1" fmla="*/ 33337 w 652462"/>
                    <a:gd name="connsiteY1" fmla="*/ 1724025 h 2338387"/>
                    <a:gd name="connsiteX2" fmla="*/ 176212 w 652462"/>
                    <a:gd name="connsiteY2" fmla="*/ 1476375 h 2338387"/>
                    <a:gd name="connsiteX3" fmla="*/ 185737 w 652462"/>
                    <a:gd name="connsiteY3" fmla="*/ 1200150 h 2338387"/>
                    <a:gd name="connsiteX4" fmla="*/ 280987 w 652462"/>
                    <a:gd name="connsiteY4" fmla="*/ 876300 h 2338387"/>
                    <a:gd name="connsiteX5" fmla="*/ 585787 w 652462"/>
                    <a:gd name="connsiteY5" fmla="*/ 390525 h 2338387"/>
                    <a:gd name="connsiteX6" fmla="*/ 652462 w 652462"/>
                    <a:gd name="connsiteY6" fmla="*/ 0 h 233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52462" h="2338387">
                      <a:moveTo>
                        <a:pt x="0" y="2338387"/>
                      </a:moveTo>
                      <a:cubicBezTo>
                        <a:pt x="43656" y="2215356"/>
                        <a:pt x="3968" y="1867694"/>
                        <a:pt x="33337" y="1724025"/>
                      </a:cubicBezTo>
                      <a:cubicBezTo>
                        <a:pt x="62706" y="1580356"/>
                        <a:pt x="150812" y="1563687"/>
                        <a:pt x="176212" y="1476375"/>
                      </a:cubicBezTo>
                      <a:cubicBezTo>
                        <a:pt x="201612" y="1389063"/>
                        <a:pt x="168275" y="1300162"/>
                        <a:pt x="185737" y="1200150"/>
                      </a:cubicBezTo>
                      <a:cubicBezTo>
                        <a:pt x="203199" y="1100138"/>
                        <a:pt x="214312" y="1011237"/>
                        <a:pt x="280987" y="876300"/>
                      </a:cubicBezTo>
                      <a:cubicBezTo>
                        <a:pt x="347662" y="741363"/>
                        <a:pt x="523875" y="536575"/>
                        <a:pt x="585787" y="390525"/>
                      </a:cubicBezTo>
                      <a:cubicBezTo>
                        <a:pt x="647699" y="244475"/>
                        <a:pt x="650080" y="122237"/>
                        <a:pt x="652462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03" name="Freeform 1002"/>
                <p:cNvSpPr/>
                <p:nvPr/>
              </p:nvSpPr>
              <p:spPr>
                <a:xfrm>
                  <a:off x="5053013" y="1781176"/>
                  <a:ext cx="652462" cy="233838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652462"/>
                    <a:gd name="connsiteY0" fmla="*/ 2338387 h 2338387"/>
                    <a:gd name="connsiteX1" fmla="*/ 33337 w 652462"/>
                    <a:gd name="connsiteY1" fmla="*/ 1724025 h 2338387"/>
                    <a:gd name="connsiteX2" fmla="*/ 176212 w 652462"/>
                    <a:gd name="connsiteY2" fmla="*/ 1476375 h 2338387"/>
                    <a:gd name="connsiteX3" fmla="*/ 185737 w 652462"/>
                    <a:gd name="connsiteY3" fmla="*/ 1200150 h 2338387"/>
                    <a:gd name="connsiteX4" fmla="*/ 280987 w 652462"/>
                    <a:gd name="connsiteY4" fmla="*/ 876300 h 2338387"/>
                    <a:gd name="connsiteX5" fmla="*/ 585787 w 652462"/>
                    <a:gd name="connsiteY5" fmla="*/ 390525 h 2338387"/>
                    <a:gd name="connsiteX6" fmla="*/ 652462 w 652462"/>
                    <a:gd name="connsiteY6" fmla="*/ 0 h 233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52462" h="2338387">
                      <a:moveTo>
                        <a:pt x="0" y="2338387"/>
                      </a:moveTo>
                      <a:cubicBezTo>
                        <a:pt x="43656" y="2215356"/>
                        <a:pt x="3968" y="1867694"/>
                        <a:pt x="33337" y="1724025"/>
                      </a:cubicBezTo>
                      <a:cubicBezTo>
                        <a:pt x="62706" y="1580356"/>
                        <a:pt x="150812" y="1563687"/>
                        <a:pt x="176212" y="1476375"/>
                      </a:cubicBezTo>
                      <a:cubicBezTo>
                        <a:pt x="201612" y="1389063"/>
                        <a:pt x="168275" y="1300162"/>
                        <a:pt x="185737" y="1200150"/>
                      </a:cubicBezTo>
                      <a:cubicBezTo>
                        <a:pt x="203199" y="1100138"/>
                        <a:pt x="214312" y="1011237"/>
                        <a:pt x="280987" y="876300"/>
                      </a:cubicBezTo>
                      <a:cubicBezTo>
                        <a:pt x="347662" y="741363"/>
                        <a:pt x="523875" y="536575"/>
                        <a:pt x="585787" y="390525"/>
                      </a:cubicBezTo>
                      <a:cubicBezTo>
                        <a:pt x="647699" y="244475"/>
                        <a:pt x="650080" y="122237"/>
                        <a:pt x="652462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04" name="Freeform 1003"/>
                <p:cNvSpPr/>
                <p:nvPr/>
              </p:nvSpPr>
              <p:spPr>
                <a:xfrm>
                  <a:off x="5000626" y="1781176"/>
                  <a:ext cx="652462" cy="233838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652462"/>
                    <a:gd name="connsiteY0" fmla="*/ 2338387 h 2338387"/>
                    <a:gd name="connsiteX1" fmla="*/ 33337 w 652462"/>
                    <a:gd name="connsiteY1" fmla="*/ 1724025 h 2338387"/>
                    <a:gd name="connsiteX2" fmla="*/ 176212 w 652462"/>
                    <a:gd name="connsiteY2" fmla="*/ 1476375 h 2338387"/>
                    <a:gd name="connsiteX3" fmla="*/ 185737 w 652462"/>
                    <a:gd name="connsiteY3" fmla="*/ 1200150 h 2338387"/>
                    <a:gd name="connsiteX4" fmla="*/ 280987 w 652462"/>
                    <a:gd name="connsiteY4" fmla="*/ 876300 h 2338387"/>
                    <a:gd name="connsiteX5" fmla="*/ 585787 w 652462"/>
                    <a:gd name="connsiteY5" fmla="*/ 390525 h 2338387"/>
                    <a:gd name="connsiteX6" fmla="*/ 652462 w 652462"/>
                    <a:gd name="connsiteY6" fmla="*/ 0 h 233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52462" h="2338387">
                      <a:moveTo>
                        <a:pt x="0" y="2338387"/>
                      </a:moveTo>
                      <a:cubicBezTo>
                        <a:pt x="43656" y="2215356"/>
                        <a:pt x="3968" y="1867694"/>
                        <a:pt x="33337" y="1724025"/>
                      </a:cubicBezTo>
                      <a:cubicBezTo>
                        <a:pt x="62706" y="1580356"/>
                        <a:pt x="150812" y="1563687"/>
                        <a:pt x="176212" y="1476375"/>
                      </a:cubicBezTo>
                      <a:cubicBezTo>
                        <a:pt x="201612" y="1389063"/>
                        <a:pt x="168275" y="1300162"/>
                        <a:pt x="185737" y="1200150"/>
                      </a:cubicBezTo>
                      <a:cubicBezTo>
                        <a:pt x="203199" y="1100138"/>
                        <a:pt x="214312" y="1011237"/>
                        <a:pt x="280987" y="876300"/>
                      </a:cubicBezTo>
                      <a:cubicBezTo>
                        <a:pt x="347662" y="741363"/>
                        <a:pt x="523875" y="536575"/>
                        <a:pt x="585787" y="390525"/>
                      </a:cubicBezTo>
                      <a:cubicBezTo>
                        <a:pt x="647699" y="244475"/>
                        <a:pt x="650080" y="122237"/>
                        <a:pt x="652462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05" name="Freeform 1004"/>
                <p:cNvSpPr/>
                <p:nvPr/>
              </p:nvSpPr>
              <p:spPr>
                <a:xfrm>
                  <a:off x="4957763" y="1612901"/>
                  <a:ext cx="788987" cy="2506662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1004887"/>
                    <a:gd name="connsiteY0" fmla="*/ 2681287 h 2684536"/>
                    <a:gd name="connsiteX1" fmla="*/ 228600 w 1004887"/>
                    <a:gd name="connsiteY1" fmla="*/ 2557462 h 2684536"/>
                    <a:gd name="connsiteX2" fmla="*/ 261937 w 1004887"/>
                    <a:gd name="connsiteY2" fmla="*/ 1943100 h 2684536"/>
                    <a:gd name="connsiteX3" fmla="*/ 404812 w 1004887"/>
                    <a:gd name="connsiteY3" fmla="*/ 1695450 h 2684536"/>
                    <a:gd name="connsiteX4" fmla="*/ 414337 w 1004887"/>
                    <a:gd name="connsiteY4" fmla="*/ 1419225 h 2684536"/>
                    <a:gd name="connsiteX5" fmla="*/ 509587 w 1004887"/>
                    <a:gd name="connsiteY5" fmla="*/ 1095375 h 2684536"/>
                    <a:gd name="connsiteX6" fmla="*/ 814387 w 1004887"/>
                    <a:gd name="connsiteY6" fmla="*/ 609600 h 2684536"/>
                    <a:gd name="connsiteX7" fmla="*/ 1004887 w 1004887"/>
                    <a:gd name="connsiteY7" fmla="*/ 0 h 2684536"/>
                    <a:gd name="connsiteX0" fmla="*/ 0 w 1004887"/>
                    <a:gd name="connsiteY0" fmla="*/ 2681287 h 2684536"/>
                    <a:gd name="connsiteX1" fmla="*/ 228600 w 1004887"/>
                    <a:gd name="connsiteY1" fmla="*/ 2557462 h 2684536"/>
                    <a:gd name="connsiteX2" fmla="*/ 261937 w 1004887"/>
                    <a:gd name="connsiteY2" fmla="*/ 1943100 h 2684536"/>
                    <a:gd name="connsiteX3" fmla="*/ 404812 w 1004887"/>
                    <a:gd name="connsiteY3" fmla="*/ 1695450 h 2684536"/>
                    <a:gd name="connsiteX4" fmla="*/ 414337 w 1004887"/>
                    <a:gd name="connsiteY4" fmla="*/ 1419225 h 2684536"/>
                    <a:gd name="connsiteX5" fmla="*/ 509587 w 1004887"/>
                    <a:gd name="connsiteY5" fmla="*/ 1095375 h 2684536"/>
                    <a:gd name="connsiteX6" fmla="*/ 814387 w 1004887"/>
                    <a:gd name="connsiteY6" fmla="*/ 609600 h 2684536"/>
                    <a:gd name="connsiteX7" fmla="*/ 1004887 w 1004887"/>
                    <a:gd name="connsiteY7" fmla="*/ 0 h 2684536"/>
                    <a:gd name="connsiteX0" fmla="*/ 0 w 1017587"/>
                    <a:gd name="connsiteY0" fmla="*/ 2630487 h 2633736"/>
                    <a:gd name="connsiteX1" fmla="*/ 228600 w 1017587"/>
                    <a:gd name="connsiteY1" fmla="*/ 2506662 h 2633736"/>
                    <a:gd name="connsiteX2" fmla="*/ 261937 w 1017587"/>
                    <a:gd name="connsiteY2" fmla="*/ 1892300 h 2633736"/>
                    <a:gd name="connsiteX3" fmla="*/ 404812 w 1017587"/>
                    <a:gd name="connsiteY3" fmla="*/ 1644650 h 2633736"/>
                    <a:gd name="connsiteX4" fmla="*/ 414337 w 1017587"/>
                    <a:gd name="connsiteY4" fmla="*/ 1368425 h 2633736"/>
                    <a:gd name="connsiteX5" fmla="*/ 509587 w 1017587"/>
                    <a:gd name="connsiteY5" fmla="*/ 1044575 h 2633736"/>
                    <a:gd name="connsiteX6" fmla="*/ 814387 w 1017587"/>
                    <a:gd name="connsiteY6" fmla="*/ 558800 h 2633736"/>
                    <a:gd name="connsiteX7" fmla="*/ 1017587 w 1017587"/>
                    <a:gd name="connsiteY7" fmla="*/ 0 h 2633736"/>
                    <a:gd name="connsiteX0" fmla="*/ 0 w 1017587"/>
                    <a:gd name="connsiteY0" fmla="*/ 2630487 h 2633736"/>
                    <a:gd name="connsiteX1" fmla="*/ 228600 w 1017587"/>
                    <a:gd name="connsiteY1" fmla="*/ 2506662 h 2633736"/>
                    <a:gd name="connsiteX2" fmla="*/ 261937 w 1017587"/>
                    <a:gd name="connsiteY2" fmla="*/ 1892300 h 2633736"/>
                    <a:gd name="connsiteX3" fmla="*/ 404812 w 1017587"/>
                    <a:gd name="connsiteY3" fmla="*/ 1644650 h 2633736"/>
                    <a:gd name="connsiteX4" fmla="*/ 414337 w 1017587"/>
                    <a:gd name="connsiteY4" fmla="*/ 1368425 h 2633736"/>
                    <a:gd name="connsiteX5" fmla="*/ 509587 w 1017587"/>
                    <a:gd name="connsiteY5" fmla="*/ 1044575 h 2633736"/>
                    <a:gd name="connsiteX6" fmla="*/ 814387 w 1017587"/>
                    <a:gd name="connsiteY6" fmla="*/ 558800 h 2633736"/>
                    <a:gd name="connsiteX7" fmla="*/ 1017587 w 1017587"/>
                    <a:gd name="connsiteY7" fmla="*/ 0 h 2633736"/>
                    <a:gd name="connsiteX0" fmla="*/ 0 w 788987"/>
                    <a:gd name="connsiteY0" fmla="*/ 2506662 h 2506662"/>
                    <a:gd name="connsiteX1" fmla="*/ 33337 w 788987"/>
                    <a:gd name="connsiteY1" fmla="*/ 1892300 h 2506662"/>
                    <a:gd name="connsiteX2" fmla="*/ 176212 w 788987"/>
                    <a:gd name="connsiteY2" fmla="*/ 1644650 h 2506662"/>
                    <a:gd name="connsiteX3" fmla="*/ 185737 w 788987"/>
                    <a:gd name="connsiteY3" fmla="*/ 1368425 h 2506662"/>
                    <a:gd name="connsiteX4" fmla="*/ 280987 w 788987"/>
                    <a:gd name="connsiteY4" fmla="*/ 1044575 h 2506662"/>
                    <a:gd name="connsiteX5" fmla="*/ 585787 w 788987"/>
                    <a:gd name="connsiteY5" fmla="*/ 558800 h 2506662"/>
                    <a:gd name="connsiteX6" fmla="*/ 788987 w 788987"/>
                    <a:gd name="connsiteY6" fmla="*/ 0 h 2506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88987" h="2506662">
                      <a:moveTo>
                        <a:pt x="0" y="2506662"/>
                      </a:moveTo>
                      <a:cubicBezTo>
                        <a:pt x="43656" y="2383631"/>
                        <a:pt x="3968" y="2035969"/>
                        <a:pt x="33337" y="1892300"/>
                      </a:cubicBezTo>
                      <a:cubicBezTo>
                        <a:pt x="62706" y="1748631"/>
                        <a:pt x="150812" y="1731962"/>
                        <a:pt x="176212" y="1644650"/>
                      </a:cubicBezTo>
                      <a:cubicBezTo>
                        <a:pt x="201612" y="1557338"/>
                        <a:pt x="168275" y="1468437"/>
                        <a:pt x="185737" y="1368425"/>
                      </a:cubicBezTo>
                      <a:cubicBezTo>
                        <a:pt x="203199" y="1268413"/>
                        <a:pt x="214312" y="1179512"/>
                        <a:pt x="280987" y="1044575"/>
                      </a:cubicBezTo>
                      <a:cubicBezTo>
                        <a:pt x="347662" y="909638"/>
                        <a:pt x="501120" y="732896"/>
                        <a:pt x="585787" y="558800"/>
                      </a:cubicBezTo>
                      <a:cubicBezTo>
                        <a:pt x="670454" y="384704"/>
                        <a:pt x="500855" y="182562"/>
                        <a:pt x="78898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06" name="Freeform 1005"/>
                <p:cNvSpPr/>
                <p:nvPr/>
              </p:nvSpPr>
              <p:spPr>
                <a:xfrm>
                  <a:off x="4905376" y="1504951"/>
                  <a:ext cx="804862" cy="2614612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1033462"/>
                    <a:gd name="connsiteY0" fmla="*/ 2738437 h 2741686"/>
                    <a:gd name="connsiteX1" fmla="*/ 228600 w 1033462"/>
                    <a:gd name="connsiteY1" fmla="*/ 2614612 h 2741686"/>
                    <a:gd name="connsiteX2" fmla="*/ 261937 w 1033462"/>
                    <a:gd name="connsiteY2" fmla="*/ 2000250 h 2741686"/>
                    <a:gd name="connsiteX3" fmla="*/ 404812 w 1033462"/>
                    <a:gd name="connsiteY3" fmla="*/ 1752600 h 2741686"/>
                    <a:gd name="connsiteX4" fmla="*/ 414337 w 1033462"/>
                    <a:gd name="connsiteY4" fmla="*/ 1476375 h 2741686"/>
                    <a:gd name="connsiteX5" fmla="*/ 509587 w 1033462"/>
                    <a:gd name="connsiteY5" fmla="*/ 1152525 h 2741686"/>
                    <a:gd name="connsiteX6" fmla="*/ 814387 w 1033462"/>
                    <a:gd name="connsiteY6" fmla="*/ 666750 h 2741686"/>
                    <a:gd name="connsiteX7" fmla="*/ 1033462 w 1033462"/>
                    <a:gd name="connsiteY7" fmla="*/ 0 h 2741686"/>
                    <a:gd name="connsiteX0" fmla="*/ 0 w 1033462"/>
                    <a:gd name="connsiteY0" fmla="*/ 2738437 h 2741686"/>
                    <a:gd name="connsiteX1" fmla="*/ 228600 w 1033462"/>
                    <a:gd name="connsiteY1" fmla="*/ 2614612 h 2741686"/>
                    <a:gd name="connsiteX2" fmla="*/ 261937 w 1033462"/>
                    <a:gd name="connsiteY2" fmla="*/ 2000250 h 2741686"/>
                    <a:gd name="connsiteX3" fmla="*/ 404812 w 1033462"/>
                    <a:gd name="connsiteY3" fmla="*/ 1752600 h 2741686"/>
                    <a:gd name="connsiteX4" fmla="*/ 414337 w 1033462"/>
                    <a:gd name="connsiteY4" fmla="*/ 1476375 h 2741686"/>
                    <a:gd name="connsiteX5" fmla="*/ 509587 w 1033462"/>
                    <a:gd name="connsiteY5" fmla="*/ 1152525 h 2741686"/>
                    <a:gd name="connsiteX6" fmla="*/ 814387 w 1033462"/>
                    <a:gd name="connsiteY6" fmla="*/ 666750 h 2741686"/>
                    <a:gd name="connsiteX7" fmla="*/ 1033462 w 1033462"/>
                    <a:gd name="connsiteY7" fmla="*/ 0 h 2741686"/>
                    <a:gd name="connsiteX0" fmla="*/ 0 w 804862"/>
                    <a:gd name="connsiteY0" fmla="*/ 2614612 h 2614612"/>
                    <a:gd name="connsiteX1" fmla="*/ 33337 w 804862"/>
                    <a:gd name="connsiteY1" fmla="*/ 2000250 h 2614612"/>
                    <a:gd name="connsiteX2" fmla="*/ 176212 w 804862"/>
                    <a:gd name="connsiteY2" fmla="*/ 1752600 h 2614612"/>
                    <a:gd name="connsiteX3" fmla="*/ 185737 w 804862"/>
                    <a:gd name="connsiteY3" fmla="*/ 1476375 h 2614612"/>
                    <a:gd name="connsiteX4" fmla="*/ 280987 w 804862"/>
                    <a:gd name="connsiteY4" fmla="*/ 1152525 h 2614612"/>
                    <a:gd name="connsiteX5" fmla="*/ 585787 w 804862"/>
                    <a:gd name="connsiteY5" fmla="*/ 666750 h 2614612"/>
                    <a:gd name="connsiteX6" fmla="*/ 804862 w 804862"/>
                    <a:gd name="connsiteY6" fmla="*/ 0 h 2614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04862" h="2614612">
                      <a:moveTo>
                        <a:pt x="0" y="2614612"/>
                      </a:moveTo>
                      <a:cubicBezTo>
                        <a:pt x="43656" y="2491581"/>
                        <a:pt x="3968" y="2143919"/>
                        <a:pt x="33337" y="2000250"/>
                      </a:cubicBezTo>
                      <a:cubicBezTo>
                        <a:pt x="62706" y="1856581"/>
                        <a:pt x="150812" y="1839912"/>
                        <a:pt x="176212" y="1752600"/>
                      </a:cubicBezTo>
                      <a:cubicBezTo>
                        <a:pt x="201612" y="1665288"/>
                        <a:pt x="168275" y="1576387"/>
                        <a:pt x="185737" y="1476375"/>
                      </a:cubicBezTo>
                      <a:cubicBezTo>
                        <a:pt x="203199" y="1376363"/>
                        <a:pt x="214312" y="1287462"/>
                        <a:pt x="280987" y="1152525"/>
                      </a:cubicBezTo>
                      <a:cubicBezTo>
                        <a:pt x="347662" y="1017588"/>
                        <a:pt x="498474" y="858838"/>
                        <a:pt x="585787" y="666750"/>
                      </a:cubicBezTo>
                      <a:cubicBezTo>
                        <a:pt x="673100" y="474662"/>
                        <a:pt x="519905" y="204787"/>
                        <a:pt x="804862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07" name="Freeform 1006"/>
                <p:cNvSpPr/>
                <p:nvPr/>
              </p:nvSpPr>
              <p:spPr>
                <a:xfrm>
                  <a:off x="4852989" y="1435101"/>
                  <a:ext cx="782637" cy="2684462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1011237"/>
                    <a:gd name="connsiteY0" fmla="*/ 2808287 h 2811536"/>
                    <a:gd name="connsiteX1" fmla="*/ 228600 w 1011237"/>
                    <a:gd name="connsiteY1" fmla="*/ 2684462 h 2811536"/>
                    <a:gd name="connsiteX2" fmla="*/ 261937 w 1011237"/>
                    <a:gd name="connsiteY2" fmla="*/ 2070100 h 2811536"/>
                    <a:gd name="connsiteX3" fmla="*/ 404812 w 1011237"/>
                    <a:gd name="connsiteY3" fmla="*/ 1822450 h 2811536"/>
                    <a:gd name="connsiteX4" fmla="*/ 414337 w 1011237"/>
                    <a:gd name="connsiteY4" fmla="*/ 1546225 h 2811536"/>
                    <a:gd name="connsiteX5" fmla="*/ 509587 w 1011237"/>
                    <a:gd name="connsiteY5" fmla="*/ 1222375 h 2811536"/>
                    <a:gd name="connsiteX6" fmla="*/ 814387 w 1011237"/>
                    <a:gd name="connsiteY6" fmla="*/ 736600 h 2811536"/>
                    <a:gd name="connsiteX7" fmla="*/ 1011237 w 1011237"/>
                    <a:gd name="connsiteY7" fmla="*/ 0 h 2811536"/>
                    <a:gd name="connsiteX0" fmla="*/ 0 w 1011237"/>
                    <a:gd name="connsiteY0" fmla="*/ 2808287 h 2811536"/>
                    <a:gd name="connsiteX1" fmla="*/ 228600 w 1011237"/>
                    <a:gd name="connsiteY1" fmla="*/ 2684462 h 2811536"/>
                    <a:gd name="connsiteX2" fmla="*/ 261937 w 1011237"/>
                    <a:gd name="connsiteY2" fmla="*/ 2070100 h 2811536"/>
                    <a:gd name="connsiteX3" fmla="*/ 404812 w 1011237"/>
                    <a:gd name="connsiteY3" fmla="*/ 1822450 h 2811536"/>
                    <a:gd name="connsiteX4" fmla="*/ 414337 w 1011237"/>
                    <a:gd name="connsiteY4" fmla="*/ 1546225 h 2811536"/>
                    <a:gd name="connsiteX5" fmla="*/ 509587 w 1011237"/>
                    <a:gd name="connsiteY5" fmla="*/ 1222375 h 2811536"/>
                    <a:gd name="connsiteX6" fmla="*/ 814387 w 1011237"/>
                    <a:gd name="connsiteY6" fmla="*/ 736600 h 2811536"/>
                    <a:gd name="connsiteX7" fmla="*/ 1011237 w 1011237"/>
                    <a:gd name="connsiteY7" fmla="*/ 0 h 2811536"/>
                    <a:gd name="connsiteX0" fmla="*/ 0 w 782637"/>
                    <a:gd name="connsiteY0" fmla="*/ 2684462 h 2684462"/>
                    <a:gd name="connsiteX1" fmla="*/ 33337 w 782637"/>
                    <a:gd name="connsiteY1" fmla="*/ 2070100 h 2684462"/>
                    <a:gd name="connsiteX2" fmla="*/ 176212 w 782637"/>
                    <a:gd name="connsiteY2" fmla="*/ 1822450 h 2684462"/>
                    <a:gd name="connsiteX3" fmla="*/ 185737 w 782637"/>
                    <a:gd name="connsiteY3" fmla="*/ 1546225 h 2684462"/>
                    <a:gd name="connsiteX4" fmla="*/ 280987 w 782637"/>
                    <a:gd name="connsiteY4" fmla="*/ 1222375 h 2684462"/>
                    <a:gd name="connsiteX5" fmla="*/ 585787 w 782637"/>
                    <a:gd name="connsiteY5" fmla="*/ 736600 h 2684462"/>
                    <a:gd name="connsiteX6" fmla="*/ 782637 w 782637"/>
                    <a:gd name="connsiteY6" fmla="*/ 0 h 2684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82637" h="2684462">
                      <a:moveTo>
                        <a:pt x="0" y="2684462"/>
                      </a:moveTo>
                      <a:cubicBezTo>
                        <a:pt x="43656" y="2561431"/>
                        <a:pt x="3968" y="2213769"/>
                        <a:pt x="33337" y="2070100"/>
                      </a:cubicBezTo>
                      <a:cubicBezTo>
                        <a:pt x="62706" y="1926431"/>
                        <a:pt x="150812" y="1909762"/>
                        <a:pt x="176212" y="1822450"/>
                      </a:cubicBezTo>
                      <a:cubicBezTo>
                        <a:pt x="201612" y="1735138"/>
                        <a:pt x="168275" y="1646237"/>
                        <a:pt x="185737" y="1546225"/>
                      </a:cubicBezTo>
                      <a:cubicBezTo>
                        <a:pt x="203199" y="1446213"/>
                        <a:pt x="214312" y="1357312"/>
                        <a:pt x="280987" y="1222375"/>
                      </a:cubicBezTo>
                      <a:cubicBezTo>
                        <a:pt x="347662" y="1087438"/>
                        <a:pt x="502179" y="940329"/>
                        <a:pt x="585787" y="736600"/>
                      </a:cubicBezTo>
                      <a:cubicBezTo>
                        <a:pt x="669395" y="532871"/>
                        <a:pt x="504030" y="255587"/>
                        <a:pt x="78263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08" name="Freeform 1007"/>
                <p:cNvSpPr/>
                <p:nvPr/>
              </p:nvSpPr>
              <p:spPr>
                <a:xfrm>
                  <a:off x="4810125" y="1358901"/>
                  <a:ext cx="769937" cy="2760662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843795"/>
                    <a:gd name="connsiteY0" fmla="*/ 2659062 h 2662311"/>
                    <a:gd name="connsiteX1" fmla="*/ 228600 w 843795"/>
                    <a:gd name="connsiteY1" fmla="*/ 2535237 h 2662311"/>
                    <a:gd name="connsiteX2" fmla="*/ 261937 w 843795"/>
                    <a:gd name="connsiteY2" fmla="*/ 1920875 h 2662311"/>
                    <a:gd name="connsiteX3" fmla="*/ 404812 w 843795"/>
                    <a:gd name="connsiteY3" fmla="*/ 1673225 h 2662311"/>
                    <a:gd name="connsiteX4" fmla="*/ 414337 w 843795"/>
                    <a:gd name="connsiteY4" fmla="*/ 1397000 h 2662311"/>
                    <a:gd name="connsiteX5" fmla="*/ 509587 w 843795"/>
                    <a:gd name="connsiteY5" fmla="*/ 1073150 h 2662311"/>
                    <a:gd name="connsiteX6" fmla="*/ 814387 w 843795"/>
                    <a:gd name="connsiteY6" fmla="*/ 587375 h 2662311"/>
                    <a:gd name="connsiteX7" fmla="*/ 833437 w 843795"/>
                    <a:gd name="connsiteY7" fmla="*/ 0 h 2662311"/>
                    <a:gd name="connsiteX0" fmla="*/ 0 w 1008062"/>
                    <a:gd name="connsiteY0" fmla="*/ 2868612 h 2871861"/>
                    <a:gd name="connsiteX1" fmla="*/ 228600 w 1008062"/>
                    <a:gd name="connsiteY1" fmla="*/ 2744787 h 2871861"/>
                    <a:gd name="connsiteX2" fmla="*/ 261937 w 1008062"/>
                    <a:gd name="connsiteY2" fmla="*/ 2130425 h 2871861"/>
                    <a:gd name="connsiteX3" fmla="*/ 404812 w 1008062"/>
                    <a:gd name="connsiteY3" fmla="*/ 1882775 h 2871861"/>
                    <a:gd name="connsiteX4" fmla="*/ 414337 w 1008062"/>
                    <a:gd name="connsiteY4" fmla="*/ 1606550 h 2871861"/>
                    <a:gd name="connsiteX5" fmla="*/ 509587 w 1008062"/>
                    <a:gd name="connsiteY5" fmla="*/ 1282700 h 2871861"/>
                    <a:gd name="connsiteX6" fmla="*/ 814387 w 1008062"/>
                    <a:gd name="connsiteY6" fmla="*/ 796925 h 2871861"/>
                    <a:gd name="connsiteX7" fmla="*/ 1008062 w 1008062"/>
                    <a:gd name="connsiteY7" fmla="*/ 0 h 2871861"/>
                    <a:gd name="connsiteX0" fmla="*/ 0 w 1008062"/>
                    <a:gd name="connsiteY0" fmla="*/ 2868612 h 2871861"/>
                    <a:gd name="connsiteX1" fmla="*/ 228600 w 1008062"/>
                    <a:gd name="connsiteY1" fmla="*/ 2744787 h 2871861"/>
                    <a:gd name="connsiteX2" fmla="*/ 261937 w 1008062"/>
                    <a:gd name="connsiteY2" fmla="*/ 2130425 h 2871861"/>
                    <a:gd name="connsiteX3" fmla="*/ 404812 w 1008062"/>
                    <a:gd name="connsiteY3" fmla="*/ 1882775 h 2871861"/>
                    <a:gd name="connsiteX4" fmla="*/ 414337 w 1008062"/>
                    <a:gd name="connsiteY4" fmla="*/ 1606550 h 2871861"/>
                    <a:gd name="connsiteX5" fmla="*/ 509587 w 1008062"/>
                    <a:gd name="connsiteY5" fmla="*/ 1282700 h 2871861"/>
                    <a:gd name="connsiteX6" fmla="*/ 814387 w 1008062"/>
                    <a:gd name="connsiteY6" fmla="*/ 796925 h 2871861"/>
                    <a:gd name="connsiteX7" fmla="*/ 1008062 w 1008062"/>
                    <a:gd name="connsiteY7" fmla="*/ 0 h 2871861"/>
                    <a:gd name="connsiteX0" fmla="*/ 0 w 998537"/>
                    <a:gd name="connsiteY0" fmla="*/ 2884487 h 2887736"/>
                    <a:gd name="connsiteX1" fmla="*/ 228600 w 998537"/>
                    <a:gd name="connsiteY1" fmla="*/ 2760662 h 2887736"/>
                    <a:gd name="connsiteX2" fmla="*/ 261937 w 998537"/>
                    <a:gd name="connsiteY2" fmla="*/ 2146300 h 2887736"/>
                    <a:gd name="connsiteX3" fmla="*/ 404812 w 998537"/>
                    <a:gd name="connsiteY3" fmla="*/ 1898650 h 2887736"/>
                    <a:gd name="connsiteX4" fmla="*/ 414337 w 998537"/>
                    <a:gd name="connsiteY4" fmla="*/ 1622425 h 2887736"/>
                    <a:gd name="connsiteX5" fmla="*/ 509587 w 998537"/>
                    <a:gd name="connsiteY5" fmla="*/ 1298575 h 2887736"/>
                    <a:gd name="connsiteX6" fmla="*/ 814387 w 998537"/>
                    <a:gd name="connsiteY6" fmla="*/ 812800 h 2887736"/>
                    <a:gd name="connsiteX7" fmla="*/ 998537 w 998537"/>
                    <a:gd name="connsiteY7" fmla="*/ 0 h 2887736"/>
                    <a:gd name="connsiteX0" fmla="*/ 0 w 998537"/>
                    <a:gd name="connsiteY0" fmla="*/ 2884487 h 2887736"/>
                    <a:gd name="connsiteX1" fmla="*/ 228600 w 998537"/>
                    <a:gd name="connsiteY1" fmla="*/ 2760662 h 2887736"/>
                    <a:gd name="connsiteX2" fmla="*/ 261937 w 998537"/>
                    <a:gd name="connsiteY2" fmla="*/ 2146300 h 2887736"/>
                    <a:gd name="connsiteX3" fmla="*/ 404812 w 998537"/>
                    <a:gd name="connsiteY3" fmla="*/ 1898650 h 2887736"/>
                    <a:gd name="connsiteX4" fmla="*/ 414337 w 998537"/>
                    <a:gd name="connsiteY4" fmla="*/ 1622425 h 2887736"/>
                    <a:gd name="connsiteX5" fmla="*/ 509587 w 998537"/>
                    <a:gd name="connsiteY5" fmla="*/ 1298575 h 2887736"/>
                    <a:gd name="connsiteX6" fmla="*/ 814387 w 998537"/>
                    <a:gd name="connsiteY6" fmla="*/ 812800 h 2887736"/>
                    <a:gd name="connsiteX7" fmla="*/ 998537 w 998537"/>
                    <a:gd name="connsiteY7" fmla="*/ 0 h 2887736"/>
                    <a:gd name="connsiteX0" fmla="*/ 0 w 998537"/>
                    <a:gd name="connsiteY0" fmla="*/ 2884487 h 2887736"/>
                    <a:gd name="connsiteX1" fmla="*/ 228600 w 998537"/>
                    <a:gd name="connsiteY1" fmla="*/ 2760662 h 2887736"/>
                    <a:gd name="connsiteX2" fmla="*/ 261937 w 998537"/>
                    <a:gd name="connsiteY2" fmla="*/ 2146300 h 2887736"/>
                    <a:gd name="connsiteX3" fmla="*/ 404812 w 998537"/>
                    <a:gd name="connsiteY3" fmla="*/ 1898650 h 2887736"/>
                    <a:gd name="connsiteX4" fmla="*/ 414337 w 998537"/>
                    <a:gd name="connsiteY4" fmla="*/ 1622425 h 2887736"/>
                    <a:gd name="connsiteX5" fmla="*/ 509587 w 998537"/>
                    <a:gd name="connsiteY5" fmla="*/ 1298575 h 2887736"/>
                    <a:gd name="connsiteX6" fmla="*/ 814387 w 998537"/>
                    <a:gd name="connsiteY6" fmla="*/ 812800 h 2887736"/>
                    <a:gd name="connsiteX7" fmla="*/ 998537 w 998537"/>
                    <a:gd name="connsiteY7" fmla="*/ 0 h 2887736"/>
                    <a:gd name="connsiteX0" fmla="*/ 0 w 769937"/>
                    <a:gd name="connsiteY0" fmla="*/ 2760662 h 2760662"/>
                    <a:gd name="connsiteX1" fmla="*/ 33337 w 769937"/>
                    <a:gd name="connsiteY1" fmla="*/ 2146300 h 2760662"/>
                    <a:gd name="connsiteX2" fmla="*/ 176212 w 769937"/>
                    <a:gd name="connsiteY2" fmla="*/ 1898650 h 2760662"/>
                    <a:gd name="connsiteX3" fmla="*/ 185737 w 769937"/>
                    <a:gd name="connsiteY3" fmla="*/ 1622425 h 2760662"/>
                    <a:gd name="connsiteX4" fmla="*/ 280987 w 769937"/>
                    <a:gd name="connsiteY4" fmla="*/ 1298575 h 2760662"/>
                    <a:gd name="connsiteX5" fmla="*/ 585787 w 769937"/>
                    <a:gd name="connsiteY5" fmla="*/ 812800 h 2760662"/>
                    <a:gd name="connsiteX6" fmla="*/ 769937 w 769937"/>
                    <a:gd name="connsiteY6" fmla="*/ 0 h 2760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9937" h="2760662">
                      <a:moveTo>
                        <a:pt x="0" y="2760662"/>
                      </a:moveTo>
                      <a:cubicBezTo>
                        <a:pt x="43656" y="2637631"/>
                        <a:pt x="3968" y="2289969"/>
                        <a:pt x="33337" y="2146300"/>
                      </a:cubicBezTo>
                      <a:cubicBezTo>
                        <a:pt x="62706" y="2002631"/>
                        <a:pt x="150812" y="1985962"/>
                        <a:pt x="176212" y="1898650"/>
                      </a:cubicBezTo>
                      <a:cubicBezTo>
                        <a:pt x="201612" y="1811338"/>
                        <a:pt x="168275" y="1722437"/>
                        <a:pt x="185737" y="1622425"/>
                      </a:cubicBezTo>
                      <a:cubicBezTo>
                        <a:pt x="203199" y="1522413"/>
                        <a:pt x="214312" y="1433512"/>
                        <a:pt x="280987" y="1298575"/>
                      </a:cubicBezTo>
                      <a:cubicBezTo>
                        <a:pt x="347662" y="1163638"/>
                        <a:pt x="504295" y="1029229"/>
                        <a:pt x="585787" y="812800"/>
                      </a:cubicBezTo>
                      <a:cubicBezTo>
                        <a:pt x="667279" y="596371"/>
                        <a:pt x="438942" y="441325"/>
                        <a:pt x="76993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09" name="Freeform 1008"/>
                <p:cNvSpPr/>
                <p:nvPr/>
              </p:nvSpPr>
              <p:spPr>
                <a:xfrm>
                  <a:off x="4752976" y="1266826"/>
                  <a:ext cx="738187" cy="285273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966787"/>
                    <a:gd name="connsiteY0" fmla="*/ 2976562 h 2979811"/>
                    <a:gd name="connsiteX1" fmla="*/ 228600 w 966787"/>
                    <a:gd name="connsiteY1" fmla="*/ 2852737 h 2979811"/>
                    <a:gd name="connsiteX2" fmla="*/ 261937 w 966787"/>
                    <a:gd name="connsiteY2" fmla="*/ 2238375 h 2979811"/>
                    <a:gd name="connsiteX3" fmla="*/ 404812 w 966787"/>
                    <a:gd name="connsiteY3" fmla="*/ 1990725 h 2979811"/>
                    <a:gd name="connsiteX4" fmla="*/ 414337 w 966787"/>
                    <a:gd name="connsiteY4" fmla="*/ 1714500 h 2979811"/>
                    <a:gd name="connsiteX5" fmla="*/ 509587 w 966787"/>
                    <a:gd name="connsiteY5" fmla="*/ 1390650 h 2979811"/>
                    <a:gd name="connsiteX6" fmla="*/ 814387 w 966787"/>
                    <a:gd name="connsiteY6" fmla="*/ 904875 h 2979811"/>
                    <a:gd name="connsiteX7" fmla="*/ 966787 w 966787"/>
                    <a:gd name="connsiteY7" fmla="*/ 0 h 2979811"/>
                    <a:gd name="connsiteX0" fmla="*/ 0 w 966787"/>
                    <a:gd name="connsiteY0" fmla="*/ 2976562 h 2979811"/>
                    <a:gd name="connsiteX1" fmla="*/ 228600 w 966787"/>
                    <a:gd name="connsiteY1" fmla="*/ 2852737 h 2979811"/>
                    <a:gd name="connsiteX2" fmla="*/ 261937 w 966787"/>
                    <a:gd name="connsiteY2" fmla="*/ 2238375 h 2979811"/>
                    <a:gd name="connsiteX3" fmla="*/ 404812 w 966787"/>
                    <a:gd name="connsiteY3" fmla="*/ 1990725 h 2979811"/>
                    <a:gd name="connsiteX4" fmla="*/ 414337 w 966787"/>
                    <a:gd name="connsiteY4" fmla="*/ 1714500 h 2979811"/>
                    <a:gd name="connsiteX5" fmla="*/ 509587 w 966787"/>
                    <a:gd name="connsiteY5" fmla="*/ 1390650 h 2979811"/>
                    <a:gd name="connsiteX6" fmla="*/ 814387 w 966787"/>
                    <a:gd name="connsiteY6" fmla="*/ 904875 h 2979811"/>
                    <a:gd name="connsiteX7" fmla="*/ 966787 w 966787"/>
                    <a:gd name="connsiteY7" fmla="*/ 0 h 2979811"/>
                    <a:gd name="connsiteX0" fmla="*/ 0 w 966787"/>
                    <a:gd name="connsiteY0" fmla="*/ 2976562 h 2979811"/>
                    <a:gd name="connsiteX1" fmla="*/ 228600 w 966787"/>
                    <a:gd name="connsiteY1" fmla="*/ 2852737 h 2979811"/>
                    <a:gd name="connsiteX2" fmla="*/ 261937 w 966787"/>
                    <a:gd name="connsiteY2" fmla="*/ 2238375 h 2979811"/>
                    <a:gd name="connsiteX3" fmla="*/ 404812 w 966787"/>
                    <a:gd name="connsiteY3" fmla="*/ 1990725 h 2979811"/>
                    <a:gd name="connsiteX4" fmla="*/ 414337 w 966787"/>
                    <a:gd name="connsiteY4" fmla="*/ 1714500 h 2979811"/>
                    <a:gd name="connsiteX5" fmla="*/ 509587 w 966787"/>
                    <a:gd name="connsiteY5" fmla="*/ 1390650 h 2979811"/>
                    <a:gd name="connsiteX6" fmla="*/ 814387 w 966787"/>
                    <a:gd name="connsiteY6" fmla="*/ 904875 h 2979811"/>
                    <a:gd name="connsiteX7" fmla="*/ 966787 w 966787"/>
                    <a:gd name="connsiteY7" fmla="*/ 0 h 2979811"/>
                    <a:gd name="connsiteX0" fmla="*/ 0 w 966787"/>
                    <a:gd name="connsiteY0" fmla="*/ 2976562 h 2979811"/>
                    <a:gd name="connsiteX1" fmla="*/ 228600 w 966787"/>
                    <a:gd name="connsiteY1" fmla="*/ 2852737 h 2979811"/>
                    <a:gd name="connsiteX2" fmla="*/ 261937 w 966787"/>
                    <a:gd name="connsiteY2" fmla="*/ 2238375 h 2979811"/>
                    <a:gd name="connsiteX3" fmla="*/ 404812 w 966787"/>
                    <a:gd name="connsiteY3" fmla="*/ 1990725 h 2979811"/>
                    <a:gd name="connsiteX4" fmla="*/ 414337 w 966787"/>
                    <a:gd name="connsiteY4" fmla="*/ 1714500 h 2979811"/>
                    <a:gd name="connsiteX5" fmla="*/ 509587 w 966787"/>
                    <a:gd name="connsiteY5" fmla="*/ 1390650 h 2979811"/>
                    <a:gd name="connsiteX6" fmla="*/ 814387 w 966787"/>
                    <a:gd name="connsiteY6" fmla="*/ 904875 h 2979811"/>
                    <a:gd name="connsiteX7" fmla="*/ 966787 w 966787"/>
                    <a:gd name="connsiteY7" fmla="*/ 0 h 2979811"/>
                    <a:gd name="connsiteX0" fmla="*/ 0 w 966787"/>
                    <a:gd name="connsiteY0" fmla="*/ 2976562 h 2979811"/>
                    <a:gd name="connsiteX1" fmla="*/ 228600 w 966787"/>
                    <a:gd name="connsiteY1" fmla="*/ 2852737 h 2979811"/>
                    <a:gd name="connsiteX2" fmla="*/ 261937 w 966787"/>
                    <a:gd name="connsiteY2" fmla="*/ 2238375 h 2979811"/>
                    <a:gd name="connsiteX3" fmla="*/ 404812 w 966787"/>
                    <a:gd name="connsiteY3" fmla="*/ 1990725 h 2979811"/>
                    <a:gd name="connsiteX4" fmla="*/ 414337 w 966787"/>
                    <a:gd name="connsiteY4" fmla="*/ 1714500 h 2979811"/>
                    <a:gd name="connsiteX5" fmla="*/ 509587 w 966787"/>
                    <a:gd name="connsiteY5" fmla="*/ 1390650 h 2979811"/>
                    <a:gd name="connsiteX6" fmla="*/ 814387 w 966787"/>
                    <a:gd name="connsiteY6" fmla="*/ 904875 h 2979811"/>
                    <a:gd name="connsiteX7" fmla="*/ 966787 w 966787"/>
                    <a:gd name="connsiteY7" fmla="*/ 0 h 2979811"/>
                    <a:gd name="connsiteX0" fmla="*/ 0 w 738187"/>
                    <a:gd name="connsiteY0" fmla="*/ 2852737 h 2852737"/>
                    <a:gd name="connsiteX1" fmla="*/ 33337 w 738187"/>
                    <a:gd name="connsiteY1" fmla="*/ 2238375 h 2852737"/>
                    <a:gd name="connsiteX2" fmla="*/ 176212 w 738187"/>
                    <a:gd name="connsiteY2" fmla="*/ 1990725 h 2852737"/>
                    <a:gd name="connsiteX3" fmla="*/ 185737 w 738187"/>
                    <a:gd name="connsiteY3" fmla="*/ 1714500 h 2852737"/>
                    <a:gd name="connsiteX4" fmla="*/ 280987 w 738187"/>
                    <a:gd name="connsiteY4" fmla="*/ 1390650 h 2852737"/>
                    <a:gd name="connsiteX5" fmla="*/ 585787 w 738187"/>
                    <a:gd name="connsiteY5" fmla="*/ 904875 h 2852737"/>
                    <a:gd name="connsiteX6" fmla="*/ 738187 w 738187"/>
                    <a:gd name="connsiteY6" fmla="*/ 0 h 2852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38187" h="2852737">
                      <a:moveTo>
                        <a:pt x="0" y="2852737"/>
                      </a:moveTo>
                      <a:cubicBezTo>
                        <a:pt x="43656" y="2729706"/>
                        <a:pt x="3968" y="2382044"/>
                        <a:pt x="33337" y="2238375"/>
                      </a:cubicBezTo>
                      <a:cubicBezTo>
                        <a:pt x="62706" y="2094706"/>
                        <a:pt x="150812" y="2078037"/>
                        <a:pt x="176212" y="1990725"/>
                      </a:cubicBezTo>
                      <a:cubicBezTo>
                        <a:pt x="201612" y="1903413"/>
                        <a:pt x="168275" y="1814512"/>
                        <a:pt x="185737" y="1714500"/>
                      </a:cubicBezTo>
                      <a:cubicBezTo>
                        <a:pt x="203199" y="1614488"/>
                        <a:pt x="214312" y="1525587"/>
                        <a:pt x="280987" y="1390650"/>
                      </a:cubicBezTo>
                      <a:cubicBezTo>
                        <a:pt x="347662" y="1255713"/>
                        <a:pt x="509587" y="1136650"/>
                        <a:pt x="585787" y="904875"/>
                      </a:cubicBezTo>
                      <a:cubicBezTo>
                        <a:pt x="661987" y="673100"/>
                        <a:pt x="383380" y="612774"/>
                        <a:pt x="73818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10" name="Freeform 1009"/>
                <p:cNvSpPr/>
                <p:nvPr/>
              </p:nvSpPr>
              <p:spPr>
                <a:xfrm>
                  <a:off x="4705351" y="1235076"/>
                  <a:ext cx="706437" cy="2884487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935037"/>
                    <a:gd name="connsiteY0" fmla="*/ 3008312 h 3011561"/>
                    <a:gd name="connsiteX1" fmla="*/ 228600 w 935037"/>
                    <a:gd name="connsiteY1" fmla="*/ 2884487 h 3011561"/>
                    <a:gd name="connsiteX2" fmla="*/ 261937 w 935037"/>
                    <a:gd name="connsiteY2" fmla="*/ 2270125 h 3011561"/>
                    <a:gd name="connsiteX3" fmla="*/ 404812 w 935037"/>
                    <a:gd name="connsiteY3" fmla="*/ 2022475 h 3011561"/>
                    <a:gd name="connsiteX4" fmla="*/ 414337 w 935037"/>
                    <a:gd name="connsiteY4" fmla="*/ 1746250 h 3011561"/>
                    <a:gd name="connsiteX5" fmla="*/ 509587 w 935037"/>
                    <a:gd name="connsiteY5" fmla="*/ 1422400 h 3011561"/>
                    <a:gd name="connsiteX6" fmla="*/ 814387 w 935037"/>
                    <a:gd name="connsiteY6" fmla="*/ 936625 h 3011561"/>
                    <a:gd name="connsiteX7" fmla="*/ 935037 w 935037"/>
                    <a:gd name="connsiteY7" fmla="*/ 0 h 3011561"/>
                    <a:gd name="connsiteX0" fmla="*/ 0 w 935037"/>
                    <a:gd name="connsiteY0" fmla="*/ 3008312 h 3011561"/>
                    <a:gd name="connsiteX1" fmla="*/ 228600 w 935037"/>
                    <a:gd name="connsiteY1" fmla="*/ 2884487 h 3011561"/>
                    <a:gd name="connsiteX2" fmla="*/ 261937 w 935037"/>
                    <a:gd name="connsiteY2" fmla="*/ 2270125 h 3011561"/>
                    <a:gd name="connsiteX3" fmla="*/ 404812 w 935037"/>
                    <a:gd name="connsiteY3" fmla="*/ 2022475 h 3011561"/>
                    <a:gd name="connsiteX4" fmla="*/ 414337 w 935037"/>
                    <a:gd name="connsiteY4" fmla="*/ 1746250 h 3011561"/>
                    <a:gd name="connsiteX5" fmla="*/ 509587 w 935037"/>
                    <a:gd name="connsiteY5" fmla="*/ 1422400 h 3011561"/>
                    <a:gd name="connsiteX6" fmla="*/ 814387 w 935037"/>
                    <a:gd name="connsiteY6" fmla="*/ 936625 h 3011561"/>
                    <a:gd name="connsiteX7" fmla="*/ 935037 w 935037"/>
                    <a:gd name="connsiteY7" fmla="*/ 0 h 3011561"/>
                    <a:gd name="connsiteX0" fmla="*/ 0 w 706437"/>
                    <a:gd name="connsiteY0" fmla="*/ 2884487 h 2884487"/>
                    <a:gd name="connsiteX1" fmla="*/ 33337 w 706437"/>
                    <a:gd name="connsiteY1" fmla="*/ 2270125 h 2884487"/>
                    <a:gd name="connsiteX2" fmla="*/ 176212 w 706437"/>
                    <a:gd name="connsiteY2" fmla="*/ 2022475 h 2884487"/>
                    <a:gd name="connsiteX3" fmla="*/ 185737 w 706437"/>
                    <a:gd name="connsiteY3" fmla="*/ 1746250 h 2884487"/>
                    <a:gd name="connsiteX4" fmla="*/ 280987 w 706437"/>
                    <a:gd name="connsiteY4" fmla="*/ 1422400 h 2884487"/>
                    <a:gd name="connsiteX5" fmla="*/ 585787 w 706437"/>
                    <a:gd name="connsiteY5" fmla="*/ 936625 h 2884487"/>
                    <a:gd name="connsiteX6" fmla="*/ 706437 w 706437"/>
                    <a:gd name="connsiteY6" fmla="*/ 0 h 28844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06437" h="2884487">
                      <a:moveTo>
                        <a:pt x="0" y="2884487"/>
                      </a:moveTo>
                      <a:cubicBezTo>
                        <a:pt x="43656" y="2761456"/>
                        <a:pt x="3968" y="2413794"/>
                        <a:pt x="33337" y="2270125"/>
                      </a:cubicBezTo>
                      <a:cubicBezTo>
                        <a:pt x="62706" y="2126456"/>
                        <a:pt x="150812" y="2109787"/>
                        <a:pt x="176212" y="2022475"/>
                      </a:cubicBezTo>
                      <a:cubicBezTo>
                        <a:pt x="201612" y="1935163"/>
                        <a:pt x="168275" y="1846262"/>
                        <a:pt x="185737" y="1746250"/>
                      </a:cubicBezTo>
                      <a:cubicBezTo>
                        <a:pt x="203199" y="1646238"/>
                        <a:pt x="214312" y="1557337"/>
                        <a:pt x="280987" y="1422400"/>
                      </a:cubicBezTo>
                      <a:cubicBezTo>
                        <a:pt x="347662" y="1287463"/>
                        <a:pt x="514879" y="1173692"/>
                        <a:pt x="585787" y="936625"/>
                      </a:cubicBezTo>
                      <a:cubicBezTo>
                        <a:pt x="656695" y="699558"/>
                        <a:pt x="348455" y="611187"/>
                        <a:pt x="70643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11" name="Freeform 1010"/>
                <p:cNvSpPr/>
                <p:nvPr/>
              </p:nvSpPr>
              <p:spPr>
                <a:xfrm>
                  <a:off x="4662488" y="1287463"/>
                  <a:ext cx="591708" cy="2832099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814642"/>
                    <a:gd name="connsiteY0" fmla="*/ 2800349 h 2803598"/>
                    <a:gd name="connsiteX1" fmla="*/ 228600 w 814642"/>
                    <a:gd name="connsiteY1" fmla="*/ 2676524 h 2803598"/>
                    <a:gd name="connsiteX2" fmla="*/ 261937 w 814642"/>
                    <a:gd name="connsiteY2" fmla="*/ 2062162 h 2803598"/>
                    <a:gd name="connsiteX3" fmla="*/ 404812 w 814642"/>
                    <a:gd name="connsiteY3" fmla="*/ 1814512 h 2803598"/>
                    <a:gd name="connsiteX4" fmla="*/ 414337 w 814642"/>
                    <a:gd name="connsiteY4" fmla="*/ 1538287 h 2803598"/>
                    <a:gd name="connsiteX5" fmla="*/ 509587 w 814642"/>
                    <a:gd name="connsiteY5" fmla="*/ 1214437 h 2803598"/>
                    <a:gd name="connsiteX6" fmla="*/ 814387 w 814642"/>
                    <a:gd name="connsiteY6" fmla="*/ 728662 h 2803598"/>
                    <a:gd name="connsiteX7" fmla="*/ 566737 w 814642"/>
                    <a:gd name="connsiteY7" fmla="*/ 0 h 2803598"/>
                    <a:gd name="connsiteX0" fmla="*/ 0 w 814548"/>
                    <a:gd name="connsiteY0" fmla="*/ 2800349 h 2803598"/>
                    <a:gd name="connsiteX1" fmla="*/ 228600 w 814548"/>
                    <a:gd name="connsiteY1" fmla="*/ 2676524 h 2803598"/>
                    <a:gd name="connsiteX2" fmla="*/ 261937 w 814548"/>
                    <a:gd name="connsiteY2" fmla="*/ 2062162 h 2803598"/>
                    <a:gd name="connsiteX3" fmla="*/ 404812 w 814548"/>
                    <a:gd name="connsiteY3" fmla="*/ 1814512 h 2803598"/>
                    <a:gd name="connsiteX4" fmla="*/ 414337 w 814548"/>
                    <a:gd name="connsiteY4" fmla="*/ 1538287 h 2803598"/>
                    <a:gd name="connsiteX5" fmla="*/ 509587 w 814548"/>
                    <a:gd name="connsiteY5" fmla="*/ 1214437 h 2803598"/>
                    <a:gd name="connsiteX6" fmla="*/ 814387 w 814548"/>
                    <a:gd name="connsiteY6" fmla="*/ 728662 h 2803598"/>
                    <a:gd name="connsiteX7" fmla="*/ 566737 w 814548"/>
                    <a:gd name="connsiteY7" fmla="*/ 0 h 2803598"/>
                    <a:gd name="connsiteX0" fmla="*/ 0 w 820308"/>
                    <a:gd name="connsiteY0" fmla="*/ 2955924 h 2959173"/>
                    <a:gd name="connsiteX1" fmla="*/ 228600 w 820308"/>
                    <a:gd name="connsiteY1" fmla="*/ 2832099 h 2959173"/>
                    <a:gd name="connsiteX2" fmla="*/ 261937 w 820308"/>
                    <a:gd name="connsiteY2" fmla="*/ 2217737 h 2959173"/>
                    <a:gd name="connsiteX3" fmla="*/ 404812 w 820308"/>
                    <a:gd name="connsiteY3" fmla="*/ 1970087 h 2959173"/>
                    <a:gd name="connsiteX4" fmla="*/ 414337 w 820308"/>
                    <a:gd name="connsiteY4" fmla="*/ 1693862 h 2959173"/>
                    <a:gd name="connsiteX5" fmla="*/ 509587 w 820308"/>
                    <a:gd name="connsiteY5" fmla="*/ 1370012 h 2959173"/>
                    <a:gd name="connsiteX6" fmla="*/ 814387 w 820308"/>
                    <a:gd name="connsiteY6" fmla="*/ 884237 h 2959173"/>
                    <a:gd name="connsiteX7" fmla="*/ 782637 w 820308"/>
                    <a:gd name="connsiteY7" fmla="*/ 0 h 2959173"/>
                    <a:gd name="connsiteX0" fmla="*/ 0 w 591708"/>
                    <a:gd name="connsiteY0" fmla="*/ 2832099 h 2832099"/>
                    <a:gd name="connsiteX1" fmla="*/ 33337 w 591708"/>
                    <a:gd name="connsiteY1" fmla="*/ 2217737 h 2832099"/>
                    <a:gd name="connsiteX2" fmla="*/ 176212 w 591708"/>
                    <a:gd name="connsiteY2" fmla="*/ 1970087 h 2832099"/>
                    <a:gd name="connsiteX3" fmla="*/ 185737 w 591708"/>
                    <a:gd name="connsiteY3" fmla="*/ 1693862 h 2832099"/>
                    <a:gd name="connsiteX4" fmla="*/ 280987 w 591708"/>
                    <a:gd name="connsiteY4" fmla="*/ 1370012 h 2832099"/>
                    <a:gd name="connsiteX5" fmla="*/ 585787 w 591708"/>
                    <a:gd name="connsiteY5" fmla="*/ 884237 h 2832099"/>
                    <a:gd name="connsiteX6" fmla="*/ 554037 w 591708"/>
                    <a:gd name="connsiteY6" fmla="*/ 0 h 28320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91708" h="2832099">
                      <a:moveTo>
                        <a:pt x="0" y="2832099"/>
                      </a:moveTo>
                      <a:cubicBezTo>
                        <a:pt x="43656" y="2709068"/>
                        <a:pt x="3968" y="2361406"/>
                        <a:pt x="33337" y="2217737"/>
                      </a:cubicBezTo>
                      <a:cubicBezTo>
                        <a:pt x="62706" y="2074068"/>
                        <a:pt x="150812" y="2057399"/>
                        <a:pt x="176212" y="1970087"/>
                      </a:cubicBezTo>
                      <a:cubicBezTo>
                        <a:pt x="201612" y="1882775"/>
                        <a:pt x="168275" y="1793874"/>
                        <a:pt x="185737" y="1693862"/>
                      </a:cubicBezTo>
                      <a:cubicBezTo>
                        <a:pt x="203199" y="1593850"/>
                        <a:pt x="214312" y="1504949"/>
                        <a:pt x="280987" y="1370012"/>
                      </a:cubicBezTo>
                      <a:cubicBezTo>
                        <a:pt x="347662" y="1235075"/>
                        <a:pt x="540279" y="1112572"/>
                        <a:pt x="585787" y="884237"/>
                      </a:cubicBezTo>
                      <a:cubicBezTo>
                        <a:pt x="631295" y="655902"/>
                        <a:pt x="394492" y="455612"/>
                        <a:pt x="554037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1012" name="Freeform 1011"/>
                <p:cNvSpPr/>
                <p:nvPr/>
              </p:nvSpPr>
              <p:spPr>
                <a:xfrm>
                  <a:off x="4614862" y="1309689"/>
                  <a:ext cx="577533" cy="2809874"/>
                </a:xfrm>
                <a:custGeom>
                  <a:avLst/>
                  <a:gdLst>
                    <a:gd name="connsiteX0" fmla="*/ 0 w 771525"/>
                    <a:gd name="connsiteY0" fmla="*/ 2428875 h 2435408"/>
                    <a:gd name="connsiteX1" fmla="*/ 142875 w 771525"/>
                    <a:gd name="connsiteY1" fmla="*/ 2333625 h 2435408"/>
                    <a:gd name="connsiteX2" fmla="*/ 152400 w 771525"/>
                    <a:gd name="connsiteY2" fmla="*/ 1724025 h 2435408"/>
                    <a:gd name="connsiteX3" fmla="*/ 295275 w 771525"/>
                    <a:gd name="connsiteY3" fmla="*/ 1476375 h 2435408"/>
                    <a:gd name="connsiteX4" fmla="*/ 304800 w 771525"/>
                    <a:gd name="connsiteY4" fmla="*/ 1200150 h 2435408"/>
                    <a:gd name="connsiteX5" fmla="*/ 400050 w 771525"/>
                    <a:gd name="connsiteY5" fmla="*/ 876300 h 2435408"/>
                    <a:gd name="connsiteX6" fmla="*/ 704850 w 771525"/>
                    <a:gd name="connsiteY6" fmla="*/ 390525 h 2435408"/>
                    <a:gd name="connsiteX7" fmla="*/ 771525 w 771525"/>
                    <a:gd name="connsiteY7" fmla="*/ 0 h 2435408"/>
                    <a:gd name="connsiteX0" fmla="*/ 0 w 833437"/>
                    <a:gd name="connsiteY0" fmla="*/ 2447925 h 2451899"/>
                    <a:gd name="connsiteX1" fmla="*/ 204787 w 833437"/>
                    <a:gd name="connsiteY1" fmla="*/ 2333625 h 2451899"/>
                    <a:gd name="connsiteX2" fmla="*/ 214312 w 833437"/>
                    <a:gd name="connsiteY2" fmla="*/ 1724025 h 2451899"/>
                    <a:gd name="connsiteX3" fmla="*/ 357187 w 833437"/>
                    <a:gd name="connsiteY3" fmla="*/ 1476375 h 2451899"/>
                    <a:gd name="connsiteX4" fmla="*/ 366712 w 833437"/>
                    <a:gd name="connsiteY4" fmla="*/ 1200150 h 2451899"/>
                    <a:gd name="connsiteX5" fmla="*/ 461962 w 833437"/>
                    <a:gd name="connsiteY5" fmla="*/ 876300 h 2451899"/>
                    <a:gd name="connsiteX6" fmla="*/ 766762 w 833437"/>
                    <a:gd name="connsiteY6" fmla="*/ 390525 h 2451899"/>
                    <a:gd name="connsiteX7" fmla="*/ 833437 w 833437"/>
                    <a:gd name="connsiteY7" fmla="*/ 0 h 2451899"/>
                    <a:gd name="connsiteX0" fmla="*/ 0 w 833437"/>
                    <a:gd name="connsiteY0" fmla="*/ 2447925 h 2452496"/>
                    <a:gd name="connsiteX1" fmla="*/ 180975 w 833437"/>
                    <a:gd name="connsiteY1" fmla="*/ 2338387 h 2452496"/>
                    <a:gd name="connsiteX2" fmla="*/ 214312 w 833437"/>
                    <a:gd name="connsiteY2" fmla="*/ 1724025 h 2452496"/>
                    <a:gd name="connsiteX3" fmla="*/ 357187 w 833437"/>
                    <a:gd name="connsiteY3" fmla="*/ 1476375 h 2452496"/>
                    <a:gd name="connsiteX4" fmla="*/ 366712 w 833437"/>
                    <a:gd name="connsiteY4" fmla="*/ 1200150 h 2452496"/>
                    <a:gd name="connsiteX5" fmla="*/ 461962 w 833437"/>
                    <a:gd name="connsiteY5" fmla="*/ 876300 h 2452496"/>
                    <a:gd name="connsiteX6" fmla="*/ 766762 w 833437"/>
                    <a:gd name="connsiteY6" fmla="*/ 390525 h 2452496"/>
                    <a:gd name="connsiteX7" fmla="*/ 833437 w 833437"/>
                    <a:gd name="connsiteY7" fmla="*/ 0 h 2452496"/>
                    <a:gd name="connsiteX0" fmla="*/ 0 w 881062"/>
                    <a:gd name="connsiteY0" fmla="*/ 2462212 h 2465461"/>
                    <a:gd name="connsiteX1" fmla="*/ 228600 w 881062"/>
                    <a:gd name="connsiteY1" fmla="*/ 2338387 h 2465461"/>
                    <a:gd name="connsiteX2" fmla="*/ 261937 w 881062"/>
                    <a:gd name="connsiteY2" fmla="*/ 1724025 h 2465461"/>
                    <a:gd name="connsiteX3" fmla="*/ 404812 w 881062"/>
                    <a:gd name="connsiteY3" fmla="*/ 1476375 h 2465461"/>
                    <a:gd name="connsiteX4" fmla="*/ 414337 w 881062"/>
                    <a:gd name="connsiteY4" fmla="*/ 1200150 h 2465461"/>
                    <a:gd name="connsiteX5" fmla="*/ 509587 w 881062"/>
                    <a:gd name="connsiteY5" fmla="*/ 876300 h 2465461"/>
                    <a:gd name="connsiteX6" fmla="*/ 814387 w 881062"/>
                    <a:gd name="connsiteY6" fmla="*/ 390525 h 2465461"/>
                    <a:gd name="connsiteX7" fmla="*/ 881062 w 881062"/>
                    <a:gd name="connsiteY7" fmla="*/ 0 h 2465461"/>
                    <a:gd name="connsiteX0" fmla="*/ 0 w 814747"/>
                    <a:gd name="connsiteY0" fmla="*/ 2481262 h 2484511"/>
                    <a:gd name="connsiteX1" fmla="*/ 228600 w 814747"/>
                    <a:gd name="connsiteY1" fmla="*/ 2357437 h 2484511"/>
                    <a:gd name="connsiteX2" fmla="*/ 261937 w 814747"/>
                    <a:gd name="connsiteY2" fmla="*/ 1743075 h 2484511"/>
                    <a:gd name="connsiteX3" fmla="*/ 404812 w 814747"/>
                    <a:gd name="connsiteY3" fmla="*/ 1495425 h 2484511"/>
                    <a:gd name="connsiteX4" fmla="*/ 414337 w 814747"/>
                    <a:gd name="connsiteY4" fmla="*/ 1219200 h 2484511"/>
                    <a:gd name="connsiteX5" fmla="*/ 509587 w 814747"/>
                    <a:gd name="connsiteY5" fmla="*/ 895350 h 2484511"/>
                    <a:gd name="connsiteX6" fmla="*/ 814387 w 814747"/>
                    <a:gd name="connsiteY6" fmla="*/ 409575 h 2484511"/>
                    <a:gd name="connsiteX7" fmla="*/ 442912 w 814747"/>
                    <a:gd name="connsiteY7" fmla="*/ 0 h 2484511"/>
                    <a:gd name="connsiteX0" fmla="*/ 0 w 814747"/>
                    <a:gd name="connsiteY0" fmla="*/ 2481262 h 2484511"/>
                    <a:gd name="connsiteX1" fmla="*/ 228600 w 814747"/>
                    <a:gd name="connsiteY1" fmla="*/ 2357437 h 2484511"/>
                    <a:gd name="connsiteX2" fmla="*/ 261937 w 814747"/>
                    <a:gd name="connsiteY2" fmla="*/ 1743075 h 2484511"/>
                    <a:gd name="connsiteX3" fmla="*/ 404812 w 814747"/>
                    <a:gd name="connsiteY3" fmla="*/ 1495425 h 2484511"/>
                    <a:gd name="connsiteX4" fmla="*/ 414337 w 814747"/>
                    <a:gd name="connsiteY4" fmla="*/ 1219200 h 2484511"/>
                    <a:gd name="connsiteX5" fmla="*/ 509587 w 814747"/>
                    <a:gd name="connsiteY5" fmla="*/ 895350 h 2484511"/>
                    <a:gd name="connsiteX6" fmla="*/ 814387 w 814747"/>
                    <a:gd name="connsiteY6" fmla="*/ 409575 h 2484511"/>
                    <a:gd name="connsiteX7" fmla="*/ 442912 w 814747"/>
                    <a:gd name="connsiteY7" fmla="*/ 0 h 2484511"/>
                    <a:gd name="connsiteX0" fmla="*/ 0 w 814909"/>
                    <a:gd name="connsiteY0" fmla="*/ 2800349 h 2803598"/>
                    <a:gd name="connsiteX1" fmla="*/ 228600 w 814909"/>
                    <a:gd name="connsiteY1" fmla="*/ 2676524 h 2803598"/>
                    <a:gd name="connsiteX2" fmla="*/ 261937 w 814909"/>
                    <a:gd name="connsiteY2" fmla="*/ 2062162 h 2803598"/>
                    <a:gd name="connsiteX3" fmla="*/ 404812 w 814909"/>
                    <a:gd name="connsiteY3" fmla="*/ 1814512 h 2803598"/>
                    <a:gd name="connsiteX4" fmla="*/ 414337 w 814909"/>
                    <a:gd name="connsiteY4" fmla="*/ 1538287 h 2803598"/>
                    <a:gd name="connsiteX5" fmla="*/ 509587 w 814909"/>
                    <a:gd name="connsiteY5" fmla="*/ 1214437 h 2803598"/>
                    <a:gd name="connsiteX6" fmla="*/ 814387 w 814909"/>
                    <a:gd name="connsiteY6" fmla="*/ 728662 h 2803598"/>
                    <a:gd name="connsiteX7" fmla="*/ 428624 w 814909"/>
                    <a:gd name="connsiteY7" fmla="*/ 0 h 2803598"/>
                    <a:gd name="connsiteX0" fmla="*/ 0 w 748375"/>
                    <a:gd name="connsiteY0" fmla="*/ 2800349 h 2803598"/>
                    <a:gd name="connsiteX1" fmla="*/ 228600 w 748375"/>
                    <a:gd name="connsiteY1" fmla="*/ 2676524 h 2803598"/>
                    <a:gd name="connsiteX2" fmla="*/ 261937 w 748375"/>
                    <a:gd name="connsiteY2" fmla="*/ 2062162 h 2803598"/>
                    <a:gd name="connsiteX3" fmla="*/ 404812 w 748375"/>
                    <a:gd name="connsiteY3" fmla="*/ 1814512 h 2803598"/>
                    <a:gd name="connsiteX4" fmla="*/ 414337 w 748375"/>
                    <a:gd name="connsiteY4" fmla="*/ 1538287 h 2803598"/>
                    <a:gd name="connsiteX5" fmla="*/ 509587 w 748375"/>
                    <a:gd name="connsiteY5" fmla="*/ 1214437 h 2803598"/>
                    <a:gd name="connsiteX6" fmla="*/ 747712 w 748375"/>
                    <a:gd name="connsiteY6" fmla="*/ 723900 h 2803598"/>
                    <a:gd name="connsiteX7" fmla="*/ 428624 w 748375"/>
                    <a:gd name="connsiteY7" fmla="*/ 0 h 2803598"/>
                    <a:gd name="connsiteX0" fmla="*/ 0 w 752341"/>
                    <a:gd name="connsiteY0" fmla="*/ 2955924 h 2959173"/>
                    <a:gd name="connsiteX1" fmla="*/ 228600 w 752341"/>
                    <a:gd name="connsiteY1" fmla="*/ 2832099 h 2959173"/>
                    <a:gd name="connsiteX2" fmla="*/ 261937 w 752341"/>
                    <a:gd name="connsiteY2" fmla="*/ 2217737 h 2959173"/>
                    <a:gd name="connsiteX3" fmla="*/ 404812 w 752341"/>
                    <a:gd name="connsiteY3" fmla="*/ 1970087 h 2959173"/>
                    <a:gd name="connsiteX4" fmla="*/ 414337 w 752341"/>
                    <a:gd name="connsiteY4" fmla="*/ 1693862 h 2959173"/>
                    <a:gd name="connsiteX5" fmla="*/ 509587 w 752341"/>
                    <a:gd name="connsiteY5" fmla="*/ 1370012 h 2959173"/>
                    <a:gd name="connsiteX6" fmla="*/ 747712 w 752341"/>
                    <a:gd name="connsiteY6" fmla="*/ 879475 h 2959173"/>
                    <a:gd name="connsiteX7" fmla="*/ 692149 w 752341"/>
                    <a:gd name="connsiteY7" fmla="*/ 0 h 2959173"/>
                    <a:gd name="connsiteX0" fmla="*/ 0 w 805083"/>
                    <a:gd name="connsiteY0" fmla="*/ 2955924 h 2959173"/>
                    <a:gd name="connsiteX1" fmla="*/ 228600 w 805083"/>
                    <a:gd name="connsiteY1" fmla="*/ 2832099 h 2959173"/>
                    <a:gd name="connsiteX2" fmla="*/ 261937 w 805083"/>
                    <a:gd name="connsiteY2" fmla="*/ 2217737 h 2959173"/>
                    <a:gd name="connsiteX3" fmla="*/ 404812 w 805083"/>
                    <a:gd name="connsiteY3" fmla="*/ 1970087 h 2959173"/>
                    <a:gd name="connsiteX4" fmla="*/ 414337 w 805083"/>
                    <a:gd name="connsiteY4" fmla="*/ 1693862 h 2959173"/>
                    <a:gd name="connsiteX5" fmla="*/ 509587 w 805083"/>
                    <a:gd name="connsiteY5" fmla="*/ 1370012 h 2959173"/>
                    <a:gd name="connsiteX6" fmla="*/ 801687 w 805083"/>
                    <a:gd name="connsiteY6" fmla="*/ 901700 h 2959173"/>
                    <a:gd name="connsiteX7" fmla="*/ 692149 w 805083"/>
                    <a:gd name="connsiteY7" fmla="*/ 0 h 2959173"/>
                    <a:gd name="connsiteX0" fmla="*/ 0 w 806133"/>
                    <a:gd name="connsiteY0" fmla="*/ 2933699 h 2936948"/>
                    <a:gd name="connsiteX1" fmla="*/ 228600 w 806133"/>
                    <a:gd name="connsiteY1" fmla="*/ 2809874 h 2936948"/>
                    <a:gd name="connsiteX2" fmla="*/ 261937 w 806133"/>
                    <a:gd name="connsiteY2" fmla="*/ 2195512 h 2936948"/>
                    <a:gd name="connsiteX3" fmla="*/ 404812 w 806133"/>
                    <a:gd name="connsiteY3" fmla="*/ 1947862 h 2936948"/>
                    <a:gd name="connsiteX4" fmla="*/ 414337 w 806133"/>
                    <a:gd name="connsiteY4" fmla="*/ 1671637 h 2936948"/>
                    <a:gd name="connsiteX5" fmla="*/ 509587 w 806133"/>
                    <a:gd name="connsiteY5" fmla="*/ 1347787 h 2936948"/>
                    <a:gd name="connsiteX6" fmla="*/ 801687 w 806133"/>
                    <a:gd name="connsiteY6" fmla="*/ 879475 h 2936948"/>
                    <a:gd name="connsiteX7" fmla="*/ 711199 w 806133"/>
                    <a:gd name="connsiteY7" fmla="*/ 0 h 2936948"/>
                    <a:gd name="connsiteX0" fmla="*/ 0 w 577533"/>
                    <a:gd name="connsiteY0" fmla="*/ 2809874 h 2809874"/>
                    <a:gd name="connsiteX1" fmla="*/ 33337 w 577533"/>
                    <a:gd name="connsiteY1" fmla="*/ 2195512 h 2809874"/>
                    <a:gd name="connsiteX2" fmla="*/ 176212 w 577533"/>
                    <a:gd name="connsiteY2" fmla="*/ 1947862 h 2809874"/>
                    <a:gd name="connsiteX3" fmla="*/ 185737 w 577533"/>
                    <a:gd name="connsiteY3" fmla="*/ 1671637 h 2809874"/>
                    <a:gd name="connsiteX4" fmla="*/ 280987 w 577533"/>
                    <a:gd name="connsiteY4" fmla="*/ 1347787 h 2809874"/>
                    <a:gd name="connsiteX5" fmla="*/ 573087 w 577533"/>
                    <a:gd name="connsiteY5" fmla="*/ 879475 h 2809874"/>
                    <a:gd name="connsiteX6" fmla="*/ 482599 w 577533"/>
                    <a:gd name="connsiteY6" fmla="*/ 0 h 28098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77533" h="2809874">
                      <a:moveTo>
                        <a:pt x="0" y="2809874"/>
                      </a:moveTo>
                      <a:cubicBezTo>
                        <a:pt x="43656" y="2686843"/>
                        <a:pt x="3968" y="2339181"/>
                        <a:pt x="33337" y="2195512"/>
                      </a:cubicBezTo>
                      <a:cubicBezTo>
                        <a:pt x="62706" y="2051843"/>
                        <a:pt x="150812" y="2035174"/>
                        <a:pt x="176212" y="1947862"/>
                      </a:cubicBezTo>
                      <a:cubicBezTo>
                        <a:pt x="201612" y="1860550"/>
                        <a:pt x="168275" y="1771649"/>
                        <a:pt x="185737" y="1671637"/>
                      </a:cubicBezTo>
                      <a:cubicBezTo>
                        <a:pt x="203199" y="1571625"/>
                        <a:pt x="216429" y="1479814"/>
                        <a:pt x="280987" y="1347787"/>
                      </a:cubicBezTo>
                      <a:cubicBezTo>
                        <a:pt x="345545" y="1215760"/>
                        <a:pt x="539485" y="1104106"/>
                        <a:pt x="573087" y="879475"/>
                      </a:cubicBezTo>
                      <a:cubicBezTo>
                        <a:pt x="606689" y="654844"/>
                        <a:pt x="437354" y="484187"/>
                        <a:pt x="482599" y="0"/>
                      </a:cubicBezTo>
                    </a:path>
                  </a:pathLst>
                </a:custGeom>
                <a:noFill/>
                <a:ln w="12700">
                  <a:gradFill>
                    <a:gsLst>
                      <a:gs pos="0">
                        <a:schemeClr val="accent1">
                          <a:lumMod val="5000"/>
                          <a:lumOff val="95000"/>
                        </a:schemeClr>
                      </a:gs>
                      <a:gs pos="37000">
                        <a:srgbClr val="4599D1"/>
                      </a:gs>
                      <a:gs pos="100000">
                        <a:schemeClr val="tx2">
                          <a:alpha val="20000"/>
                          <a:lumMod val="86000"/>
                        </a:schemeClr>
                      </a:gs>
                    </a:gsLst>
                    <a:lin ang="5400000" scaled="1"/>
                  </a:gradFill>
                  <a:tailEnd type="oval" w="sm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957" name="Freeform 956"/>
            <p:cNvSpPr/>
            <p:nvPr/>
          </p:nvSpPr>
          <p:spPr>
            <a:xfrm>
              <a:off x="5327613" y="708785"/>
              <a:ext cx="966894" cy="3862199"/>
            </a:xfrm>
            <a:custGeom>
              <a:avLst/>
              <a:gdLst>
                <a:gd name="connsiteX0" fmla="*/ 0 w 771525"/>
                <a:gd name="connsiteY0" fmla="*/ 2428875 h 2435408"/>
                <a:gd name="connsiteX1" fmla="*/ 142875 w 771525"/>
                <a:gd name="connsiteY1" fmla="*/ 2333625 h 2435408"/>
                <a:gd name="connsiteX2" fmla="*/ 152400 w 771525"/>
                <a:gd name="connsiteY2" fmla="*/ 1724025 h 2435408"/>
                <a:gd name="connsiteX3" fmla="*/ 295275 w 771525"/>
                <a:gd name="connsiteY3" fmla="*/ 1476375 h 2435408"/>
                <a:gd name="connsiteX4" fmla="*/ 304800 w 771525"/>
                <a:gd name="connsiteY4" fmla="*/ 1200150 h 2435408"/>
                <a:gd name="connsiteX5" fmla="*/ 400050 w 771525"/>
                <a:gd name="connsiteY5" fmla="*/ 876300 h 2435408"/>
                <a:gd name="connsiteX6" fmla="*/ 704850 w 771525"/>
                <a:gd name="connsiteY6" fmla="*/ 390525 h 2435408"/>
                <a:gd name="connsiteX7" fmla="*/ 771525 w 771525"/>
                <a:gd name="connsiteY7" fmla="*/ 0 h 2435408"/>
                <a:gd name="connsiteX0" fmla="*/ 0 w 833437"/>
                <a:gd name="connsiteY0" fmla="*/ 2447925 h 2451899"/>
                <a:gd name="connsiteX1" fmla="*/ 204787 w 833437"/>
                <a:gd name="connsiteY1" fmla="*/ 2333625 h 2451899"/>
                <a:gd name="connsiteX2" fmla="*/ 214312 w 833437"/>
                <a:gd name="connsiteY2" fmla="*/ 1724025 h 2451899"/>
                <a:gd name="connsiteX3" fmla="*/ 357187 w 833437"/>
                <a:gd name="connsiteY3" fmla="*/ 1476375 h 2451899"/>
                <a:gd name="connsiteX4" fmla="*/ 366712 w 833437"/>
                <a:gd name="connsiteY4" fmla="*/ 1200150 h 2451899"/>
                <a:gd name="connsiteX5" fmla="*/ 461962 w 833437"/>
                <a:gd name="connsiteY5" fmla="*/ 876300 h 2451899"/>
                <a:gd name="connsiteX6" fmla="*/ 766762 w 833437"/>
                <a:gd name="connsiteY6" fmla="*/ 390525 h 2451899"/>
                <a:gd name="connsiteX7" fmla="*/ 833437 w 833437"/>
                <a:gd name="connsiteY7" fmla="*/ 0 h 2451899"/>
                <a:gd name="connsiteX0" fmla="*/ 0 w 833437"/>
                <a:gd name="connsiteY0" fmla="*/ 2447925 h 2452496"/>
                <a:gd name="connsiteX1" fmla="*/ 180975 w 833437"/>
                <a:gd name="connsiteY1" fmla="*/ 2338387 h 2452496"/>
                <a:gd name="connsiteX2" fmla="*/ 214312 w 833437"/>
                <a:gd name="connsiteY2" fmla="*/ 1724025 h 2452496"/>
                <a:gd name="connsiteX3" fmla="*/ 357187 w 833437"/>
                <a:gd name="connsiteY3" fmla="*/ 1476375 h 2452496"/>
                <a:gd name="connsiteX4" fmla="*/ 366712 w 833437"/>
                <a:gd name="connsiteY4" fmla="*/ 1200150 h 2452496"/>
                <a:gd name="connsiteX5" fmla="*/ 461962 w 833437"/>
                <a:gd name="connsiteY5" fmla="*/ 876300 h 2452496"/>
                <a:gd name="connsiteX6" fmla="*/ 766762 w 833437"/>
                <a:gd name="connsiteY6" fmla="*/ 390525 h 2452496"/>
                <a:gd name="connsiteX7" fmla="*/ 833437 w 833437"/>
                <a:gd name="connsiteY7" fmla="*/ 0 h 2452496"/>
                <a:gd name="connsiteX0" fmla="*/ 0 w 881062"/>
                <a:gd name="connsiteY0" fmla="*/ 2462212 h 2465461"/>
                <a:gd name="connsiteX1" fmla="*/ 228600 w 881062"/>
                <a:gd name="connsiteY1" fmla="*/ 2338387 h 2465461"/>
                <a:gd name="connsiteX2" fmla="*/ 261937 w 881062"/>
                <a:gd name="connsiteY2" fmla="*/ 1724025 h 2465461"/>
                <a:gd name="connsiteX3" fmla="*/ 404812 w 881062"/>
                <a:gd name="connsiteY3" fmla="*/ 1476375 h 2465461"/>
                <a:gd name="connsiteX4" fmla="*/ 414337 w 881062"/>
                <a:gd name="connsiteY4" fmla="*/ 1200150 h 2465461"/>
                <a:gd name="connsiteX5" fmla="*/ 509587 w 881062"/>
                <a:gd name="connsiteY5" fmla="*/ 876300 h 2465461"/>
                <a:gd name="connsiteX6" fmla="*/ 814387 w 881062"/>
                <a:gd name="connsiteY6" fmla="*/ 390525 h 2465461"/>
                <a:gd name="connsiteX7" fmla="*/ 881062 w 881062"/>
                <a:gd name="connsiteY7" fmla="*/ 0 h 2465461"/>
                <a:gd name="connsiteX0" fmla="*/ 0 w 820275"/>
                <a:gd name="connsiteY0" fmla="*/ 3515158 h 3518407"/>
                <a:gd name="connsiteX1" fmla="*/ 228600 w 820275"/>
                <a:gd name="connsiteY1" fmla="*/ 3391333 h 3518407"/>
                <a:gd name="connsiteX2" fmla="*/ 261937 w 820275"/>
                <a:gd name="connsiteY2" fmla="*/ 2776971 h 3518407"/>
                <a:gd name="connsiteX3" fmla="*/ 404812 w 820275"/>
                <a:gd name="connsiteY3" fmla="*/ 2529321 h 3518407"/>
                <a:gd name="connsiteX4" fmla="*/ 414337 w 820275"/>
                <a:gd name="connsiteY4" fmla="*/ 2253096 h 3518407"/>
                <a:gd name="connsiteX5" fmla="*/ 509587 w 820275"/>
                <a:gd name="connsiteY5" fmla="*/ 1929246 h 3518407"/>
                <a:gd name="connsiteX6" fmla="*/ 814387 w 820275"/>
                <a:gd name="connsiteY6" fmla="*/ 1443471 h 3518407"/>
                <a:gd name="connsiteX7" fmla="*/ 206808 w 820275"/>
                <a:gd name="connsiteY7" fmla="*/ 0 h 3518407"/>
                <a:gd name="connsiteX0" fmla="*/ 0 w 874138"/>
                <a:gd name="connsiteY0" fmla="*/ 3515158 h 3518407"/>
                <a:gd name="connsiteX1" fmla="*/ 228600 w 874138"/>
                <a:gd name="connsiteY1" fmla="*/ 3391333 h 3518407"/>
                <a:gd name="connsiteX2" fmla="*/ 261937 w 874138"/>
                <a:gd name="connsiteY2" fmla="*/ 2776971 h 3518407"/>
                <a:gd name="connsiteX3" fmla="*/ 404812 w 874138"/>
                <a:gd name="connsiteY3" fmla="*/ 2529321 h 3518407"/>
                <a:gd name="connsiteX4" fmla="*/ 414337 w 874138"/>
                <a:gd name="connsiteY4" fmla="*/ 2253096 h 3518407"/>
                <a:gd name="connsiteX5" fmla="*/ 509587 w 874138"/>
                <a:gd name="connsiteY5" fmla="*/ 1929246 h 3518407"/>
                <a:gd name="connsiteX6" fmla="*/ 814387 w 874138"/>
                <a:gd name="connsiteY6" fmla="*/ 1443471 h 3518407"/>
                <a:gd name="connsiteX7" fmla="*/ 206808 w 874138"/>
                <a:gd name="connsiteY7" fmla="*/ 0 h 3518407"/>
                <a:gd name="connsiteX0" fmla="*/ 0 w 867909"/>
                <a:gd name="connsiteY0" fmla="*/ 3515158 h 3518407"/>
                <a:gd name="connsiteX1" fmla="*/ 228600 w 867909"/>
                <a:gd name="connsiteY1" fmla="*/ 3391333 h 3518407"/>
                <a:gd name="connsiteX2" fmla="*/ 261937 w 867909"/>
                <a:gd name="connsiteY2" fmla="*/ 2776971 h 3518407"/>
                <a:gd name="connsiteX3" fmla="*/ 404812 w 867909"/>
                <a:gd name="connsiteY3" fmla="*/ 2529321 h 3518407"/>
                <a:gd name="connsiteX4" fmla="*/ 414337 w 867909"/>
                <a:gd name="connsiteY4" fmla="*/ 2253096 h 3518407"/>
                <a:gd name="connsiteX5" fmla="*/ 509587 w 867909"/>
                <a:gd name="connsiteY5" fmla="*/ 1929246 h 3518407"/>
                <a:gd name="connsiteX6" fmla="*/ 814387 w 867909"/>
                <a:gd name="connsiteY6" fmla="*/ 1443471 h 3518407"/>
                <a:gd name="connsiteX7" fmla="*/ 206808 w 867909"/>
                <a:gd name="connsiteY7" fmla="*/ 0 h 3518407"/>
                <a:gd name="connsiteX0" fmla="*/ 0 w 873259"/>
                <a:gd name="connsiteY0" fmla="*/ 3515158 h 3518407"/>
                <a:gd name="connsiteX1" fmla="*/ 228600 w 873259"/>
                <a:gd name="connsiteY1" fmla="*/ 3391333 h 3518407"/>
                <a:gd name="connsiteX2" fmla="*/ 261937 w 873259"/>
                <a:gd name="connsiteY2" fmla="*/ 2776971 h 3518407"/>
                <a:gd name="connsiteX3" fmla="*/ 404812 w 873259"/>
                <a:gd name="connsiteY3" fmla="*/ 2529321 h 3518407"/>
                <a:gd name="connsiteX4" fmla="*/ 414337 w 873259"/>
                <a:gd name="connsiteY4" fmla="*/ 2253096 h 3518407"/>
                <a:gd name="connsiteX5" fmla="*/ 509587 w 873259"/>
                <a:gd name="connsiteY5" fmla="*/ 1929246 h 3518407"/>
                <a:gd name="connsiteX6" fmla="*/ 823624 w 873259"/>
                <a:gd name="connsiteY6" fmla="*/ 1443471 h 3518407"/>
                <a:gd name="connsiteX7" fmla="*/ 206808 w 873259"/>
                <a:gd name="connsiteY7" fmla="*/ 0 h 3518407"/>
                <a:gd name="connsiteX0" fmla="*/ 0 w 979043"/>
                <a:gd name="connsiteY0" fmla="*/ 3515158 h 3518407"/>
                <a:gd name="connsiteX1" fmla="*/ 228600 w 979043"/>
                <a:gd name="connsiteY1" fmla="*/ 3391333 h 3518407"/>
                <a:gd name="connsiteX2" fmla="*/ 261937 w 979043"/>
                <a:gd name="connsiteY2" fmla="*/ 2776971 h 3518407"/>
                <a:gd name="connsiteX3" fmla="*/ 404812 w 979043"/>
                <a:gd name="connsiteY3" fmla="*/ 2529321 h 3518407"/>
                <a:gd name="connsiteX4" fmla="*/ 414337 w 979043"/>
                <a:gd name="connsiteY4" fmla="*/ 2253096 h 3518407"/>
                <a:gd name="connsiteX5" fmla="*/ 509587 w 979043"/>
                <a:gd name="connsiteY5" fmla="*/ 1929246 h 3518407"/>
                <a:gd name="connsiteX6" fmla="*/ 823624 w 979043"/>
                <a:gd name="connsiteY6" fmla="*/ 1443471 h 3518407"/>
                <a:gd name="connsiteX7" fmla="*/ 206808 w 979043"/>
                <a:gd name="connsiteY7" fmla="*/ 0 h 3518407"/>
                <a:gd name="connsiteX0" fmla="*/ 0 w 943504"/>
                <a:gd name="connsiteY0" fmla="*/ 3515158 h 3518407"/>
                <a:gd name="connsiteX1" fmla="*/ 228600 w 943504"/>
                <a:gd name="connsiteY1" fmla="*/ 3391333 h 3518407"/>
                <a:gd name="connsiteX2" fmla="*/ 261937 w 943504"/>
                <a:gd name="connsiteY2" fmla="*/ 2776971 h 3518407"/>
                <a:gd name="connsiteX3" fmla="*/ 404812 w 943504"/>
                <a:gd name="connsiteY3" fmla="*/ 2529321 h 3518407"/>
                <a:gd name="connsiteX4" fmla="*/ 414337 w 943504"/>
                <a:gd name="connsiteY4" fmla="*/ 2253096 h 3518407"/>
                <a:gd name="connsiteX5" fmla="*/ 509587 w 943504"/>
                <a:gd name="connsiteY5" fmla="*/ 1929246 h 3518407"/>
                <a:gd name="connsiteX6" fmla="*/ 823624 w 943504"/>
                <a:gd name="connsiteY6" fmla="*/ 1443471 h 3518407"/>
                <a:gd name="connsiteX7" fmla="*/ 206808 w 943504"/>
                <a:gd name="connsiteY7" fmla="*/ 0 h 3518407"/>
                <a:gd name="connsiteX0" fmla="*/ 0 w 924540"/>
                <a:gd name="connsiteY0" fmla="*/ 3515158 h 3518407"/>
                <a:gd name="connsiteX1" fmla="*/ 228600 w 924540"/>
                <a:gd name="connsiteY1" fmla="*/ 3391333 h 3518407"/>
                <a:gd name="connsiteX2" fmla="*/ 261937 w 924540"/>
                <a:gd name="connsiteY2" fmla="*/ 2776971 h 3518407"/>
                <a:gd name="connsiteX3" fmla="*/ 404812 w 924540"/>
                <a:gd name="connsiteY3" fmla="*/ 2529321 h 3518407"/>
                <a:gd name="connsiteX4" fmla="*/ 414337 w 924540"/>
                <a:gd name="connsiteY4" fmla="*/ 2253096 h 3518407"/>
                <a:gd name="connsiteX5" fmla="*/ 509587 w 924540"/>
                <a:gd name="connsiteY5" fmla="*/ 1929246 h 3518407"/>
                <a:gd name="connsiteX6" fmla="*/ 823624 w 924540"/>
                <a:gd name="connsiteY6" fmla="*/ 1443471 h 3518407"/>
                <a:gd name="connsiteX7" fmla="*/ 206808 w 924540"/>
                <a:gd name="connsiteY7" fmla="*/ 0 h 3518407"/>
                <a:gd name="connsiteX0" fmla="*/ 0 w 897710"/>
                <a:gd name="connsiteY0" fmla="*/ 3515158 h 3518407"/>
                <a:gd name="connsiteX1" fmla="*/ 228600 w 897710"/>
                <a:gd name="connsiteY1" fmla="*/ 3391333 h 3518407"/>
                <a:gd name="connsiteX2" fmla="*/ 261937 w 897710"/>
                <a:gd name="connsiteY2" fmla="*/ 2776971 h 3518407"/>
                <a:gd name="connsiteX3" fmla="*/ 404812 w 897710"/>
                <a:gd name="connsiteY3" fmla="*/ 2529321 h 3518407"/>
                <a:gd name="connsiteX4" fmla="*/ 414337 w 897710"/>
                <a:gd name="connsiteY4" fmla="*/ 2253096 h 3518407"/>
                <a:gd name="connsiteX5" fmla="*/ 509587 w 897710"/>
                <a:gd name="connsiteY5" fmla="*/ 1929246 h 3518407"/>
                <a:gd name="connsiteX6" fmla="*/ 779174 w 897710"/>
                <a:gd name="connsiteY6" fmla="*/ 1484746 h 3518407"/>
                <a:gd name="connsiteX7" fmla="*/ 206808 w 897710"/>
                <a:gd name="connsiteY7" fmla="*/ 0 h 3518407"/>
                <a:gd name="connsiteX0" fmla="*/ 0 w 929423"/>
                <a:gd name="connsiteY0" fmla="*/ 3515158 h 3518407"/>
                <a:gd name="connsiteX1" fmla="*/ 228600 w 929423"/>
                <a:gd name="connsiteY1" fmla="*/ 3391333 h 3518407"/>
                <a:gd name="connsiteX2" fmla="*/ 261937 w 929423"/>
                <a:gd name="connsiteY2" fmla="*/ 2776971 h 3518407"/>
                <a:gd name="connsiteX3" fmla="*/ 404812 w 929423"/>
                <a:gd name="connsiteY3" fmla="*/ 2529321 h 3518407"/>
                <a:gd name="connsiteX4" fmla="*/ 414337 w 929423"/>
                <a:gd name="connsiteY4" fmla="*/ 2253096 h 3518407"/>
                <a:gd name="connsiteX5" fmla="*/ 509587 w 929423"/>
                <a:gd name="connsiteY5" fmla="*/ 1929246 h 3518407"/>
                <a:gd name="connsiteX6" fmla="*/ 779174 w 929423"/>
                <a:gd name="connsiteY6" fmla="*/ 1484746 h 3518407"/>
                <a:gd name="connsiteX7" fmla="*/ 206808 w 929423"/>
                <a:gd name="connsiteY7" fmla="*/ 0 h 3518407"/>
                <a:gd name="connsiteX0" fmla="*/ 0 w 909534"/>
                <a:gd name="connsiteY0" fmla="*/ 3515158 h 3518407"/>
                <a:gd name="connsiteX1" fmla="*/ 228600 w 909534"/>
                <a:gd name="connsiteY1" fmla="*/ 3391333 h 3518407"/>
                <a:gd name="connsiteX2" fmla="*/ 261937 w 909534"/>
                <a:gd name="connsiteY2" fmla="*/ 2776971 h 3518407"/>
                <a:gd name="connsiteX3" fmla="*/ 404812 w 909534"/>
                <a:gd name="connsiteY3" fmla="*/ 2529321 h 3518407"/>
                <a:gd name="connsiteX4" fmla="*/ 414337 w 909534"/>
                <a:gd name="connsiteY4" fmla="*/ 2253096 h 3518407"/>
                <a:gd name="connsiteX5" fmla="*/ 509587 w 909534"/>
                <a:gd name="connsiteY5" fmla="*/ 1929246 h 3518407"/>
                <a:gd name="connsiteX6" fmla="*/ 779174 w 909534"/>
                <a:gd name="connsiteY6" fmla="*/ 1484746 h 3518407"/>
                <a:gd name="connsiteX7" fmla="*/ 206808 w 909534"/>
                <a:gd name="connsiteY7" fmla="*/ 0 h 3518407"/>
                <a:gd name="connsiteX0" fmla="*/ 0 w 899019"/>
                <a:gd name="connsiteY0" fmla="*/ 3515158 h 3518407"/>
                <a:gd name="connsiteX1" fmla="*/ 228600 w 899019"/>
                <a:gd name="connsiteY1" fmla="*/ 3391333 h 3518407"/>
                <a:gd name="connsiteX2" fmla="*/ 261937 w 899019"/>
                <a:gd name="connsiteY2" fmla="*/ 2776971 h 3518407"/>
                <a:gd name="connsiteX3" fmla="*/ 404812 w 899019"/>
                <a:gd name="connsiteY3" fmla="*/ 2529321 h 3518407"/>
                <a:gd name="connsiteX4" fmla="*/ 414337 w 899019"/>
                <a:gd name="connsiteY4" fmla="*/ 2253096 h 3518407"/>
                <a:gd name="connsiteX5" fmla="*/ 509587 w 899019"/>
                <a:gd name="connsiteY5" fmla="*/ 1929246 h 3518407"/>
                <a:gd name="connsiteX6" fmla="*/ 779174 w 899019"/>
                <a:gd name="connsiteY6" fmla="*/ 1484746 h 3518407"/>
                <a:gd name="connsiteX7" fmla="*/ 206808 w 899019"/>
                <a:gd name="connsiteY7" fmla="*/ 0 h 3518407"/>
                <a:gd name="connsiteX0" fmla="*/ 0 w 899019"/>
                <a:gd name="connsiteY0" fmla="*/ 3515158 h 3518407"/>
                <a:gd name="connsiteX1" fmla="*/ 228600 w 899019"/>
                <a:gd name="connsiteY1" fmla="*/ 3391333 h 3518407"/>
                <a:gd name="connsiteX2" fmla="*/ 261937 w 899019"/>
                <a:gd name="connsiteY2" fmla="*/ 2776971 h 3518407"/>
                <a:gd name="connsiteX3" fmla="*/ 404812 w 899019"/>
                <a:gd name="connsiteY3" fmla="*/ 2529321 h 3518407"/>
                <a:gd name="connsiteX4" fmla="*/ 414337 w 899019"/>
                <a:gd name="connsiteY4" fmla="*/ 2253096 h 3518407"/>
                <a:gd name="connsiteX5" fmla="*/ 509587 w 899019"/>
                <a:gd name="connsiteY5" fmla="*/ 1929246 h 3518407"/>
                <a:gd name="connsiteX6" fmla="*/ 779174 w 899019"/>
                <a:gd name="connsiteY6" fmla="*/ 1484746 h 3518407"/>
                <a:gd name="connsiteX7" fmla="*/ 206808 w 899019"/>
                <a:gd name="connsiteY7" fmla="*/ 0 h 3518407"/>
                <a:gd name="connsiteX0" fmla="*/ 0 w 880826"/>
                <a:gd name="connsiteY0" fmla="*/ 3515158 h 3518407"/>
                <a:gd name="connsiteX1" fmla="*/ 228600 w 880826"/>
                <a:gd name="connsiteY1" fmla="*/ 3391333 h 3518407"/>
                <a:gd name="connsiteX2" fmla="*/ 261937 w 880826"/>
                <a:gd name="connsiteY2" fmla="*/ 2776971 h 3518407"/>
                <a:gd name="connsiteX3" fmla="*/ 404812 w 880826"/>
                <a:gd name="connsiteY3" fmla="*/ 2529321 h 3518407"/>
                <a:gd name="connsiteX4" fmla="*/ 414337 w 880826"/>
                <a:gd name="connsiteY4" fmla="*/ 2253096 h 3518407"/>
                <a:gd name="connsiteX5" fmla="*/ 509587 w 880826"/>
                <a:gd name="connsiteY5" fmla="*/ 1929246 h 3518407"/>
                <a:gd name="connsiteX6" fmla="*/ 779174 w 880826"/>
                <a:gd name="connsiteY6" fmla="*/ 1484746 h 3518407"/>
                <a:gd name="connsiteX7" fmla="*/ 206808 w 880826"/>
                <a:gd name="connsiteY7" fmla="*/ 0 h 351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0826" h="3518407">
                  <a:moveTo>
                    <a:pt x="0" y="3515158"/>
                  </a:moveTo>
                  <a:cubicBezTo>
                    <a:pt x="58737" y="3526270"/>
                    <a:pt x="184944" y="3514364"/>
                    <a:pt x="228600" y="3391333"/>
                  </a:cubicBezTo>
                  <a:cubicBezTo>
                    <a:pt x="272256" y="3268302"/>
                    <a:pt x="232568" y="2920640"/>
                    <a:pt x="261937" y="2776971"/>
                  </a:cubicBezTo>
                  <a:cubicBezTo>
                    <a:pt x="291306" y="2633302"/>
                    <a:pt x="379412" y="2616633"/>
                    <a:pt x="404812" y="2529321"/>
                  </a:cubicBezTo>
                  <a:cubicBezTo>
                    <a:pt x="430212" y="2442009"/>
                    <a:pt x="396875" y="2353108"/>
                    <a:pt x="414337" y="2253096"/>
                  </a:cubicBezTo>
                  <a:cubicBezTo>
                    <a:pt x="431799" y="2153084"/>
                    <a:pt x="448781" y="2057304"/>
                    <a:pt x="509587" y="1929246"/>
                  </a:cubicBezTo>
                  <a:cubicBezTo>
                    <a:pt x="570393" y="1801188"/>
                    <a:pt x="704080" y="1643496"/>
                    <a:pt x="779174" y="1484746"/>
                  </a:cubicBezTo>
                  <a:cubicBezTo>
                    <a:pt x="854268" y="1325996"/>
                    <a:pt x="1144804" y="548698"/>
                    <a:pt x="206808" y="0"/>
                  </a:cubicBezTo>
                </a:path>
              </a:pathLst>
            </a:custGeom>
            <a:noFill/>
            <a:ln w="1270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37000">
                    <a:srgbClr val="4599D1"/>
                  </a:gs>
                  <a:gs pos="100000">
                    <a:schemeClr val="tx2">
                      <a:alpha val="20000"/>
                      <a:lumMod val="86000"/>
                    </a:schemeClr>
                  </a:gs>
                </a:gsLst>
                <a:lin ang="5400000" scaled="1"/>
              </a:gradFill>
              <a:tailEnd type="oval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8" name="Freeform 957"/>
            <p:cNvSpPr/>
            <p:nvPr/>
          </p:nvSpPr>
          <p:spPr>
            <a:xfrm flipH="1">
              <a:off x="3995403" y="708785"/>
              <a:ext cx="966894" cy="3862199"/>
            </a:xfrm>
            <a:custGeom>
              <a:avLst/>
              <a:gdLst>
                <a:gd name="connsiteX0" fmla="*/ 0 w 771525"/>
                <a:gd name="connsiteY0" fmla="*/ 2428875 h 2435408"/>
                <a:gd name="connsiteX1" fmla="*/ 142875 w 771525"/>
                <a:gd name="connsiteY1" fmla="*/ 2333625 h 2435408"/>
                <a:gd name="connsiteX2" fmla="*/ 152400 w 771525"/>
                <a:gd name="connsiteY2" fmla="*/ 1724025 h 2435408"/>
                <a:gd name="connsiteX3" fmla="*/ 295275 w 771525"/>
                <a:gd name="connsiteY3" fmla="*/ 1476375 h 2435408"/>
                <a:gd name="connsiteX4" fmla="*/ 304800 w 771525"/>
                <a:gd name="connsiteY4" fmla="*/ 1200150 h 2435408"/>
                <a:gd name="connsiteX5" fmla="*/ 400050 w 771525"/>
                <a:gd name="connsiteY5" fmla="*/ 876300 h 2435408"/>
                <a:gd name="connsiteX6" fmla="*/ 704850 w 771525"/>
                <a:gd name="connsiteY6" fmla="*/ 390525 h 2435408"/>
                <a:gd name="connsiteX7" fmla="*/ 771525 w 771525"/>
                <a:gd name="connsiteY7" fmla="*/ 0 h 2435408"/>
                <a:gd name="connsiteX0" fmla="*/ 0 w 833437"/>
                <a:gd name="connsiteY0" fmla="*/ 2447925 h 2451899"/>
                <a:gd name="connsiteX1" fmla="*/ 204787 w 833437"/>
                <a:gd name="connsiteY1" fmla="*/ 2333625 h 2451899"/>
                <a:gd name="connsiteX2" fmla="*/ 214312 w 833437"/>
                <a:gd name="connsiteY2" fmla="*/ 1724025 h 2451899"/>
                <a:gd name="connsiteX3" fmla="*/ 357187 w 833437"/>
                <a:gd name="connsiteY3" fmla="*/ 1476375 h 2451899"/>
                <a:gd name="connsiteX4" fmla="*/ 366712 w 833437"/>
                <a:gd name="connsiteY4" fmla="*/ 1200150 h 2451899"/>
                <a:gd name="connsiteX5" fmla="*/ 461962 w 833437"/>
                <a:gd name="connsiteY5" fmla="*/ 876300 h 2451899"/>
                <a:gd name="connsiteX6" fmla="*/ 766762 w 833437"/>
                <a:gd name="connsiteY6" fmla="*/ 390525 h 2451899"/>
                <a:gd name="connsiteX7" fmla="*/ 833437 w 833437"/>
                <a:gd name="connsiteY7" fmla="*/ 0 h 2451899"/>
                <a:gd name="connsiteX0" fmla="*/ 0 w 833437"/>
                <a:gd name="connsiteY0" fmla="*/ 2447925 h 2452496"/>
                <a:gd name="connsiteX1" fmla="*/ 180975 w 833437"/>
                <a:gd name="connsiteY1" fmla="*/ 2338387 h 2452496"/>
                <a:gd name="connsiteX2" fmla="*/ 214312 w 833437"/>
                <a:gd name="connsiteY2" fmla="*/ 1724025 h 2452496"/>
                <a:gd name="connsiteX3" fmla="*/ 357187 w 833437"/>
                <a:gd name="connsiteY3" fmla="*/ 1476375 h 2452496"/>
                <a:gd name="connsiteX4" fmla="*/ 366712 w 833437"/>
                <a:gd name="connsiteY4" fmla="*/ 1200150 h 2452496"/>
                <a:gd name="connsiteX5" fmla="*/ 461962 w 833437"/>
                <a:gd name="connsiteY5" fmla="*/ 876300 h 2452496"/>
                <a:gd name="connsiteX6" fmla="*/ 766762 w 833437"/>
                <a:gd name="connsiteY6" fmla="*/ 390525 h 2452496"/>
                <a:gd name="connsiteX7" fmla="*/ 833437 w 833437"/>
                <a:gd name="connsiteY7" fmla="*/ 0 h 2452496"/>
                <a:gd name="connsiteX0" fmla="*/ 0 w 881062"/>
                <a:gd name="connsiteY0" fmla="*/ 2462212 h 2465461"/>
                <a:gd name="connsiteX1" fmla="*/ 228600 w 881062"/>
                <a:gd name="connsiteY1" fmla="*/ 2338387 h 2465461"/>
                <a:gd name="connsiteX2" fmla="*/ 261937 w 881062"/>
                <a:gd name="connsiteY2" fmla="*/ 1724025 h 2465461"/>
                <a:gd name="connsiteX3" fmla="*/ 404812 w 881062"/>
                <a:gd name="connsiteY3" fmla="*/ 1476375 h 2465461"/>
                <a:gd name="connsiteX4" fmla="*/ 414337 w 881062"/>
                <a:gd name="connsiteY4" fmla="*/ 1200150 h 2465461"/>
                <a:gd name="connsiteX5" fmla="*/ 509587 w 881062"/>
                <a:gd name="connsiteY5" fmla="*/ 876300 h 2465461"/>
                <a:gd name="connsiteX6" fmla="*/ 814387 w 881062"/>
                <a:gd name="connsiteY6" fmla="*/ 390525 h 2465461"/>
                <a:gd name="connsiteX7" fmla="*/ 881062 w 881062"/>
                <a:gd name="connsiteY7" fmla="*/ 0 h 2465461"/>
                <a:gd name="connsiteX0" fmla="*/ 0 w 820275"/>
                <a:gd name="connsiteY0" fmla="*/ 3515158 h 3518407"/>
                <a:gd name="connsiteX1" fmla="*/ 228600 w 820275"/>
                <a:gd name="connsiteY1" fmla="*/ 3391333 h 3518407"/>
                <a:gd name="connsiteX2" fmla="*/ 261937 w 820275"/>
                <a:gd name="connsiteY2" fmla="*/ 2776971 h 3518407"/>
                <a:gd name="connsiteX3" fmla="*/ 404812 w 820275"/>
                <a:gd name="connsiteY3" fmla="*/ 2529321 h 3518407"/>
                <a:gd name="connsiteX4" fmla="*/ 414337 w 820275"/>
                <a:gd name="connsiteY4" fmla="*/ 2253096 h 3518407"/>
                <a:gd name="connsiteX5" fmla="*/ 509587 w 820275"/>
                <a:gd name="connsiteY5" fmla="*/ 1929246 h 3518407"/>
                <a:gd name="connsiteX6" fmla="*/ 814387 w 820275"/>
                <a:gd name="connsiteY6" fmla="*/ 1443471 h 3518407"/>
                <a:gd name="connsiteX7" fmla="*/ 206808 w 820275"/>
                <a:gd name="connsiteY7" fmla="*/ 0 h 3518407"/>
                <a:gd name="connsiteX0" fmla="*/ 0 w 874138"/>
                <a:gd name="connsiteY0" fmla="*/ 3515158 h 3518407"/>
                <a:gd name="connsiteX1" fmla="*/ 228600 w 874138"/>
                <a:gd name="connsiteY1" fmla="*/ 3391333 h 3518407"/>
                <a:gd name="connsiteX2" fmla="*/ 261937 w 874138"/>
                <a:gd name="connsiteY2" fmla="*/ 2776971 h 3518407"/>
                <a:gd name="connsiteX3" fmla="*/ 404812 w 874138"/>
                <a:gd name="connsiteY3" fmla="*/ 2529321 h 3518407"/>
                <a:gd name="connsiteX4" fmla="*/ 414337 w 874138"/>
                <a:gd name="connsiteY4" fmla="*/ 2253096 h 3518407"/>
                <a:gd name="connsiteX5" fmla="*/ 509587 w 874138"/>
                <a:gd name="connsiteY5" fmla="*/ 1929246 h 3518407"/>
                <a:gd name="connsiteX6" fmla="*/ 814387 w 874138"/>
                <a:gd name="connsiteY6" fmla="*/ 1443471 h 3518407"/>
                <a:gd name="connsiteX7" fmla="*/ 206808 w 874138"/>
                <a:gd name="connsiteY7" fmla="*/ 0 h 3518407"/>
                <a:gd name="connsiteX0" fmla="*/ 0 w 867909"/>
                <a:gd name="connsiteY0" fmla="*/ 3515158 h 3518407"/>
                <a:gd name="connsiteX1" fmla="*/ 228600 w 867909"/>
                <a:gd name="connsiteY1" fmla="*/ 3391333 h 3518407"/>
                <a:gd name="connsiteX2" fmla="*/ 261937 w 867909"/>
                <a:gd name="connsiteY2" fmla="*/ 2776971 h 3518407"/>
                <a:gd name="connsiteX3" fmla="*/ 404812 w 867909"/>
                <a:gd name="connsiteY3" fmla="*/ 2529321 h 3518407"/>
                <a:gd name="connsiteX4" fmla="*/ 414337 w 867909"/>
                <a:gd name="connsiteY4" fmla="*/ 2253096 h 3518407"/>
                <a:gd name="connsiteX5" fmla="*/ 509587 w 867909"/>
                <a:gd name="connsiteY5" fmla="*/ 1929246 h 3518407"/>
                <a:gd name="connsiteX6" fmla="*/ 814387 w 867909"/>
                <a:gd name="connsiteY6" fmla="*/ 1443471 h 3518407"/>
                <a:gd name="connsiteX7" fmla="*/ 206808 w 867909"/>
                <a:gd name="connsiteY7" fmla="*/ 0 h 3518407"/>
                <a:gd name="connsiteX0" fmla="*/ 0 w 873259"/>
                <a:gd name="connsiteY0" fmla="*/ 3515158 h 3518407"/>
                <a:gd name="connsiteX1" fmla="*/ 228600 w 873259"/>
                <a:gd name="connsiteY1" fmla="*/ 3391333 h 3518407"/>
                <a:gd name="connsiteX2" fmla="*/ 261937 w 873259"/>
                <a:gd name="connsiteY2" fmla="*/ 2776971 h 3518407"/>
                <a:gd name="connsiteX3" fmla="*/ 404812 w 873259"/>
                <a:gd name="connsiteY3" fmla="*/ 2529321 h 3518407"/>
                <a:gd name="connsiteX4" fmla="*/ 414337 w 873259"/>
                <a:gd name="connsiteY4" fmla="*/ 2253096 h 3518407"/>
                <a:gd name="connsiteX5" fmla="*/ 509587 w 873259"/>
                <a:gd name="connsiteY5" fmla="*/ 1929246 h 3518407"/>
                <a:gd name="connsiteX6" fmla="*/ 823624 w 873259"/>
                <a:gd name="connsiteY6" fmla="*/ 1443471 h 3518407"/>
                <a:gd name="connsiteX7" fmla="*/ 206808 w 873259"/>
                <a:gd name="connsiteY7" fmla="*/ 0 h 3518407"/>
                <a:gd name="connsiteX0" fmla="*/ 0 w 979043"/>
                <a:gd name="connsiteY0" fmla="*/ 3515158 h 3518407"/>
                <a:gd name="connsiteX1" fmla="*/ 228600 w 979043"/>
                <a:gd name="connsiteY1" fmla="*/ 3391333 h 3518407"/>
                <a:gd name="connsiteX2" fmla="*/ 261937 w 979043"/>
                <a:gd name="connsiteY2" fmla="*/ 2776971 h 3518407"/>
                <a:gd name="connsiteX3" fmla="*/ 404812 w 979043"/>
                <a:gd name="connsiteY3" fmla="*/ 2529321 h 3518407"/>
                <a:gd name="connsiteX4" fmla="*/ 414337 w 979043"/>
                <a:gd name="connsiteY4" fmla="*/ 2253096 h 3518407"/>
                <a:gd name="connsiteX5" fmla="*/ 509587 w 979043"/>
                <a:gd name="connsiteY5" fmla="*/ 1929246 h 3518407"/>
                <a:gd name="connsiteX6" fmla="*/ 823624 w 979043"/>
                <a:gd name="connsiteY6" fmla="*/ 1443471 h 3518407"/>
                <a:gd name="connsiteX7" fmla="*/ 206808 w 979043"/>
                <a:gd name="connsiteY7" fmla="*/ 0 h 3518407"/>
                <a:gd name="connsiteX0" fmla="*/ 0 w 943504"/>
                <a:gd name="connsiteY0" fmla="*/ 3515158 h 3518407"/>
                <a:gd name="connsiteX1" fmla="*/ 228600 w 943504"/>
                <a:gd name="connsiteY1" fmla="*/ 3391333 h 3518407"/>
                <a:gd name="connsiteX2" fmla="*/ 261937 w 943504"/>
                <a:gd name="connsiteY2" fmla="*/ 2776971 h 3518407"/>
                <a:gd name="connsiteX3" fmla="*/ 404812 w 943504"/>
                <a:gd name="connsiteY3" fmla="*/ 2529321 h 3518407"/>
                <a:gd name="connsiteX4" fmla="*/ 414337 w 943504"/>
                <a:gd name="connsiteY4" fmla="*/ 2253096 h 3518407"/>
                <a:gd name="connsiteX5" fmla="*/ 509587 w 943504"/>
                <a:gd name="connsiteY5" fmla="*/ 1929246 h 3518407"/>
                <a:gd name="connsiteX6" fmla="*/ 823624 w 943504"/>
                <a:gd name="connsiteY6" fmla="*/ 1443471 h 3518407"/>
                <a:gd name="connsiteX7" fmla="*/ 206808 w 943504"/>
                <a:gd name="connsiteY7" fmla="*/ 0 h 3518407"/>
                <a:gd name="connsiteX0" fmla="*/ 0 w 924540"/>
                <a:gd name="connsiteY0" fmla="*/ 3515158 h 3518407"/>
                <a:gd name="connsiteX1" fmla="*/ 228600 w 924540"/>
                <a:gd name="connsiteY1" fmla="*/ 3391333 h 3518407"/>
                <a:gd name="connsiteX2" fmla="*/ 261937 w 924540"/>
                <a:gd name="connsiteY2" fmla="*/ 2776971 h 3518407"/>
                <a:gd name="connsiteX3" fmla="*/ 404812 w 924540"/>
                <a:gd name="connsiteY3" fmla="*/ 2529321 h 3518407"/>
                <a:gd name="connsiteX4" fmla="*/ 414337 w 924540"/>
                <a:gd name="connsiteY4" fmla="*/ 2253096 h 3518407"/>
                <a:gd name="connsiteX5" fmla="*/ 509587 w 924540"/>
                <a:gd name="connsiteY5" fmla="*/ 1929246 h 3518407"/>
                <a:gd name="connsiteX6" fmla="*/ 823624 w 924540"/>
                <a:gd name="connsiteY6" fmla="*/ 1443471 h 3518407"/>
                <a:gd name="connsiteX7" fmla="*/ 206808 w 924540"/>
                <a:gd name="connsiteY7" fmla="*/ 0 h 3518407"/>
                <a:gd name="connsiteX0" fmla="*/ 0 w 897710"/>
                <a:gd name="connsiteY0" fmla="*/ 3515158 h 3518407"/>
                <a:gd name="connsiteX1" fmla="*/ 228600 w 897710"/>
                <a:gd name="connsiteY1" fmla="*/ 3391333 h 3518407"/>
                <a:gd name="connsiteX2" fmla="*/ 261937 w 897710"/>
                <a:gd name="connsiteY2" fmla="*/ 2776971 h 3518407"/>
                <a:gd name="connsiteX3" fmla="*/ 404812 w 897710"/>
                <a:gd name="connsiteY3" fmla="*/ 2529321 h 3518407"/>
                <a:gd name="connsiteX4" fmla="*/ 414337 w 897710"/>
                <a:gd name="connsiteY4" fmla="*/ 2253096 h 3518407"/>
                <a:gd name="connsiteX5" fmla="*/ 509587 w 897710"/>
                <a:gd name="connsiteY5" fmla="*/ 1929246 h 3518407"/>
                <a:gd name="connsiteX6" fmla="*/ 779174 w 897710"/>
                <a:gd name="connsiteY6" fmla="*/ 1484746 h 3518407"/>
                <a:gd name="connsiteX7" fmla="*/ 206808 w 897710"/>
                <a:gd name="connsiteY7" fmla="*/ 0 h 3518407"/>
                <a:gd name="connsiteX0" fmla="*/ 0 w 929423"/>
                <a:gd name="connsiteY0" fmla="*/ 3515158 h 3518407"/>
                <a:gd name="connsiteX1" fmla="*/ 228600 w 929423"/>
                <a:gd name="connsiteY1" fmla="*/ 3391333 h 3518407"/>
                <a:gd name="connsiteX2" fmla="*/ 261937 w 929423"/>
                <a:gd name="connsiteY2" fmla="*/ 2776971 h 3518407"/>
                <a:gd name="connsiteX3" fmla="*/ 404812 w 929423"/>
                <a:gd name="connsiteY3" fmla="*/ 2529321 h 3518407"/>
                <a:gd name="connsiteX4" fmla="*/ 414337 w 929423"/>
                <a:gd name="connsiteY4" fmla="*/ 2253096 h 3518407"/>
                <a:gd name="connsiteX5" fmla="*/ 509587 w 929423"/>
                <a:gd name="connsiteY5" fmla="*/ 1929246 h 3518407"/>
                <a:gd name="connsiteX6" fmla="*/ 779174 w 929423"/>
                <a:gd name="connsiteY6" fmla="*/ 1484746 h 3518407"/>
                <a:gd name="connsiteX7" fmla="*/ 206808 w 929423"/>
                <a:gd name="connsiteY7" fmla="*/ 0 h 3518407"/>
                <a:gd name="connsiteX0" fmla="*/ 0 w 909534"/>
                <a:gd name="connsiteY0" fmla="*/ 3515158 h 3518407"/>
                <a:gd name="connsiteX1" fmla="*/ 228600 w 909534"/>
                <a:gd name="connsiteY1" fmla="*/ 3391333 h 3518407"/>
                <a:gd name="connsiteX2" fmla="*/ 261937 w 909534"/>
                <a:gd name="connsiteY2" fmla="*/ 2776971 h 3518407"/>
                <a:gd name="connsiteX3" fmla="*/ 404812 w 909534"/>
                <a:gd name="connsiteY3" fmla="*/ 2529321 h 3518407"/>
                <a:gd name="connsiteX4" fmla="*/ 414337 w 909534"/>
                <a:gd name="connsiteY4" fmla="*/ 2253096 h 3518407"/>
                <a:gd name="connsiteX5" fmla="*/ 509587 w 909534"/>
                <a:gd name="connsiteY5" fmla="*/ 1929246 h 3518407"/>
                <a:gd name="connsiteX6" fmla="*/ 779174 w 909534"/>
                <a:gd name="connsiteY6" fmla="*/ 1484746 h 3518407"/>
                <a:gd name="connsiteX7" fmla="*/ 206808 w 909534"/>
                <a:gd name="connsiteY7" fmla="*/ 0 h 3518407"/>
                <a:gd name="connsiteX0" fmla="*/ 0 w 899019"/>
                <a:gd name="connsiteY0" fmla="*/ 3515158 h 3518407"/>
                <a:gd name="connsiteX1" fmla="*/ 228600 w 899019"/>
                <a:gd name="connsiteY1" fmla="*/ 3391333 h 3518407"/>
                <a:gd name="connsiteX2" fmla="*/ 261937 w 899019"/>
                <a:gd name="connsiteY2" fmla="*/ 2776971 h 3518407"/>
                <a:gd name="connsiteX3" fmla="*/ 404812 w 899019"/>
                <a:gd name="connsiteY3" fmla="*/ 2529321 h 3518407"/>
                <a:gd name="connsiteX4" fmla="*/ 414337 w 899019"/>
                <a:gd name="connsiteY4" fmla="*/ 2253096 h 3518407"/>
                <a:gd name="connsiteX5" fmla="*/ 509587 w 899019"/>
                <a:gd name="connsiteY5" fmla="*/ 1929246 h 3518407"/>
                <a:gd name="connsiteX6" fmla="*/ 779174 w 899019"/>
                <a:gd name="connsiteY6" fmla="*/ 1484746 h 3518407"/>
                <a:gd name="connsiteX7" fmla="*/ 206808 w 899019"/>
                <a:gd name="connsiteY7" fmla="*/ 0 h 3518407"/>
                <a:gd name="connsiteX0" fmla="*/ 0 w 899019"/>
                <a:gd name="connsiteY0" fmla="*/ 3515158 h 3518407"/>
                <a:gd name="connsiteX1" fmla="*/ 228600 w 899019"/>
                <a:gd name="connsiteY1" fmla="*/ 3391333 h 3518407"/>
                <a:gd name="connsiteX2" fmla="*/ 261937 w 899019"/>
                <a:gd name="connsiteY2" fmla="*/ 2776971 h 3518407"/>
                <a:gd name="connsiteX3" fmla="*/ 404812 w 899019"/>
                <a:gd name="connsiteY3" fmla="*/ 2529321 h 3518407"/>
                <a:gd name="connsiteX4" fmla="*/ 414337 w 899019"/>
                <a:gd name="connsiteY4" fmla="*/ 2253096 h 3518407"/>
                <a:gd name="connsiteX5" fmla="*/ 509587 w 899019"/>
                <a:gd name="connsiteY5" fmla="*/ 1929246 h 3518407"/>
                <a:gd name="connsiteX6" fmla="*/ 779174 w 899019"/>
                <a:gd name="connsiteY6" fmla="*/ 1484746 h 3518407"/>
                <a:gd name="connsiteX7" fmla="*/ 206808 w 899019"/>
                <a:gd name="connsiteY7" fmla="*/ 0 h 3518407"/>
                <a:gd name="connsiteX0" fmla="*/ 0 w 880826"/>
                <a:gd name="connsiteY0" fmla="*/ 3515158 h 3518407"/>
                <a:gd name="connsiteX1" fmla="*/ 228600 w 880826"/>
                <a:gd name="connsiteY1" fmla="*/ 3391333 h 3518407"/>
                <a:gd name="connsiteX2" fmla="*/ 261937 w 880826"/>
                <a:gd name="connsiteY2" fmla="*/ 2776971 h 3518407"/>
                <a:gd name="connsiteX3" fmla="*/ 404812 w 880826"/>
                <a:gd name="connsiteY3" fmla="*/ 2529321 h 3518407"/>
                <a:gd name="connsiteX4" fmla="*/ 414337 w 880826"/>
                <a:gd name="connsiteY4" fmla="*/ 2253096 h 3518407"/>
                <a:gd name="connsiteX5" fmla="*/ 509587 w 880826"/>
                <a:gd name="connsiteY5" fmla="*/ 1929246 h 3518407"/>
                <a:gd name="connsiteX6" fmla="*/ 779174 w 880826"/>
                <a:gd name="connsiteY6" fmla="*/ 1484746 h 3518407"/>
                <a:gd name="connsiteX7" fmla="*/ 206808 w 880826"/>
                <a:gd name="connsiteY7" fmla="*/ 0 h 351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0826" h="3518407">
                  <a:moveTo>
                    <a:pt x="0" y="3515158"/>
                  </a:moveTo>
                  <a:cubicBezTo>
                    <a:pt x="58737" y="3526270"/>
                    <a:pt x="184944" y="3514364"/>
                    <a:pt x="228600" y="3391333"/>
                  </a:cubicBezTo>
                  <a:cubicBezTo>
                    <a:pt x="272256" y="3268302"/>
                    <a:pt x="232568" y="2920640"/>
                    <a:pt x="261937" y="2776971"/>
                  </a:cubicBezTo>
                  <a:cubicBezTo>
                    <a:pt x="291306" y="2633302"/>
                    <a:pt x="379412" y="2616633"/>
                    <a:pt x="404812" y="2529321"/>
                  </a:cubicBezTo>
                  <a:cubicBezTo>
                    <a:pt x="430212" y="2442009"/>
                    <a:pt x="396875" y="2353108"/>
                    <a:pt x="414337" y="2253096"/>
                  </a:cubicBezTo>
                  <a:cubicBezTo>
                    <a:pt x="431799" y="2153084"/>
                    <a:pt x="448781" y="2057304"/>
                    <a:pt x="509587" y="1929246"/>
                  </a:cubicBezTo>
                  <a:cubicBezTo>
                    <a:pt x="570393" y="1801188"/>
                    <a:pt x="704080" y="1643496"/>
                    <a:pt x="779174" y="1484746"/>
                  </a:cubicBezTo>
                  <a:cubicBezTo>
                    <a:pt x="854268" y="1325996"/>
                    <a:pt x="1144804" y="548698"/>
                    <a:pt x="206808" y="0"/>
                  </a:cubicBezTo>
                </a:path>
              </a:pathLst>
            </a:custGeom>
            <a:noFill/>
            <a:ln w="1270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37000">
                    <a:srgbClr val="4599D1"/>
                  </a:gs>
                  <a:gs pos="100000">
                    <a:schemeClr val="tx2">
                      <a:alpha val="20000"/>
                      <a:lumMod val="86000"/>
                    </a:schemeClr>
                  </a:gs>
                </a:gsLst>
                <a:lin ang="5400000" scaled="1"/>
              </a:gradFill>
              <a:tailEnd type="oval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959" name="Group 958"/>
            <p:cNvGrpSpPr/>
            <p:nvPr/>
          </p:nvGrpSpPr>
          <p:grpSpPr>
            <a:xfrm>
              <a:off x="5139402" y="534665"/>
              <a:ext cx="337923" cy="2304351"/>
              <a:chOff x="4795828" y="569609"/>
              <a:chExt cx="307843" cy="2099231"/>
            </a:xfrm>
          </p:grpSpPr>
          <p:sp>
            <p:nvSpPr>
              <p:cNvPr id="996" name="Freeform 995"/>
              <p:cNvSpPr/>
              <p:nvPr/>
            </p:nvSpPr>
            <p:spPr>
              <a:xfrm rot="10800000">
                <a:off x="4798974" y="616871"/>
                <a:ext cx="304697" cy="2051969"/>
              </a:xfrm>
              <a:custGeom>
                <a:avLst/>
                <a:gdLst>
                  <a:gd name="connsiteX0" fmla="*/ 374650 w 374650"/>
                  <a:gd name="connsiteY0" fmla="*/ 57606 h 1460956"/>
                  <a:gd name="connsiteX1" fmla="*/ 82550 w 374650"/>
                  <a:gd name="connsiteY1" fmla="*/ 102056 h 1460956"/>
                  <a:gd name="connsiteX2" fmla="*/ 146050 w 374650"/>
                  <a:gd name="connsiteY2" fmla="*/ 997406 h 1460956"/>
                  <a:gd name="connsiteX3" fmla="*/ 0 w 374650"/>
                  <a:gd name="connsiteY3" fmla="*/ 1460956 h 1460956"/>
                  <a:gd name="connsiteX0" fmla="*/ 381000 w 381000"/>
                  <a:gd name="connsiteY0" fmla="*/ 21034 h 1557734"/>
                  <a:gd name="connsiteX1" fmla="*/ 82550 w 381000"/>
                  <a:gd name="connsiteY1" fmla="*/ 198834 h 1557734"/>
                  <a:gd name="connsiteX2" fmla="*/ 146050 w 381000"/>
                  <a:gd name="connsiteY2" fmla="*/ 1094184 h 1557734"/>
                  <a:gd name="connsiteX3" fmla="*/ 0 w 381000"/>
                  <a:gd name="connsiteY3" fmla="*/ 1557734 h 1557734"/>
                  <a:gd name="connsiteX0" fmla="*/ 381000 w 381000"/>
                  <a:gd name="connsiteY0" fmla="*/ 0 h 1536700"/>
                  <a:gd name="connsiteX1" fmla="*/ 82550 w 381000"/>
                  <a:gd name="connsiteY1" fmla="*/ 1778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2595 w 432595"/>
                  <a:gd name="connsiteY0" fmla="*/ 0 h 1772866"/>
                  <a:gd name="connsiteX1" fmla="*/ 3 w 432595"/>
                  <a:gd name="connsiteY1" fmla="*/ 534640 h 1772866"/>
                  <a:gd name="connsiteX2" fmla="*/ 193280 w 432595"/>
                  <a:gd name="connsiteY2" fmla="*/ 1309316 h 1772866"/>
                  <a:gd name="connsiteX3" fmla="*/ 2780 w 432595"/>
                  <a:gd name="connsiteY3" fmla="*/ 1772866 h 1772866"/>
                  <a:gd name="connsiteX0" fmla="*/ 442496 w 442496"/>
                  <a:gd name="connsiteY0" fmla="*/ 0 h 1772866"/>
                  <a:gd name="connsiteX1" fmla="*/ 9904 w 442496"/>
                  <a:gd name="connsiteY1" fmla="*/ 534640 h 1772866"/>
                  <a:gd name="connsiteX2" fmla="*/ 203181 w 442496"/>
                  <a:gd name="connsiteY2" fmla="*/ 1309316 h 1772866"/>
                  <a:gd name="connsiteX3" fmla="*/ 12681 w 442496"/>
                  <a:gd name="connsiteY3" fmla="*/ 1772866 h 1772866"/>
                  <a:gd name="connsiteX0" fmla="*/ 429814 w 429814"/>
                  <a:gd name="connsiteY0" fmla="*/ 0 h 1772866"/>
                  <a:gd name="connsiteX1" fmla="*/ 33735 w 429814"/>
                  <a:gd name="connsiteY1" fmla="*/ 488007 h 1772866"/>
                  <a:gd name="connsiteX2" fmla="*/ 190499 w 429814"/>
                  <a:gd name="connsiteY2" fmla="*/ 1309316 h 1772866"/>
                  <a:gd name="connsiteX3" fmla="*/ -1 w 429814"/>
                  <a:gd name="connsiteY3" fmla="*/ 1772866 h 1772866"/>
                  <a:gd name="connsiteX0" fmla="*/ 429815 w 429815"/>
                  <a:gd name="connsiteY0" fmla="*/ 0 h 1772866"/>
                  <a:gd name="connsiteX1" fmla="*/ 33736 w 429815"/>
                  <a:gd name="connsiteY1" fmla="*/ 488007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6352 w 429815"/>
                  <a:gd name="connsiteY1" fmla="*/ 515438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4204 w 434204"/>
                  <a:gd name="connsiteY0" fmla="*/ 0 h 1772866"/>
                  <a:gd name="connsiteX1" fmla="*/ 10741 w 434204"/>
                  <a:gd name="connsiteY1" fmla="*/ 515438 h 1772866"/>
                  <a:gd name="connsiteX2" fmla="*/ 194889 w 434204"/>
                  <a:gd name="connsiteY2" fmla="*/ 1309316 h 1772866"/>
                  <a:gd name="connsiteX3" fmla="*/ 4389 w 434204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15438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94990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378537 w 378537"/>
                  <a:gd name="connsiteY0" fmla="*/ 0 h 1772866"/>
                  <a:gd name="connsiteX1" fmla="*/ 6352 w 378537"/>
                  <a:gd name="connsiteY1" fmla="*/ 594990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30019 w 378537"/>
                  <a:gd name="connsiteY1" fmla="*/ 592247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8537" h="1772866">
                    <a:moveTo>
                      <a:pt x="378537" y="0"/>
                    </a:moveTo>
                    <a:cubicBezTo>
                      <a:pt x="252529" y="231483"/>
                      <a:pt x="-76696" y="316422"/>
                      <a:pt x="30019" y="592247"/>
                    </a:cubicBezTo>
                    <a:cubicBezTo>
                      <a:pt x="136734" y="868072"/>
                      <a:pt x="195503" y="1112546"/>
                      <a:pt x="190500" y="1309316"/>
                    </a:cubicBezTo>
                    <a:cubicBezTo>
                      <a:pt x="185497" y="1506086"/>
                      <a:pt x="97896" y="1663857"/>
                      <a:pt x="0" y="1772866"/>
                    </a:cubicBezTo>
                  </a:path>
                </a:pathLst>
              </a:custGeom>
              <a:noFill/>
              <a:ln w="12700">
                <a:gradFill>
                  <a:gsLst>
                    <a:gs pos="49000">
                      <a:schemeClr val="accent1">
                        <a:lumMod val="5000"/>
                        <a:lumOff val="95000"/>
                      </a:schemeClr>
                    </a:gs>
                    <a:gs pos="0">
                      <a:srgbClr val="4599D1"/>
                    </a:gs>
                    <a:gs pos="82000">
                      <a:schemeClr val="accent2"/>
                    </a:gs>
                  </a:gsLst>
                  <a:lin ang="5400000" scaled="1"/>
                </a:gradFill>
                <a:tailEnd type="oval" w="sm" len="sm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88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97" name="Freeform 996"/>
              <p:cNvSpPr/>
              <p:nvPr/>
            </p:nvSpPr>
            <p:spPr>
              <a:xfrm rot="10800000">
                <a:off x="4795828" y="584317"/>
                <a:ext cx="254954" cy="2074194"/>
              </a:xfrm>
              <a:custGeom>
                <a:avLst/>
                <a:gdLst>
                  <a:gd name="connsiteX0" fmla="*/ 374650 w 374650"/>
                  <a:gd name="connsiteY0" fmla="*/ 57606 h 1460956"/>
                  <a:gd name="connsiteX1" fmla="*/ 82550 w 374650"/>
                  <a:gd name="connsiteY1" fmla="*/ 102056 h 1460956"/>
                  <a:gd name="connsiteX2" fmla="*/ 146050 w 374650"/>
                  <a:gd name="connsiteY2" fmla="*/ 997406 h 1460956"/>
                  <a:gd name="connsiteX3" fmla="*/ 0 w 374650"/>
                  <a:gd name="connsiteY3" fmla="*/ 1460956 h 1460956"/>
                  <a:gd name="connsiteX0" fmla="*/ 381000 w 381000"/>
                  <a:gd name="connsiteY0" fmla="*/ 21034 h 1557734"/>
                  <a:gd name="connsiteX1" fmla="*/ 82550 w 381000"/>
                  <a:gd name="connsiteY1" fmla="*/ 198834 h 1557734"/>
                  <a:gd name="connsiteX2" fmla="*/ 146050 w 381000"/>
                  <a:gd name="connsiteY2" fmla="*/ 1094184 h 1557734"/>
                  <a:gd name="connsiteX3" fmla="*/ 0 w 381000"/>
                  <a:gd name="connsiteY3" fmla="*/ 1557734 h 1557734"/>
                  <a:gd name="connsiteX0" fmla="*/ 381000 w 381000"/>
                  <a:gd name="connsiteY0" fmla="*/ 0 h 1536700"/>
                  <a:gd name="connsiteX1" fmla="*/ 82550 w 381000"/>
                  <a:gd name="connsiteY1" fmla="*/ 1778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2595 w 432595"/>
                  <a:gd name="connsiteY0" fmla="*/ 0 h 1772866"/>
                  <a:gd name="connsiteX1" fmla="*/ 3 w 432595"/>
                  <a:gd name="connsiteY1" fmla="*/ 534640 h 1772866"/>
                  <a:gd name="connsiteX2" fmla="*/ 193280 w 432595"/>
                  <a:gd name="connsiteY2" fmla="*/ 1309316 h 1772866"/>
                  <a:gd name="connsiteX3" fmla="*/ 2780 w 432595"/>
                  <a:gd name="connsiteY3" fmla="*/ 1772866 h 1772866"/>
                  <a:gd name="connsiteX0" fmla="*/ 442496 w 442496"/>
                  <a:gd name="connsiteY0" fmla="*/ 0 h 1772866"/>
                  <a:gd name="connsiteX1" fmla="*/ 9904 w 442496"/>
                  <a:gd name="connsiteY1" fmla="*/ 534640 h 1772866"/>
                  <a:gd name="connsiteX2" fmla="*/ 203181 w 442496"/>
                  <a:gd name="connsiteY2" fmla="*/ 1309316 h 1772866"/>
                  <a:gd name="connsiteX3" fmla="*/ 12681 w 442496"/>
                  <a:gd name="connsiteY3" fmla="*/ 1772866 h 1772866"/>
                  <a:gd name="connsiteX0" fmla="*/ 429814 w 429814"/>
                  <a:gd name="connsiteY0" fmla="*/ 0 h 1772866"/>
                  <a:gd name="connsiteX1" fmla="*/ 33735 w 429814"/>
                  <a:gd name="connsiteY1" fmla="*/ 488007 h 1772866"/>
                  <a:gd name="connsiteX2" fmla="*/ 190499 w 429814"/>
                  <a:gd name="connsiteY2" fmla="*/ 1309316 h 1772866"/>
                  <a:gd name="connsiteX3" fmla="*/ -1 w 429814"/>
                  <a:gd name="connsiteY3" fmla="*/ 1772866 h 1772866"/>
                  <a:gd name="connsiteX0" fmla="*/ 429815 w 429815"/>
                  <a:gd name="connsiteY0" fmla="*/ 0 h 1772866"/>
                  <a:gd name="connsiteX1" fmla="*/ 33736 w 429815"/>
                  <a:gd name="connsiteY1" fmla="*/ 488007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6352 w 429815"/>
                  <a:gd name="connsiteY1" fmla="*/ 515438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4204 w 434204"/>
                  <a:gd name="connsiteY0" fmla="*/ 0 h 1772866"/>
                  <a:gd name="connsiteX1" fmla="*/ 10741 w 434204"/>
                  <a:gd name="connsiteY1" fmla="*/ 515438 h 1772866"/>
                  <a:gd name="connsiteX2" fmla="*/ 194889 w 434204"/>
                  <a:gd name="connsiteY2" fmla="*/ 1309316 h 1772866"/>
                  <a:gd name="connsiteX3" fmla="*/ 4389 w 434204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15438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94990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378537 w 378537"/>
                  <a:gd name="connsiteY0" fmla="*/ 0 h 1772866"/>
                  <a:gd name="connsiteX1" fmla="*/ 6352 w 378537"/>
                  <a:gd name="connsiteY1" fmla="*/ 594990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30019 w 378537"/>
                  <a:gd name="connsiteY1" fmla="*/ 592247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91510 w 291510"/>
                  <a:gd name="connsiteY0" fmla="*/ 0 h 1792068"/>
                  <a:gd name="connsiteX1" fmla="*/ 33714 w 291510"/>
                  <a:gd name="connsiteY1" fmla="*/ 611449 h 1792068"/>
                  <a:gd name="connsiteX2" fmla="*/ 194195 w 291510"/>
                  <a:gd name="connsiteY2" fmla="*/ 1328518 h 1792068"/>
                  <a:gd name="connsiteX3" fmla="*/ 3695 w 291510"/>
                  <a:gd name="connsiteY3" fmla="*/ 1792068 h 1792068"/>
                  <a:gd name="connsiteX0" fmla="*/ 316739 w 316739"/>
                  <a:gd name="connsiteY0" fmla="*/ 0 h 1792068"/>
                  <a:gd name="connsiteX1" fmla="*/ 31333 w 316739"/>
                  <a:gd name="connsiteY1" fmla="*/ 614192 h 1792068"/>
                  <a:gd name="connsiteX2" fmla="*/ 219424 w 316739"/>
                  <a:gd name="connsiteY2" fmla="*/ 1328518 h 1792068"/>
                  <a:gd name="connsiteX3" fmla="*/ 28924 w 316739"/>
                  <a:gd name="connsiteY3" fmla="*/ 1792068 h 179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6739" h="1792068">
                    <a:moveTo>
                      <a:pt x="316739" y="0"/>
                    </a:moveTo>
                    <a:cubicBezTo>
                      <a:pt x="190731" y="231483"/>
                      <a:pt x="-94447" y="324193"/>
                      <a:pt x="31333" y="614192"/>
                    </a:cubicBezTo>
                    <a:cubicBezTo>
                      <a:pt x="157113" y="904191"/>
                      <a:pt x="219826" y="1132205"/>
                      <a:pt x="219424" y="1328518"/>
                    </a:cubicBezTo>
                    <a:cubicBezTo>
                      <a:pt x="219023" y="1524831"/>
                      <a:pt x="126820" y="1683059"/>
                      <a:pt x="28924" y="1792068"/>
                    </a:cubicBezTo>
                  </a:path>
                </a:pathLst>
              </a:custGeom>
              <a:noFill/>
              <a:ln w="12700">
                <a:gradFill>
                  <a:gsLst>
                    <a:gs pos="49000">
                      <a:schemeClr val="accent1">
                        <a:lumMod val="5000"/>
                        <a:lumOff val="95000"/>
                      </a:schemeClr>
                    </a:gs>
                    <a:gs pos="0">
                      <a:srgbClr val="4599D1"/>
                    </a:gs>
                    <a:gs pos="82000">
                      <a:schemeClr val="accent2"/>
                    </a:gs>
                  </a:gsLst>
                  <a:lin ang="5400000" scaled="1"/>
                </a:gradFill>
                <a:tailEnd type="oval" w="sm" len="sm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88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98" name="Freeform 997"/>
              <p:cNvSpPr/>
              <p:nvPr/>
            </p:nvSpPr>
            <p:spPr>
              <a:xfrm rot="10800000">
                <a:off x="4797350" y="569609"/>
                <a:ext cx="178722" cy="2083719"/>
              </a:xfrm>
              <a:custGeom>
                <a:avLst/>
                <a:gdLst>
                  <a:gd name="connsiteX0" fmla="*/ 374650 w 374650"/>
                  <a:gd name="connsiteY0" fmla="*/ 57606 h 1460956"/>
                  <a:gd name="connsiteX1" fmla="*/ 82550 w 374650"/>
                  <a:gd name="connsiteY1" fmla="*/ 102056 h 1460956"/>
                  <a:gd name="connsiteX2" fmla="*/ 146050 w 374650"/>
                  <a:gd name="connsiteY2" fmla="*/ 997406 h 1460956"/>
                  <a:gd name="connsiteX3" fmla="*/ 0 w 374650"/>
                  <a:gd name="connsiteY3" fmla="*/ 1460956 h 1460956"/>
                  <a:gd name="connsiteX0" fmla="*/ 381000 w 381000"/>
                  <a:gd name="connsiteY0" fmla="*/ 21034 h 1557734"/>
                  <a:gd name="connsiteX1" fmla="*/ 82550 w 381000"/>
                  <a:gd name="connsiteY1" fmla="*/ 198834 h 1557734"/>
                  <a:gd name="connsiteX2" fmla="*/ 146050 w 381000"/>
                  <a:gd name="connsiteY2" fmla="*/ 1094184 h 1557734"/>
                  <a:gd name="connsiteX3" fmla="*/ 0 w 381000"/>
                  <a:gd name="connsiteY3" fmla="*/ 1557734 h 1557734"/>
                  <a:gd name="connsiteX0" fmla="*/ 381000 w 381000"/>
                  <a:gd name="connsiteY0" fmla="*/ 0 h 1536700"/>
                  <a:gd name="connsiteX1" fmla="*/ 82550 w 381000"/>
                  <a:gd name="connsiteY1" fmla="*/ 1778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2595 w 432595"/>
                  <a:gd name="connsiteY0" fmla="*/ 0 h 1772866"/>
                  <a:gd name="connsiteX1" fmla="*/ 3 w 432595"/>
                  <a:gd name="connsiteY1" fmla="*/ 534640 h 1772866"/>
                  <a:gd name="connsiteX2" fmla="*/ 193280 w 432595"/>
                  <a:gd name="connsiteY2" fmla="*/ 1309316 h 1772866"/>
                  <a:gd name="connsiteX3" fmla="*/ 2780 w 432595"/>
                  <a:gd name="connsiteY3" fmla="*/ 1772866 h 1772866"/>
                  <a:gd name="connsiteX0" fmla="*/ 442496 w 442496"/>
                  <a:gd name="connsiteY0" fmla="*/ 0 h 1772866"/>
                  <a:gd name="connsiteX1" fmla="*/ 9904 w 442496"/>
                  <a:gd name="connsiteY1" fmla="*/ 534640 h 1772866"/>
                  <a:gd name="connsiteX2" fmla="*/ 203181 w 442496"/>
                  <a:gd name="connsiteY2" fmla="*/ 1309316 h 1772866"/>
                  <a:gd name="connsiteX3" fmla="*/ 12681 w 442496"/>
                  <a:gd name="connsiteY3" fmla="*/ 1772866 h 1772866"/>
                  <a:gd name="connsiteX0" fmla="*/ 429814 w 429814"/>
                  <a:gd name="connsiteY0" fmla="*/ 0 h 1772866"/>
                  <a:gd name="connsiteX1" fmla="*/ 33735 w 429814"/>
                  <a:gd name="connsiteY1" fmla="*/ 488007 h 1772866"/>
                  <a:gd name="connsiteX2" fmla="*/ 190499 w 429814"/>
                  <a:gd name="connsiteY2" fmla="*/ 1309316 h 1772866"/>
                  <a:gd name="connsiteX3" fmla="*/ -1 w 429814"/>
                  <a:gd name="connsiteY3" fmla="*/ 1772866 h 1772866"/>
                  <a:gd name="connsiteX0" fmla="*/ 429815 w 429815"/>
                  <a:gd name="connsiteY0" fmla="*/ 0 h 1772866"/>
                  <a:gd name="connsiteX1" fmla="*/ 33736 w 429815"/>
                  <a:gd name="connsiteY1" fmla="*/ 488007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6352 w 429815"/>
                  <a:gd name="connsiteY1" fmla="*/ 515438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4204 w 434204"/>
                  <a:gd name="connsiteY0" fmla="*/ 0 h 1772866"/>
                  <a:gd name="connsiteX1" fmla="*/ 10741 w 434204"/>
                  <a:gd name="connsiteY1" fmla="*/ 515438 h 1772866"/>
                  <a:gd name="connsiteX2" fmla="*/ 194889 w 434204"/>
                  <a:gd name="connsiteY2" fmla="*/ 1309316 h 1772866"/>
                  <a:gd name="connsiteX3" fmla="*/ 4389 w 434204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15438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94990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378537 w 378537"/>
                  <a:gd name="connsiteY0" fmla="*/ 0 h 1772866"/>
                  <a:gd name="connsiteX1" fmla="*/ 6352 w 378537"/>
                  <a:gd name="connsiteY1" fmla="*/ 594990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30019 w 378537"/>
                  <a:gd name="connsiteY1" fmla="*/ 592247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91510 w 291510"/>
                  <a:gd name="connsiteY0" fmla="*/ 0 h 1792068"/>
                  <a:gd name="connsiteX1" fmla="*/ 33714 w 291510"/>
                  <a:gd name="connsiteY1" fmla="*/ 611449 h 1792068"/>
                  <a:gd name="connsiteX2" fmla="*/ 194195 w 291510"/>
                  <a:gd name="connsiteY2" fmla="*/ 1328518 h 1792068"/>
                  <a:gd name="connsiteX3" fmla="*/ 3695 w 291510"/>
                  <a:gd name="connsiteY3" fmla="*/ 1792068 h 1792068"/>
                  <a:gd name="connsiteX0" fmla="*/ 316739 w 316739"/>
                  <a:gd name="connsiteY0" fmla="*/ 0 h 1792068"/>
                  <a:gd name="connsiteX1" fmla="*/ 31333 w 316739"/>
                  <a:gd name="connsiteY1" fmla="*/ 614192 h 1792068"/>
                  <a:gd name="connsiteX2" fmla="*/ 219424 w 316739"/>
                  <a:gd name="connsiteY2" fmla="*/ 1328518 h 1792068"/>
                  <a:gd name="connsiteX3" fmla="*/ 28924 w 316739"/>
                  <a:gd name="connsiteY3" fmla="*/ 1792068 h 1792068"/>
                  <a:gd name="connsiteX0" fmla="*/ 212871 w 212871"/>
                  <a:gd name="connsiteY0" fmla="*/ 0 h 1805784"/>
                  <a:gd name="connsiteX1" fmla="*/ 2409 w 212871"/>
                  <a:gd name="connsiteY1" fmla="*/ 627908 h 1805784"/>
                  <a:gd name="connsiteX2" fmla="*/ 190500 w 212871"/>
                  <a:gd name="connsiteY2" fmla="*/ 1342234 h 1805784"/>
                  <a:gd name="connsiteX3" fmla="*/ 0 w 212871"/>
                  <a:gd name="connsiteY3" fmla="*/ 1805784 h 1805784"/>
                  <a:gd name="connsiteX0" fmla="*/ 244746 w 244746"/>
                  <a:gd name="connsiteY0" fmla="*/ 0 h 1805784"/>
                  <a:gd name="connsiteX1" fmla="*/ 34284 w 244746"/>
                  <a:gd name="connsiteY1" fmla="*/ 627908 h 1805784"/>
                  <a:gd name="connsiteX2" fmla="*/ 222375 w 244746"/>
                  <a:gd name="connsiteY2" fmla="*/ 1342234 h 1805784"/>
                  <a:gd name="connsiteX3" fmla="*/ 31875 w 244746"/>
                  <a:gd name="connsiteY3" fmla="*/ 1805784 h 1805784"/>
                  <a:gd name="connsiteX0" fmla="*/ 226986 w 226986"/>
                  <a:gd name="connsiteY0" fmla="*/ 0 h 1805784"/>
                  <a:gd name="connsiteX1" fmla="*/ 16524 w 226986"/>
                  <a:gd name="connsiteY1" fmla="*/ 627908 h 1805784"/>
                  <a:gd name="connsiteX2" fmla="*/ 204615 w 226986"/>
                  <a:gd name="connsiteY2" fmla="*/ 1342234 h 1805784"/>
                  <a:gd name="connsiteX3" fmla="*/ 14115 w 226986"/>
                  <a:gd name="connsiteY3" fmla="*/ 1805784 h 1805784"/>
                  <a:gd name="connsiteX0" fmla="*/ 243199 w 243199"/>
                  <a:gd name="connsiteY0" fmla="*/ 0 h 1805784"/>
                  <a:gd name="connsiteX1" fmla="*/ 32737 w 243199"/>
                  <a:gd name="connsiteY1" fmla="*/ 627908 h 1805784"/>
                  <a:gd name="connsiteX2" fmla="*/ 220828 w 243199"/>
                  <a:gd name="connsiteY2" fmla="*/ 1342234 h 1805784"/>
                  <a:gd name="connsiteX3" fmla="*/ 30328 w 243199"/>
                  <a:gd name="connsiteY3" fmla="*/ 1805784 h 1805784"/>
                  <a:gd name="connsiteX0" fmla="*/ 181315 w 190500"/>
                  <a:gd name="connsiteY0" fmla="*/ 0 h 1800298"/>
                  <a:gd name="connsiteX1" fmla="*/ 2409 w 190500"/>
                  <a:gd name="connsiteY1" fmla="*/ 622422 h 1800298"/>
                  <a:gd name="connsiteX2" fmla="*/ 190500 w 190500"/>
                  <a:gd name="connsiteY2" fmla="*/ 1336748 h 1800298"/>
                  <a:gd name="connsiteX3" fmla="*/ 0 w 190500"/>
                  <a:gd name="connsiteY3" fmla="*/ 1800298 h 1800298"/>
                  <a:gd name="connsiteX0" fmla="*/ 198733 w 207919"/>
                  <a:gd name="connsiteY0" fmla="*/ 0 h 1800298"/>
                  <a:gd name="connsiteX1" fmla="*/ 19827 w 207919"/>
                  <a:gd name="connsiteY1" fmla="*/ 622422 h 1800298"/>
                  <a:gd name="connsiteX2" fmla="*/ 207918 w 207919"/>
                  <a:gd name="connsiteY2" fmla="*/ 1336748 h 1800298"/>
                  <a:gd name="connsiteX3" fmla="*/ 17418 w 207919"/>
                  <a:gd name="connsiteY3" fmla="*/ 1800298 h 1800298"/>
                  <a:gd name="connsiteX0" fmla="*/ 211242 w 220428"/>
                  <a:gd name="connsiteY0" fmla="*/ 0 h 1800298"/>
                  <a:gd name="connsiteX1" fmla="*/ 32336 w 220428"/>
                  <a:gd name="connsiteY1" fmla="*/ 622422 h 1800298"/>
                  <a:gd name="connsiteX2" fmla="*/ 220427 w 220428"/>
                  <a:gd name="connsiteY2" fmla="*/ 1336748 h 1800298"/>
                  <a:gd name="connsiteX3" fmla="*/ 29927 w 220428"/>
                  <a:gd name="connsiteY3" fmla="*/ 1800298 h 1800298"/>
                  <a:gd name="connsiteX0" fmla="*/ 212848 w 222034"/>
                  <a:gd name="connsiteY0" fmla="*/ 0 h 1800298"/>
                  <a:gd name="connsiteX1" fmla="*/ 33942 w 222034"/>
                  <a:gd name="connsiteY1" fmla="*/ 622422 h 1800298"/>
                  <a:gd name="connsiteX2" fmla="*/ 222033 w 222034"/>
                  <a:gd name="connsiteY2" fmla="*/ 1336748 h 1800298"/>
                  <a:gd name="connsiteX3" fmla="*/ 31533 w 222034"/>
                  <a:gd name="connsiteY3" fmla="*/ 1800298 h 1800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2034" h="1800298">
                    <a:moveTo>
                      <a:pt x="212848" y="0"/>
                    </a:moveTo>
                    <a:cubicBezTo>
                      <a:pt x="86840" y="231483"/>
                      <a:pt x="-70144" y="331053"/>
                      <a:pt x="33942" y="622422"/>
                    </a:cubicBezTo>
                    <a:cubicBezTo>
                      <a:pt x="138028" y="913791"/>
                      <a:pt x="222435" y="1140435"/>
                      <a:pt x="222033" y="1336748"/>
                    </a:cubicBezTo>
                    <a:cubicBezTo>
                      <a:pt x="221632" y="1533061"/>
                      <a:pt x="129429" y="1691289"/>
                      <a:pt x="31533" y="1800298"/>
                    </a:cubicBezTo>
                  </a:path>
                </a:pathLst>
              </a:custGeom>
              <a:noFill/>
              <a:ln w="12700">
                <a:gradFill>
                  <a:gsLst>
                    <a:gs pos="49000">
                      <a:schemeClr val="accent1">
                        <a:lumMod val="5000"/>
                        <a:lumOff val="95000"/>
                      </a:schemeClr>
                    </a:gs>
                    <a:gs pos="0">
                      <a:srgbClr val="4599D1"/>
                    </a:gs>
                    <a:gs pos="82000">
                      <a:schemeClr val="accent2"/>
                    </a:gs>
                  </a:gsLst>
                  <a:lin ang="5400000" scaled="1"/>
                </a:gradFill>
                <a:tailEnd type="oval" w="sm" len="sm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88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960" name="Group 959"/>
            <p:cNvGrpSpPr/>
            <p:nvPr/>
          </p:nvGrpSpPr>
          <p:grpSpPr>
            <a:xfrm flipH="1">
              <a:off x="4812186" y="548156"/>
              <a:ext cx="337923" cy="2304351"/>
              <a:chOff x="4795828" y="569609"/>
              <a:chExt cx="307843" cy="2099231"/>
            </a:xfrm>
          </p:grpSpPr>
          <p:sp>
            <p:nvSpPr>
              <p:cNvPr id="993" name="Freeform 992"/>
              <p:cNvSpPr/>
              <p:nvPr/>
            </p:nvSpPr>
            <p:spPr>
              <a:xfrm rot="10800000">
                <a:off x="4798974" y="616871"/>
                <a:ext cx="304697" cy="2051969"/>
              </a:xfrm>
              <a:custGeom>
                <a:avLst/>
                <a:gdLst>
                  <a:gd name="connsiteX0" fmla="*/ 374650 w 374650"/>
                  <a:gd name="connsiteY0" fmla="*/ 57606 h 1460956"/>
                  <a:gd name="connsiteX1" fmla="*/ 82550 w 374650"/>
                  <a:gd name="connsiteY1" fmla="*/ 102056 h 1460956"/>
                  <a:gd name="connsiteX2" fmla="*/ 146050 w 374650"/>
                  <a:gd name="connsiteY2" fmla="*/ 997406 h 1460956"/>
                  <a:gd name="connsiteX3" fmla="*/ 0 w 374650"/>
                  <a:gd name="connsiteY3" fmla="*/ 1460956 h 1460956"/>
                  <a:gd name="connsiteX0" fmla="*/ 381000 w 381000"/>
                  <a:gd name="connsiteY0" fmla="*/ 21034 h 1557734"/>
                  <a:gd name="connsiteX1" fmla="*/ 82550 w 381000"/>
                  <a:gd name="connsiteY1" fmla="*/ 198834 h 1557734"/>
                  <a:gd name="connsiteX2" fmla="*/ 146050 w 381000"/>
                  <a:gd name="connsiteY2" fmla="*/ 1094184 h 1557734"/>
                  <a:gd name="connsiteX3" fmla="*/ 0 w 381000"/>
                  <a:gd name="connsiteY3" fmla="*/ 1557734 h 1557734"/>
                  <a:gd name="connsiteX0" fmla="*/ 381000 w 381000"/>
                  <a:gd name="connsiteY0" fmla="*/ 0 h 1536700"/>
                  <a:gd name="connsiteX1" fmla="*/ 82550 w 381000"/>
                  <a:gd name="connsiteY1" fmla="*/ 1778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2595 w 432595"/>
                  <a:gd name="connsiteY0" fmla="*/ 0 h 1772866"/>
                  <a:gd name="connsiteX1" fmla="*/ 3 w 432595"/>
                  <a:gd name="connsiteY1" fmla="*/ 534640 h 1772866"/>
                  <a:gd name="connsiteX2" fmla="*/ 193280 w 432595"/>
                  <a:gd name="connsiteY2" fmla="*/ 1309316 h 1772866"/>
                  <a:gd name="connsiteX3" fmla="*/ 2780 w 432595"/>
                  <a:gd name="connsiteY3" fmla="*/ 1772866 h 1772866"/>
                  <a:gd name="connsiteX0" fmla="*/ 442496 w 442496"/>
                  <a:gd name="connsiteY0" fmla="*/ 0 h 1772866"/>
                  <a:gd name="connsiteX1" fmla="*/ 9904 w 442496"/>
                  <a:gd name="connsiteY1" fmla="*/ 534640 h 1772866"/>
                  <a:gd name="connsiteX2" fmla="*/ 203181 w 442496"/>
                  <a:gd name="connsiteY2" fmla="*/ 1309316 h 1772866"/>
                  <a:gd name="connsiteX3" fmla="*/ 12681 w 442496"/>
                  <a:gd name="connsiteY3" fmla="*/ 1772866 h 1772866"/>
                  <a:gd name="connsiteX0" fmla="*/ 429814 w 429814"/>
                  <a:gd name="connsiteY0" fmla="*/ 0 h 1772866"/>
                  <a:gd name="connsiteX1" fmla="*/ 33735 w 429814"/>
                  <a:gd name="connsiteY1" fmla="*/ 488007 h 1772866"/>
                  <a:gd name="connsiteX2" fmla="*/ 190499 w 429814"/>
                  <a:gd name="connsiteY2" fmla="*/ 1309316 h 1772866"/>
                  <a:gd name="connsiteX3" fmla="*/ -1 w 429814"/>
                  <a:gd name="connsiteY3" fmla="*/ 1772866 h 1772866"/>
                  <a:gd name="connsiteX0" fmla="*/ 429815 w 429815"/>
                  <a:gd name="connsiteY0" fmla="*/ 0 h 1772866"/>
                  <a:gd name="connsiteX1" fmla="*/ 33736 w 429815"/>
                  <a:gd name="connsiteY1" fmla="*/ 488007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6352 w 429815"/>
                  <a:gd name="connsiteY1" fmla="*/ 515438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4204 w 434204"/>
                  <a:gd name="connsiteY0" fmla="*/ 0 h 1772866"/>
                  <a:gd name="connsiteX1" fmla="*/ 10741 w 434204"/>
                  <a:gd name="connsiteY1" fmla="*/ 515438 h 1772866"/>
                  <a:gd name="connsiteX2" fmla="*/ 194889 w 434204"/>
                  <a:gd name="connsiteY2" fmla="*/ 1309316 h 1772866"/>
                  <a:gd name="connsiteX3" fmla="*/ 4389 w 434204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15438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94990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378537 w 378537"/>
                  <a:gd name="connsiteY0" fmla="*/ 0 h 1772866"/>
                  <a:gd name="connsiteX1" fmla="*/ 6352 w 378537"/>
                  <a:gd name="connsiteY1" fmla="*/ 594990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30019 w 378537"/>
                  <a:gd name="connsiteY1" fmla="*/ 592247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8537" h="1772866">
                    <a:moveTo>
                      <a:pt x="378537" y="0"/>
                    </a:moveTo>
                    <a:cubicBezTo>
                      <a:pt x="252529" y="231483"/>
                      <a:pt x="-76696" y="316422"/>
                      <a:pt x="30019" y="592247"/>
                    </a:cubicBezTo>
                    <a:cubicBezTo>
                      <a:pt x="136734" y="868072"/>
                      <a:pt x="195503" y="1112546"/>
                      <a:pt x="190500" y="1309316"/>
                    </a:cubicBezTo>
                    <a:cubicBezTo>
                      <a:pt x="185497" y="1506086"/>
                      <a:pt x="97896" y="1663857"/>
                      <a:pt x="0" y="1772866"/>
                    </a:cubicBezTo>
                  </a:path>
                </a:pathLst>
              </a:custGeom>
              <a:noFill/>
              <a:ln w="12700">
                <a:gradFill>
                  <a:gsLst>
                    <a:gs pos="49000">
                      <a:schemeClr val="accent1">
                        <a:lumMod val="5000"/>
                        <a:lumOff val="95000"/>
                      </a:schemeClr>
                    </a:gs>
                    <a:gs pos="0">
                      <a:srgbClr val="4599D1"/>
                    </a:gs>
                    <a:gs pos="82000">
                      <a:schemeClr val="accent2"/>
                    </a:gs>
                  </a:gsLst>
                  <a:lin ang="5400000" scaled="1"/>
                </a:gradFill>
                <a:tailEnd type="oval" w="sm" len="sm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88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94" name="Freeform 993"/>
              <p:cNvSpPr/>
              <p:nvPr/>
            </p:nvSpPr>
            <p:spPr>
              <a:xfrm rot="10800000">
                <a:off x="4795828" y="584317"/>
                <a:ext cx="254954" cy="2074194"/>
              </a:xfrm>
              <a:custGeom>
                <a:avLst/>
                <a:gdLst>
                  <a:gd name="connsiteX0" fmla="*/ 374650 w 374650"/>
                  <a:gd name="connsiteY0" fmla="*/ 57606 h 1460956"/>
                  <a:gd name="connsiteX1" fmla="*/ 82550 w 374650"/>
                  <a:gd name="connsiteY1" fmla="*/ 102056 h 1460956"/>
                  <a:gd name="connsiteX2" fmla="*/ 146050 w 374650"/>
                  <a:gd name="connsiteY2" fmla="*/ 997406 h 1460956"/>
                  <a:gd name="connsiteX3" fmla="*/ 0 w 374650"/>
                  <a:gd name="connsiteY3" fmla="*/ 1460956 h 1460956"/>
                  <a:gd name="connsiteX0" fmla="*/ 381000 w 381000"/>
                  <a:gd name="connsiteY0" fmla="*/ 21034 h 1557734"/>
                  <a:gd name="connsiteX1" fmla="*/ 82550 w 381000"/>
                  <a:gd name="connsiteY1" fmla="*/ 198834 h 1557734"/>
                  <a:gd name="connsiteX2" fmla="*/ 146050 w 381000"/>
                  <a:gd name="connsiteY2" fmla="*/ 1094184 h 1557734"/>
                  <a:gd name="connsiteX3" fmla="*/ 0 w 381000"/>
                  <a:gd name="connsiteY3" fmla="*/ 1557734 h 1557734"/>
                  <a:gd name="connsiteX0" fmla="*/ 381000 w 381000"/>
                  <a:gd name="connsiteY0" fmla="*/ 0 h 1536700"/>
                  <a:gd name="connsiteX1" fmla="*/ 82550 w 381000"/>
                  <a:gd name="connsiteY1" fmla="*/ 1778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2595 w 432595"/>
                  <a:gd name="connsiteY0" fmla="*/ 0 h 1772866"/>
                  <a:gd name="connsiteX1" fmla="*/ 3 w 432595"/>
                  <a:gd name="connsiteY1" fmla="*/ 534640 h 1772866"/>
                  <a:gd name="connsiteX2" fmla="*/ 193280 w 432595"/>
                  <a:gd name="connsiteY2" fmla="*/ 1309316 h 1772866"/>
                  <a:gd name="connsiteX3" fmla="*/ 2780 w 432595"/>
                  <a:gd name="connsiteY3" fmla="*/ 1772866 h 1772866"/>
                  <a:gd name="connsiteX0" fmla="*/ 442496 w 442496"/>
                  <a:gd name="connsiteY0" fmla="*/ 0 h 1772866"/>
                  <a:gd name="connsiteX1" fmla="*/ 9904 w 442496"/>
                  <a:gd name="connsiteY1" fmla="*/ 534640 h 1772866"/>
                  <a:gd name="connsiteX2" fmla="*/ 203181 w 442496"/>
                  <a:gd name="connsiteY2" fmla="*/ 1309316 h 1772866"/>
                  <a:gd name="connsiteX3" fmla="*/ 12681 w 442496"/>
                  <a:gd name="connsiteY3" fmla="*/ 1772866 h 1772866"/>
                  <a:gd name="connsiteX0" fmla="*/ 429814 w 429814"/>
                  <a:gd name="connsiteY0" fmla="*/ 0 h 1772866"/>
                  <a:gd name="connsiteX1" fmla="*/ 33735 w 429814"/>
                  <a:gd name="connsiteY1" fmla="*/ 488007 h 1772866"/>
                  <a:gd name="connsiteX2" fmla="*/ 190499 w 429814"/>
                  <a:gd name="connsiteY2" fmla="*/ 1309316 h 1772866"/>
                  <a:gd name="connsiteX3" fmla="*/ -1 w 429814"/>
                  <a:gd name="connsiteY3" fmla="*/ 1772866 h 1772866"/>
                  <a:gd name="connsiteX0" fmla="*/ 429815 w 429815"/>
                  <a:gd name="connsiteY0" fmla="*/ 0 h 1772866"/>
                  <a:gd name="connsiteX1" fmla="*/ 33736 w 429815"/>
                  <a:gd name="connsiteY1" fmla="*/ 488007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6352 w 429815"/>
                  <a:gd name="connsiteY1" fmla="*/ 515438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4204 w 434204"/>
                  <a:gd name="connsiteY0" fmla="*/ 0 h 1772866"/>
                  <a:gd name="connsiteX1" fmla="*/ 10741 w 434204"/>
                  <a:gd name="connsiteY1" fmla="*/ 515438 h 1772866"/>
                  <a:gd name="connsiteX2" fmla="*/ 194889 w 434204"/>
                  <a:gd name="connsiteY2" fmla="*/ 1309316 h 1772866"/>
                  <a:gd name="connsiteX3" fmla="*/ 4389 w 434204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15438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94990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378537 w 378537"/>
                  <a:gd name="connsiteY0" fmla="*/ 0 h 1772866"/>
                  <a:gd name="connsiteX1" fmla="*/ 6352 w 378537"/>
                  <a:gd name="connsiteY1" fmla="*/ 594990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30019 w 378537"/>
                  <a:gd name="connsiteY1" fmla="*/ 592247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91510 w 291510"/>
                  <a:gd name="connsiteY0" fmla="*/ 0 h 1792068"/>
                  <a:gd name="connsiteX1" fmla="*/ 33714 w 291510"/>
                  <a:gd name="connsiteY1" fmla="*/ 611449 h 1792068"/>
                  <a:gd name="connsiteX2" fmla="*/ 194195 w 291510"/>
                  <a:gd name="connsiteY2" fmla="*/ 1328518 h 1792068"/>
                  <a:gd name="connsiteX3" fmla="*/ 3695 w 291510"/>
                  <a:gd name="connsiteY3" fmla="*/ 1792068 h 1792068"/>
                  <a:gd name="connsiteX0" fmla="*/ 316739 w 316739"/>
                  <a:gd name="connsiteY0" fmla="*/ 0 h 1792068"/>
                  <a:gd name="connsiteX1" fmla="*/ 31333 w 316739"/>
                  <a:gd name="connsiteY1" fmla="*/ 614192 h 1792068"/>
                  <a:gd name="connsiteX2" fmla="*/ 219424 w 316739"/>
                  <a:gd name="connsiteY2" fmla="*/ 1328518 h 1792068"/>
                  <a:gd name="connsiteX3" fmla="*/ 28924 w 316739"/>
                  <a:gd name="connsiteY3" fmla="*/ 1792068 h 179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6739" h="1792068">
                    <a:moveTo>
                      <a:pt x="316739" y="0"/>
                    </a:moveTo>
                    <a:cubicBezTo>
                      <a:pt x="190731" y="231483"/>
                      <a:pt x="-94447" y="324193"/>
                      <a:pt x="31333" y="614192"/>
                    </a:cubicBezTo>
                    <a:cubicBezTo>
                      <a:pt x="157113" y="904191"/>
                      <a:pt x="219826" y="1132205"/>
                      <a:pt x="219424" y="1328518"/>
                    </a:cubicBezTo>
                    <a:cubicBezTo>
                      <a:pt x="219023" y="1524831"/>
                      <a:pt x="126820" y="1683059"/>
                      <a:pt x="28924" y="1792068"/>
                    </a:cubicBezTo>
                  </a:path>
                </a:pathLst>
              </a:custGeom>
              <a:noFill/>
              <a:ln w="12700">
                <a:gradFill>
                  <a:gsLst>
                    <a:gs pos="49000">
                      <a:schemeClr val="accent1">
                        <a:lumMod val="5000"/>
                        <a:lumOff val="95000"/>
                      </a:schemeClr>
                    </a:gs>
                    <a:gs pos="0">
                      <a:srgbClr val="4599D1"/>
                    </a:gs>
                    <a:gs pos="82000">
                      <a:schemeClr val="accent2"/>
                    </a:gs>
                  </a:gsLst>
                  <a:lin ang="5400000" scaled="1"/>
                </a:gradFill>
                <a:tailEnd type="oval" w="sm" len="sm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88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95" name="Freeform 994"/>
              <p:cNvSpPr/>
              <p:nvPr/>
            </p:nvSpPr>
            <p:spPr>
              <a:xfrm rot="10800000">
                <a:off x="4797350" y="569609"/>
                <a:ext cx="178722" cy="2083719"/>
              </a:xfrm>
              <a:custGeom>
                <a:avLst/>
                <a:gdLst>
                  <a:gd name="connsiteX0" fmla="*/ 374650 w 374650"/>
                  <a:gd name="connsiteY0" fmla="*/ 57606 h 1460956"/>
                  <a:gd name="connsiteX1" fmla="*/ 82550 w 374650"/>
                  <a:gd name="connsiteY1" fmla="*/ 102056 h 1460956"/>
                  <a:gd name="connsiteX2" fmla="*/ 146050 w 374650"/>
                  <a:gd name="connsiteY2" fmla="*/ 997406 h 1460956"/>
                  <a:gd name="connsiteX3" fmla="*/ 0 w 374650"/>
                  <a:gd name="connsiteY3" fmla="*/ 1460956 h 1460956"/>
                  <a:gd name="connsiteX0" fmla="*/ 381000 w 381000"/>
                  <a:gd name="connsiteY0" fmla="*/ 21034 h 1557734"/>
                  <a:gd name="connsiteX1" fmla="*/ 82550 w 381000"/>
                  <a:gd name="connsiteY1" fmla="*/ 198834 h 1557734"/>
                  <a:gd name="connsiteX2" fmla="*/ 146050 w 381000"/>
                  <a:gd name="connsiteY2" fmla="*/ 1094184 h 1557734"/>
                  <a:gd name="connsiteX3" fmla="*/ 0 w 381000"/>
                  <a:gd name="connsiteY3" fmla="*/ 1557734 h 1557734"/>
                  <a:gd name="connsiteX0" fmla="*/ 381000 w 381000"/>
                  <a:gd name="connsiteY0" fmla="*/ 0 h 1536700"/>
                  <a:gd name="connsiteX1" fmla="*/ 82550 w 381000"/>
                  <a:gd name="connsiteY1" fmla="*/ 1778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146050 w 381000"/>
                  <a:gd name="connsiteY2" fmla="*/ 10731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1000 w 381000"/>
                  <a:gd name="connsiteY0" fmla="*/ 0 h 1536700"/>
                  <a:gd name="connsiteX1" fmla="*/ 69850 w 381000"/>
                  <a:gd name="connsiteY1" fmla="*/ 266700 h 1536700"/>
                  <a:gd name="connsiteX2" fmla="*/ 203200 w 381000"/>
                  <a:gd name="connsiteY2" fmla="*/ 1162050 h 1536700"/>
                  <a:gd name="connsiteX3" fmla="*/ 0 w 381000"/>
                  <a:gd name="connsiteY3" fmla="*/ 1536700 h 153670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6375 w 384175"/>
                  <a:gd name="connsiteY2" fmla="*/ 116205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209550 w 384175"/>
                  <a:gd name="connsiteY2" fmla="*/ 1152525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3025 w 384175"/>
                  <a:gd name="connsiteY1" fmla="*/ 266700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384175 w 384175"/>
                  <a:gd name="connsiteY0" fmla="*/ 0 h 1619250"/>
                  <a:gd name="connsiteX1" fmla="*/ 79375 w 384175"/>
                  <a:gd name="connsiteY1" fmla="*/ 320675 h 1619250"/>
                  <a:gd name="connsiteX2" fmla="*/ 190500 w 384175"/>
                  <a:gd name="connsiteY2" fmla="*/ 1155700 h 1619250"/>
                  <a:gd name="connsiteX3" fmla="*/ 0 w 384175"/>
                  <a:gd name="connsiteY3" fmla="*/ 1619250 h 1619250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79375 w 429815"/>
                  <a:gd name="connsiteY1" fmla="*/ 474291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29171 w 429815"/>
                  <a:gd name="connsiteY1" fmla="*/ 446860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2595 w 432595"/>
                  <a:gd name="connsiteY0" fmla="*/ 0 h 1772866"/>
                  <a:gd name="connsiteX1" fmla="*/ 3 w 432595"/>
                  <a:gd name="connsiteY1" fmla="*/ 534640 h 1772866"/>
                  <a:gd name="connsiteX2" fmla="*/ 193280 w 432595"/>
                  <a:gd name="connsiteY2" fmla="*/ 1309316 h 1772866"/>
                  <a:gd name="connsiteX3" fmla="*/ 2780 w 432595"/>
                  <a:gd name="connsiteY3" fmla="*/ 1772866 h 1772866"/>
                  <a:gd name="connsiteX0" fmla="*/ 442496 w 442496"/>
                  <a:gd name="connsiteY0" fmla="*/ 0 h 1772866"/>
                  <a:gd name="connsiteX1" fmla="*/ 9904 w 442496"/>
                  <a:gd name="connsiteY1" fmla="*/ 534640 h 1772866"/>
                  <a:gd name="connsiteX2" fmla="*/ 203181 w 442496"/>
                  <a:gd name="connsiteY2" fmla="*/ 1309316 h 1772866"/>
                  <a:gd name="connsiteX3" fmla="*/ 12681 w 442496"/>
                  <a:gd name="connsiteY3" fmla="*/ 1772866 h 1772866"/>
                  <a:gd name="connsiteX0" fmla="*/ 429814 w 429814"/>
                  <a:gd name="connsiteY0" fmla="*/ 0 h 1772866"/>
                  <a:gd name="connsiteX1" fmla="*/ 33735 w 429814"/>
                  <a:gd name="connsiteY1" fmla="*/ 488007 h 1772866"/>
                  <a:gd name="connsiteX2" fmla="*/ 190499 w 429814"/>
                  <a:gd name="connsiteY2" fmla="*/ 1309316 h 1772866"/>
                  <a:gd name="connsiteX3" fmla="*/ -1 w 429814"/>
                  <a:gd name="connsiteY3" fmla="*/ 1772866 h 1772866"/>
                  <a:gd name="connsiteX0" fmla="*/ 429815 w 429815"/>
                  <a:gd name="connsiteY0" fmla="*/ 0 h 1772866"/>
                  <a:gd name="connsiteX1" fmla="*/ 33736 w 429815"/>
                  <a:gd name="connsiteY1" fmla="*/ 488007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29815 w 429815"/>
                  <a:gd name="connsiteY0" fmla="*/ 0 h 1772866"/>
                  <a:gd name="connsiteX1" fmla="*/ 6352 w 429815"/>
                  <a:gd name="connsiteY1" fmla="*/ 515438 h 1772866"/>
                  <a:gd name="connsiteX2" fmla="*/ 190500 w 429815"/>
                  <a:gd name="connsiteY2" fmla="*/ 1309316 h 1772866"/>
                  <a:gd name="connsiteX3" fmla="*/ 0 w 429815"/>
                  <a:gd name="connsiteY3" fmla="*/ 1772866 h 1772866"/>
                  <a:gd name="connsiteX0" fmla="*/ 434204 w 434204"/>
                  <a:gd name="connsiteY0" fmla="*/ 0 h 1772866"/>
                  <a:gd name="connsiteX1" fmla="*/ 10741 w 434204"/>
                  <a:gd name="connsiteY1" fmla="*/ 515438 h 1772866"/>
                  <a:gd name="connsiteX2" fmla="*/ 194889 w 434204"/>
                  <a:gd name="connsiteY2" fmla="*/ 1309316 h 1772866"/>
                  <a:gd name="connsiteX3" fmla="*/ 4389 w 434204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15438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446160 w 446160"/>
                  <a:gd name="connsiteY0" fmla="*/ 0 h 1772866"/>
                  <a:gd name="connsiteX1" fmla="*/ 22697 w 446160"/>
                  <a:gd name="connsiteY1" fmla="*/ 594990 h 1772866"/>
                  <a:gd name="connsiteX2" fmla="*/ 206845 w 446160"/>
                  <a:gd name="connsiteY2" fmla="*/ 1309316 h 1772866"/>
                  <a:gd name="connsiteX3" fmla="*/ 16345 w 446160"/>
                  <a:gd name="connsiteY3" fmla="*/ 1772866 h 1772866"/>
                  <a:gd name="connsiteX0" fmla="*/ 378537 w 378537"/>
                  <a:gd name="connsiteY0" fmla="*/ 0 h 1772866"/>
                  <a:gd name="connsiteX1" fmla="*/ 6352 w 378537"/>
                  <a:gd name="connsiteY1" fmla="*/ 594990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49741 w 378537"/>
                  <a:gd name="connsiteY1" fmla="*/ 586761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378537 w 378537"/>
                  <a:gd name="connsiteY0" fmla="*/ 0 h 1772866"/>
                  <a:gd name="connsiteX1" fmla="*/ 30019 w 378537"/>
                  <a:gd name="connsiteY1" fmla="*/ 592247 h 1772866"/>
                  <a:gd name="connsiteX2" fmla="*/ 190500 w 378537"/>
                  <a:gd name="connsiteY2" fmla="*/ 1309316 h 1772866"/>
                  <a:gd name="connsiteX3" fmla="*/ 0 w 378537"/>
                  <a:gd name="connsiteY3" fmla="*/ 1772866 h 1772866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87815 w 287815"/>
                  <a:gd name="connsiteY0" fmla="*/ 0 h 1792068"/>
                  <a:gd name="connsiteX1" fmla="*/ 30019 w 287815"/>
                  <a:gd name="connsiteY1" fmla="*/ 611449 h 1792068"/>
                  <a:gd name="connsiteX2" fmla="*/ 190500 w 287815"/>
                  <a:gd name="connsiteY2" fmla="*/ 1328518 h 1792068"/>
                  <a:gd name="connsiteX3" fmla="*/ 0 w 287815"/>
                  <a:gd name="connsiteY3" fmla="*/ 1792068 h 1792068"/>
                  <a:gd name="connsiteX0" fmla="*/ 291510 w 291510"/>
                  <a:gd name="connsiteY0" fmla="*/ 0 h 1792068"/>
                  <a:gd name="connsiteX1" fmla="*/ 33714 w 291510"/>
                  <a:gd name="connsiteY1" fmla="*/ 611449 h 1792068"/>
                  <a:gd name="connsiteX2" fmla="*/ 194195 w 291510"/>
                  <a:gd name="connsiteY2" fmla="*/ 1328518 h 1792068"/>
                  <a:gd name="connsiteX3" fmla="*/ 3695 w 291510"/>
                  <a:gd name="connsiteY3" fmla="*/ 1792068 h 1792068"/>
                  <a:gd name="connsiteX0" fmla="*/ 316739 w 316739"/>
                  <a:gd name="connsiteY0" fmla="*/ 0 h 1792068"/>
                  <a:gd name="connsiteX1" fmla="*/ 31333 w 316739"/>
                  <a:gd name="connsiteY1" fmla="*/ 614192 h 1792068"/>
                  <a:gd name="connsiteX2" fmla="*/ 219424 w 316739"/>
                  <a:gd name="connsiteY2" fmla="*/ 1328518 h 1792068"/>
                  <a:gd name="connsiteX3" fmla="*/ 28924 w 316739"/>
                  <a:gd name="connsiteY3" fmla="*/ 1792068 h 1792068"/>
                  <a:gd name="connsiteX0" fmla="*/ 212871 w 212871"/>
                  <a:gd name="connsiteY0" fmla="*/ 0 h 1805784"/>
                  <a:gd name="connsiteX1" fmla="*/ 2409 w 212871"/>
                  <a:gd name="connsiteY1" fmla="*/ 627908 h 1805784"/>
                  <a:gd name="connsiteX2" fmla="*/ 190500 w 212871"/>
                  <a:gd name="connsiteY2" fmla="*/ 1342234 h 1805784"/>
                  <a:gd name="connsiteX3" fmla="*/ 0 w 212871"/>
                  <a:gd name="connsiteY3" fmla="*/ 1805784 h 1805784"/>
                  <a:gd name="connsiteX0" fmla="*/ 244746 w 244746"/>
                  <a:gd name="connsiteY0" fmla="*/ 0 h 1805784"/>
                  <a:gd name="connsiteX1" fmla="*/ 34284 w 244746"/>
                  <a:gd name="connsiteY1" fmla="*/ 627908 h 1805784"/>
                  <a:gd name="connsiteX2" fmla="*/ 222375 w 244746"/>
                  <a:gd name="connsiteY2" fmla="*/ 1342234 h 1805784"/>
                  <a:gd name="connsiteX3" fmla="*/ 31875 w 244746"/>
                  <a:gd name="connsiteY3" fmla="*/ 1805784 h 1805784"/>
                  <a:gd name="connsiteX0" fmla="*/ 226986 w 226986"/>
                  <a:gd name="connsiteY0" fmla="*/ 0 h 1805784"/>
                  <a:gd name="connsiteX1" fmla="*/ 16524 w 226986"/>
                  <a:gd name="connsiteY1" fmla="*/ 627908 h 1805784"/>
                  <a:gd name="connsiteX2" fmla="*/ 204615 w 226986"/>
                  <a:gd name="connsiteY2" fmla="*/ 1342234 h 1805784"/>
                  <a:gd name="connsiteX3" fmla="*/ 14115 w 226986"/>
                  <a:gd name="connsiteY3" fmla="*/ 1805784 h 1805784"/>
                  <a:gd name="connsiteX0" fmla="*/ 243199 w 243199"/>
                  <a:gd name="connsiteY0" fmla="*/ 0 h 1805784"/>
                  <a:gd name="connsiteX1" fmla="*/ 32737 w 243199"/>
                  <a:gd name="connsiteY1" fmla="*/ 627908 h 1805784"/>
                  <a:gd name="connsiteX2" fmla="*/ 220828 w 243199"/>
                  <a:gd name="connsiteY2" fmla="*/ 1342234 h 1805784"/>
                  <a:gd name="connsiteX3" fmla="*/ 30328 w 243199"/>
                  <a:gd name="connsiteY3" fmla="*/ 1805784 h 1805784"/>
                  <a:gd name="connsiteX0" fmla="*/ 181315 w 190500"/>
                  <a:gd name="connsiteY0" fmla="*/ 0 h 1800298"/>
                  <a:gd name="connsiteX1" fmla="*/ 2409 w 190500"/>
                  <a:gd name="connsiteY1" fmla="*/ 622422 h 1800298"/>
                  <a:gd name="connsiteX2" fmla="*/ 190500 w 190500"/>
                  <a:gd name="connsiteY2" fmla="*/ 1336748 h 1800298"/>
                  <a:gd name="connsiteX3" fmla="*/ 0 w 190500"/>
                  <a:gd name="connsiteY3" fmla="*/ 1800298 h 1800298"/>
                  <a:gd name="connsiteX0" fmla="*/ 198733 w 207919"/>
                  <a:gd name="connsiteY0" fmla="*/ 0 h 1800298"/>
                  <a:gd name="connsiteX1" fmla="*/ 19827 w 207919"/>
                  <a:gd name="connsiteY1" fmla="*/ 622422 h 1800298"/>
                  <a:gd name="connsiteX2" fmla="*/ 207918 w 207919"/>
                  <a:gd name="connsiteY2" fmla="*/ 1336748 h 1800298"/>
                  <a:gd name="connsiteX3" fmla="*/ 17418 w 207919"/>
                  <a:gd name="connsiteY3" fmla="*/ 1800298 h 1800298"/>
                  <a:gd name="connsiteX0" fmla="*/ 211242 w 220428"/>
                  <a:gd name="connsiteY0" fmla="*/ 0 h 1800298"/>
                  <a:gd name="connsiteX1" fmla="*/ 32336 w 220428"/>
                  <a:gd name="connsiteY1" fmla="*/ 622422 h 1800298"/>
                  <a:gd name="connsiteX2" fmla="*/ 220427 w 220428"/>
                  <a:gd name="connsiteY2" fmla="*/ 1336748 h 1800298"/>
                  <a:gd name="connsiteX3" fmla="*/ 29927 w 220428"/>
                  <a:gd name="connsiteY3" fmla="*/ 1800298 h 1800298"/>
                  <a:gd name="connsiteX0" fmla="*/ 212848 w 222034"/>
                  <a:gd name="connsiteY0" fmla="*/ 0 h 1800298"/>
                  <a:gd name="connsiteX1" fmla="*/ 33942 w 222034"/>
                  <a:gd name="connsiteY1" fmla="*/ 622422 h 1800298"/>
                  <a:gd name="connsiteX2" fmla="*/ 222033 w 222034"/>
                  <a:gd name="connsiteY2" fmla="*/ 1336748 h 1800298"/>
                  <a:gd name="connsiteX3" fmla="*/ 31533 w 222034"/>
                  <a:gd name="connsiteY3" fmla="*/ 1800298 h 1800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2034" h="1800298">
                    <a:moveTo>
                      <a:pt x="212848" y="0"/>
                    </a:moveTo>
                    <a:cubicBezTo>
                      <a:pt x="86840" y="231483"/>
                      <a:pt x="-70144" y="331053"/>
                      <a:pt x="33942" y="622422"/>
                    </a:cubicBezTo>
                    <a:cubicBezTo>
                      <a:pt x="138028" y="913791"/>
                      <a:pt x="222435" y="1140435"/>
                      <a:pt x="222033" y="1336748"/>
                    </a:cubicBezTo>
                    <a:cubicBezTo>
                      <a:pt x="221632" y="1533061"/>
                      <a:pt x="129429" y="1691289"/>
                      <a:pt x="31533" y="1800298"/>
                    </a:cubicBezTo>
                  </a:path>
                </a:pathLst>
              </a:custGeom>
              <a:noFill/>
              <a:ln w="12700">
                <a:gradFill>
                  <a:gsLst>
                    <a:gs pos="49000">
                      <a:schemeClr val="accent1">
                        <a:lumMod val="5000"/>
                        <a:lumOff val="95000"/>
                      </a:schemeClr>
                    </a:gs>
                    <a:gs pos="0">
                      <a:srgbClr val="4599D1"/>
                    </a:gs>
                    <a:gs pos="82000">
                      <a:schemeClr val="accent2"/>
                    </a:gs>
                  </a:gsLst>
                  <a:lin ang="5400000" scaled="1"/>
                </a:gradFill>
                <a:tailEnd type="oval" w="sm" len="sm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88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961" name="Freeform 960"/>
            <p:cNvSpPr/>
            <p:nvPr/>
          </p:nvSpPr>
          <p:spPr>
            <a:xfrm>
              <a:off x="5158682" y="2004712"/>
              <a:ext cx="136017" cy="846913"/>
            </a:xfrm>
            <a:custGeom>
              <a:avLst/>
              <a:gdLst>
                <a:gd name="connsiteX0" fmla="*/ 0 w 136990"/>
                <a:gd name="connsiteY0" fmla="*/ 752475 h 752475"/>
                <a:gd name="connsiteX1" fmla="*/ 28575 w 136990"/>
                <a:gd name="connsiteY1" fmla="*/ 450850 h 752475"/>
                <a:gd name="connsiteX2" fmla="*/ 136525 w 136990"/>
                <a:gd name="connsiteY2" fmla="*/ 269875 h 752475"/>
                <a:gd name="connsiteX3" fmla="*/ 60325 w 136990"/>
                <a:gd name="connsiteY3" fmla="*/ 0 h 752475"/>
                <a:gd name="connsiteX0" fmla="*/ 0 w 124290"/>
                <a:gd name="connsiteY0" fmla="*/ 771525 h 771525"/>
                <a:gd name="connsiteX1" fmla="*/ 15875 w 124290"/>
                <a:gd name="connsiteY1" fmla="*/ 450850 h 771525"/>
                <a:gd name="connsiteX2" fmla="*/ 123825 w 124290"/>
                <a:gd name="connsiteY2" fmla="*/ 269875 h 771525"/>
                <a:gd name="connsiteX3" fmla="*/ 47625 w 124290"/>
                <a:gd name="connsiteY3" fmla="*/ 0 h 771525"/>
                <a:gd name="connsiteX0" fmla="*/ 0 w 124008"/>
                <a:gd name="connsiteY0" fmla="*/ 771525 h 771525"/>
                <a:gd name="connsiteX1" fmla="*/ 28575 w 124008"/>
                <a:gd name="connsiteY1" fmla="*/ 527050 h 771525"/>
                <a:gd name="connsiteX2" fmla="*/ 123825 w 124008"/>
                <a:gd name="connsiteY2" fmla="*/ 269875 h 771525"/>
                <a:gd name="connsiteX3" fmla="*/ 47625 w 124008"/>
                <a:gd name="connsiteY3" fmla="*/ 0 h 771525"/>
                <a:gd name="connsiteX0" fmla="*/ 0 w 123847"/>
                <a:gd name="connsiteY0" fmla="*/ 771525 h 771525"/>
                <a:gd name="connsiteX1" fmla="*/ 41275 w 123847"/>
                <a:gd name="connsiteY1" fmla="*/ 565150 h 771525"/>
                <a:gd name="connsiteX2" fmla="*/ 123825 w 123847"/>
                <a:gd name="connsiteY2" fmla="*/ 269875 h 771525"/>
                <a:gd name="connsiteX3" fmla="*/ 47625 w 123847"/>
                <a:gd name="connsiteY3" fmla="*/ 0 h 771525"/>
                <a:gd name="connsiteX0" fmla="*/ 0 w 123847"/>
                <a:gd name="connsiteY0" fmla="*/ 771525 h 771525"/>
                <a:gd name="connsiteX1" fmla="*/ 41275 w 123847"/>
                <a:gd name="connsiteY1" fmla="*/ 565150 h 771525"/>
                <a:gd name="connsiteX2" fmla="*/ 123825 w 123847"/>
                <a:gd name="connsiteY2" fmla="*/ 269875 h 771525"/>
                <a:gd name="connsiteX3" fmla="*/ 47625 w 123847"/>
                <a:gd name="connsiteY3" fmla="*/ 0 h 771525"/>
                <a:gd name="connsiteX0" fmla="*/ 0 w 123847"/>
                <a:gd name="connsiteY0" fmla="*/ 771525 h 771525"/>
                <a:gd name="connsiteX1" fmla="*/ 41275 w 123847"/>
                <a:gd name="connsiteY1" fmla="*/ 565150 h 771525"/>
                <a:gd name="connsiteX2" fmla="*/ 123825 w 123847"/>
                <a:gd name="connsiteY2" fmla="*/ 269875 h 771525"/>
                <a:gd name="connsiteX3" fmla="*/ 47625 w 123847"/>
                <a:gd name="connsiteY3" fmla="*/ 0 h 771525"/>
                <a:gd name="connsiteX0" fmla="*/ 0 w 123910"/>
                <a:gd name="connsiteY0" fmla="*/ 771525 h 771525"/>
                <a:gd name="connsiteX1" fmla="*/ 34925 w 123910"/>
                <a:gd name="connsiteY1" fmla="*/ 590550 h 771525"/>
                <a:gd name="connsiteX2" fmla="*/ 123825 w 123910"/>
                <a:gd name="connsiteY2" fmla="*/ 269875 h 771525"/>
                <a:gd name="connsiteX3" fmla="*/ 47625 w 123910"/>
                <a:gd name="connsiteY3" fmla="*/ 0 h 771525"/>
                <a:gd name="connsiteX0" fmla="*/ 0 w 123910"/>
                <a:gd name="connsiteY0" fmla="*/ 771525 h 771525"/>
                <a:gd name="connsiteX1" fmla="*/ 34925 w 123910"/>
                <a:gd name="connsiteY1" fmla="*/ 590550 h 771525"/>
                <a:gd name="connsiteX2" fmla="*/ 123825 w 123910"/>
                <a:gd name="connsiteY2" fmla="*/ 269875 h 771525"/>
                <a:gd name="connsiteX3" fmla="*/ 47625 w 123910"/>
                <a:gd name="connsiteY3" fmla="*/ 0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910" h="771525">
                  <a:moveTo>
                    <a:pt x="0" y="771525"/>
                  </a:moveTo>
                  <a:cubicBezTo>
                    <a:pt x="2910" y="660929"/>
                    <a:pt x="-1587" y="674158"/>
                    <a:pt x="34925" y="590550"/>
                  </a:cubicBezTo>
                  <a:cubicBezTo>
                    <a:pt x="71437" y="506942"/>
                    <a:pt x="121708" y="368300"/>
                    <a:pt x="123825" y="269875"/>
                  </a:cubicBezTo>
                  <a:cubicBezTo>
                    <a:pt x="125942" y="171450"/>
                    <a:pt x="88371" y="97366"/>
                    <a:pt x="47625" y="0"/>
                  </a:cubicBezTo>
                </a:path>
              </a:pathLst>
            </a:custGeom>
            <a:noFill/>
            <a:ln w="1270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37000">
                    <a:srgbClr val="4599D1"/>
                  </a:gs>
                  <a:gs pos="100000">
                    <a:schemeClr val="tx2">
                      <a:alpha val="20000"/>
                      <a:lumMod val="86000"/>
                    </a:schemeClr>
                  </a:gs>
                </a:gsLst>
                <a:lin ang="5400000" scaled="1"/>
              </a:gradFill>
              <a:tailEnd type="oval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2" name="Freeform 961"/>
            <p:cNvSpPr/>
            <p:nvPr/>
          </p:nvSpPr>
          <p:spPr>
            <a:xfrm flipH="1">
              <a:off x="5005111" y="2004712"/>
              <a:ext cx="136017" cy="846913"/>
            </a:xfrm>
            <a:custGeom>
              <a:avLst/>
              <a:gdLst>
                <a:gd name="connsiteX0" fmla="*/ 0 w 136990"/>
                <a:gd name="connsiteY0" fmla="*/ 752475 h 752475"/>
                <a:gd name="connsiteX1" fmla="*/ 28575 w 136990"/>
                <a:gd name="connsiteY1" fmla="*/ 450850 h 752475"/>
                <a:gd name="connsiteX2" fmla="*/ 136525 w 136990"/>
                <a:gd name="connsiteY2" fmla="*/ 269875 h 752475"/>
                <a:gd name="connsiteX3" fmla="*/ 60325 w 136990"/>
                <a:gd name="connsiteY3" fmla="*/ 0 h 752475"/>
                <a:gd name="connsiteX0" fmla="*/ 0 w 124290"/>
                <a:gd name="connsiteY0" fmla="*/ 771525 h 771525"/>
                <a:gd name="connsiteX1" fmla="*/ 15875 w 124290"/>
                <a:gd name="connsiteY1" fmla="*/ 450850 h 771525"/>
                <a:gd name="connsiteX2" fmla="*/ 123825 w 124290"/>
                <a:gd name="connsiteY2" fmla="*/ 269875 h 771525"/>
                <a:gd name="connsiteX3" fmla="*/ 47625 w 124290"/>
                <a:gd name="connsiteY3" fmla="*/ 0 h 771525"/>
                <a:gd name="connsiteX0" fmla="*/ 0 w 124008"/>
                <a:gd name="connsiteY0" fmla="*/ 771525 h 771525"/>
                <a:gd name="connsiteX1" fmla="*/ 28575 w 124008"/>
                <a:gd name="connsiteY1" fmla="*/ 527050 h 771525"/>
                <a:gd name="connsiteX2" fmla="*/ 123825 w 124008"/>
                <a:gd name="connsiteY2" fmla="*/ 269875 h 771525"/>
                <a:gd name="connsiteX3" fmla="*/ 47625 w 124008"/>
                <a:gd name="connsiteY3" fmla="*/ 0 h 771525"/>
                <a:gd name="connsiteX0" fmla="*/ 0 w 123847"/>
                <a:gd name="connsiteY0" fmla="*/ 771525 h 771525"/>
                <a:gd name="connsiteX1" fmla="*/ 41275 w 123847"/>
                <a:gd name="connsiteY1" fmla="*/ 565150 h 771525"/>
                <a:gd name="connsiteX2" fmla="*/ 123825 w 123847"/>
                <a:gd name="connsiteY2" fmla="*/ 269875 h 771525"/>
                <a:gd name="connsiteX3" fmla="*/ 47625 w 123847"/>
                <a:gd name="connsiteY3" fmla="*/ 0 h 771525"/>
                <a:gd name="connsiteX0" fmla="*/ 0 w 123847"/>
                <a:gd name="connsiteY0" fmla="*/ 771525 h 771525"/>
                <a:gd name="connsiteX1" fmla="*/ 41275 w 123847"/>
                <a:gd name="connsiteY1" fmla="*/ 565150 h 771525"/>
                <a:gd name="connsiteX2" fmla="*/ 123825 w 123847"/>
                <a:gd name="connsiteY2" fmla="*/ 269875 h 771525"/>
                <a:gd name="connsiteX3" fmla="*/ 47625 w 123847"/>
                <a:gd name="connsiteY3" fmla="*/ 0 h 771525"/>
                <a:gd name="connsiteX0" fmla="*/ 0 w 123847"/>
                <a:gd name="connsiteY0" fmla="*/ 771525 h 771525"/>
                <a:gd name="connsiteX1" fmla="*/ 41275 w 123847"/>
                <a:gd name="connsiteY1" fmla="*/ 565150 h 771525"/>
                <a:gd name="connsiteX2" fmla="*/ 123825 w 123847"/>
                <a:gd name="connsiteY2" fmla="*/ 269875 h 771525"/>
                <a:gd name="connsiteX3" fmla="*/ 47625 w 123847"/>
                <a:gd name="connsiteY3" fmla="*/ 0 h 771525"/>
                <a:gd name="connsiteX0" fmla="*/ 0 w 123910"/>
                <a:gd name="connsiteY0" fmla="*/ 771525 h 771525"/>
                <a:gd name="connsiteX1" fmla="*/ 34925 w 123910"/>
                <a:gd name="connsiteY1" fmla="*/ 590550 h 771525"/>
                <a:gd name="connsiteX2" fmla="*/ 123825 w 123910"/>
                <a:gd name="connsiteY2" fmla="*/ 269875 h 771525"/>
                <a:gd name="connsiteX3" fmla="*/ 47625 w 123910"/>
                <a:gd name="connsiteY3" fmla="*/ 0 h 771525"/>
                <a:gd name="connsiteX0" fmla="*/ 0 w 123910"/>
                <a:gd name="connsiteY0" fmla="*/ 771525 h 771525"/>
                <a:gd name="connsiteX1" fmla="*/ 34925 w 123910"/>
                <a:gd name="connsiteY1" fmla="*/ 590550 h 771525"/>
                <a:gd name="connsiteX2" fmla="*/ 123825 w 123910"/>
                <a:gd name="connsiteY2" fmla="*/ 269875 h 771525"/>
                <a:gd name="connsiteX3" fmla="*/ 47625 w 123910"/>
                <a:gd name="connsiteY3" fmla="*/ 0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910" h="771525">
                  <a:moveTo>
                    <a:pt x="0" y="771525"/>
                  </a:moveTo>
                  <a:cubicBezTo>
                    <a:pt x="2910" y="660929"/>
                    <a:pt x="-1587" y="674158"/>
                    <a:pt x="34925" y="590550"/>
                  </a:cubicBezTo>
                  <a:cubicBezTo>
                    <a:pt x="71437" y="506942"/>
                    <a:pt x="121708" y="368300"/>
                    <a:pt x="123825" y="269875"/>
                  </a:cubicBezTo>
                  <a:cubicBezTo>
                    <a:pt x="125942" y="171450"/>
                    <a:pt x="88371" y="97366"/>
                    <a:pt x="47625" y="0"/>
                  </a:cubicBezTo>
                </a:path>
              </a:pathLst>
            </a:custGeom>
            <a:noFill/>
            <a:ln w="1270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37000">
                    <a:srgbClr val="4599D1"/>
                  </a:gs>
                  <a:gs pos="100000">
                    <a:schemeClr val="tx2">
                      <a:alpha val="20000"/>
                      <a:lumMod val="86000"/>
                    </a:schemeClr>
                  </a:gs>
                </a:gsLst>
                <a:lin ang="5400000" scaled="1"/>
              </a:gradFill>
              <a:tailEnd type="oval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963" name="Straight Connector 962"/>
            <p:cNvCxnSpPr/>
            <p:nvPr/>
          </p:nvCxnSpPr>
          <p:spPr>
            <a:xfrm flipV="1">
              <a:off x="5148099" y="1761475"/>
              <a:ext cx="0" cy="1093635"/>
            </a:xfrm>
            <a:prstGeom prst="line">
              <a:avLst/>
            </a:prstGeom>
            <a:noFill/>
            <a:ln w="12700">
              <a:gradFill>
                <a:gsLst>
                  <a:gs pos="94000">
                    <a:schemeClr val="accent1">
                      <a:lumMod val="5000"/>
                      <a:lumOff val="95000"/>
                    </a:schemeClr>
                  </a:gs>
                  <a:gs pos="37000">
                    <a:srgbClr val="4599D1"/>
                  </a:gs>
                  <a:gs pos="100000">
                    <a:schemeClr val="tx2">
                      <a:alpha val="20000"/>
                      <a:lumMod val="86000"/>
                    </a:schemeClr>
                  </a:gs>
                </a:gsLst>
                <a:lin ang="5400000" scaled="1"/>
              </a:gradFill>
              <a:tailEnd type="oval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64" name="Freeform 963"/>
            <p:cNvSpPr/>
            <p:nvPr/>
          </p:nvSpPr>
          <p:spPr>
            <a:xfrm>
              <a:off x="5496587" y="783045"/>
              <a:ext cx="797357" cy="1566201"/>
            </a:xfrm>
            <a:custGeom>
              <a:avLst/>
              <a:gdLst>
                <a:gd name="connsiteX0" fmla="*/ 0 w 771525"/>
                <a:gd name="connsiteY0" fmla="*/ 2428875 h 2435408"/>
                <a:gd name="connsiteX1" fmla="*/ 142875 w 771525"/>
                <a:gd name="connsiteY1" fmla="*/ 2333625 h 2435408"/>
                <a:gd name="connsiteX2" fmla="*/ 152400 w 771525"/>
                <a:gd name="connsiteY2" fmla="*/ 1724025 h 2435408"/>
                <a:gd name="connsiteX3" fmla="*/ 295275 w 771525"/>
                <a:gd name="connsiteY3" fmla="*/ 1476375 h 2435408"/>
                <a:gd name="connsiteX4" fmla="*/ 304800 w 771525"/>
                <a:gd name="connsiteY4" fmla="*/ 1200150 h 2435408"/>
                <a:gd name="connsiteX5" fmla="*/ 400050 w 771525"/>
                <a:gd name="connsiteY5" fmla="*/ 876300 h 2435408"/>
                <a:gd name="connsiteX6" fmla="*/ 704850 w 771525"/>
                <a:gd name="connsiteY6" fmla="*/ 390525 h 2435408"/>
                <a:gd name="connsiteX7" fmla="*/ 771525 w 771525"/>
                <a:gd name="connsiteY7" fmla="*/ 0 h 2435408"/>
                <a:gd name="connsiteX0" fmla="*/ 0 w 833437"/>
                <a:gd name="connsiteY0" fmla="*/ 2447925 h 2451899"/>
                <a:gd name="connsiteX1" fmla="*/ 204787 w 833437"/>
                <a:gd name="connsiteY1" fmla="*/ 2333625 h 2451899"/>
                <a:gd name="connsiteX2" fmla="*/ 214312 w 833437"/>
                <a:gd name="connsiteY2" fmla="*/ 1724025 h 2451899"/>
                <a:gd name="connsiteX3" fmla="*/ 357187 w 833437"/>
                <a:gd name="connsiteY3" fmla="*/ 1476375 h 2451899"/>
                <a:gd name="connsiteX4" fmla="*/ 366712 w 833437"/>
                <a:gd name="connsiteY4" fmla="*/ 1200150 h 2451899"/>
                <a:gd name="connsiteX5" fmla="*/ 461962 w 833437"/>
                <a:gd name="connsiteY5" fmla="*/ 876300 h 2451899"/>
                <a:gd name="connsiteX6" fmla="*/ 766762 w 833437"/>
                <a:gd name="connsiteY6" fmla="*/ 390525 h 2451899"/>
                <a:gd name="connsiteX7" fmla="*/ 833437 w 833437"/>
                <a:gd name="connsiteY7" fmla="*/ 0 h 2451899"/>
                <a:gd name="connsiteX0" fmla="*/ 0 w 833437"/>
                <a:gd name="connsiteY0" fmla="*/ 2447925 h 2452496"/>
                <a:gd name="connsiteX1" fmla="*/ 180975 w 833437"/>
                <a:gd name="connsiteY1" fmla="*/ 2338387 h 2452496"/>
                <a:gd name="connsiteX2" fmla="*/ 214312 w 833437"/>
                <a:gd name="connsiteY2" fmla="*/ 1724025 h 2452496"/>
                <a:gd name="connsiteX3" fmla="*/ 357187 w 833437"/>
                <a:gd name="connsiteY3" fmla="*/ 1476375 h 2452496"/>
                <a:gd name="connsiteX4" fmla="*/ 366712 w 833437"/>
                <a:gd name="connsiteY4" fmla="*/ 1200150 h 2452496"/>
                <a:gd name="connsiteX5" fmla="*/ 461962 w 833437"/>
                <a:gd name="connsiteY5" fmla="*/ 876300 h 2452496"/>
                <a:gd name="connsiteX6" fmla="*/ 766762 w 833437"/>
                <a:gd name="connsiteY6" fmla="*/ 390525 h 2452496"/>
                <a:gd name="connsiteX7" fmla="*/ 833437 w 833437"/>
                <a:gd name="connsiteY7" fmla="*/ 0 h 2452496"/>
                <a:gd name="connsiteX0" fmla="*/ 0 w 881062"/>
                <a:gd name="connsiteY0" fmla="*/ 2462212 h 2465461"/>
                <a:gd name="connsiteX1" fmla="*/ 228600 w 881062"/>
                <a:gd name="connsiteY1" fmla="*/ 2338387 h 2465461"/>
                <a:gd name="connsiteX2" fmla="*/ 261937 w 881062"/>
                <a:gd name="connsiteY2" fmla="*/ 1724025 h 2465461"/>
                <a:gd name="connsiteX3" fmla="*/ 404812 w 881062"/>
                <a:gd name="connsiteY3" fmla="*/ 1476375 h 2465461"/>
                <a:gd name="connsiteX4" fmla="*/ 414337 w 881062"/>
                <a:gd name="connsiteY4" fmla="*/ 1200150 h 2465461"/>
                <a:gd name="connsiteX5" fmla="*/ 509587 w 881062"/>
                <a:gd name="connsiteY5" fmla="*/ 876300 h 2465461"/>
                <a:gd name="connsiteX6" fmla="*/ 814387 w 881062"/>
                <a:gd name="connsiteY6" fmla="*/ 390525 h 2465461"/>
                <a:gd name="connsiteX7" fmla="*/ 881062 w 881062"/>
                <a:gd name="connsiteY7" fmla="*/ 0 h 2465461"/>
                <a:gd name="connsiteX0" fmla="*/ 0 w 820275"/>
                <a:gd name="connsiteY0" fmla="*/ 3515158 h 3518407"/>
                <a:gd name="connsiteX1" fmla="*/ 228600 w 820275"/>
                <a:gd name="connsiteY1" fmla="*/ 3391333 h 3518407"/>
                <a:gd name="connsiteX2" fmla="*/ 261937 w 820275"/>
                <a:gd name="connsiteY2" fmla="*/ 2776971 h 3518407"/>
                <a:gd name="connsiteX3" fmla="*/ 404812 w 820275"/>
                <a:gd name="connsiteY3" fmla="*/ 2529321 h 3518407"/>
                <a:gd name="connsiteX4" fmla="*/ 414337 w 820275"/>
                <a:gd name="connsiteY4" fmla="*/ 2253096 h 3518407"/>
                <a:gd name="connsiteX5" fmla="*/ 509587 w 820275"/>
                <a:gd name="connsiteY5" fmla="*/ 1929246 h 3518407"/>
                <a:gd name="connsiteX6" fmla="*/ 814387 w 820275"/>
                <a:gd name="connsiteY6" fmla="*/ 1443471 h 3518407"/>
                <a:gd name="connsiteX7" fmla="*/ 206808 w 820275"/>
                <a:gd name="connsiteY7" fmla="*/ 0 h 3518407"/>
                <a:gd name="connsiteX0" fmla="*/ 0 w 874138"/>
                <a:gd name="connsiteY0" fmla="*/ 3515158 h 3518407"/>
                <a:gd name="connsiteX1" fmla="*/ 228600 w 874138"/>
                <a:gd name="connsiteY1" fmla="*/ 3391333 h 3518407"/>
                <a:gd name="connsiteX2" fmla="*/ 261937 w 874138"/>
                <a:gd name="connsiteY2" fmla="*/ 2776971 h 3518407"/>
                <a:gd name="connsiteX3" fmla="*/ 404812 w 874138"/>
                <a:gd name="connsiteY3" fmla="*/ 2529321 h 3518407"/>
                <a:gd name="connsiteX4" fmla="*/ 414337 w 874138"/>
                <a:gd name="connsiteY4" fmla="*/ 2253096 h 3518407"/>
                <a:gd name="connsiteX5" fmla="*/ 509587 w 874138"/>
                <a:gd name="connsiteY5" fmla="*/ 1929246 h 3518407"/>
                <a:gd name="connsiteX6" fmla="*/ 814387 w 874138"/>
                <a:gd name="connsiteY6" fmla="*/ 1443471 h 3518407"/>
                <a:gd name="connsiteX7" fmla="*/ 206808 w 874138"/>
                <a:gd name="connsiteY7" fmla="*/ 0 h 3518407"/>
                <a:gd name="connsiteX0" fmla="*/ 0 w 867909"/>
                <a:gd name="connsiteY0" fmla="*/ 3515158 h 3518407"/>
                <a:gd name="connsiteX1" fmla="*/ 228600 w 867909"/>
                <a:gd name="connsiteY1" fmla="*/ 3391333 h 3518407"/>
                <a:gd name="connsiteX2" fmla="*/ 261937 w 867909"/>
                <a:gd name="connsiteY2" fmla="*/ 2776971 h 3518407"/>
                <a:gd name="connsiteX3" fmla="*/ 404812 w 867909"/>
                <a:gd name="connsiteY3" fmla="*/ 2529321 h 3518407"/>
                <a:gd name="connsiteX4" fmla="*/ 414337 w 867909"/>
                <a:gd name="connsiteY4" fmla="*/ 2253096 h 3518407"/>
                <a:gd name="connsiteX5" fmla="*/ 509587 w 867909"/>
                <a:gd name="connsiteY5" fmla="*/ 1929246 h 3518407"/>
                <a:gd name="connsiteX6" fmla="*/ 814387 w 867909"/>
                <a:gd name="connsiteY6" fmla="*/ 1443471 h 3518407"/>
                <a:gd name="connsiteX7" fmla="*/ 206808 w 867909"/>
                <a:gd name="connsiteY7" fmla="*/ 0 h 3518407"/>
                <a:gd name="connsiteX0" fmla="*/ 0 w 873259"/>
                <a:gd name="connsiteY0" fmla="*/ 3515158 h 3518407"/>
                <a:gd name="connsiteX1" fmla="*/ 228600 w 873259"/>
                <a:gd name="connsiteY1" fmla="*/ 3391333 h 3518407"/>
                <a:gd name="connsiteX2" fmla="*/ 261937 w 873259"/>
                <a:gd name="connsiteY2" fmla="*/ 2776971 h 3518407"/>
                <a:gd name="connsiteX3" fmla="*/ 404812 w 873259"/>
                <a:gd name="connsiteY3" fmla="*/ 2529321 h 3518407"/>
                <a:gd name="connsiteX4" fmla="*/ 414337 w 873259"/>
                <a:gd name="connsiteY4" fmla="*/ 2253096 h 3518407"/>
                <a:gd name="connsiteX5" fmla="*/ 509587 w 873259"/>
                <a:gd name="connsiteY5" fmla="*/ 1929246 h 3518407"/>
                <a:gd name="connsiteX6" fmla="*/ 823624 w 873259"/>
                <a:gd name="connsiteY6" fmla="*/ 1443471 h 3518407"/>
                <a:gd name="connsiteX7" fmla="*/ 206808 w 873259"/>
                <a:gd name="connsiteY7" fmla="*/ 0 h 3518407"/>
                <a:gd name="connsiteX0" fmla="*/ 0 w 979043"/>
                <a:gd name="connsiteY0" fmla="*/ 3515158 h 3518407"/>
                <a:gd name="connsiteX1" fmla="*/ 228600 w 979043"/>
                <a:gd name="connsiteY1" fmla="*/ 3391333 h 3518407"/>
                <a:gd name="connsiteX2" fmla="*/ 261937 w 979043"/>
                <a:gd name="connsiteY2" fmla="*/ 2776971 h 3518407"/>
                <a:gd name="connsiteX3" fmla="*/ 404812 w 979043"/>
                <a:gd name="connsiteY3" fmla="*/ 2529321 h 3518407"/>
                <a:gd name="connsiteX4" fmla="*/ 414337 w 979043"/>
                <a:gd name="connsiteY4" fmla="*/ 2253096 h 3518407"/>
                <a:gd name="connsiteX5" fmla="*/ 509587 w 979043"/>
                <a:gd name="connsiteY5" fmla="*/ 1929246 h 3518407"/>
                <a:gd name="connsiteX6" fmla="*/ 823624 w 979043"/>
                <a:gd name="connsiteY6" fmla="*/ 1443471 h 3518407"/>
                <a:gd name="connsiteX7" fmla="*/ 206808 w 979043"/>
                <a:gd name="connsiteY7" fmla="*/ 0 h 3518407"/>
                <a:gd name="connsiteX0" fmla="*/ 0 w 943504"/>
                <a:gd name="connsiteY0" fmla="*/ 3515158 h 3518407"/>
                <a:gd name="connsiteX1" fmla="*/ 228600 w 943504"/>
                <a:gd name="connsiteY1" fmla="*/ 3391333 h 3518407"/>
                <a:gd name="connsiteX2" fmla="*/ 261937 w 943504"/>
                <a:gd name="connsiteY2" fmla="*/ 2776971 h 3518407"/>
                <a:gd name="connsiteX3" fmla="*/ 404812 w 943504"/>
                <a:gd name="connsiteY3" fmla="*/ 2529321 h 3518407"/>
                <a:gd name="connsiteX4" fmla="*/ 414337 w 943504"/>
                <a:gd name="connsiteY4" fmla="*/ 2253096 h 3518407"/>
                <a:gd name="connsiteX5" fmla="*/ 509587 w 943504"/>
                <a:gd name="connsiteY5" fmla="*/ 1929246 h 3518407"/>
                <a:gd name="connsiteX6" fmla="*/ 823624 w 943504"/>
                <a:gd name="connsiteY6" fmla="*/ 1443471 h 3518407"/>
                <a:gd name="connsiteX7" fmla="*/ 206808 w 943504"/>
                <a:gd name="connsiteY7" fmla="*/ 0 h 3518407"/>
                <a:gd name="connsiteX0" fmla="*/ 0 w 924540"/>
                <a:gd name="connsiteY0" fmla="*/ 3515158 h 3518407"/>
                <a:gd name="connsiteX1" fmla="*/ 228600 w 924540"/>
                <a:gd name="connsiteY1" fmla="*/ 3391333 h 3518407"/>
                <a:gd name="connsiteX2" fmla="*/ 261937 w 924540"/>
                <a:gd name="connsiteY2" fmla="*/ 2776971 h 3518407"/>
                <a:gd name="connsiteX3" fmla="*/ 404812 w 924540"/>
                <a:gd name="connsiteY3" fmla="*/ 2529321 h 3518407"/>
                <a:gd name="connsiteX4" fmla="*/ 414337 w 924540"/>
                <a:gd name="connsiteY4" fmla="*/ 2253096 h 3518407"/>
                <a:gd name="connsiteX5" fmla="*/ 509587 w 924540"/>
                <a:gd name="connsiteY5" fmla="*/ 1929246 h 3518407"/>
                <a:gd name="connsiteX6" fmla="*/ 823624 w 924540"/>
                <a:gd name="connsiteY6" fmla="*/ 1443471 h 3518407"/>
                <a:gd name="connsiteX7" fmla="*/ 206808 w 924540"/>
                <a:gd name="connsiteY7" fmla="*/ 0 h 3518407"/>
                <a:gd name="connsiteX0" fmla="*/ 0 w 897710"/>
                <a:gd name="connsiteY0" fmla="*/ 3515158 h 3518407"/>
                <a:gd name="connsiteX1" fmla="*/ 228600 w 897710"/>
                <a:gd name="connsiteY1" fmla="*/ 3391333 h 3518407"/>
                <a:gd name="connsiteX2" fmla="*/ 261937 w 897710"/>
                <a:gd name="connsiteY2" fmla="*/ 2776971 h 3518407"/>
                <a:gd name="connsiteX3" fmla="*/ 404812 w 897710"/>
                <a:gd name="connsiteY3" fmla="*/ 2529321 h 3518407"/>
                <a:gd name="connsiteX4" fmla="*/ 414337 w 897710"/>
                <a:gd name="connsiteY4" fmla="*/ 2253096 h 3518407"/>
                <a:gd name="connsiteX5" fmla="*/ 509587 w 897710"/>
                <a:gd name="connsiteY5" fmla="*/ 1929246 h 3518407"/>
                <a:gd name="connsiteX6" fmla="*/ 779174 w 897710"/>
                <a:gd name="connsiteY6" fmla="*/ 1484746 h 3518407"/>
                <a:gd name="connsiteX7" fmla="*/ 206808 w 897710"/>
                <a:gd name="connsiteY7" fmla="*/ 0 h 3518407"/>
                <a:gd name="connsiteX0" fmla="*/ 0 w 929423"/>
                <a:gd name="connsiteY0" fmla="*/ 3515158 h 3518407"/>
                <a:gd name="connsiteX1" fmla="*/ 228600 w 929423"/>
                <a:gd name="connsiteY1" fmla="*/ 3391333 h 3518407"/>
                <a:gd name="connsiteX2" fmla="*/ 261937 w 929423"/>
                <a:gd name="connsiteY2" fmla="*/ 2776971 h 3518407"/>
                <a:gd name="connsiteX3" fmla="*/ 404812 w 929423"/>
                <a:gd name="connsiteY3" fmla="*/ 2529321 h 3518407"/>
                <a:gd name="connsiteX4" fmla="*/ 414337 w 929423"/>
                <a:gd name="connsiteY4" fmla="*/ 2253096 h 3518407"/>
                <a:gd name="connsiteX5" fmla="*/ 509587 w 929423"/>
                <a:gd name="connsiteY5" fmla="*/ 1929246 h 3518407"/>
                <a:gd name="connsiteX6" fmla="*/ 779174 w 929423"/>
                <a:gd name="connsiteY6" fmla="*/ 1484746 h 3518407"/>
                <a:gd name="connsiteX7" fmla="*/ 206808 w 929423"/>
                <a:gd name="connsiteY7" fmla="*/ 0 h 3518407"/>
                <a:gd name="connsiteX0" fmla="*/ 0 w 909534"/>
                <a:gd name="connsiteY0" fmla="*/ 3515158 h 3518407"/>
                <a:gd name="connsiteX1" fmla="*/ 228600 w 909534"/>
                <a:gd name="connsiteY1" fmla="*/ 3391333 h 3518407"/>
                <a:gd name="connsiteX2" fmla="*/ 261937 w 909534"/>
                <a:gd name="connsiteY2" fmla="*/ 2776971 h 3518407"/>
                <a:gd name="connsiteX3" fmla="*/ 404812 w 909534"/>
                <a:gd name="connsiteY3" fmla="*/ 2529321 h 3518407"/>
                <a:gd name="connsiteX4" fmla="*/ 414337 w 909534"/>
                <a:gd name="connsiteY4" fmla="*/ 2253096 h 3518407"/>
                <a:gd name="connsiteX5" fmla="*/ 509587 w 909534"/>
                <a:gd name="connsiteY5" fmla="*/ 1929246 h 3518407"/>
                <a:gd name="connsiteX6" fmla="*/ 779174 w 909534"/>
                <a:gd name="connsiteY6" fmla="*/ 1484746 h 3518407"/>
                <a:gd name="connsiteX7" fmla="*/ 206808 w 909534"/>
                <a:gd name="connsiteY7" fmla="*/ 0 h 3518407"/>
                <a:gd name="connsiteX0" fmla="*/ 0 w 899019"/>
                <a:gd name="connsiteY0" fmla="*/ 3515158 h 3518407"/>
                <a:gd name="connsiteX1" fmla="*/ 228600 w 899019"/>
                <a:gd name="connsiteY1" fmla="*/ 3391333 h 3518407"/>
                <a:gd name="connsiteX2" fmla="*/ 261937 w 899019"/>
                <a:gd name="connsiteY2" fmla="*/ 2776971 h 3518407"/>
                <a:gd name="connsiteX3" fmla="*/ 404812 w 899019"/>
                <a:gd name="connsiteY3" fmla="*/ 2529321 h 3518407"/>
                <a:gd name="connsiteX4" fmla="*/ 414337 w 899019"/>
                <a:gd name="connsiteY4" fmla="*/ 2253096 h 3518407"/>
                <a:gd name="connsiteX5" fmla="*/ 509587 w 899019"/>
                <a:gd name="connsiteY5" fmla="*/ 1929246 h 3518407"/>
                <a:gd name="connsiteX6" fmla="*/ 779174 w 899019"/>
                <a:gd name="connsiteY6" fmla="*/ 1484746 h 3518407"/>
                <a:gd name="connsiteX7" fmla="*/ 206808 w 899019"/>
                <a:gd name="connsiteY7" fmla="*/ 0 h 3518407"/>
                <a:gd name="connsiteX0" fmla="*/ 0 w 899019"/>
                <a:gd name="connsiteY0" fmla="*/ 3515158 h 3518407"/>
                <a:gd name="connsiteX1" fmla="*/ 228600 w 899019"/>
                <a:gd name="connsiteY1" fmla="*/ 3391333 h 3518407"/>
                <a:gd name="connsiteX2" fmla="*/ 261937 w 899019"/>
                <a:gd name="connsiteY2" fmla="*/ 2776971 h 3518407"/>
                <a:gd name="connsiteX3" fmla="*/ 404812 w 899019"/>
                <a:gd name="connsiteY3" fmla="*/ 2529321 h 3518407"/>
                <a:gd name="connsiteX4" fmla="*/ 414337 w 899019"/>
                <a:gd name="connsiteY4" fmla="*/ 2253096 h 3518407"/>
                <a:gd name="connsiteX5" fmla="*/ 509587 w 899019"/>
                <a:gd name="connsiteY5" fmla="*/ 1929246 h 3518407"/>
                <a:gd name="connsiteX6" fmla="*/ 779174 w 899019"/>
                <a:gd name="connsiteY6" fmla="*/ 1484746 h 3518407"/>
                <a:gd name="connsiteX7" fmla="*/ 206808 w 899019"/>
                <a:gd name="connsiteY7" fmla="*/ 0 h 3518407"/>
                <a:gd name="connsiteX0" fmla="*/ 0 w 880826"/>
                <a:gd name="connsiteY0" fmla="*/ 3515158 h 3518407"/>
                <a:gd name="connsiteX1" fmla="*/ 228600 w 880826"/>
                <a:gd name="connsiteY1" fmla="*/ 3391333 h 3518407"/>
                <a:gd name="connsiteX2" fmla="*/ 261937 w 880826"/>
                <a:gd name="connsiteY2" fmla="*/ 2776971 h 3518407"/>
                <a:gd name="connsiteX3" fmla="*/ 404812 w 880826"/>
                <a:gd name="connsiteY3" fmla="*/ 2529321 h 3518407"/>
                <a:gd name="connsiteX4" fmla="*/ 414337 w 880826"/>
                <a:gd name="connsiteY4" fmla="*/ 2253096 h 3518407"/>
                <a:gd name="connsiteX5" fmla="*/ 509587 w 880826"/>
                <a:gd name="connsiteY5" fmla="*/ 1929246 h 3518407"/>
                <a:gd name="connsiteX6" fmla="*/ 779174 w 880826"/>
                <a:gd name="connsiteY6" fmla="*/ 1484746 h 3518407"/>
                <a:gd name="connsiteX7" fmla="*/ 206808 w 880826"/>
                <a:gd name="connsiteY7" fmla="*/ 0 h 3518407"/>
                <a:gd name="connsiteX0" fmla="*/ 0 w 804781"/>
                <a:gd name="connsiteY0" fmla="*/ 3464575 h 3467824"/>
                <a:gd name="connsiteX1" fmla="*/ 228600 w 804781"/>
                <a:gd name="connsiteY1" fmla="*/ 3340750 h 3467824"/>
                <a:gd name="connsiteX2" fmla="*/ 261937 w 804781"/>
                <a:gd name="connsiteY2" fmla="*/ 2726388 h 3467824"/>
                <a:gd name="connsiteX3" fmla="*/ 404812 w 804781"/>
                <a:gd name="connsiteY3" fmla="*/ 2478738 h 3467824"/>
                <a:gd name="connsiteX4" fmla="*/ 414337 w 804781"/>
                <a:gd name="connsiteY4" fmla="*/ 2202513 h 3467824"/>
                <a:gd name="connsiteX5" fmla="*/ 509587 w 804781"/>
                <a:gd name="connsiteY5" fmla="*/ 1878663 h 3467824"/>
                <a:gd name="connsiteX6" fmla="*/ 779174 w 804781"/>
                <a:gd name="connsiteY6" fmla="*/ 1434163 h 3467824"/>
                <a:gd name="connsiteX7" fmla="*/ 156225 w 804781"/>
                <a:gd name="connsiteY7" fmla="*/ 0 h 3467824"/>
                <a:gd name="connsiteX0" fmla="*/ 0 w 849795"/>
                <a:gd name="connsiteY0" fmla="*/ 3464575 h 3467824"/>
                <a:gd name="connsiteX1" fmla="*/ 228600 w 849795"/>
                <a:gd name="connsiteY1" fmla="*/ 3340750 h 3467824"/>
                <a:gd name="connsiteX2" fmla="*/ 261937 w 849795"/>
                <a:gd name="connsiteY2" fmla="*/ 2726388 h 3467824"/>
                <a:gd name="connsiteX3" fmla="*/ 404812 w 849795"/>
                <a:gd name="connsiteY3" fmla="*/ 2478738 h 3467824"/>
                <a:gd name="connsiteX4" fmla="*/ 414337 w 849795"/>
                <a:gd name="connsiteY4" fmla="*/ 2202513 h 3467824"/>
                <a:gd name="connsiteX5" fmla="*/ 509587 w 849795"/>
                <a:gd name="connsiteY5" fmla="*/ 1878663 h 3467824"/>
                <a:gd name="connsiteX6" fmla="*/ 779174 w 849795"/>
                <a:gd name="connsiteY6" fmla="*/ 1434163 h 3467824"/>
                <a:gd name="connsiteX7" fmla="*/ 156225 w 849795"/>
                <a:gd name="connsiteY7" fmla="*/ 0 h 3467824"/>
                <a:gd name="connsiteX0" fmla="*/ 0 w 936807"/>
                <a:gd name="connsiteY0" fmla="*/ 3464575 h 3467824"/>
                <a:gd name="connsiteX1" fmla="*/ 228600 w 936807"/>
                <a:gd name="connsiteY1" fmla="*/ 3340750 h 3467824"/>
                <a:gd name="connsiteX2" fmla="*/ 261937 w 936807"/>
                <a:gd name="connsiteY2" fmla="*/ 2726388 h 3467824"/>
                <a:gd name="connsiteX3" fmla="*/ 404812 w 936807"/>
                <a:gd name="connsiteY3" fmla="*/ 2478738 h 3467824"/>
                <a:gd name="connsiteX4" fmla="*/ 414337 w 936807"/>
                <a:gd name="connsiteY4" fmla="*/ 2202513 h 3467824"/>
                <a:gd name="connsiteX5" fmla="*/ 509587 w 936807"/>
                <a:gd name="connsiteY5" fmla="*/ 1878663 h 3467824"/>
                <a:gd name="connsiteX6" fmla="*/ 779174 w 936807"/>
                <a:gd name="connsiteY6" fmla="*/ 1434163 h 3467824"/>
                <a:gd name="connsiteX7" fmla="*/ 156225 w 936807"/>
                <a:gd name="connsiteY7" fmla="*/ 0 h 3467824"/>
                <a:gd name="connsiteX0" fmla="*/ 0 w 898890"/>
                <a:gd name="connsiteY0" fmla="*/ 3464575 h 3467824"/>
                <a:gd name="connsiteX1" fmla="*/ 228600 w 898890"/>
                <a:gd name="connsiteY1" fmla="*/ 3340750 h 3467824"/>
                <a:gd name="connsiteX2" fmla="*/ 261937 w 898890"/>
                <a:gd name="connsiteY2" fmla="*/ 2726388 h 3467824"/>
                <a:gd name="connsiteX3" fmla="*/ 404812 w 898890"/>
                <a:gd name="connsiteY3" fmla="*/ 2478738 h 3467824"/>
                <a:gd name="connsiteX4" fmla="*/ 414337 w 898890"/>
                <a:gd name="connsiteY4" fmla="*/ 2202513 h 3467824"/>
                <a:gd name="connsiteX5" fmla="*/ 509587 w 898890"/>
                <a:gd name="connsiteY5" fmla="*/ 1878663 h 3467824"/>
                <a:gd name="connsiteX6" fmla="*/ 779174 w 898890"/>
                <a:gd name="connsiteY6" fmla="*/ 1434163 h 3467824"/>
                <a:gd name="connsiteX7" fmla="*/ 156225 w 898890"/>
                <a:gd name="connsiteY7" fmla="*/ 0 h 3467824"/>
                <a:gd name="connsiteX0" fmla="*/ 0 w 898021"/>
                <a:gd name="connsiteY0" fmla="*/ 3464575 h 3467824"/>
                <a:gd name="connsiteX1" fmla="*/ 228600 w 898021"/>
                <a:gd name="connsiteY1" fmla="*/ 3340750 h 3467824"/>
                <a:gd name="connsiteX2" fmla="*/ 261937 w 898021"/>
                <a:gd name="connsiteY2" fmla="*/ 2726388 h 3467824"/>
                <a:gd name="connsiteX3" fmla="*/ 404812 w 898021"/>
                <a:gd name="connsiteY3" fmla="*/ 2478738 h 3467824"/>
                <a:gd name="connsiteX4" fmla="*/ 414337 w 898021"/>
                <a:gd name="connsiteY4" fmla="*/ 2202513 h 3467824"/>
                <a:gd name="connsiteX5" fmla="*/ 509587 w 898021"/>
                <a:gd name="connsiteY5" fmla="*/ 1878663 h 3467824"/>
                <a:gd name="connsiteX6" fmla="*/ 779174 w 898021"/>
                <a:gd name="connsiteY6" fmla="*/ 1434163 h 3467824"/>
                <a:gd name="connsiteX7" fmla="*/ 156225 w 898021"/>
                <a:gd name="connsiteY7" fmla="*/ 0 h 3467824"/>
                <a:gd name="connsiteX0" fmla="*/ 0 w 887090"/>
                <a:gd name="connsiteY0" fmla="*/ 3464575 h 3467824"/>
                <a:gd name="connsiteX1" fmla="*/ 228600 w 887090"/>
                <a:gd name="connsiteY1" fmla="*/ 3340750 h 3467824"/>
                <a:gd name="connsiteX2" fmla="*/ 261937 w 887090"/>
                <a:gd name="connsiteY2" fmla="*/ 2726388 h 3467824"/>
                <a:gd name="connsiteX3" fmla="*/ 404812 w 887090"/>
                <a:gd name="connsiteY3" fmla="*/ 2478738 h 3467824"/>
                <a:gd name="connsiteX4" fmla="*/ 414337 w 887090"/>
                <a:gd name="connsiteY4" fmla="*/ 2202513 h 3467824"/>
                <a:gd name="connsiteX5" fmla="*/ 509587 w 887090"/>
                <a:gd name="connsiteY5" fmla="*/ 1878663 h 3467824"/>
                <a:gd name="connsiteX6" fmla="*/ 760206 w 887090"/>
                <a:gd name="connsiteY6" fmla="*/ 1429948 h 3467824"/>
                <a:gd name="connsiteX7" fmla="*/ 156225 w 887090"/>
                <a:gd name="connsiteY7" fmla="*/ 0 h 3467824"/>
                <a:gd name="connsiteX0" fmla="*/ 72375 w 730865"/>
                <a:gd name="connsiteY0" fmla="*/ 3340750 h 3340750"/>
                <a:gd name="connsiteX1" fmla="*/ 105712 w 730865"/>
                <a:gd name="connsiteY1" fmla="*/ 2726388 h 3340750"/>
                <a:gd name="connsiteX2" fmla="*/ 248587 w 730865"/>
                <a:gd name="connsiteY2" fmla="*/ 2478738 h 3340750"/>
                <a:gd name="connsiteX3" fmla="*/ 258112 w 730865"/>
                <a:gd name="connsiteY3" fmla="*/ 2202513 h 3340750"/>
                <a:gd name="connsiteX4" fmla="*/ 353362 w 730865"/>
                <a:gd name="connsiteY4" fmla="*/ 1878663 h 3340750"/>
                <a:gd name="connsiteX5" fmla="*/ 603981 w 730865"/>
                <a:gd name="connsiteY5" fmla="*/ 1429948 h 3340750"/>
                <a:gd name="connsiteX6" fmla="*/ 0 w 730865"/>
                <a:gd name="connsiteY6" fmla="*/ 0 h 3340750"/>
                <a:gd name="connsiteX0" fmla="*/ 105712 w 730865"/>
                <a:gd name="connsiteY0" fmla="*/ 2726388 h 2726388"/>
                <a:gd name="connsiteX1" fmla="*/ 248587 w 730865"/>
                <a:gd name="connsiteY1" fmla="*/ 2478738 h 2726388"/>
                <a:gd name="connsiteX2" fmla="*/ 258112 w 730865"/>
                <a:gd name="connsiteY2" fmla="*/ 2202513 h 2726388"/>
                <a:gd name="connsiteX3" fmla="*/ 353362 w 730865"/>
                <a:gd name="connsiteY3" fmla="*/ 1878663 h 2726388"/>
                <a:gd name="connsiteX4" fmla="*/ 603981 w 730865"/>
                <a:gd name="connsiteY4" fmla="*/ 1429948 h 2726388"/>
                <a:gd name="connsiteX5" fmla="*/ 0 w 730865"/>
                <a:gd name="connsiteY5" fmla="*/ 0 h 2726388"/>
                <a:gd name="connsiteX0" fmla="*/ 248587 w 730865"/>
                <a:gd name="connsiteY0" fmla="*/ 2478738 h 2478738"/>
                <a:gd name="connsiteX1" fmla="*/ 258112 w 730865"/>
                <a:gd name="connsiteY1" fmla="*/ 2202513 h 2478738"/>
                <a:gd name="connsiteX2" fmla="*/ 353362 w 730865"/>
                <a:gd name="connsiteY2" fmla="*/ 1878663 h 2478738"/>
                <a:gd name="connsiteX3" fmla="*/ 603981 w 730865"/>
                <a:gd name="connsiteY3" fmla="*/ 1429948 h 2478738"/>
                <a:gd name="connsiteX4" fmla="*/ 0 w 730865"/>
                <a:gd name="connsiteY4" fmla="*/ 0 h 2478738"/>
                <a:gd name="connsiteX0" fmla="*/ 258112 w 730865"/>
                <a:gd name="connsiteY0" fmla="*/ 2202513 h 2202513"/>
                <a:gd name="connsiteX1" fmla="*/ 353362 w 730865"/>
                <a:gd name="connsiteY1" fmla="*/ 1878663 h 2202513"/>
                <a:gd name="connsiteX2" fmla="*/ 603981 w 730865"/>
                <a:gd name="connsiteY2" fmla="*/ 1429948 h 2202513"/>
                <a:gd name="connsiteX3" fmla="*/ 0 w 730865"/>
                <a:gd name="connsiteY3" fmla="*/ 0 h 2202513"/>
                <a:gd name="connsiteX0" fmla="*/ 353362 w 730865"/>
                <a:gd name="connsiteY0" fmla="*/ 1878663 h 1878663"/>
                <a:gd name="connsiteX1" fmla="*/ 603981 w 730865"/>
                <a:gd name="connsiteY1" fmla="*/ 1429948 h 1878663"/>
                <a:gd name="connsiteX2" fmla="*/ 0 w 730865"/>
                <a:gd name="connsiteY2" fmla="*/ 0 h 1878663"/>
                <a:gd name="connsiteX0" fmla="*/ 603981 w 730865"/>
                <a:gd name="connsiteY0" fmla="*/ 1429948 h 1429948"/>
                <a:gd name="connsiteX1" fmla="*/ 0 w 730865"/>
                <a:gd name="connsiteY1" fmla="*/ 0 h 1429948"/>
                <a:gd name="connsiteX0" fmla="*/ 619788 w 739955"/>
                <a:gd name="connsiteY0" fmla="*/ 1426787 h 1426787"/>
                <a:gd name="connsiteX1" fmla="*/ 0 w 739955"/>
                <a:gd name="connsiteY1" fmla="*/ 0 h 1426787"/>
                <a:gd name="connsiteX0" fmla="*/ 619788 w 726381"/>
                <a:gd name="connsiteY0" fmla="*/ 1426787 h 1426787"/>
                <a:gd name="connsiteX1" fmla="*/ 0 w 726381"/>
                <a:gd name="connsiteY1" fmla="*/ 0 h 1426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6381" h="1426787">
                  <a:moveTo>
                    <a:pt x="619788" y="1426787"/>
                  </a:moveTo>
                  <a:cubicBezTo>
                    <a:pt x="646991" y="1334871"/>
                    <a:pt x="1074571" y="558815"/>
                    <a:pt x="0" y="0"/>
                  </a:cubicBezTo>
                </a:path>
              </a:pathLst>
            </a:custGeom>
            <a:noFill/>
            <a:ln w="1270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37000">
                    <a:srgbClr val="4599D1"/>
                  </a:gs>
                  <a:gs pos="100000">
                    <a:schemeClr val="tx2">
                      <a:alpha val="20000"/>
                      <a:lumMod val="86000"/>
                    </a:schemeClr>
                  </a:gs>
                </a:gsLst>
                <a:lin ang="5400000" scaled="1"/>
              </a:gradFill>
              <a:tailEnd type="oval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5" name="Freeform 964"/>
            <p:cNvSpPr/>
            <p:nvPr/>
          </p:nvSpPr>
          <p:spPr>
            <a:xfrm flipH="1">
              <a:off x="3991813" y="783045"/>
              <a:ext cx="797357" cy="1566201"/>
            </a:xfrm>
            <a:custGeom>
              <a:avLst/>
              <a:gdLst>
                <a:gd name="connsiteX0" fmla="*/ 0 w 771525"/>
                <a:gd name="connsiteY0" fmla="*/ 2428875 h 2435408"/>
                <a:gd name="connsiteX1" fmla="*/ 142875 w 771525"/>
                <a:gd name="connsiteY1" fmla="*/ 2333625 h 2435408"/>
                <a:gd name="connsiteX2" fmla="*/ 152400 w 771525"/>
                <a:gd name="connsiteY2" fmla="*/ 1724025 h 2435408"/>
                <a:gd name="connsiteX3" fmla="*/ 295275 w 771525"/>
                <a:gd name="connsiteY3" fmla="*/ 1476375 h 2435408"/>
                <a:gd name="connsiteX4" fmla="*/ 304800 w 771525"/>
                <a:gd name="connsiteY4" fmla="*/ 1200150 h 2435408"/>
                <a:gd name="connsiteX5" fmla="*/ 400050 w 771525"/>
                <a:gd name="connsiteY5" fmla="*/ 876300 h 2435408"/>
                <a:gd name="connsiteX6" fmla="*/ 704850 w 771525"/>
                <a:gd name="connsiteY6" fmla="*/ 390525 h 2435408"/>
                <a:gd name="connsiteX7" fmla="*/ 771525 w 771525"/>
                <a:gd name="connsiteY7" fmla="*/ 0 h 2435408"/>
                <a:gd name="connsiteX0" fmla="*/ 0 w 833437"/>
                <a:gd name="connsiteY0" fmla="*/ 2447925 h 2451899"/>
                <a:gd name="connsiteX1" fmla="*/ 204787 w 833437"/>
                <a:gd name="connsiteY1" fmla="*/ 2333625 h 2451899"/>
                <a:gd name="connsiteX2" fmla="*/ 214312 w 833437"/>
                <a:gd name="connsiteY2" fmla="*/ 1724025 h 2451899"/>
                <a:gd name="connsiteX3" fmla="*/ 357187 w 833437"/>
                <a:gd name="connsiteY3" fmla="*/ 1476375 h 2451899"/>
                <a:gd name="connsiteX4" fmla="*/ 366712 w 833437"/>
                <a:gd name="connsiteY4" fmla="*/ 1200150 h 2451899"/>
                <a:gd name="connsiteX5" fmla="*/ 461962 w 833437"/>
                <a:gd name="connsiteY5" fmla="*/ 876300 h 2451899"/>
                <a:gd name="connsiteX6" fmla="*/ 766762 w 833437"/>
                <a:gd name="connsiteY6" fmla="*/ 390525 h 2451899"/>
                <a:gd name="connsiteX7" fmla="*/ 833437 w 833437"/>
                <a:gd name="connsiteY7" fmla="*/ 0 h 2451899"/>
                <a:gd name="connsiteX0" fmla="*/ 0 w 833437"/>
                <a:gd name="connsiteY0" fmla="*/ 2447925 h 2452496"/>
                <a:gd name="connsiteX1" fmla="*/ 180975 w 833437"/>
                <a:gd name="connsiteY1" fmla="*/ 2338387 h 2452496"/>
                <a:gd name="connsiteX2" fmla="*/ 214312 w 833437"/>
                <a:gd name="connsiteY2" fmla="*/ 1724025 h 2452496"/>
                <a:gd name="connsiteX3" fmla="*/ 357187 w 833437"/>
                <a:gd name="connsiteY3" fmla="*/ 1476375 h 2452496"/>
                <a:gd name="connsiteX4" fmla="*/ 366712 w 833437"/>
                <a:gd name="connsiteY4" fmla="*/ 1200150 h 2452496"/>
                <a:gd name="connsiteX5" fmla="*/ 461962 w 833437"/>
                <a:gd name="connsiteY5" fmla="*/ 876300 h 2452496"/>
                <a:gd name="connsiteX6" fmla="*/ 766762 w 833437"/>
                <a:gd name="connsiteY6" fmla="*/ 390525 h 2452496"/>
                <a:gd name="connsiteX7" fmla="*/ 833437 w 833437"/>
                <a:gd name="connsiteY7" fmla="*/ 0 h 2452496"/>
                <a:gd name="connsiteX0" fmla="*/ 0 w 881062"/>
                <a:gd name="connsiteY0" fmla="*/ 2462212 h 2465461"/>
                <a:gd name="connsiteX1" fmla="*/ 228600 w 881062"/>
                <a:gd name="connsiteY1" fmla="*/ 2338387 h 2465461"/>
                <a:gd name="connsiteX2" fmla="*/ 261937 w 881062"/>
                <a:gd name="connsiteY2" fmla="*/ 1724025 h 2465461"/>
                <a:gd name="connsiteX3" fmla="*/ 404812 w 881062"/>
                <a:gd name="connsiteY3" fmla="*/ 1476375 h 2465461"/>
                <a:gd name="connsiteX4" fmla="*/ 414337 w 881062"/>
                <a:gd name="connsiteY4" fmla="*/ 1200150 h 2465461"/>
                <a:gd name="connsiteX5" fmla="*/ 509587 w 881062"/>
                <a:gd name="connsiteY5" fmla="*/ 876300 h 2465461"/>
                <a:gd name="connsiteX6" fmla="*/ 814387 w 881062"/>
                <a:gd name="connsiteY6" fmla="*/ 390525 h 2465461"/>
                <a:gd name="connsiteX7" fmla="*/ 881062 w 881062"/>
                <a:gd name="connsiteY7" fmla="*/ 0 h 2465461"/>
                <a:gd name="connsiteX0" fmla="*/ 0 w 820275"/>
                <a:gd name="connsiteY0" fmla="*/ 3515158 h 3518407"/>
                <a:gd name="connsiteX1" fmla="*/ 228600 w 820275"/>
                <a:gd name="connsiteY1" fmla="*/ 3391333 h 3518407"/>
                <a:gd name="connsiteX2" fmla="*/ 261937 w 820275"/>
                <a:gd name="connsiteY2" fmla="*/ 2776971 h 3518407"/>
                <a:gd name="connsiteX3" fmla="*/ 404812 w 820275"/>
                <a:gd name="connsiteY3" fmla="*/ 2529321 h 3518407"/>
                <a:gd name="connsiteX4" fmla="*/ 414337 w 820275"/>
                <a:gd name="connsiteY4" fmla="*/ 2253096 h 3518407"/>
                <a:gd name="connsiteX5" fmla="*/ 509587 w 820275"/>
                <a:gd name="connsiteY5" fmla="*/ 1929246 h 3518407"/>
                <a:gd name="connsiteX6" fmla="*/ 814387 w 820275"/>
                <a:gd name="connsiteY6" fmla="*/ 1443471 h 3518407"/>
                <a:gd name="connsiteX7" fmla="*/ 206808 w 820275"/>
                <a:gd name="connsiteY7" fmla="*/ 0 h 3518407"/>
                <a:gd name="connsiteX0" fmla="*/ 0 w 874138"/>
                <a:gd name="connsiteY0" fmla="*/ 3515158 h 3518407"/>
                <a:gd name="connsiteX1" fmla="*/ 228600 w 874138"/>
                <a:gd name="connsiteY1" fmla="*/ 3391333 h 3518407"/>
                <a:gd name="connsiteX2" fmla="*/ 261937 w 874138"/>
                <a:gd name="connsiteY2" fmla="*/ 2776971 h 3518407"/>
                <a:gd name="connsiteX3" fmla="*/ 404812 w 874138"/>
                <a:gd name="connsiteY3" fmla="*/ 2529321 h 3518407"/>
                <a:gd name="connsiteX4" fmla="*/ 414337 w 874138"/>
                <a:gd name="connsiteY4" fmla="*/ 2253096 h 3518407"/>
                <a:gd name="connsiteX5" fmla="*/ 509587 w 874138"/>
                <a:gd name="connsiteY5" fmla="*/ 1929246 h 3518407"/>
                <a:gd name="connsiteX6" fmla="*/ 814387 w 874138"/>
                <a:gd name="connsiteY6" fmla="*/ 1443471 h 3518407"/>
                <a:gd name="connsiteX7" fmla="*/ 206808 w 874138"/>
                <a:gd name="connsiteY7" fmla="*/ 0 h 3518407"/>
                <a:gd name="connsiteX0" fmla="*/ 0 w 867909"/>
                <a:gd name="connsiteY0" fmla="*/ 3515158 h 3518407"/>
                <a:gd name="connsiteX1" fmla="*/ 228600 w 867909"/>
                <a:gd name="connsiteY1" fmla="*/ 3391333 h 3518407"/>
                <a:gd name="connsiteX2" fmla="*/ 261937 w 867909"/>
                <a:gd name="connsiteY2" fmla="*/ 2776971 h 3518407"/>
                <a:gd name="connsiteX3" fmla="*/ 404812 w 867909"/>
                <a:gd name="connsiteY3" fmla="*/ 2529321 h 3518407"/>
                <a:gd name="connsiteX4" fmla="*/ 414337 w 867909"/>
                <a:gd name="connsiteY4" fmla="*/ 2253096 h 3518407"/>
                <a:gd name="connsiteX5" fmla="*/ 509587 w 867909"/>
                <a:gd name="connsiteY5" fmla="*/ 1929246 h 3518407"/>
                <a:gd name="connsiteX6" fmla="*/ 814387 w 867909"/>
                <a:gd name="connsiteY6" fmla="*/ 1443471 h 3518407"/>
                <a:gd name="connsiteX7" fmla="*/ 206808 w 867909"/>
                <a:gd name="connsiteY7" fmla="*/ 0 h 3518407"/>
                <a:gd name="connsiteX0" fmla="*/ 0 w 873259"/>
                <a:gd name="connsiteY0" fmla="*/ 3515158 h 3518407"/>
                <a:gd name="connsiteX1" fmla="*/ 228600 w 873259"/>
                <a:gd name="connsiteY1" fmla="*/ 3391333 h 3518407"/>
                <a:gd name="connsiteX2" fmla="*/ 261937 w 873259"/>
                <a:gd name="connsiteY2" fmla="*/ 2776971 h 3518407"/>
                <a:gd name="connsiteX3" fmla="*/ 404812 w 873259"/>
                <a:gd name="connsiteY3" fmla="*/ 2529321 h 3518407"/>
                <a:gd name="connsiteX4" fmla="*/ 414337 w 873259"/>
                <a:gd name="connsiteY4" fmla="*/ 2253096 h 3518407"/>
                <a:gd name="connsiteX5" fmla="*/ 509587 w 873259"/>
                <a:gd name="connsiteY5" fmla="*/ 1929246 h 3518407"/>
                <a:gd name="connsiteX6" fmla="*/ 823624 w 873259"/>
                <a:gd name="connsiteY6" fmla="*/ 1443471 h 3518407"/>
                <a:gd name="connsiteX7" fmla="*/ 206808 w 873259"/>
                <a:gd name="connsiteY7" fmla="*/ 0 h 3518407"/>
                <a:gd name="connsiteX0" fmla="*/ 0 w 979043"/>
                <a:gd name="connsiteY0" fmla="*/ 3515158 h 3518407"/>
                <a:gd name="connsiteX1" fmla="*/ 228600 w 979043"/>
                <a:gd name="connsiteY1" fmla="*/ 3391333 h 3518407"/>
                <a:gd name="connsiteX2" fmla="*/ 261937 w 979043"/>
                <a:gd name="connsiteY2" fmla="*/ 2776971 h 3518407"/>
                <a:gd name="connsiteX3" fmla="*/ 404812 w 979043"/>
                <a:gd name="connsiteY3" fmla="*/ 2529321 h 3518407"/>
                <a:gd name="connsiteX4" fmla="*/ 414337 w 979043"/>
                <a:gd name="connsiteY4" fmla="*/ 2253096 h 3518407"/>
                <a:gd name="connsiteX5" fmla="*/ 509587 w 979043"/>
                <a:gd name="connsiteY5" fmla="*/ 1929246 h 3518407"/>
                <a:gd name="connsiteX6" fmla="*/ 823624 w 979043"/>
                <a:gd name="connsiteY6" fmla="*/ 1443471 h 3518407"/>
                <a:gd name="connsiteX7" fmla="*/ 206808 w 979043"/>
                <a:gd name="connsiteY7" fmla="*/ 0 h 3518407"/>
                <a:gd name="connsiteX0" fmla="*/ 0 w 943504"/>
                <a:gd name="connsiteY0" fmla="*/ 3515158 h 3518407"/>
                <a:gd name="connsiteX1" fmla="*/ 228600 w 943504"/>
                <a:gd name="connsiteY1" fmla="*/ 3391333 h 3518407"/>
                <a:gd name="connsiteX2" fmla="*/ 261937 w 943504"/>
                <a:gd name="connsiteY2" fmla="*/ 2776971 h 3518407"/>
                <a:gd name="connsiteX3" fmla="*/ 404812 w 943504"/>
                <a:gd name="connsiteY3" fmla="*/ 2529321 h 3518407"/>
                <a:gd name="connsiteX4" fmla="*/ 414337 w 943504"/>
                <a:gd name="connsiteY4" fmla="*/ 2253096 h 3518407"/>
                <a:gd name="connsiteX5" fmla="*/ 509587 w 943504"/>
                <a:gd name="connsiteY5" fmla="*/ 1929246 h 3518407"/>
                <a:gd name="connsiteX6" fmla="*/ 823624 w 943504"/>
                <a:gd name="connsiteY6" fmla="*/ 1443471 h 3518407"/>
                <a:gd name="connsiteX7" fmla="*/ 206808 w 943504"/>
                <a:gd name="connsiteY7" fmla="*/ 0 h 3518407"/>
                <a:gd name="connsiteX0" fmla="*/ 0 w 924540"/>
                <a:gd name="connsiteY0" fmla="*/ 3515158 h 3518407"/>
                <a:gd name="connsiteX1" fmla="*/ 228600 w 924540"/>
                <a:gd name="connsiteY1" fmla="*/ 3391333 h 3518407"/>
                <a:gd name="connsiteX2" fmla="*/ 261937 w 924540"/>
                <a:gd name="connsiteY2" fmla="*/ 2776971 h 3518407"/>
                <a:gd name="connsiteX3" fmla="*/ 404812 w 924540"/>
                <a:gd name="connsiteY3" fmla="*/ 2529321 h 3518407"/>
                <a:gd name="connsiteX4" fmla="*/ 414337 w 924540"/>
                <a:gd name="connsiteY4" fmla="*/ 2253096 h 3518407"/>
                <a:gd name="connsiteX5" fmla="*/ 509587 w 924540"/>
                <a:gd name="connsiteY5" fmla="*/ 1929246 h 3518407"/>
                <a:gd name="connsiteX6" fmla="*/ 823624 w 924540"/>
                <a:gd name="connsiteY6" fmla="*/ 1443471 h 3518407"/>
                <a:gd name="connsiteX7" fmla="*/ 206808 w 924540"/>
                <a:gd name="connsiteY7" fmla="*/ 0 h 3518407"/>
                <a:gd name="connsiteX0" fmla="*/ 0 w 897710"/>
                <a:gd name="connsiteY0" fmla="*/ 3515158 h 3518407"/>
                <a:gd name="connsiteX1" fmla="*/ 228600 w 897710"/>
                <a:gd name="connsiteY1" fmla="*/ 3391333 h 3518407"/>
                <a:gd name="connsiteX2" fmla="*/ 261937 w 897710"/>
                <a:gd name="connsiteY2" fmla="*/ 2776971 h 3518407"/>
                <a:gd name="connsiteX3" fmla="*/ 404812 w 897710"/>
                <a:gd name="connsiteY3" fmla="*/ 2529321 h 3518407"/>
                <a:gd name="connsiteX4" fmla="*/ 414337 w 897710"/>
                <a:gd name="connsiteY4" fmla="*/ 2253096 h 3518407"/>
                <a:gd name="connsiteX5" fmla="*/ 509587 w 897710"/>
                <a:gd name="connsiteY5" fmla="*/ 1929246 h 3518407"/>
                <a:gd name="connsiteX6" fmla="*/ 779174 w 897710"/>
                <a:gd name="connsiteY6" fmla="*/ 1484746 h 3518407"/>
                <a:gd name="connsiteX7" fmla="*/ 206808 w 897710"/>
                <a:gd name="connsiteY7" fmla="*/ 0 h 3518407"/>
                <a:gd name="connsiteX0" fmla="*/ 0 w 929423"/>
                <a:gd name="connsiteY0" fmla="*/ 3515158 h 3518407"/>
                <a:gd name="connsiteX1" fmla="*/ 228600 w 929423"/>
                <a:gd name="connsiteY1" fmla="*/ 3391333 h 3518407"/>
                <a:gd name="connsiteX2" fmla="*/ 261937 w 929423"/>
                <a:gd name="connsiteY2" fmla="*/ 2776971 h 3518407"/>
                <a:gd name="connsiteX3" fmla="*/ 404812 w 929423"/>
                <a:gd name="connsiteY3" fmla="*/ 2529321 h 3518407"/>
                <a:gd name="connsiteX4" fmla="*/ 414337 w 929423"/>
                <a:gd name="connsiteY4" fmla="*/ 2253096 h 3518407"/>
                <a:gd name="connsiteX5" fmla="*/ 509587 w 929423"/>
                <a:gd name="connsiteY5" fmla="*/ 1929246 h 3518407"/>
                <a:gd name="connsiteX6" fmla="*/ 779174 w 929423"/>
                <a:gd name="connsiteY6" fmla="*/ 1484746 h 3518407"/>
                <a:gd name="connsiteX7" fmla="*/ 206808 w 929423"/>
                <a:gd name="connsiteY7" fmla="*/ 0 h 3518407"/>
                <a:gd name="connsiteX0" fmla="*/ 0 w 909534"/>
                <a:gd name="connsiteY0" fmla="*/ 3515158 h 3518407"/>
                <a:gd name="connsiteX1" fmla="*/ 228600 w 909534"/>
                <a:gd name="connsiteY1" fmla="*/ 3391333 h 3518407"/>
                <a:gd name="connsiteX2" fmla="*/ 261937 w 909534"/>
                <a:gd name="connsiteY2" fmla="*/ 2776971 h 3518407"/>
                <a:gd name="connsiteX3" fmla="*/ 404812 w 909534"/>
                <a:gd name="connsiteY3" fmla="*/ 2529321 h 3518407"/>
                <a:gd name="connsiteX4" fmla="*/ 414337 w 909534"/>
                <a:gd name="connsiteY4" fmla="*/ 2253096 h 3518407"/>
                <a:gd name="connsiteX5" fmla="*/ 509587 w 909534"/>
                <a:gd name="connsiteY5" fmla="*/ 1929246 h 3518407"/>
                <a:gd name="connsiteX6" fmla="*/ 779174 w 909534"/>
                <a:gd name="connsiteY6" fmla="*/ 1484746 h 3518407"/>
                <a:gd name="connsiteX7" fmla="*/ 206808 w 909534"/>
                <a:gd name="connsiteY7" fmla="*/ 0 h 3518407"/>
                <a:gd name="connsiteX0" fmla="*/ 0 w 899019"/>
                <a:gd name="connsiteY0" fmla="*/ 3515158 h 3518407"/>
                <a:gd name="connsiteX1" fmla="*/ 228600 w 899019"/>
                <a:gd name="connsiteY1" fmla="*/ 3391333 h 3518407"/>
                <a:gd name="connsiteX2" fmla="*/ 261937 w 899019"/>
                <a:gd name="connsiteY2" fmla="*/ 2776971 h 3518407"/>
                <a:gd name="connsiteX3" fmla="*/ 404812 w 899019"/>
                <a:gd name="connsiteY3" fmla="*/ 2529321 h 3518407"/>
                <a:gd name="connsiteX4" fmla="*/ 414337 w 899019"/>
                <a:gd name="connsiteY4" fmla="*/ 2253096 h 3518407"/>
                <a:gd name="connsiteX5" fmla="*/ 509587 w 899019"/>
                <a:gd name="connsiteY5" fmla="*/ 1929246 h 3518407"/>
                <a:gd name="connsiteX6" fmla="*/ 779174 w 899019"/>
                <a:gd name="connsiteY6" fmla="*/ 1484746 h 3518407"/>
                <a:gd name="connsiteX7" fmla="*/ 206808 w 899019"/>
                <a:gd name="connsiteY7" fmla="*/ 0 h 3518407"/>
                <a:gd name="connsiteX0" fmla="*/ 0 w 899019"/>
                <a:gd name="connsiteY0" fmla="*/ 3515158 h 3518407"/>
                <a:gd name="connsiteX1" fmla="*/ 228600 w 899019"/>
                <a:gd name="connsiteY1" fmla="*/ 3391333 h 3518407"/>
                <a:gd name="connsiteX2" fmla="*/ 261937 w 899019"/>
                <a:gd name="connsiteY2" fmla="*/ 2776971 h 3518407"/>
                <a:gd name="connsiteX3" fmla="*/ 404812 w 899019"/>
                <a:gd name="connsiteY3" fmla="*/ 2529321 h 3518407"/>
                <a:gd name="connsiteX4" fmla="*/ 414337 w 899019"/>
                <a:gd name="connsiteY4" fmla="*/ 2253096 h 3518407"/>
                <a:gd name="connsiteX5" fmla="*/ 509587 w 899019"/>
                <a:gd name="connsiteY5" fmla="*/ 1929246 h 3518407"/>
                <a:gd name="connsiteX6" fmla="*/ 779174 w 899019"/>
                <a:gd name="connsiteY6" fmla="*/ 1484746 h 3518407"/>
                <a:gd name="connsiteX7" fmla="*/ 206808 w 899019"/>
                <a:gd name="connsiteY7" fmla="*/ 0 h 3518407"/>
                <a:gd name="connsiteX0" fmla="*/ 0 w 880826"/>
                <a:gd name="connsiteY0" fmla="*/ 3515158 h 3518407"/>
                <a:gd name="connsiteX1" fmla="*/ 228600 w 880826"/>
                <a:gd name="connsiteY1" fmla="*/ 3391333 h 3518407"/>
                <a:gd name="connsiteX2" fmla="*/ 261937 w 880826"/>
                <a:gd name="connsiteY2" fmla="*/ 2776971 h 3518407"/>
                <a:gd name="connsiteX3" fmla="*/ 404812 w 880826"/>
                <a:gd name="connsiteY3" fmla="*/ 2529321 h 3518407"/>
                <a:gd name="connsiteX4" fmla="*/ 414337 w 880826"/>
                <a:gd name="connsiteY4" fmla="*/ 2253096 h 3518407"/>
                <a:gd name="connsiteX5" fmla="*/ 509587 w 880826"/>
                <a:gd name="connsiteY5" fmla="*/ 1929246 h 3518407"/>
                <a:gd name="connsiteX6" fmla="*/ 779174 w 880826"/>
                <a:gd name="connsiteY6" fmla="*/ 1484746 h 3518407"/>
                <a:gd name="connsiteX7" fmla="*/ 206808 w 880826"/>
                <a:gd name="connsiteY7" fmla="*/ 0 h 3518407"/>
                <a:gd name="connsiteX0" fmla="*/ 0 w 804781"/>
                <a:gd name="connsiteY0" fmla="*/ 3464575 h 3467824"/>
                <a:gd name="connsiteX1" fmla="*/ 228600 w 804781"/>
                <a:gd name="connsiteY1" fmla="*/ 3340750 h 3467824"/>
                <a:gd name="connsiteX2" fmla="*/ 261937 w 804781"/>
                <a:gd name="connsiteY2" fmla="*/ 2726388 h 3467824"/>
                <a:gd name="connsiteX3" fmla="*/ 404812 w 804781"/>
                <a:gd name="connsiteY3" fmla="*/ 2478738 h 3467824"/>
                <a:gd name="connsiteX4" fmla="*/ 414337 w 804781"/>
                <a:gd name="connsiteY4" fmla="*/ 2202513 h 3467824"/>
                <a:gd name="connsiteX5" fmla="*/ 509587 w 804781"/>
                <a:gd name="connsiteY5" fmla="*/ 1878663 h 3467824"/>
                <a:gd name="connsiteX6" fmla="*/ 779174 w 804781"/>
                <a:gd name="connsiteY6" fmla="*/ 1434163 h 3467824"/>
                <a:gd name="connsiteX7" fmla="*/ 156225 w 804781"/>
                <a:gd name="connsiteY7" fmla="*/ 0 h 3467824"/>
                <a:gd name="connsiteX0" fmla="*/ 0 w 849795"/>
                <a:gd name="connsiteY0" fmla="*/ 3464575 h 3467824"/>
                <a:gd name="connsiteX1" fmla="*/ 228600 w 849795"/>
                <a:gd name="connsiteY1" fmla="*/ 3340750 h 3467824"/>
                <a:gd name="connsiteX2" fmla="*/ 261937 w 849795"/>
                <a:gd name="connsiteY2" fmla="*/ 2726388 h 3467824"/>
                <a:gd name="connsiteX3" fmla="*/ 404812 w 849795"/>
                <a:gd name="connsiteY3" fmla="*/ 2478738 h 3467824"/>
                <a:gd name="connsiteX4" fmla="*/ 414337 w 849795"/>
                <a:gd name="connsiteY4" fmla="*/ 2202513 h 3467824"/>
                <a:gd name="connsiteX5" fmla="*/ 509587 w 849795"/>
                <a:gd name="connsiteY5" fmla="*/ 1878663 h 3467824"/>
                <a:gd name="connsiteX6" fmla="*/ 779174 w 849795"/>
                <a:gd name="connsiteY6" fmla="*/ 1434163 h 3467824"/>
                <a:gd name="connsiteX7" fmla="*/ 156225 w 849795"/>
                <a:gd name="connsiteY7" fmla="*/ 0 h 3467824"/>
                <a:gd name="connsiteX0" fmla="*/ 0 w 936807"/>
                <a:gd name="connsiteY0" fmla="*/ 3464575 h 3467824"/>
                <a:gd name="connsiteX1" fmla="*/ 228600 w 936807"/>
                <a:gd name="connsiteY1" fmla="*/ 3340750 h 3467824"/>
                <a:gd name="connsiteX2" fmla="*/ 261937 w 936807"/>
                <a:gd name="connsiteY2" fmla="*/ 2726388 h 3467824"/>
                <a:gd name="connsiteX3" fmla="*/ 404812 w 936807"/>
                <a:gd name="connsiteY3" fmla="*/ 2478738 h 3467824"/>
                <a:gd name="connsiteX4" fmla="*/ 414337 w 936807"/>
                <a:gd name="connsiteY4" fmla="*/ 2202513 h 3467824"/>
                <a:gd name="connsiteX5" fmla="*/ 509587 w 936807"/>
                <a:gd name="connsiteY5" fmla="*/ 1878663 h 3467824"/>
                <a:gd name="connsiteX6" fmla="*/ 779174 w 936807"/>
                <a:gd name="connsiteY6" fmla="*/ 1434163 h 3467824"/>
                <a:gd name="connsiteX7" fmla="*/ 156225 w 936807"/>
                <a:gd name="connsiteY7" fmla="*/ 0 h 3467824"/>
                <a:gd name="connsiteX0" fmla="*/ 0 w 898890"/>
                <a:gd name="connsiteY0" fmla="*/ 3464575 h 3467824"/>
                <a:gd name="connsiteX1" fmla="*/ 228600 w 898890"/>
                <a:gd name="connsiteY1" fmla="*/ 3340750 h 3467824"/>
                <a:gd name="connsiteX2" fmla="*/ 261937 w 898890"/>
                <a:gd name="connsiteY2" fmla="*/ 2726388 h 3467824"/>
                <a:gd name="connsiteX3" fmla="*/ 404812 w 898890"/>
                <a:gd name="connsiteY3" fmla="*/ 2478738 h 3467824"/>
                <a:gd name="connsiteX4" fmla="*/ 414337 w 898890"/>
                <a:gd name="connsiteY4" fmla="*/ 2202513 h 3467824"/>
                <a:gd name="connsiteX5" fmla="*/ 509587 w 898890"/>
                <a:gd name="connsiteY5" fmla="*/ 1878663 h 3467824"/>
                <a:gd name="connsiteX6" fmla="*/ 779174 w 898890"/>
                <a:gd name="connsiteY6" fmla="*/ 1434163 h 3467824"/>
                <a:gd name="connsiteX7" fmla="*/ 156225 w 898890"/>
                <a:gd name="connsiteY7" fmla="*/ 0 h 3467824"/>
                <a:gd name="connsiteX0" fmla="*/ 0 w 898021"/>
                <a:gd name="connsiteY0" fmla="*/ 3464575 h 3467824"/>
                <a:gd name="connsiteX1" fmla="*/ 228600 w 898021"/>
                <a:gd name="connsiteY1" fmla="*/ 3340750 h 3467824"/>
                <a:gd name="connsiteX2" fmla="*/ 261937 w 898021"/>
                <a:gd name="connsiteY2" fmla="*/ 2726388 h 3467824"/>
                <a:gd name="connsiteX3" fmla="*/ 404812 w 898021"/>
                <a:gd name="connsiteY3" fmla="*/ 2478738 h 3467824"/>
                <a:gd name="connsiteX4" fmla="*/ 414337 w 898021"/>
                <a:gd name="connsiteY4" fmla="*/ 2202513 h 3467824"/>
                <a:gd name="connsiteX5" fmla="*/ 509587 w 898021"/>
                <a:gd name="connsiteY5" fmla="*/ 1878663 h 3467824"/>
                <a:gd name="connsiteX6" fmla="*/ 779174 w 898021"/>
                <a:gd name="connsiteY6" fmla="*/ 1434163 h 3467824"/>
                <a:gd name="connsiteX7" fmla="*/ 156225 w 898021"/>
                <a:gd name="connsiteY7" fmla="*/ 0 h 3467824"/>
                <a:gd name="connsiteX0" fmla="*/ 0 w 887090"/>
                <a:gd name="connsiteY0" fmla="*/ 3464575 h 3467824"/>
                <a:gd name="connsiteX1" fmla="*/ 228600 w 887090"/>
                <a:gd name="connsiteY1" fmla="*/ 3340750 h 3467824"/>
                <a:gd name="connsiteX2" fmla="*/ 261937 w 887090"/>
                <a:gd name="connsiteY2" fmla="*/ 2726388 h 3467824"/>
                <a:gd name="connsiteX3" fmla="*/ 404812 w 887090"/>
                <a:gd name="connsiteY3" fmla="*/ 2478738 h 3467824"/>
                <a:gd name="connsiteX4" fmla="*/ 414337 w 887090"/>
                <a:gd name="connsiteY4" fmla="*/ 2202513 h 3467824"/>
                <a:gd name="connsiteX5" fmla="*/ 509587 w 887090"/>
                <a:gd name="connsiteY5" fmla="*/ 1878663 h 3467824"/>
                <a:gd name="connsiteX6" fmla="*/ 760206 w 887090"/>
                <a:gd name="connsiteY6" fmla="*/ 1429948 h 3467824"/>
                <a:gd name="connsiteX7" fmla="*/ 156225 w 887090"/>
                <a:gd name="connsiteY7" fmla="*/ 0 h 3467824"/>
                <a:gd name="connsiteX0" fmla="*/ 72375 w 730865"/>
                <a:gd name="connsiteY0" fmla="*/ 3340750 h 3340750"/>
                <a:gd name="connsiteX1" fmla="*/ 105712 w 730865"/>
                <a:gd name="connsiteY1" fmla="*/ 2726388 h 3340750"/>
                <a:gd name="connsiteX2" fmla="*/ 248587 w 730865"/>
                <a:gd name="connsiteY2" fmla="*/ 2478738 h 3340750"/>
                <a:gd name="connsiteX3" fmla="*/ 258112 w 730865"/>
                <a:gd name="connsiteY3" fmla="*/ 2202513 h 3340750"/>
                <a:gd name="connsiteX4" fmla="*/ 353362 w 730865"/>
                <a:gd name="connsiteY4" fmla="*/ 1878663 h 3340750"/>
                <a:gd name="connsiteX5" fmla="*/ 603981 w 730865"/>
                <a:gd name="connsiteY5" fmla="*/ 1429948 h 3340750"/>
                <a:gd name="connsiteX6" fmla="*/ 0 w 730865"/>
                <a:gd name="connsiteY6" fmla="*/ 0 h 3340750"/>
                <a:gd name="connsiteX0" fmla="*/ 105712 w 730865"/>
                <a:gd name="connsiteY0" fmla="*/ 2726388 h 2726388"/>
                <a:gd name="connsiteX1" fmla="*/ 248587 w 730865"/>
                <a:gd name="connsiteY1" fmla="*/ 2478738 h 2726388"/>
                <a:gd name="connsiteX2" fmla="*/ 258112 w 730865"/>
                <a:gd name="connsiteY2" fmla="*/ 2202513 h 2726388"/>
                <a:gd name="connsiteX3" fmla="*/ 353362 w 730865"/>
                <a:gd name="connsiteY3" fmla="*/ 1878663 h 2726388"/>
                <a:gd name="connsiteX4" fmla="*/ 603981 w 730865"/>
                <a:gd name="connsiteY4" fmla="*/ 1429948 h 2726388"/>
                <a:gd name="connsiteX5" fmla="*/ 0 w 730865"/>
                <a:gd name="connsiteY5" fmla="*/ 0 h 2726388"/>
                <a:gd name="connsiteX0" fmla="*/ 248587 w 730865"/>
                <a:gd name="connsiteY0" fmla="*/ 2478738 h 2478738"/>
                <a:gd name="connsiteX1" fmla="*/ 258112 w 730865"/>
                <a:gd name="connsiteY1" fmla="*/ 2202513 h 2478738"/>
                <a:gd name="connsiteX2" fmla="*/ 353362 w 730865"/>
                <a:gd name="connsiteY2" fmla="*/ 1878663 h 2478738"/>
                <a:gd name="connsiteX3" fmla="*/ 603981 w 730865"/>
                <a:gd name="connsiteY3" fmla="*/ 1429948 h 2478738"/>
                <a:gd name="connsiteX4" fmla="*/ 0 w 730865"/>
                <a:gd name="connsiteY4" fmla="*/ 0 h 2478738"/>
                <a:gd name="connsiteX0" fmla="*/ 258112 w 730865"/>
                <a:gd name="connsiteY0" fmla="*/ 2202513 h 2202513"/>
                <a:gd name="connsiteX1" fmla="*/ 353362 w 730865"/>
                <a:gd name="connsiteY1" fmla="*/ 1878663 h 2202513"/>
                <a:gd name="connsiteX2" fmla="*/ 603981 w 730865"/>
                <a:gd name="connsiteY2" fmla="*/ 1429948 h 2202513"/>
                <a:gd name="connsiteX3" fmla="*/ 0 w 730865"/>
                <a:gd name="connsiteY3" fmla="*/ 0 h 2202513"/>
                <a:gd name="connsiteX0" fmla="*/ 353362 w 730865"/>
                <a:gd name="connsiteY0" fmla="*/ 1878663 h 1878663"/>
                <a:gd name="connsiteX1" fmla="*/ 603981 w 730865"/>
                <a:gd name="connsiteY1" fmla="*/ 1429948 h 1878663"/>
                <a:gd name="connsiteX2" fmla="*/ 0 w 730865"/>
                <a:gd name="connsiteY2" fmla="*/ 0 h 1878663"/>
                <a:gd name="connsiteX0" fmla="*/ 603981 w 730865"/>
                <a:gd name="connsiteY0" fmla="*/ 1429948 h 1429948"/>
                <a:gd name="connsiteX1" fmla="*/ 0 w 730865"/>
                <a:gd name="connsiteY1" fmla="*/ 0 h 1429948"/>
                <a:gd name="connsiteX0" fmla="*/ 619788 w 739955"/>
                <a:gd name="connsiteY0" fmla="*/ 1426787 h 1426787"/>
                <a:gd name="connsiteX1" fmla="*/ 0 w 739955"/>
                <a:gd name="connsiteY1" fmla="*/ 0 h 1426787"/>
                <a:gd name="connsiteX0" fmla="*/ 619788 w 726381"/>
                <a:gd name="connsiteY0" fmla="*/ 1426787 h 1426787"/>
                <a:gd name="connsiteX1" fmla="*/ 0 w 726381"/>
                <a:gd name="connsiteY1" fmla="*/ 0 h 1426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6381" h="1426787">
                  <a:moveTo>
                    <a:pt x="619788" y="1426787"/>
                  </a:moveTo>
                  <a:cubicBezTo>
                    <a:pt x="646991" y="1334871"/>
                    <a:pt x="1074571" y="558815"/>
                    <a:pt x="0" y="0"/>
                  </a:cubicBezTo>
                </a:path>
              </a:pathLst>
            </a:custGeom>
            <a:noFill/>
            <a:ln w="1270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37000">
                    <a:srgbClr val="4599D1"/>
                  </a:gs>
                  <a:gs pos="100000">
                    <a:schemeClr val="tx2">
                      <a:alpha val="20000"/>
                      <a:lumMod val="86000"/>
                    </a:schemeClr>
                  </a:gs>
                </a:gsLst>
                <a:lin ang="5400000" scaled="1"/>
              </a:gradFill>
              <a:tailEnd type="oval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6" name="Freeform 2191"/>
            <p:cNvSpPr>
              <a:spLocks noEditPoints="1"/>
            </p:cNvSpPr>
            <p:nvPr/>
          </p:nvSpPr>
          <p:spPr bwMode="auto">
            <a:xfrm>
              <a:off x="4709514" y="3849122"/>
              <a:ext cx="316093" cy="317447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7" name="Freeform 2191"/>
            <p:cNvSpPr>
              <a:spLocks noEditPoints="1"/>
            </p:cNvSpPr>
            <p:nvPr/>
          </p:nvSpPr>
          <p:spPr bwMode="auto">
            <a:xfrm>
              <a:off x="4863905" y="3575785"/>
              <a:ext cx="323586" cy="324972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8" name="Freeform 2191"/>
            <p:cNvSpPr>
              <a:spLocks noEditPoints="1"/>
            </p:cNvSpPr>
            <p:nvPr/>
          </p:nvSpPr>
          <p:spPr bwMode="auto">
            <a:xfrm>
              <a:off x="4956412" y="3977835"/>
              <a:ext cx="408107" cy="409855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9" name="Freeform 2191"/>
            <p:cNvSpPr>
              <a:spLocks noEditPoints="1"/>
            </p:cNvSpPr>
            <p:nvPr/>
          </p:nvSpPr>
          <p:spPr bwMode="auto">
            <a:xfrm>
              <a:off x="5022845" y="3903820"/>
              <a:ext cx="93367" cy="93767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0" name="Freeform 2191"/>
            <p:cNvSpPr>
              <a:spLocks noEditPoints="1"/>
            </p:cNvSpPr>
            <p:nvPr/>
          </p:nvSpPr>
          <p:spPr bwMode="auto">
            <a:xfrm>
              <a:off x="5109867" y="3873427"/>
              <a:ext cx="93367" cy="93767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1" name="Freeform 2191"/>
            <p:cNvSpPr>
              <a:spLocks noEditPoints="1"/>
            </p:cNvSpPr>
            <p:nvPr/>
          </p:nvSpPr>
          <p:spPr bwMode="auto">
            <a:xfrm>
              <a:off x="5181089" y="3767286"/>
              <a:ext cx="158978" cy="159659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2" name="Freeform 2191"/>
            <p:cNvSpPr>
              <a:spLocks noEditPoints="1"/>
            </p:cNvSpPr>
            <p:nvPr/>
          </p:nvSpPr>
          <p:spPr bwMode="auto">
            <a:xfrm>
              <a:off x="5203179" y="3935252"/>
              <a:ext cx="84799" cy="85162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3" name="Freeform 2191"/>
            <p:cNvSpPr>
              <a:spLocks noEditPoints="1"/>
            </p:cNvSpPr>
            <p:nvPr/>
          </p:nvSpPr>
          <p:spPr bwMode="auto">
            <a:xfrm>
              <a:off x="5304081" y="3813791"/>
              <a:ext cx="316093" cy="317447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4" name="Freeform 2191"/>
            <p:cNvSpPr>
              <a:spLocks noEditPoints="1"/>
            </p:cNvSpPr>
            <p:nvPr/>
          </p:nvSpPr>
          <p:spPr bwMode="auto">
            <a:xfrm>
              <a:off x="5199962" y="3567305"/>
              <a:ext cx="208244" cy="209136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5" name="Freeform 2191"/>
            <p:cNvSpPr>
              <a:spLocks noEditPoints="1"/>
            </p:cNvSpPr>
            <p:nvPr/>
          </p:nvSpPr>
          <p:spPr bwMode="auto">
            <a:xfrm>
              <a:off x="5337080" y="3752655"/>
              <a:ext cx="93367" cy="93767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6" name="Freeform 2191"/>
            <p:cNvSpPr>
              <a:spLocks noEditPoints="1"/>
            </p:cNvSpPr>
            <p:nvPr/>
          </p:nvSpPr>
          <p:spPr bwMode="auto">
            <a:xfrm>
              <a:off x="5403330" y="3643583"/>
              <a:ext cx="130427" cy="130986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7" name="Freeform 2191"/>
            <p:cNvSpPr>
              <a:spLocks noEditPoints="1"/>
            </p:cNvSpPr>
            <p:nvPr/>
          </p:nvSpPr>
          <p:spPr bwMode="auto">
            <a:xfrm>
              <a:off x="5341694" y="4138968"/>
              <a:ext cx="270161" cy="271318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8" name="Freeform 2191"/>
            <p:cNvSpPr>
              <a:spLocks noEditPoints="1"/>
            </p:cNvSpPr>
            <p:nvPr/>
          </p:nvSpPr>
          <p:spPr bwMode="auto">
            <a:xfrm>
              <a:off x="4746509" y="4180485"/>
              <a:ext cx="233673" cy="234674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9" name="Freeform 2191"/>
            <p:cNvSpPr>
              <a:spLocks noEditPoints="1"/>
            </p:cNvSpPr>
            <p:nvPr/>
          </p:nvSpPr>
          <p:spPr bwMode="auto">
            <a:xfrm>
              <a:off x="5181089" y="4357836"/>
              <a:ext cx="158978" cy="159659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0" name="Freeform 2191"/>
            <p:cNvSpPr>
              <a:spLocks noEditPoints="1"/>
            </p:cNvSpPr>
            <p:nvPr/>
          </p:nvSpPr>
          <p:spPr bwMode="auto">
            <a:xfrm>
              <a:off x="4976144" y="4357836"/>
              <a:ext cx="158978" cy="159659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1" name="Freeform 2191"/>
            <p:cNvSpPr>
              <a:spLocks noEditPoints="1"/>
            </p:cNvSpPr>
            <p:nvPr/>
          </p:nvSpPr>
          <p:spPr bwMode="auto">
            <a:xfrm>
              <a:off x="5475347" y="3478470"/>
              <a:ext cx="200210" cy="201068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2" name="Freeform 2191"/>
            <p:cNvSpPr>
              <a:spLocks noEditPoints="1"/>
            </p:cNvSpPr>
            <p:nvPr/>
          </p:nvSpPr>
          <p:spPr bwMode="auto">
            <a:xfrm>
              <a:off x="5390186" y="3558560"/>
              <a:ext cx="93367" cy="93767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3" name="Freeform 2191"/>
            <p:cNvSpPr>
              <a:spLocks noEditPoints="1"/>
            </p:cNvSpPr>
            <p:nvPr/>
          </p:nvSpPr>
          <p:spPr bwMode="auto">
            <a:xfrm>
              <a:off x="5133011" y="3558560"/>
              <a:ext cx="93367" cy="93767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4" name="Freeform 2191"/>
            <p:cNvSpPr>
              <a:spLocks noEditPoints="1"/>
            </p:cNvSpPr>
            <p:nvPr/>
          </p:nvSpPr>
          <p:spPr bwMode="auto">
            <a:xfrm>
              <a:off x="4601191" y="3478470"/>
              <a:ext cx="200210" cy="201068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5" name="Freeform 2191"/>
            <p:cNvSpPr>
              <a:spLocks noEditPoints="1"/>
            </p:cNvSpPr>
            <p:nvPr/>
          </p:nvSpPr>
          <p:spPr bwMode="auto">
            <a:xfrm>
              <a:off x="4787460" y="3596842"/>
              <a:ext cx="108240" cy="108704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6" name="Freeform 2191"/>
            <p:cNvSpPr>
              <a:spLocks noEditPoints="1"/>
            </p:cNvSpPr>
            <p:nvPr/>
          </p:nvSpPr>
          <p:spPr bwMode="auto">
            <a:xfrm>
              <a:off x="4752961" y="3703166"/>
              <a:ext cx="108240" cy="108704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7" name="Freeform 2191"/>
            <p:cNvSpPr>
              <a:spLocks noEditPoints="1"/>
            </p:cNvSpPr>
            <p:nvPr/>
          </p:nvSpPr>
          <p:spPr bwMode="auto">
            <a:xfrm>
              <a:off x="4652835" y="3703166"/>
              <a:ext cx="94065" cy="94468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8" name="Freeform 2191"/>
            <p:cNvSpPr>
              <a:spLocks noEditPoints="1"/>
            </p:cNvSpPr>
            <p:nvPr/>
          </p:nvSpPr>
          <p:spPr bwMode="auto">
            <a:xfrm>
              <a:off x="4668560" y="3803069"/>
              <a:ext cx="94065" cy="94468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9" name="Freeform 2191"/>
            <p:cNvSpPr>
              <a:spLocks noEditPoints="1"/>
            </p:cNvSpPr>
            <p:nvPr/>
          </p:nvSpPr>
          <p:spPr bwMode="auto">
            <a:xfrm>
              <a:off x="4685406" y="4130456"/>
              <a:ext cx="108240" cy="108704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0" name="Freeform 2191"/>
            <p:cNvSpPr>
              <a:spLocks noEditPoints="1"/>
            </p:cNvSpPr>
            <p:nvPr/>
          </p:nvSpPr>
          <p:spPr bwMode="auto">
            <a:xfrm>
              <a:off x="4866397" y="4396689"/>
              <a:ext cx="108240" cy="108704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1" name="Freeform 2191"/>
            <p:cNvSpPr>
              <a:spLocks noEditPoints="1"/>
            </p:cNvSpPr>
            <p:nvPr/>
          </p:nvSpPr>
          <p:spPr bwMode="auto">
            <a:xfrm>
              <a:off x="5340266" y="4396689"/>
              <a:ext cx="95025" cy="95432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2" name="Freeform 2191"/>
            <p:cNvSpPr>
              <a:spLocks noEditPoints="1"/>
            </p:cNvSpPr>
            <p:nvPr/>
          </p:nvSpPr>
          <p:spPr bwMode="auto">
            <a:xfrm>
              <a:off x="5508325" y="3715072"/>
              <a:ext cx="142645" cy="143256"/>
            </a:xfrm>
            <a:custGeom>
              <a:avLst/>
              <a:gdLst>
                <a:gd name="T0" fmla="*/ 468 w 468"/>
                <a:gd name="T1" fmla="*/ 192 h 468"/>
                <a:gd name="T2" fmla="*/ 406 w 468"/>
                <a:gd name="T3" fmla="*/ 175 h 468"/>
                <a:gd name="T4" fmla="*/ 398 w 468"/>
                <a:gd name="T5" fmla="*/ 156 h 468"/>
                <a:gd name="T6" fmla="*/ 431 w 468"/>
                <a:gd name="T7" fmla="*/ 100 h 468"/>
                <a:gd name="T8" fmla="*/ 322 w 468"/>
                <a:gd name="T9" fmla="*/ 76 h 468"/>
                <a:gd name="T10" fmla="*/ 303 w 468"/>
                <a:gd name="T11" fmla="*/ 67 h 468"/>
                <a:gd name="T12" fmla="*/ 284 w 468"/>
                <a:gd name="T13" fmla="*/ 61 h 468"/>
                <a:gd name="T14" fmla="*/ 192 w 468"/>
                <a:gd name="T15" fmla="*/ 0 h 468"/>
                <a:gd name="T16" fmla="*/ 175 w 468"/>
                <a:gd name="T17" fmla="*/ 64 h 468"/>
                <a:gd name="T18" fmla="*/ 156 w 468"/>
                <a:gd name="T19" fmla="*/ 72 h 468"/>
                <a:gd name="T20" fmla="*/ 100 w 468"/>
                <a:gd name="T21" fmla="*/ 39 h 468"/>
                <a:gd name="T22" fmla="*/ 77 w 468"/>
                <a:gd name="T23" fmla="*/ 146 h 468"/>
                <a:gd name="T24" fmla="*/ 67 w 468"/>
                <a:gd name="T25" fmla="*/ 165 h 468"/>
                <a:gd name="T26" fmla="*/ 61 w 468"/>
                <a:gd name="T27" fmla="*/ 184 h 468"/>
                <a:gd name="T28" fmla="*/ 0 w 468"/>
                <a:gd name="T29" fmla="*/ 278 h 468"/>
                <a:gd name="T30" fmla="*/ 64 w 468"/>
                <a:gd name="T31" fmla="*/ 293 h 468"/>
                <a:gd name="T32" fmla="*/ 72 w 468"/>
                <a:gd name="T33" fmla="*/ 312 h 468"/>
                <a:gd name="T34" fmla="*/ 39 w 468"/>
                <a:gd name="T35" fmla="*/ 370 h 468"/>
                <a:gd name="T36" fmla="*/ 147 w 468"/>
                <a:gd name="T37" fmla="*/ 393 h 468"/>
                <a:gd name="T38" fmla="*/ 166 w 468"/>
                <a:gd name="T39" fmla="*/ 401 h 468"/>
                <a:gd name="T40" fmla="*/ 184 w 468"/>
                <a:gd name="T41" fmla="*/ 409 h 468"/>
                <a:gd name="T42" fmla="*/ 278 w 468"/>
                <a:gd name="T43" fmla="*/ 468 h 468"/>
                <a:gd name="T44" fmla="*/ 294 w 468"/>
                <a:gd name="T45" fmla="*/ 404 h 468"/>
                <a:gd name="T46" fmla="*/ 312 w 468"/>
                <a:gd name="T47" fmla="*/ 396 h 468"/>
                <a:gd name="T48" fmla="*/ 370 w 468"/>
                <a:gd name="T49" fmla="*/ 431 h 468"/>
                <a:gd name="T50" fmla="*/ 393 w 468"/>
                <a:gd name="T51" fmla="*/ 321 h 468"/>
                <a:gd name="T52" fmla="*/ 401 w 468"/>
                <a:gd name="T53" fmla="*/ 303 h 468"/>
                <a:gd name="T54" fmla="*/ 409 w 468"/>
                <a:gd name="T55" fmla="*/ 284 h 468"/>
                <a:gd name="T56" fmla="*/ 468 w 468"/>
                <a:gd name="T57" fmla="*/ 278 h 468"/>
                <a:gd name="T58" fmla="*/ 325 w 468"/>
                <a:gd name="T59" fmla="*/ 243 h 468"/>
                <a:gd name="T60" fmla="*/ 320 w 468"/>
                <a:gd name="T61" fmla="*/ 260 h 468"/>
                <a:gd name="T62" fmla="*/ 314 w 468"/>
                <a:gd name="T63" fmla="*/ 278 h 468"/>
                <a:gd name="T64" fmla="*/ 304 w 468"/>
                <a:gd name="T65" fmla="*/ 292 h 468"/>
                <a:gd name="T66" fmla="*/ 292 w 468"/>
                <a:gd name="T67" fmla="*/ 304 h 468"/>
                <a:gd name="T68" fmla="*/ 278 w 468"/>
                <a:gd name="T69" fmla="*/ 314 h 468"/>
                <a:gd name="T70" fmla="*/ 261 w 468"/>
                <a:gd name="T71" fmla="*/ 320 h 468"/>
                <a:gd name="T72" fmla="*/ 244 w 468"/>
                <a:gd name="T73" fmla="*/ 325 h 468"/>
                <a:gd name="T74" fmla="*/ 225 w 468"/>
                <a:gd name="T75" fmla="*/ 325 h 468"/>
                <a:gd name="T76" fmla="*/ 208 w 468"/>
                <a:gd name="T77" fmla="*/ 320 h 468"/>
                <a:gd name="T78" fmla="*/ 191 w 468"/>
                <a:gd name="T79" fmla="*/ 314 h 468"/>
                <a:gd name="T80" fmla="*/ 176 w 468"/>
                <a:gd name="T81" fmla="*/ 304 h 468"/>
                <a:gd name="T82" fmla="*/ 164 w 468"/>
                <a:gd name="T83" fmla="*/ 292 h 468"/>
                <a:gd name="T84" fmla="*/ 155 w 468"/>
                <a:gd name="T85" fmla="*/ 278 h 468"/>
                <a:gd name="T86" fmla="*/ 148 w 468"/>
                <a:gd name="T87" fmla="*/ 260 h 468"/>
                <a:gd name="T88" fmla="*/ 144 w 468"/>
                <a:gd name="T89" fmla="*/ 243 h 468"/>
                <a:gd name="T90" fmla="*/ 144 w 468"/>
                <a:gd name="T91" fmla="*/ 225 h 468"/>
                <a:gd name="T92" fmla="*/ 148 w 468"/>
                <a:gd name="T93" fmla="*/ 207 h 468"/>
                <a:gd name="T94" fmla="*/ 155 w 468"/>
                <a:gd name="T95" fmla="*/ 190 h 468"/>
                <a:gd name="T96" fmla="*/ 164 w 468"/>
                <a:gd name="T97" fmla="*/ 176 h 468"/>
                <a:gd name="T98" fmla="*/ 176 w 468"/>
                <a:gd name="T99" fmla="*/ 164 h 468"/>
                <a:gd name="T100" fmla="*/ 191 w 468"/>
                <a:gd name="T101" fmla="*/ 154 h 468"/>
                <a:gd name="T102" fmla="*/ 208 w 468"/>
                <a:gd name="T103" fmla="*/ 148 h 468"/>
                <a:gd name="T104" fmla="*/ 225 w 468"/>
                <a:gd name="T105" fmla="*/ 143 h 468"/>
                <a:gd name="T106" fmla="*/ 244 w 468"/>
                <a:gd name="T107" fmla="*/ 143 h 468"/>
                <a:gd name="T108" fmla="*/ 261 w 468"/>
                <a:gd name="T109" fmla="*/ 148 h 468"/>
                <a:gd name="T110" fmla="*/ 278 w 468"/>
                <a:gd name="T111" fmla="*/ 154 h 468"/>
                <a:gd name="T112" fmla="*/ 292 w 468"/>
                <a:gd name="T113" fmla="*/ 164 h 468"/>
                <a:gd name="T114" fmla="*/ 304 w 468"/>
                <a:gd name="T115" fmla="*/ 176 h 468"/>
                <a:gd name="T116" fmla="*/ 314 w 468"/>
                <a:gd name="T117" fmla="*/ 190 h 468"/>
                <a:gd name="T118" fmla="*/ 320 w 468"/>
                <a:gd name="T119" fmla="*/ 207 h 468"/>
                <a:gd name="T120" fmla="*/ 325 w 468"/>
                <a:gd name="T121" fmla="*/ 225 h 468"/>
                <a:gd name="T122" fmla="*/ 325 w 468"/>
                <a:gd name="T123" fmla="*/ 234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8" h="468">
                  <a:moveTo>
                    <a:pt x="468" y="278"/>
                  </a:moveTo>
                  <a:lnTo>
                    <a:pt x="468" y="192"/>
                  </a:lnTo>
                  <a:lnTo>
                    <a:pt x="409" y="184"/>
                  </a:lnTo>
                  <a:lnTo>
                    <a:pt x="406" y="175"/>
                  </a:lnTo>
                  <a:lnTo>
                    <a:pt x="401" y="165"/>
                  </a:lnTo>
                  <a:lnTo>
                    <a:pt x="398" y="156"/>
                  </a:lnTo>
                  <a:lnTo>
                    <a:pt x="393" y="146"/>
                  </a:lnTo>
                  <a:lnTo>
                    <a:pt x="431" y="100"/>
                  </a:lnTo>
                  <a:lnTo>
                    <a:pt x="370" y="39"/>
                  </a:lnTo>
                  <a:lnTo>
                    <a:pt x="322" y="76"/>
                  </a:lnTo>
                  <a:lnTo>
                    <a:pt x="312" y="72"/>
                  </a:lnTo>
                  <a:lnTo>
                    <a:pt x="303" y="67"/>
                  </a:lnTo>
                  <a:lnTo>
                    <a:pt x="294" y="64"/>
                  </a:lnTo>
                  <a:lnTo>
                    <a:pt x="284" y="61"/>
                  </a:lnTo>
                  <a:lnTo>
                    <a:pt x="278" y="0"/>
                  </a:lnTo>
                  <a:lnTo>
                    <a:pt x="192" y="0"/>
                  </a:lnTo>
                  <a:lnTo>
                    <a:pt x="184" y="61"/>
                  </a:lnTo>
                  <a:lnTo>
                    <a:pt x="175" y="64"/>
                  </a:lnTo>
                  <a:lnTo>
                    <a:pt x="166" y="67"/>
                  </a:lnTo>
                  <a:lnTo>
                    <a:pt x="156" y="72"/>
                  </a:lnTo>
                  <a:lnTo>
                    <a:pt x="147" y="76"/>
                  </a:lnTo>
                  <a:lnTo>
                    <a:pt x="100" y="39"/>
                  </a:lnTo>
                  <a:lnTo>
                    <a:pt x="39" y="100"/>
                  </a:lnTo>
                  <a:lnTo>
                    <a:pt x="77" y="146"/>
                  </a:lnTo>
                  <a:lnTo>
                    <a:pt x="72" y="156"/>
                  </a:lnTo>
                  <a:lnTo>
                    <a:pt x="67" y="165"/>
                  </a:lnTo>
                  <a:lnTo>
                    <a:pt x="64" y="175"/>
                  </a:lnTo>
                  <a:lnTo>
                    <a:pt x="61" y="184"/>
                  </a:lnTo>
                  <a:lnTo>
                    <a:pt x="0" y="192"/>
                  </a:lnTo>
                  <a:lnTo>
                    <a:pt x="0" y="278"/>
                  </a:lnTo>
                  <a:lnTo>
                    <a:pt x="61" y="284"/>
                  </a:lnTo>
                  <a:lnTo>
                    <a:pt x="64" y="293"/>
                  </a:lnTo>
                  <a:lnTo>
                    <a:pt x="67" y="303"/>
                  </a:lnTo>
                  <a:lnTo>
                    <a:pt x="72" y="312"/>
                  </a:lnTo>
                  <a:lnTo>
                    <a:pt x="77" y="321"/>
                  </a:lnTo>
                  <a:lnTo>
                    <a:pt x="39" y="370"/>
                  </a:lnTo>
                  <a:lnTo>
                    <a:pt x="100" y="431"/>
                  </a:lnTo>
                  <a:lnTo>
                    <a:pt x="147" y="393"/>
                  </a:lnTo>
                  <a:lnTo>
                    <a:pt x="156" y="396"/>
                  </a:lnTo>
                  <a:lnTo>
                    <a:pt x="166" y="401"/>
                  </a:lnTo>
                  <a:lnTo>
                    <a:pt x="175" y="404"/>
                  </a:lnTo>
                  <a:lnTo>
                    <a:pt x="184" y="409"/>
                  </a:lnTo>
                  <a:lnTo>
                    <a:pt x="192" y="468"/>
                  </a:lnTo>
                  <a:lnTo>
                    <a:pt x="278" y="468"/>
                  </a:lnTo>
                  <a:lnTo>
                    <a:pt x="284" y="409"/>
                  </a:lnTo>
                  <a:lnTo>
                    <a:pt x="294" y="404"/>
                  </a:lnTo>
                  <a:lnTo>
                    <a:pt x="303" y="401"/>
                  </a:lnTo>
                  <a:lnTo>
                    <a:pt x="312" y="396"/>
                  </a:lnTo>
                  <a:lnTo>
                    <a:pt x="322" y="393"/>
                  </a:lnTo>
                  <a:lnTo>
                    <a:pt x="370" y="431"/>
                  </a:lnTo>
                  <a:lnTo>
                    <a:pt x="431" y="370"/>
                  </a:lnTo>
                  <a:lnTo>
                    <a:pt x="393" y="321"/>
                  </a:lnTo>
                  <a:lnTo>
                    <a:pt x="398" y="312"/>
                  </a:lnTo>
                  <a:lnTo>
                    <a:pt x="401" y="303"/>
                  </a:lnTo>
                  <a:lnTo>
                    <a:pt x="406" y="293"/>
                  </a:lnTo>
                  <a:lnTo>
                    <a:pt x="409" y="284"/>
                  </a:lnTo>
                  <a:lnTo>
                    <a:pt x="468" y="278"/>
                  </a:lnTo>
                  <a:lnTo>
                    <a:pt x="468" y="278"/>
                  </a:lnTo>
                  <a:close/>
                  <a:moveTo>
                    <a:pt x="325" y="234"/>
                  </a:moveTo>
                  <a:lnTo>
                    <a:pt x="325" y="243"/>
                  </a:lnTo>
                  <a:lnTo>
                    <a:pt x="323" y="253"/>
                  </a:lnTo>
                  <a:lnTo>
                    <a:pt x="320" y="260"/>
                  </a:lnTo>
                  <a:lnTo>
                    <a:pt x="317" y="270"/>
                  </a:lnTo>
                  <a:lnTo>
                    <a:pt x="314" y="278"/>
                  </a:lnTo>
                  <a:lnTo>
                    <a:pt x="309" y="284"/>
                  </a:lnTo>
                  <a:lnTo>
                    <a:pt x="304" y="292"/>
                  </a:lnTo>
                  <a:lnTo>
                    <a:pt x="298" y="298"/>
                  </a:lnTo>
                  <a:lnTo>
                    <a:pt x="292" y="304"/>
                  </a:lnTo>
                  <a:lnTo>
                    <a:pt x="284" y="309"/>
                  </a:lnTo>
                  <a:lnTo>
                    <a:pt x="278" y="314"/>
                  </a:lnTo>
                  <a:lnTo>
                    <a:pt x="270" y="317"/>
                  </a:lnTo>
                  <a:lnTo>
                    <a:pt x="261" y="320"/>
                  </a:lnTo>
                  <a:lnTo>
                    <a:pt x="253" y="323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225" y="325"/>
                  </a:lnTo>
                  <a:lnTo>
                    <a:pt x="215" y="323"/>
                  </a:lnTo>
                  <a:lnTo>
                    <a:pt x="208" y="320"/>
                  </a:lnTo>
                  <a:lnTo>
                    <a:pt x="198" y="317"/>
                  </a:lnTo>
                  <a:lnTo>
                    <a:pt x="191" y="314"/>
                  </a:lnTo>
                  <a:lnTo>
                    <a:pt x="184" y="309"/>
                  </a:lnTo>
                  <a:lnTo>
                    <a:pt x="176" y="304"/>
                  </a:lnTo>
                  <a:lnTo>
                    <a:pt x="170" y="298"/>
                  </a:lnTo>
                  <a:lnTo>
                    <a:pt x="164" y="292"/>
                  </a:lnTo>
                  <a:lnTo>
                    <a:pt x="159" y="284"/>
                  </a:lnTo>
                  <a:lnTo>
                    <a:pt x="155" y="278"/>
                  </a:lnTo>
                  <a:lnTo>
                    <a:pt x="152" y="270"/>
                  </a:lnTo>
                  <a:lnTo>
                    <a:pt x="148" y="260"/>
                  </a:lnTo>
                  <a:lnTo>
                    <a:pt x="145" y="253"/>
                  </a:lnTo>
                  <a:lnTo>
                    <a:pt x="144" y="243"/>
                  </a:lnTo>
                  <a:lnTo>
                    <a:pt x="144" y="234"/>
                  </a:lnTo>
                  <a:lnTo>
                    <a:pt x="144" y="225"/>
                  </a:lnTo>
                  <a:lnTo>
                    <a:pt x="145" y="215"/>
                  </a:lnTo>
                  <a:lnTo>
                    <a:pt x="148" y="207"/>
                  </a:lnTo>
                  <a:lnTo>
                    <a:pt x="152" y="198"/>
                  </a:lnTo>
                  <a:lnTo>
                    <a:pt x="155" y="190"/>
                  </a:lnTo>
                  <a:lnTo>
                    <a:pt x="159" y="184"/>
                  </a:lnTo>
                  <a:lnTo>
                    <a:pt x="164" y="176"/>
                  </a:lnTo>
                  <a:lnTo>
                    <a:pt x="170" y="170"/>
                  </a:lnTo>
                  <a:lnTo>
                    <a:pt x="176" y="164"/>
                  </a:lnTo>
                  <a:lnTo>
                    <a:pt x="184" y="159"/>
                  </a:lnTo>
                  <a:lnTo>
                    <a:pt x="191" y="154"/>
                  </a:lnTo>
                  <a:lnTo>
                    <a:pt x="198" y="151"/>
                  </a:lnTo>
                  <a:lnTo>
                    <a:pt x="208" y="148"/>
                  </a:lnTo>
                  <a:lnTo>
                    <a:pt x="215" y="145"/>
                  </a:lnTo>
                  <a:lnTo>
                    <a:pt x="225" y="143"/>
                  </a:lnTo>
                  <a:lnTo>
                    <a:pt x="234" y="143"/>
                  </a:lnTo>
                  <a:lnTo>
                    <a:pt x="244" y="143"/>
                  </a:lnTo>
                  <a:lnTo>
                    <a:pt x="253" y="145"/>
                  </a:lnTo>
                  <a:lnTo>
                    <a:pt x="261" y="148"/>
                  </a:lnTo>
                  <a:lnTo>
                    <a:pt x="270" y="151"/>
                  </a:lnTo>
                  <a:lnTo>
                    <a:pt x="278" y="154"/>
                  </a:lnTo>
                  <a:lnTo>
                    <a:pt x="284" y="159"/>
                  </a:lnTo>
                  <a:lnTo>
                    <a:pt x="292" y="164"/>
                  </a:lnTo>
                  <a:lnTo>
                    <a:pt x="298" y="170"/>
                  </a:lnTo>
                  <a:lnTo>
                    <a:pt x="304" y="176"/>
                  </a:lnTo>
                  <a:lnTo>
                    <a:pt x="309" y="184"/>
                  </a:lnTo>
                  <a:lnTo>
                    <a:pt x="314" y="190"/>
                  </a:lnTo>
                  <a:lnTo>
                    <a:pt x="317" y="198"/>
                  </a:lnTo>
                  <a:lnTo>
                    <a:pt x="320" y="207"/>
                  </a:lnTo>
                  <a:lnTo>
                    <a:pt x="323" y="215"/>
                  </a:lnTo>
                  <a:lnTo>
                    <a:pt x="325" y="225"/>
                  </a:lnTo>
                  <a:lnTo>
                    <a:pt x="325" y="234"/>
                  </a:lnTo>
                  <a:lnTo>
                    <a:pt x="325" y="234"/>
                  </a:lnTo>
                  <a:close/>
                </a:path>
              </a:pathLst>
            </a:custGeom>
            <a:solidFill>
              <a:srgbClr val="80B7E1"/>
            </a:solidFill>
            <a:ln>
              <a:noFill/>
            </a:ln>
            <a:extLst/>
          </p:spPr>
          <p:txBody>
            <a:bodyPr vert="horz" wrap="square" lIns="82305" tIns="41153" rIns="82305" bIns="4115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1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448" name="Freeform 447"/>
          <p:cNvSpPr/>
          <p:nvPr/>
        </p:nvSpPr>
        <p:spPr>
          <a:xfrm>
            <a:off x="753869" y="5138367"/>
            <a:ext cx="2498446" cy="164507"/>
          </a:xfrm>
          <a:custGeom>
            <a:avLst/>
            <a:gdLst>
              <a:gd name="connsiteX0" fmla="*/ 0 w 3086100"/>
              <a:gd name="connsiteY0" fmla="*/ 203200 h 203200"/>
              <a:gd name="connsiteX1" fmla="*/ 203200 w 3086100"/>
              <a:gd name="connsiteY1" fmla="*/ 0 h 203200"/>
              <a:gd name="connsiteX2" fmla="*/ 3086100 w 3086100"/>
              <a:gd name="connsiteY2" fmla="*/ 0 h 2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86100" h="203200">
                <a:moveTo>
                  <a:pt x="0" y="203200"/>
                </a:moveTo>
                <a:lnTo>
                  <a:pt x="203200" y="0"/>
                </a:lnTo>
                <a:lnTo>
                  <a:pt x="3086100" y="0"/>
                </a:lnTo>
              </a:path>
            </a:pathLst>
          </a:custGeom>
          <a:noFill/>
          <a:ln w="19050">
            <a:solidFill>
              <a:schemeClr val="bg1">
                <a:alpha val="1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9" name="Freeform 788"/>
          <p:cNvSpPr/>
          <p:nvPr/>
        </p:nvSpPr>
        <p:spPr>
          <a:xfrm>
            <a:off x="10183882" y="4851338"/>
            <a:ext cx="271697" cy="391563"/>
          </a:xfrm>
          <a:custGeom>
            <a:avLst/>
            <a:gdLst>
              <a:gd name="connsiteX0" fmla="*/ 0 w 259080"/>
              <a:gd name="connsiteY0" fmla="*/ 373380 h 373380"/>
              <a:gd name="connsiteX1" fmla="*/ 0 w 259080"/>
              <a:gd name="connsiteY1" fmla="*/ 259080 h 373380"/>
              <a:gd name="connsiteX2" fmla="*/ 259080 w 259080"/>
              <a:gd name="connsiteY2" fmla="*/ 0 h 373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9080" h="373380">
                <a:moveTo>
                  <a:pt x="0" y="373380"/>
                </a:moveTo>
                <a:lnTo>
                  <a:pt x="0" y="259080"/>
                </a:lnTo>
                <a:lnTo>
                  <a:pt x="25908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90" name="Freeform 789"/>
          <p:cNvSpPr/>
          <p:nvPr/>
        </p:nvSpPr>
        <p:spPr>
          <a:xfrm>
            <a:off x="10887097" y="5003167"/>
            <a:ext cx="159822" cy="263706"/>
          </a:xfrm>
          <a:custGeom>
            <a:avLst/>
            <a:gdLst>
              <a:gd name="connsiteX0" fmla="*/ 0 w 152400"/>
              <a:gd name="connsiteY0" fmla="*/ 251460 h 251460"/>
              <a:gd name="connsiteX1" fmla="*/ 0 w 152400"/>
              <a:gd name="connsiteY1" fmla="*/ 152400 h 251460"/>
              <a:gd name="connsiteX2" fmla="*/ 152400 w 152400"/>
              <a:gd name="connsiteY2" fmla="*/ 0 h 25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2400" h="251460">
                <a:moveTo>
                  <a:pt x="0" y="251460"/>
                </a:moveTo>
                <a:lnTo>
                  <a:pt x="0" y="152400"/>
                </a:lnTo>
                <a:lnTo>
                  <a:pt x="152400" y="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91" name="Freeform 790"/>
          <p:cNvSpPr/>
          <p:nvPr/>
        </p:nvSpPr>
        <p:spPr>
          <a:xfrm>
            <a:off x="9184995" y="5602499"/>
            <a:ext cx="663260" cy="807100"/>
          </a:xfrm>
          <a:custGeom>
            <a:avLst/>
            <a:gdLst>
              <a:gd name="connsiteX0" fmla="*/ 632460 w 632460"/>
              <a:gd name="connsiteY0" fmla="*/ 0 h 769620"/>
              <a:gd name="connsiteX1" fmla="*/ 464820 w 632460"/>
              <a:gd name="connsiteY1" fmla="*/ 0 h 769620"/>
              <a:gd name="connsiteX2" fmla="*/ 464820 w 632460"/>
              <a:gd name="connsiteY2" fmla="*/ 304800 h 769620"/>
              <a:gd name="connsiteX3" fmla="*/ 0 w 632460"/>
              <a:gd name="connsiteY3" fmla="*/ 769620 h 769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2460" h="769620">
                <a:moveTo>
                  <a:pt x="632460" y="0"/>
                </a:moveTo>
                <a:lnTo>
                  <a:pt x="464820" y="0"/>
                </a:lnTo>
                <a:lnTo>
                  <a:pt x="464820" y="304800"/>
                </a:lnTo>
                <a:lnTo>
                  <a:pt x="0" y="769620"/>
                </a:lnTo>
              </a:path>
            </a:pathLst>
          </a:custGeom>
          <a:noFill/>
          <a:ln w="19050">
            <a:solidFill>
              <a:schemeClr val="accent4">
                <a:alpha val="2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81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-5398" y="4519245"/>
            <a:ext cx="12211686" cy="2386328"/>
            <a:chOff x="-6986" y="4519245"/>
            <a:chExt cx="12211686" cy="2386328"/>
          </a:xfrm>
        </p:grpSpPr>
        <p:sp>
          <p:nvSpPr>
            <p:cNvPr id="196" name="Title 2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-6986" y="4519245"/>
              <a:ext cx="12211686" cy="23863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365760" rIns="4389120" bIns="45720" anchor="ctr">
              <a:noAutofit/>
            </a:bodyPr>
            <a:lstStyle>
              <a:lvl1pPr marL="0" algn="l" defTabSz="10881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4000" kern="1200" spc="-58" baseline="0" dirty="0">
                  <a:solidFill>
                    <a:schemeClr val="bg2"/>
                  </a:solidFill>
                  <a:latin typeface="Segoe UI Light" pitchFamily="34" charset="0"/>
                  <a:ea typeface="Segoe UI" pitchFamily="34" charset="0"/>
                  <a:cs typeface="Segoe UI" pitchFamily="34" charset="0"/>
                </a:defRPr>
              </a:lvl1pPr>
            </a:lstStyle>
            <a:p>
              <a:pPr marL="0" marR="0" lvl="0" indent="0" algn="l" defTabSz="914325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-58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Segoe UI Light"/>
                  <a:cs typeface="Segoe UI" pitchFamily="34" charset="0"/>
                </a:rPr>
                <a:t>Михаил Калачинский</a:t>
              </a:r>
            </a:p>
            <a:p>
              <a:pPr marL="0" marR="0" lvl="0" indent="0" algn="l" defTabSz="914325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0" i="0" u="none" strike="noStrike" kern="1200" cap="none" spc="-58" normalizeH="0" baseline="0" noProof="0" dirty="0">
                  <a:ln>
                    <a:noFill/>
                  </a:ln>
                  <a:solidFill>
                    <a:srgbClr val="0072C6"/>
                  </a:solidFill>
                  <a:effectLst/>
                  <a:uLnTx/>
                  <a:uFillTx/>
                  <a:latin typeface="Segoe UI Light"/>
                  <a:cs typeface="Segoe UI" pitchFamily="34" charset="0"/>
                </a:rPr>
                <a:t>Руководитель направления по работе с системой общего образования</a:t>
              </a:r>
            </a:p>
            <a:p>
              <a:pPr marL="0" marR="0" lvl="0" indent="0" algn="l" defTabSz="914325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dirty="0">
                  <a:solidFill>
                    <a:srgbClr val="0072C6"/>
                  </a:solidFill>
                  <a:latin typeface="Segoe UI Light"/>
                </a:rPr>
                <a:t>Microsoft RUS</a:t>
              </a:r>
              <a:endParaRPr kumimoji="0" lang="ru-RU" sz="2400" b="0" i="0" u="none" strike="noStrike" kern="1200" cap="none" spc="-58" normalizeH="0" baseline="0" noProof="0" dirty="0">
                <a:ln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Light"/>
                <a:cs typeface="Segoe UI" pitchFamily="34" charset="0"/>
              </a:endParaRPr>
            </a:p>
            <a:p>
              <a:pPr marL="0" marR="0" lvl="0" indent="0" algn="l" defTabSz="914325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400" dirty="0">
                  <a:solidFill>
                    <a:srgbClr val="0072C6"/>
                  </a:solidFill>
                  <a:latin typeface="Segoe UI Light"/>
                </a:rPr>
                <a:t>27 июня</a:t>
              </a:r>
              <a:r>
                <a:rPr kumimoji="0" lang="ru-RU" sz="2400" b="0" i="0" u="none" strike="noStrike" kern="1200" cap="none" spc="-58" normalizeH="0" baseline="0" noProof="0" dirty="0">
                  <a:ln>
                    <a:noFill/>
                  </a:ln>
                  <a:solidFill>
                    <a:srgbClr val="0072C6"/>
                  </a:solidFill>
                  <a:effectLst/>
                  <a:uLnTx/>
                  <a:uFillTx/>
                  <a:latin typeface="Segoe UI Light"/>
                  <a:cs typeface="Segoe UI" pitchFamily="34" charset="0"/>
                </a:rPr>
                <a:t> 2017 года</a:t>
              </a:r>
            </a:p>
            <a:p>
              <a:pPr marL="0" marR="0" lvl="0" indent="0" algn="l" defTabSz="914325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0" i="0" u="none" strike="noStrike" kern="1200" cap="none" spc="-100" normalizeH="0" baseline="0" noProof="0" dirty="0">
                <a:ln w="3175">
                  <a:noFill/>
                </a:ln>
                <a:solidFill>
                  <a:srgbClr val="0072C6"/>
                </a:solidFill>
                <a:effectLst/>
                <a:uLnTx/>
                <a:uFillTx/>
                <a:latin typeface="Segoe UI Light"/>
                <a:cs typeface="Segoe UI" pitchFamily="34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8188425" y="4674838"/>
              <a:ext cx="3856601" cy="2026355"/>
              <a:chOff x="8223608" y="6992915"/>
              <a:chExt cx="3856601" cy="2026355"/>
            </a:xfrm>
          </p:grpSpPr>
          <p:sp>
            <p:nvSpPr>
              <p:cNvPr id="800" name="Freeform 799"/>
              <p:cNvSpPr/>
              <p:nvPr/>
            </p:nvSpPr>
            <p:spPr>
              <a:xfrm>
                <a:off x="9639804" y="8133815"/>
                <a:ext cx="119866" cy="0"/>
              </a:xfrm>
              <a:custGeom>
                <a:avLst/>
                <a:gdLst>
                  <a:gd name="connsiteX0" fmla="*/ 114300 w 114300"/>
                  <a:gd name="connsiteY0" fmla="*/ 0 h 0"/>
                  <a:gd name="connsiteX1" fmla="*/ 0 w 1143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300">
                    <a:moveTo>
                      <a:pt x="114300" y="0"/>
                    </a:move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accent4">
                    <a:alpha val="20000"/>
                  </a:schemeClr>
                </a:solidFill>
                <a:tailEnd type="oval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8810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37" name="Group 36"/>
              <p:cNvGrpSpPr/>
              <p:nvPr/>
            </p:nvGrpSpPr>
            <p:grpSpPr>
              <a:xfrm>
                <a:off x="8223608" y="6992915"/>
                <a:ext cx="1772655" cy="2026354"/>
                <a:chOff x="8344385" y="4680115"/>
                <a:chExt cx="1690338" cy="1945226"/>
              </a:xfrm>
            </p:grpSpPr>
            <p:sp>
              <p:nvSpPr>
                <p:cNvPr id="593" name="Rectangle 592"/>
                <p:cNvSpPr/>
                <p:nvPr/>
              </p:nvSpPr>
              <p:spPr>
                <a:xfrm>
                  <a:off x="8344385" y="4680115"/>
                  <a:ext cx="1690338" cy="1945226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594" name="Group 593"/>
                <p:cNvGrpSpPr/>
                <p:nvPr/>
              </p:nvGrpSpPr>
              <p:grpSpPr>
                <a:xfrm>
                  <a:off x="8524510" y="5014730"/>
                  <a:ext cx="1285242" cy="1279295"/>
                  <a:chOff x="10028285" y="16223"/>
                  <a:chExt cx="2145645" cy="2081343"/>
                </a:xfrm>
              </p:grpSpPr>
              <p:sp>
                <p:nvSpPr>
                  <p:cNvPr id="595" name="Freeform 594"/>
                  <p:cNvSpPr>
                    <a:spLocks/>
                  </p:cNvSpPr>
                  <p:nvPr/>
                </p:nvSpPr>
                <p:spPr bwMode="auto">
                  <a:xfrm rot="5400000">
                    <a:off x="10396525" y="55967"/>
                    <a:ext cx="1408022" cy="2144502"/>
                  </a:xfrm>
                  <a:custGeom>
                    <a:avLst/>
                    <a:gdLst>
                      <a:gd name="connsiteX0" fmla="*/ 0 w 1408022"/>
                      <a:gd name="connsiteY0" fmla="*/ 5689 h 2144502"/>
                      <a:gd name="connsiteX1" fmla="*/ 37313 w 1408022"/>
                      <a:gd name="connsiteY1" fmla="*/ 0 h 2144502"/>
                      <a:gd name="connsiteX2" fmla="*/ 39508 w 1408022"/>
                      <a:gd name="connsiteY2" fmla="*/ 113781 h 2144502"/>
                      <a:gd name="connsiteX3" fmla="*/ 68042 w 1408022"/>
                      <a:gd name="connsiteY3" fmla="*/ 270799 h 2144502"/>
                      <a:gd name="connsiteX4" fmla="*/ 199735 w 1408022"/>
                      <a:gd name="connsiteY4" fmla="*/ 309485 h 2144502"/>
                      <a:gd name="connsiteX5" fmla="*/ 567379 w 1408022"/>
                      <a:gd name="connsiteY5" fmla="*/ 309485 h 2144502"/>
                      <a:gd name="connsiteX6" fmla="*/ 911977 w 1408022"/>
                      <a:gd name="connsiteY6" fmla="*/ 508602 h 2144502"/>
                      <a:gd name="connsiteX7" fmla="*/ 911977 w 1408022"/>
                      <a:gd name="connsiteY7" fmla="*/ 512016 h 2144502"/>
                      <a:gd name="connsiteX8" fmla="*/ 913074 w 1408022"/>
                      <a:gd name="connsiteY8" fmla="*/ 629211 h 2144502"/>
                      <a:gd name="connsiteX9" fmla="*/ 962459 w 1408022"/>
                      <a:gd name="connsiteY9" fmla="*/ 880668 h 2144502"/>
                      <a:gd name="connsiteX10" fmla="*/ 1213774 w 1408022"/>
                      <a:gd name="connsiteY10" fmla="*/ 926180 h 2144502"/>
                      <a:gd name="connsiteX11" fmla="*/ 1402535 w 1408022"/>
                      <a:gd name="connsiteY11" fmla="*/ 1108230 h 2144502"/>
                      <a:gd name="connsiteX12" fmla="*/ 1408022 w 1408022"/>
                      <a:gd name="connsiteY12" fmla="*/ 1144640 h 2144502"/>
                      <a:gd name="connsiteX13" fmla="*/ 1408022 w 1408022"/>
                      <a:gd name="connsiteY13" fmla="*/ 1149192 h 2144502"/>
                      <a:gd name="connsiteX14" fmla="*/ 1403632 w 1408022"/>
                      <a:gd name="connsiteY14" fmla="*/ 1656657 h 2144502"/>
                      <a:gd name="connsiteX15" fmla="*/ 1403632 w 1408022"/>
                      <a:gd name="connsiteY15" fmla="*/ 1658932 h 2144502"/>
                      <a:gd name="connsiteX16" fmla="*/ 1181948 w 1408022"/>
                      <a:gd name="connsiteY16" fmla="*/ 1899011 h 2144502"/>
                      <a:gd name="connsiteX17" fmla="*/ 1178656 w 1408022"/>
                      <a:gd name="connsiteY17" fmla="*/ 1899011 h 2144502"/>
                      <a:gd name="connsiteX18" fmla="*/ 1030501 w 1408022"/>
                      <a:gd name="connsiteY18" fmla="*/ 1894460 h 2144502"/>
                      <a:gd name="connsiteX19" fmla="*/ 848325 w 1408022"/>
                      <a:gd name="connsiteY19" fmla="*/ 2053754 h 2144502"/>
                      <a:gd name="connsiteX20" fmla="*/ 847471 w 1408022"/>
                      <a:gd name="connsiteY20" fmla="*/ 2144502 h 2144502"/>
                      <a:gd name="connsiteX21" fmla="*/ 810158 w 1408022"/>
                      <a:gd name="connsiteY21" fmla="*/ 2144502 h 2144502"/>
                      <a:gd name="connsiteX22" fmla="*/ 810463 w 1408022"/>
                      <a:gd name="connsiteY22" fmla="*/ 2112067 h 2144502"/>
                      <a:gd name="connsiteX23" fmla="*/ 811012 w 1408022"/>
                      <a:gd name="connsiteY23" fmla="*/ 2053754 h 2144502"/>
                      <a:gd name="connsiteX24" fmla="*/ 811012 w 1408022"/>
                      <a:gd name="connsiteY24" fmla="*/ 2052616 h 2144502"/>
                      <a:gd name="connsiteX25" fmla="*/ 1028306 w 1408022"/>
                      <a:gd name="connsiteY25" fmla="*/ 1855774 h 2144502"/>
                      <a:gd name="connsiteX26" fmla="*/ 1030501 w 1408022"/>
                      <a:gd name="connsiteY26" fmla="*/ 1855774 h 2144502"/>
                      <a:gd name="connsiteX27" fmla="*/ 1178656 w 1408022"/>
                      <a:gd name="connsiteY27" fmla="*/ 1860325 h 2144502"/>
                      <a:gd name="connsiteX28" fmla="*/ 1366319 w 1408022"/>
                      <a:gd name="connsiteY28" fmla="*/ 1654381 h 2144502"/>
                      <a:gd name="connsiteX29" fmla="*/ 1370709 w 1408022"/>
                      <a:gd name="connsiteY29" fmla="*/ 1151467 h 2144502"/>
                      <a:gd name="connsiteX30" fmla="*/ 1365222 w 1408022"/>
                      <a:gd name="connsiteY30" fmla="*/ 1113919 h 2144502"/>
                      <a:gd name="connsiteX31" fmla="*/ 1217067 w 1408022"/>
                      <a:gd name="connsiteY31" fmla="*/ 964866 h 2144502"/>
                      <a:gd name="connsiteX32" fmla="*/ 937218 w 1408022"/>
                      <a:gd name="connsiteY32" fmla="*/ 909113 h 2144502"/>
                      <a:gd name="connsiteX33" fmla="*/ 875761 w 1408022"/>
                      <a:gd name="connsiteY33" fmla="*/ 628073 h 2144502"/>
                      <a:gd name="connsiteX34" fmla="*/ 874664 w 1408022"/>
                      <a:gd name="connsiteY34" fmla="*/ 515429 h 2144502"/>
                      <a:gd name="connsiteX35" fmla="*/ 569574 w 1408022"/>
                      <a:gd name="connsiteY35" fmla="*/ 348171 h 2144502"/>
                      <a:gd name="connsiteX36" fmla="*/ 568477 w 1408022"/>
                      <a:gd name="connsiteY36" fmla="*/ 348171 h 2144502"/>
                      <a:gd name="connsiteX37" fmla="*/ 199735 w 1408022"/>
                      <a:gd name="connsiteY37" fmla="*/ 348171 h 2144502"/>
                      <a:gd name="connsiteX38" fmla="*/ 40605 w 1408022"/>
                      <a:gd name="connsiteY38" fmla="*/ 296969 h 2144502"/>
                      <a:gd name="connsiteX39" fmla="*/ 2195 w 1408022"/>
                      <a:gd name="connsiteY39" fmla="*/ 112643 h 2144502"/>
                      <a:gd name="connsiteX40" fmla="*/ 0 w 1408022"/>
                      <a:gd name="connsiteY40" fmla="*/ 5689 h 2144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1408022" h="2144502">
                        <a:moveTo>
                          <a:pt x="0" y="5689"/>
                        </a:moveTo>
                        <a:cubicBezTo>
                          <a:pt x="37313" y="0"/>
                          <a:pt x="37313" y="0"/>
                          <a:pt x="37313" y="0"/>
                        </a:cubicBezTo>
                        <a:cubicBezTo>
                          <a:pt x="41703" y="38685"/>
                          <a:pt x="40605" y="77371"/>
                          <a:pt x="39508" y="113781"/>
                        </a:cubicBezTo>
                        <a:cubicBezTo>
                          <a:pt x="37313" y="179774"/>
                          <a:pt x="36216" y="236665"/>
                          <a:pt x="68042" y="270799"/>
                        </a:cubicBezTo>
                        <a:cubicBezTo>
                          <a:pt x="92185" y="296969"/>
                          <a:pt x="134986" y="309485"/>
                          <a:pt x="199735" y="309485"/>
                        </a:cubicBezTo>
                        <a:cubicBezTo>
                          <a:pt x="567379" y="309485"/>
                          <a:pt x="567379" y="309485"/>
                          <a:pt x="567379" y="309485"/>
                        </a:cubicBezTo>
                        <a:cubicBezTo>
                          <a:pt x="688098" y="301520"/>
                          <a:pt x="881248" y="359549"/>
                          <a:pt x="911977" y="508602"/>
                        </a:cubicBezTo>
                        <a:cubicBezTo>
                          <a:pt x="911977" y="509740"/>
                          <a:pt x="911977" y="510878"/>
                          <a:pt x="911977" y="512016"/>
                        </a:cubicBezTo>
                        <a:cubicBezTo>
                          <a:pt x="914172" y="552977"/>
                          <a:pt x="913074" y="591663"/>
                          <a:pt x="913074" y="629211"/>
                        </a:cubicBezTo>
                        <a:cubicBezTo>
                          <a:pt x="911977" y="741854"/>
                          <a:pt x="910879" y="831742"/>
                          <a:pt x="962459" y="880668"/>
                        </a:cubicBezTo>
                        <a:cubicBezTo>
                          <a:pt x="1006357" y="922767"/>
                          <a:pt x="1085373" y="937558"/>
                          <a:pt x="1213774" y="926180"/>
                        </a:cubicBezTo>
                        <a:cubicBezTo>
                          <a:pt x="1376196" y="914802"/>
                          <a:pt x="1392658" y="1036548"/>
                          <a:pt x="1402535" y="1108230"/>
                        </a:cubicBezTo>
                        <a:cubicBezTo>
                          <a:pt x="1403632" y="1121884"/>
                          <a:pt x="1405827" y="1134400"/>
                          <a:pt x="1408022" y="1144640"/>
                        </a:cubicBezTo>
                        <a:cubicBezTo>
                          <a:pt x="1408022" y="1146916"/>
                          <a:pt x="1408022" y="1148054"/>
                          <a:pt x="1408022" y="1149192"/>
                        </a:cubicBezTo>
                        <a:cubicBezTo>
                          <a:pt x="1403632" y="1656657"/>
                          <a:pt x="1403632" y="1656657"/>
                          <a:pt x="1403632" y="1656657"/>
                        </a:cubicBezTo>
                        <a:cubicBezTo>
                          <a:pt x="1403632" y="1656657"/>
                          <a:pt x="1403632" y="1657794"/>
                          <a:pt x="1403632" y="1658932"/>
                        </a:cubicBezTo>
                        <a:cubicBezTo>
                          <a:pt x="1381683" y="1843258"/>
                          <a:pt x="1298278" y="1887633"/>
                          <a:pt x="1181948" y="1899011"/>
                        </a:cubicBezTo>
                        <a:cubicBezTo>
                          <a:pt x="1180851" y="1899011"/>
                          <a:pt x="1179753" y="1899011"/>
                          <a:pt x="1178656" y="1899011"/>
                        </a:cubicBezTo>
                        <a:cubicBezTo>
                          <a:pt x="1030501" y="1894460"/>
                          <a:pt x="1030501" y="1894460"/>
                          <a:pt x="1030501" y="1894460"/>
                        </a:cubicBezTo>
                        <a:cubicBezTo>
                          <a:pt x="859300" y="1909251"/>
                          <a:pt x="849423" y="2037824"/>
                          <a:pt x="848325" y="2053754"/>
                        </a:cubicBezTo>
                        <a:lnTo>
                          <a:pt x="847471" y="2144502"/>
                        </a:lnTo>
                        <a:lnTo>
                          <a:pt x="810158" y="2144502"/>
                        </a:lnTo>
                        <a:lnTo>
                          <a:pt x="810463" y="2112067"/>
                        </a:lnTo>
                        <a:cubicBezTo>
                          <a:pt x="811012" y="2053754"/>
                          <a:pt x="811012" y="2053754"/>
                          <a:pt x="811012" y="2053754"/>
                        </a:cubicBezTo>
                        <a:cubicBezTo>
                          <a:pt x="811012" y="2052616"/>
                          <a:pt x="811012" y="2052616"/>
                          <a:pt x="811012" y="2052616"/>
                        </a:cubicBezTo>
                        <a:cubicBezTo>
                          <a:pt x="812109" y="2034411"/>
                          <a:pt x="823084" y="1872841"/>
                          <a:pt x="1028306" y="1855774"/>
                        </a:cubicBezTo>
                        <a:cubicBezTo>
                          <a:pt x="1029404" y="1855774"/>
                          <a:pt x="1030501" y="1855774"/>
                          <a:pt x="1030501" y="1855774"/>
                        </a:cubicBezTo>
                        <a:cubicBezTo>
                          <a:pt x="1178656" y="1860325"/>
                          <a:pt x="1178656" y="1860325"/>
                          <a:pt x="1178656" y="1860325"/>
                        </a:cubicBezTo>
                        <a:cubicBezTo>
                          <a:pt x="1285108" y="1850085"/>
                          <a:pt x="1346565" y="1813675"/>
                          <a:pt x="1366319" y="1654381"/>
                        </a:cubicBezTo>
                        <a:cubicBezTo>
                          <a:pt x="1370709" y="1151467"/>
                          <a:pt x="1370709" y="1151467"/>
                          <a:pt x="1370709" y="1151467"/>
                        </a:cubicBezTo>
                        <a:cubicBezTo>
                          <a:pt x="1368514" y="1140089"/>
                          <a:pt x="1367417" y="1127573"/>
                          <a:pt x="1365222" y="1113919"/>
                        </a:cubicBezTo>
                        <a:cubicBezTo>
                          <a:pt x="1354247" y="1036548"/>
                          <a:pt x="1344370" y="955763"/>
                          <a:pt x="1217067" y="964866"/>
                        </a:cubicBezTo>
                        <a:cubicBezTo>
                          <a:pt x="1077691" y="977382"/>
                          <a:pt x="988798" y="959177"/>
                          <a:pt x="937218" y="909113"/>
                        </a:cubicBezTo>
                        <a:cubicBezTo>
                          <a:pt x="873566" y="847671"/>
                          <a:pt x="874664" y="746406"/>
                          <a:pt x="875761" y="628073"/>
                        </a:cubicBezTo>
                        <a:cubicBezTo>
                          <a:pt x="875761" y="592801"/>
                          <a:pt x="876859" y="555253"/>
                          <a:pt x="874664" y="515429"/>
                        </a:cubicBezTo>
                        <a:cubicBezTo>
                          <a:pt x="848325" y="394821"/>
                          <a:pt x="681513" y="341344"/>
                          <a:pt x="569574" y="348171"/>
                        </a:cubicBezTo>
                        <a:cubicBezTo>
                          <a:pt x="569574" y="348171"/>
                          <a:pt x="568477" y="348171"/>
                          <a:pt x="568477" y="348171"/>
                        </a:cubicBezTo>
                        <a:cubicBezTo>
                          <a:pt x="199735" y="348171"/>
                          <a:pt x="199735" y="348171"/>
                          <a:pt x="199735" y="348171"/>
                        </a:cubicBezTo>
                        <a:cubicBezTo>
                          <a:pt x="124011" y="348171"/>
                          <a:pt x="72431" y="331103"/>
                          <a:pt x="40605" y="296969"/>
                        </a:cubicBezTo>
                        <a:cubicBezTo>
                          <a:pt x="-2195" y="251456"/>
                          <a:pt x="0" y="184325"/>
                          <a:pt x="2195" y="112643"/>
                        </a:cubicBezTo>
                        <a:cubicBezTo>
                          <a:pt x="3292" y="77371"/>
                          <a:pt x="4390" y="39823"/>
                          <a:pt x="0" y="5689"/>
                        </a:cubicBezTo>
                        <a:close/>
                      </a:path>
                    </a:pathLst>
                  </a:custGeom>
                  <a:solidFill>
                    <a:srgbClr val="682A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6" name="Freeform 595"/>
                  <p:cNvSpPr>
                    <a:spLocks/>
                  </p:cNvSpPr>
                  <p:nvPr/>
                </p:nvSpPr>
                <p:spPr bwMode="auto">
                  <a:xfrm rot="5400000">
                    <a:off x="10542060" y="-149976"/>
                    <a:ext cx="1109410" cy="2136959"/>
                  </a:xfrm>
                  <a:custGeom>
                    <a:avLst/>
                    <a:gdLst>
                      <a:gd name="connsiteX0" fmla="*/ 0 w 1109410"/>
                      <a:gd name="connsiteY0" fmla="*/ 897480 h 2136959"/>
                      <a:gd name="connsiteX1" fmla="*/ 0 w 1109410"/>
                      <a:gd name="connsiteY1" fmla="*/ 895205 h 2136959"/>
                      <a:gd name="connsiteX2" fmla="*/ 77903 w 1109410"/>
                      <a:gd name="connsiteY2" fmla="*/ 723444 h 2136959"/>
                      <a:gd name="connsiteX3" fmla="*/ 274307 w 1109410"/>
                      <a:gd name="connsiteY3" fmla="*/ 679082 h 2136959"/>
                      <a:gd name="connsiteX4" fmla="*/ 904116 w 1109410"/>
                      <a:gd name="connsiteY4" fmla="*/ 684770 h 2136959"/>
                      <a:gd name="connsiteX5" fmla="*/ 1053339 w 1109410"/>
                      <a:gd name="connsiteY5" fmla="*/ 478884 h 2136959"/>
                      <a:gd name="connsiteX6" fmla="*/ 1048950 w 1109410"/>
                      <a:gd name="connsiteY6" fmla="*/ 0 h 2136959"/>
                      <a:gd name="connsiteX7" fmla="*/ 1086256 w 1109410"/>
                      <a:gd name="connsiteY7" fmla="*/ 0 h 2136959"/>
                      <a:gd name="connsiteX8" fmla="*/ 1090645 w 1109410"/>
                      <a:gd name="connsiteY8" fmla="*/ 480022 h 2136959"/>
                      <a:gd name="connsiteX9" fmla="*/ 1090645 w 1109410"/>
                      <a:gd name="connsiteY9" fmla="*/ 483434 h 2136959"/>
                      <a:gd name="connsiteX10" fmla="*/ 907408 w 1109410"/>
                      <a:gd name="connsiteY10" fmla="*/ 723444 h 2136959"/>
                      <a:gd name="connsiteX11" fmla="*/ 905213 w 1109410"/>
                      <a:gd name="connsiteY11" fmla="*/ 723444 h 2136959"/>
                      <a:gd name="connsiteX12" fmla="*/ 273210 w 1109410"/>
                      <a:gd name="connsiteY12" fmla="*/ 717757 h 2136959"/>
                      <a:gd name="connsiteX13" fmla="*/ 271015 w 1109410"/>
                      <a:gd name="connsiteY13" fmla="*/ 717757 h 2136959"/>
                      <a:gd name="connsiteX14" fmla="*/ 100945 w 1109410"/>
                      <a:gd name="connsiteY14" fmla="*/ 753019 h 2136959"/>
                      <a:gd name="connsiteX15" fmla="*/ 37306 w 1109410"/>
                      <a:gd name="connsiteY15" fmla="*/ 897480 h 2136959"/>
                      <a:gd name="connsiteX16" fmla="*/ 39500 w 1109410"/>
                      <a:gd name="connsiteY16" fmla="*/ 990754 h 2136959"/>
                      <a:gd name="connsiteX17" fmla="*/ 46084 w 1109410"/>
                      <a:gd name="connsiteY17" fmla="*/ 1152278 h 2136959"/>
                      <a:gd name="connsiteX18" fmla="*/ 254557 w 1109410"/>
                      <a:gd name="connsiteY18" fmla="*/ 1319489 h 2136959"/>
                      <a:gd name="connsiteX19" fmla="*/ 255654 w 1109410"/>
                      <a:gd name="connsiteY19" fmla="*/ 1318351 h 2136959"/>
                      <a:gd name="connsiteX20" fmla="*/ 869005 w 1109410"/>
                      <a:gd name="connsiteY20" fmla="*/ 1318351 h 2136959"/>
                      <a:gd name="connsiteX21" fmla="*/ 1035784 w 1109410"/>
                      <a:gd name="connsiteY21" fmla="*/ 1370676 h 2136959"/>
                      <a:gd name="connsiteX22" fmla="*/ 1108201 w 1109410"/>
                      <a:gd name="connsiteY22" fmla="*/ 1592486 h 2136959"/>
                      <a:gd name="connsiteX23" fmla="*/ 1103007 w 1109410"/>
                      <a:gd name="connsiteY23" fmla="*/ 2136959 h 2136959"/>
                      <a:gd name="connsiteX24" fmla="*/ 1065697 w 1109410"/>
                      <a:gd name="connsiteY24" fmla="*/ 2136959 h 2136959"/>
                      <a:gd name="connsiteX25" fmla="*/ 1066187 w 1109410"/>
                      <a:gd name="connsiteY25" fmla="*/ 2085548 h 2136959"/>
                      <a:gd name="connsiteX26" fmla="*/ 1070895 w 1109410"/>
                      <a:gd name="connsiteY26" fmla="*/ 1591349 h 2136959"/>
                      <a:gd name="connsiteX27" fmla="*/ 1070895 w 1109410"/>
                      <a:gd name="connsiteY27" fmla="*/ 1589073 h 2136959"/>
                      <a:gd name="connsiteX28" fmla="*/ 1010547 w 1109410"/>
                      <a:gd name="connsiteY28" fmla="*/ 1397975 h 2136959"/>
                      <a:gd name="connsiteX29" fmla="*/ 872297 w 1109410"/>
                      <a:gd name="connsiteY29" fmla="*/ 1357026 h 2136959"/>
                      <a:gd name="connsiteX30" fmla="*/ 870102 w 1109410"/>
                      <a:gd name="connsiteY30" fmla="*/ 1358163 h 2136959"/>
                      <a:gd name="connsiteX31" fmla="*/ 256751 w 1109410"/>
                      <a:gd name="connsiteY31" fmla="*/ 1358163 h 2136959"/>
                      <a:gd name="connsiteX32" fmla="*/ 8778 w 1109410"/>
                      <a:gd name="connsiteY32" fmla="*/ 1157965 h 2136959"/>
                      <a:gd name="connsiteX33" fmla="*/ 8778 w 1109410"/>
                      <a:gd name="connsiteY33" fmla="*/ 1156828 h 2136959"/>
                      <a:gd name="connsiteX34" fmla="*/ 1097 w 1109410"/>
                      <a:gd name="connsiteY34" fmla="*/ 990754 h 2136959"/>
                      <a:gd name="connsiteX35" fmla="*/ 0 w 1109410"/>
                      <a:gd name="connsiteY35" fmla="*/ 897480 h 2136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</a:cxnLst>
                    <a:rect l="l" t="t" r="r" b="b"/>
                    <a:pathLst>
                      <a:path w="1109410" h="2136959">
                        <a:moveTo>
                          <a:pt x="0" y="897480"/>
                        </a:moveTo>
                        <a:cubicBezTo>
                          <a:pt x="0" y="896343"/>
                          <a:pt x="0" y="896343"/>
                          <a:pt x="0" y="895205"/>
                        </a:cubicBezTo>
                        <a:cubicBezTo>
                          <a:pt x="6583" y="818993"/>
                          <a:pt x="32917" y="760982"/>
                          <a:pt x="77903" y="723444"/>
                        </a:cubicBezTo>
                        <a:cubicBezTo>
                          <a:pt x="123987" y="683632"/>
                          <a:pt x="190918" y="668845"/>
                          <a:pt x="274307" y="679082"/>
                        </a:cubicBezTo>
                        <a:cubicBezTo>
                          <a:pt x="904116" y="684770"/>
                          <a:pt x="904116" y="684770"/>
                          <a:pt x="904116" y="684770"/>
                        </a:cubicBezTo>
                        <a:cubicBezTo>
                          <a:pt x="985311" y="674532"/>
                          <a:pt x="1034686" y="605146"/>
                          <a:pt x="1053339" y="478884"/>
                        </a:cubicBezTo>
                        <a:cubicBezTo>
                          <a:pt x="1048950" y="0"/>
                          <a:pt x="1048950" y="0"/>
                          <a:pt x="1048950" y="0"/>
                        </a:cubicBezTo>
                        <a:cubicBezTo>
                          <a:pt x="1086256" y="0"/>
                          <a:pt x="1086256" y="0"/>
                          <a:pt x="1086256" y="0"/>
                        </a:cubicBezTo>
                        <a:cubicBezTo>
                          <a:pt x="1090645" y="480022"/>
                          <a:pt x="1090645" y="480022"/>
                          <a:pt x="1090645" y="480022"/>
                        </a:cubicBezTo>
                        <a:cubicBezTo>
                          <a:pt x="1090645" y="481159"/>
                          <a:pt x="1090645" y="482297"/>
                          <a:pt x="1090645" y="483434"/>
                        </a:cubicBezTo>
                        <a:cubicBezTo>
                          <a:pt x="1064312" y="666570"/>
                          <a:pt x="976533" y="715482"/>
                          <a:pt x="907408" y="723444"/>
                        </a:cubicBezTo>
                        <a:cubicBezTo>
                          <a:pt x="906311" y="723444"/>
                          <a:pt x="906311" y="723444"/>
                          <a:pt x="905213" y="723444"/>
                        </a:cubicBezTo>
                        <a:cubicBezTo>
                          <a:pt x="273210" y="717757"/>
                          <a:pt x="273210" y="717757"/>
                          <a:pt x="273210" y="717757"/>
                        </a:cubicBezTo>
                        <a:cubicBezTo>
                          <a:pt x="272113" y="717757"/>
                          <a:pt x="272113" y="717757"/>
                          <a:pt x="271015" y="717757"/>
                        </a:cubicBezTo>
                        <a:cubicBezTo>
                          <a:pt x="197501" y="708657"/>
                          <a:pt x="139348" y="721169"/>
                          <a:pt x="100945" y="753019"/>
                        </a:cubicBezTo>
                        <a:cubicBezTo>
                          <a:pt x="64737" y="783731"/>
                          <a:pt x="43889" y="832643"/>
                          <a:pt x="37306" y="897480"/>
                        </a:cubicBezTo>
                        <a:cubicBezTo>
                          <a:pt x="38403" y="936155"/>
                          <a:pt x="38403" y="964592"/>
                          <a:pt x="39500" y="990754"/>
                        </a:cubicBezTo>
                        <a:cubicBezTo>
                          <a:pt x="39500" y="1046491"/>
                          <a:pt x="39500" y="1082891"/>
                          <a:pt x="46084" y="1152278"/>
                        </a:cubicBezTo>
                        <a:cubicBezTo>
                          <a:pt x="60348" y="1241002"/>
                          <a:pt x="122890" y="1330863"/>
                          <a:pt x="254557" y="1319489"/>
                        </a:cubicBezTo>
                        <a:cubicBezTo>
                          <a:pt x="254557" y="1318351"/>
                          <a:pt x="255654" y="1318351"/>
                          <a:pt x="255654" y="1318351"/>
                        </a:cubicBezTo>
                        <a:cubicBezTo>
                          <a:pt x="869005" y="1318351"/>
                          <a:pt x="869005" y="1318351"/>
                          <a:pt x="869005" y="1318351"/>
                        </a:cubicBezTo>
                        <a:cubicBezTo>
                          <a:pt x="935936" y="1309251"/>
                          <a:pt x="992992" y="1327451"/>
                          <a:pt x="1035784" y="1370676"/>
                        </a:cubicBezTo>
                        <a:cubicBezTo>
                          <a:pt x="1095034" y="1428688"/>
                          <a:pt x="1114784" y="1524237"/>
                          <a:pt x="1108201" y="1592486"/>
                        </a:cubicBezTo>
                        <a:lnTo>
                          <a:pt x="1103007" y="2136959"/>
                        </a:lnTo>
                        <a:lnTo>
                          <a:pt x="1065697" y="2136959"/>
                        </a:lnTo>
                        <a:lnTo>
                          <a:pt x="1066187" y="2085548"/>
                        </a:lnTo>
                        <a:cubicBezTo>
                          <a:pt x="1070895" y="1591349"/>
                          <a:pt x="1070895" y="1591349"/>
                          <a:pt x="1070895" y="1591349"/>
                        </a:cubicBezTo>
                        <a:cubicBezTo>
                          <a:pt x="1070895" y="1590211"/>
                          <a:pt x="1070895" y="1590211"/>
                          <a:pt x="1070895" y="1589073"/>
                        </a:cubicBezTo>
                        <a:cubicBezTo>
                          <a:pt x="1076381" y="1532199"/>
                          <a:pt x="1059923" y="1448025"/>
                          <a:pt x="1010547" y="1397975"/>
                        </a:cubicBezTo>
                        <a:cubicBezTo>
                          <a:pt x="975436" y="1362713"/>
                          <a:pt x="929353" y="1349063"/>
                          <a:pt x="872297" y="1357026"/>
                        </a:cubicBezTo>
                        <a:cubicBezTo>
                          <a:pt x="872297" y="1358163"/>
                          <a:pt x="871199" y="1358163"/>
                          <a:pt x="870102" y="1358163"/>
                        </a:cubicBezTo>
                        <a:cubicBezTo>
                          <a:pt x="256751" y="1358163"/>
                          <a:pt x="256751" y="1358163"/>
                          <a:pt x="256751" y="1358163"/>
                        </a:cubicBezTo>
                        <a:cubicBezTo>
                          <a:pt x="99848" y="1371813"/>
                          <a:pt x="25236" y="1259202"/>
                          <a:pt x="8778" y="1157965"/>
                        </a:cubicBezTo>
                        <a:cubicBezTo>
                          <a:pt x="8778" y="1157965"/>
                          <a:pt x="8778" y="1156828"/>
                          <a:pt x="8778" y="1156828"/>
                        </a:cubicBezTo>
                        <a:cubicBezTo>
                          <a:pt x="2195" y="1085166"/>
                          <a:pt x="2195" y="1045354"/>
                          <a:pt x="1097" y="990754"/>
                        </a:cubicBezTo>
                        <a:cubicBezTo>
                          <a:pt x="1097" y="964592"/>
                          <a:pt x="1097" y="936155"/>
                          <a:pt x="0" y="897480"/>
                        </a:cubicBezTo>
                        <a:close/>
                      </a:path>
                    </a:pathLst>
                  </a:custGeom>
                  <a:solidFill>
                    <a:srgbClr val="F78C1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7" name="Freeform 188"/>
                  <p:cNvSpPr>
                    <a:spLocks/>
                  </p:cNvSpPr>
                  <p:nvPr/>
                </p:nvSpPr>
                <p:spPr bwMode="auto">
                  <a:xfrm rot="5400000">
                    <a:off x="11664279" y="1486985"/>
                    <a:ext cx="371110" cy="630819"/>
                  </a:xfrm>
                  <a:custGeom>
                    <a:avLst/>
                    <a:gdLst>
                      <a:gd name="T0" fmla="*/ 266 w 338"/>
                      <a:gd name="T1" fmla="*/ 555 h 555"/>
                      <a:gd name="T2" fmla="*/ 52 w 338"/>
                      <a:gd name="T3" fmla="*/ 498 h 555"/>
                      <a:gd name="T4" fmla="*/ 0 w 338"/>
                      <a:gd name="T5" fmla="*/ 350 h 555"/>
                      <a:gd name="T6" fmla="*/ 0 w 338"/>
                      <a:gd name="T7" fmla="*/ 0 h 555"/>
                      <a:gd name="T8" fmla="*/ 34 w 338"/>
                      <a:gd name="T9" fmla="*/ 0 h 555"/>
                      <a:gd name="T10" fmla="*/ 34 w 338"/>
                      <a:gd name="T11" fmla="*/ 349 h 555"/>
                      <a:gd name="T12" fmla="*/ 75 w 338"/>
                      <a:gd name="T13" fmla="*/ 472 h 555"/>
                      <a:gd name="T14" fmla="*/ 336 w 338"/>
                      <a:gd name="T15" fmla="*/ 519 h 555"/>
                      <a:gd name="T16" fmla="*/ 338 w 338"/>
                      <a:gd name="T17" fmla="*/ 553 h 555"/>
                      <a:gd name="T18" fmla="*/ 266 w 338"/>
                      <a:gd name="T19" fmla="*/ 555 h 5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38" h="555">
                        <a:moveTo>
                          <a:pt x="266" y="555"/>
                        </a:moveTo>
                        <a:cubicBezTo>
                          <a:pt x="165" y="555"/>
                          <a:pt x="95" y="536"/>
                          <a:pt x="52" y="498"/>
                        </a:cubicBezTo>
                        <a:cubicBezTo>
                          <a:pt x="7" y="456"/>
                          <a:pt x="0" y="399"/>
                          <a:pt x="0" y="35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4" y="0"/>
                          <a:pt x="34" y="0"/>
                          <a:pt x="34" y="0"/>
                        </a:cubicBezTo>
                        <a:cubicBezTo>
                          <a:pt x="34" y="349"/>
                          <a:pt x="34" y="349"/>
                          <a:pt x="34" y="349"/>
                        </a:cubicBezTo>
                        <a:cubicBezTo>
                          <a:pt x="34" y="392"/>
                          <a:pt x="40" y="440"/>
                          <a:pt x="75" y="472"/>
                        </a:cubicBezTo>
                        <a:cubicBezTo>
                          <a:pt x="120" y="513"/>
                          <a:pt x="205" y="528"/>
                          <a:pt x="336" y="519"/>
                        </a:cubicBezTo>
                        <a:cubicBezTo>
                          <a:pt x="338" y="553"/>
                          <a:pt x="338" y="553"/>
                          <a:pt x="338" y="553"/>
                        </a:cubicBezTo>
                        <a:cubicBezTo>
                          <a:pt x="312" y="555"/>
                          <a:pt x="288" y="555"/>
                          <a:pt x="266" y="555"/>
                        </a:cubicBezTo>
                        <a:close/>
                      </a:path>
                    </a:pathLst>
                  </a:custGeom>
                  <a:solidFill>
                    <a:srgbClr val="2272B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8" name="Freeform 597"/>
                  <p:cNvSpPr>
                    <a:spLocks/>
                  </p:cNvSpPr>
                  <p:nvPr/>
                </p:nvSpPr>
                <p:spPr bwMode="auto">
                  <a:xfrm rot="5400000">
                    <a:off x="10137309" y="1406308"/>
                    <a:ext cx="498812" cy="716860"/>
                  </a:xfrm>
                  <a:custGeom>
                    <a:avLst/>
                    <a:gdLst>
                      <a:gd name="connsiteX0" fmla="*/ 266 w 498812"/>
                      <a:gd name="connsiteY0" fmla="*/ 294156 h 716860"/>
                      <a:gd name="connsiteX1" fmla="*/ 48040 w 498812"/>
                      <a:gd name="connsiteY1" fmla="*/ 152511 h 716860"/>
                      <a:gd name="connsiteX2" fmla="*/ 176675 w 498812"/>
                      <a:gd name="connsiteY2" fmla="*/ 75117 h 716860"/>
                      <a:gd name="connsiteX3" fmla="*/ 178874 w 498812"/>
                      <a:gd name="connsiteY3" fmla="*/ 75117 h 716860"/>
                      <a:gd name="connsiteX4" fmla="*/ 281122 w 498812"/>
                      <a:gd name="connsiteY4" fmla="*/ 75117 h 716860"/>
                      <a:gd name="connsiteX5" fmla="*/ 349288 w 498812"/>
                      <a:gd name="connsiteY5" fmla="*/ 62598 h 716860"/>
                      <a:gd name="connsiteX6" fmla="*/ 465829 w 498812"/>
                      <a:gd name="connsiteY6" fmla="*/ 0 h 716860"/>
                      <a:gd name="connsiteX7" fmla="*/ 498812 w 498812"/>
                      <a:gd name="connsiteY7" fmla="*/ 18210 h 716860"/>
                      <a:gd name="connsiteX8" fmla="*/ 352586 w 498812"/>
                      <a:gd name="connsiteY8" fmla="*/ 101295 h 716860"/>
                      <a:gd name="connsiteX9" fmla="*/ 292117 w 498812"/>
                      <a:gd name="connsiteY9" fmla="*/ 112676 h 716860"/>
                      <a:gd name="connsiteX10" fmla="*/ 284421 w 498812"/>
                      <a:gd name="connsiteY10" fmla="*/ 113814 h 716860"/>
                      <a:gd name="connsiteX11" fmla="*/ 179974 w 498812"/>
                      <a:gd name="connsiteY11" fmla="*/ 113814 h 716860"/>
                      <a:gd name="connsiteX12" fmla="*/ 77725 w 498812"/>
                      <a:gd name="connsiteY12" fmla="*/ 175274 h 716860"/>
                      <a:gd name="connsiteX13" fmla="*/ 39245 w 498812"/>
                      <a:gd name="connsiteY13" fmla="*/ 324370 h 716860"/>
                      <a:gd name="connsiteX14" fmla="*/ 39245 w 498812"/>
                      <a:gd name="connsiteY14" fmla="*/ 327784 h 716860"/>
                      <a:gd name="connsiteX15" fmla="*/ 39245 w 498812"/>
                      <a:gd name="connsiteY15" fmla="*/ 716860 h 716860"/>
                      <a:gd name="connsiteX16" fmla="*/ 1864 w 498812"/>
                      <a:gd name="connsiteY16" fmla="*/ 716860 h 716860"/>
                      <a:gd name="connsiteX17" fmla="*/ 1864 w 498812"/>
                      <a:gd name="connsiteY17" fmla="*/ 651763 h 716860"/>
                      <a:gd name="connsiteX18" fmla="*/ 1864 w 498812"/>
                      <a:gd name="connsiteY18" fmla="*/ 330061 h 716860"/>
                      <a:gd name="connsiteX19" fmla="*/ 266 w 498812"/>
                      <a:gd name="connsiteY19" fmla="*/ 294156 h 716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498812" h="716860">
                        <a:moveTo>
                          <a:pt x="266" y="294156"/>
                        </a:moveTo>
                        <a:cubicBezTo>
                          <a:pt x="2276" y="252383"/>
                          <a:pt x="15882" y="196045"/>
                          <a:pt x="48040" y="152511"/>
                        </a:cubicBezTo>
                        <a:cubicBezTo>
                          <a:pt x="78825" y="106985"/>
                          <a:pt x="122802" y="81946"/>
                          <a:pt x="176675" y="75117"/>
                        </a:cubicBezTo>
                        <a:cubicBezTo>
                          <a:pt x="177775" y="75117"/>
                          <a:pt x="177775" y="75117"/>
                          <a:pt x="178874" y="75117"/>
                        </a:cubicBezTo>
                        <a:cubicBezTo>
                          <a:pt x="281122" y="75117"/>
                          <a:pt x="281122" y="75117"/>
                          <a:pt x="281122" y="75117"/>
                        </a:cubicBezTo>
                        <a:cubicBezTo>
                          <a:pt x="303111" y="66012"/>
                          <a:pt x="326199" y="64874"/>
                          <a:pt x="349288" y="62598"/>
                        </a:cubicBezTo>
                        <a:cubicBezTo>
                          <a:pt x="396564" y="59183"/>
                          <a:pt x="438343" y="56907"/>
                          <a:pt x="465829" y="0"/>
                        </a:cubicBezTo>
                        <a:cubicBezTo>
                          <a:pt x="498812" y="18210"/>
                          <a:pt x="498812" y="18210"/>
                          <a:pt x="498812" y="18210"/>
                        </a:cubicBezTo>
                        <a:cubicBezTo>
                          <a:pt x="461431" y="93328"/>
                          <a:pt x="400962" y="97880"/>
                          <a:pt x="352586" y="101295"/>
                        </a:cubicBezTo>
                        <a:cubicBezTo>
                          <a:pt x="330597" y="103571"/>
                          <a:pt x="308608" y="104709"/>
                          <a:pt x="292117" y="112676"/>
                        </a:cubicBezTo>
                        <a:cubicBezTo>
                          <a:pt x="288818" y="113814"/>
                          <a:pt x="286620" y="113814"/>
                          <a:pt x="284421" y="113814"/>
                        </a:cubicBezTo>
                        <a:cubicBezTo>
                          <a:pt x="179974" y="113814"/>
                          <a:pt x="179974" y="113814"/>
                          <a:pt x="179974" y="113814"/>
                        </a:cubicBezTo>
                        <a:cubicBezTo>
                          <a:pt x="137095" y="119505"/>
                          <a:pt x="103013" y="139991"/>
                          <a:pt x="77725" y="175274"/>
                        </a:cubicBezTo>
                        <a:cubicBezTo>
                          <a:pt x="40344" y="227628"/>
                          <a:pt x="33748" y="298193"/>
                          <a:pt x="39245" y="324370"/>
                        </a:cubicBezTo>
                        <a:cubicBezTo>
                          <a:pt x="39245" y="325508"/>
                          <a:pt x="39245" y="326646"/>
                          <a:pt x="39245" y="327784"/>
                        </a:cubicBezTo>
                        <a:lnTo>
                          <a:pt x="39245" y="716860"/>
                        </a:lnTo>
                        <a:lnTo>
                          <a:pt x="1864" y="716860"/>
                        </a:lnTo>
                        <a:lnTo>
                          <a:pt x="1864" y="651763"/>
                        </a:lnTo>
                        <a:cubicBezTo>
                          <a:pt x="1864" y="330061"/>
                          <a:pt x="1864" y="330061"/>
                          <a:pt x="1864" y="330061"/>
                        </a:cubicBezTo>
                        <a:cubicBezTo>
                          <a:pt x="215" y="320387"/>
                          <a:pt x="-404" y="308081"/>
                          <a:pt x="266" y="294156"/>
                        </a:cubicBezTo>
                        <a:close/>
                      </a:path>
                    </a:pathLst>
                  </a:custGeom>
                  <a:solidFill>
                    <a:srgbClr val="21BBE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9" name="Freeform 598"/>
                  <p:cNvSpPr>
                    <a:spLocks/>
                  </p:cNvSpPr>
                  <p:nvPr/>
                </p:nvSpPr>
                <p:spPr bwMode="auto">
                  <a:xfrm rot="5400000">
                    <a:off x="9945058" y="1692033"/>
                    <a:ext cx="377688" cy="211234"/>
                  </a:xfrm>
                  <a:custGeom>
                    <a:avLst/>
                    <a:gdLst>
                      <a:gd name="connsiteX0" fmla="*/ 0 w 377688"/>
                      <a:gd name="connsiteY0" fmla="*/ 211234 h 211234"/>
                      <a:gd name="connsiteX1" fmla="*/ 2434 w 377688"/>
                      <a:gd name="connsiteY1" fmla="*/ 162783 h 211234"/>
                      <a:gd name="connsiteX2" fmla="*/ 47888 w 377688"/>
                      <a:gd name="connsiteY2" fmla="*/ 54959 h 211234"/>
                      <a:gd name="connsiteX3" fmla="*/ 377688 w 377688"/>
                      <a:gd name="connsiteY3" fmla="*/ 3766 h 211234"/>
                      <a:gd name="connsiteX4" fmla="*/ 375497 w 377688"/>
                      <a:gd name="connsiteY4" fmla="*/ 42445 h 211234"/>
                      <a:gd name="connsiteX5" fmla="*/ 74184 w 377688"/>
                      <a:gd name="connsiteY5" fmla="*/ 83399 h 211234"/>
                      <a:gd name="connsiteX6" fmla="*/ 39516 w 377688"/>
                      <a:gd name="connsiteY6" fmla="*/ 170906 h 211234"/>
                      <a:gd name="connsiteX7" fmla="*/ 38231 w 377688"/>
                      <a:gd name="connsiteY7" fmla="*/ 211234 h 2112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77688" h="211234">
                        <a:moveTo>
                          <a:pt x="0" y="211234"/>
                        </a:moveTo>
                        <a:lnTo>
                          <a:pt x="2434" y="162783"/>
                        </a:lnTo>
                        <a:cubicBezTo>
                          <a:pt x="8033" y="113403"/>
                          <a:pt x="22413" y="79701"/>
                          <a:pt x="47888" y="54959"/>
                        </a:cubicBezTo>
                        <a:cubicBezTo>
                          <a:pt x="98289" y="6041"/>
                          <a:pt x="187040" y="-7610"/>
                          <a:pt x="377688" y="3766"/>
                        </a:cubicBezTo>
                        <a:cubicBezTo>
                          <a:pt x="375497" y="42445"/>
                          <a:pt x="375497" y="42445"/>
                          <a:pt x="375497" y="42445"/>
                        </a:cubicBezTo>
                        <a:cubicBezTo>
                          <a:pt x="199092" y="31069"/>
                          <a:pt x="114725" y="42445"/>
                          <a:pt x="74184" y="83399"/>
                        </a:cubicBezTo>
                        <a:cubicBezTo>
                          <a:pt x="54462" y="102169"/>
                          <a:pt x="43368" y="129259"/>
                          <a:pt x="39516" y="170906"/>
                        </a:cubicBezTo>
                        <a:lnTo>
                          <a:pt x="38231" y="211234"/>
                        </a:lnTo>
                        <a:close/>
                      </a:path>
                    </a:pathLst>
                  </a:custGeom>
                  <a:solidFill>
                    <a:srgbClr val="DA40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0" name="Freeform 599"/>
                  <p:cNvSpPr>
                    <a:spLocks/>
                  </p:cNvSpPr>
                  <p:nvPr/>
                </p:nvSpPr>
                <p:spPr bwMode="auto">
                  <a:xfrm rot="5400000">
                    <a:off x="10216505" y="118823"/>
                    <a:ext cx="874655" cy="1251093"/>
                  </a:xfrm>
                  <a:custGeom>
                    <a:avLst/>
                    <a:gdLst>
                      <a:gd name="connsiteX0" fmla="*/ 0 w 874655"/>
                      <a:gd name="connsiteY0" fmla="*/ 38680 h 1251093"/>
                      <a:gd name="connsiteX1" fmla="*/ 0 w 874655"/>
                      <a:gd name="connsiteY1" fmla="*/ 0 h 1251093"/>
                      <a:gd name="connsiteX2" fmla="*/ 233754 w 874655"/>
                      <a:gd name="connsiteY2" fmla="*/ 3412 h 1251093"/>
                      <a:gd name="connsiteX3" fmla="*/ 237046 w 874655"/>
                      <a:gd name="connsiteY3" fmla="*/ 3412 h 1251093"/>
                      <a:gd name="connsiteX4" fmla="*/ 398369 w 874655"/>
                      <a:gd name="connsiteY4" fmla="*/ 179749 h 1251093"/>
                      <a:gd name="connsiteX5" fmla="*/ 399466 w 874655"/>
                      <a:gd name="connsiteY5" fmla="*/ 183162 h 1251093"/>
                      <a:gd name="connsiteX6" fmla="*/ 390687 w 874655"/>
                      <a:gd name="connsiteY6" fmla="*/ 906712 h 1251093"/>
                      <a:gd name="connsiteX7" fmla="*/ 545425 w 874655"/>
                      <a:gd name="connsiteY7" fmla="*/ 1068260 h 1251093"/>
                      <a:gd name="connsiteX8" fmla="*/ 683701 w 874655"/>
                      <a:gd name="connsiteY8" fmla="*/ 1068260 h 1251093"/>
                      <a:gd name="connsiteX9" fmla="*/ 874655 w 874655"/>
                      <a:gd name="connsiteY9" fmla="*/ 1233220 h 1251093"/>
                      <a:gd name="connsiteX10" fmla="*/ 874655 w 874655"/>
                      <a:gd name="connsiteY10" fmla="*/ 1237771 h 1251093"/>
                      <a:gd name="connsiteX11" fmla="*/ 874655 w 874655"/>
                      <a:gd name="connsiteY11" fmla="*/ 1251093 h 1251093"/>
                      <a:gd name="connsiteX12" fmla="*/ 837342 w 874655"/>
                      <a:gd name="connsiteY12" fmla="*/ 1251093 h 1251093"/>
                      <a:gd name="connsiteX13" fmla="*/ 837342 w 874655"/>
                      <a:gd name="connsiteY13" fmla="*/ 1247210 h 1251093"/>
                      <a:gd name="connsiteX14" fmla="*/ 837342 w 874655"/>
                      <a:gd name="connsiteY14" fmla="*/ 1241184 h 1251093"/>
                      <a:gd name="connsiteX15" fmla="*/ 683701 w 874655"/>
                      <a:gd name="connsiteY15" fmla="*/ 1106940 h 1251093"/>
                      <a:gd name="connsiteX16" fmla="*/ 544327 w 874655"/>
                      <a:gd name="connsiteY16" fmla="*/ 1106940 h 1251093"/>
                      <a:gd name="connsiteX17" fmla="*/ 542133 w 874655"/>
                      <a:gd name="connsiteY17" fmla="*/ 1106940 h 1251093"/>
                      <a:gd name="connsiteX18" fmla="*/ 353374 w 874655"/>
                      <a:gd name="connsiteY18" fmla="*/ 908988 h 1251093"/>
                      <a:gd name="connsiteX19" fmla="*/ 353374 w 874655"/>
                      <a:gd name="connsiteY19" fmla="*/ 907850 h 1251093"/>
                      <a:gd name="connsiteX20" fmla="*/ 362153 w 874655"/>
                      <a:gd name="connsiteY20" fmla="*/ 184300 h 1251093"/>
                      <a:gd name="connsiteX21" fmla="*/ 230461 w 874655"/>
                      <a:gd name="connsiteY21" fmla="*/ 42093 h 1251093"/>
                      <a:gd name="connsiteX22" fmla="*/ 0 w 874655"/>
                      <a:gd name="connsiteY22" fmla="*/ 38680 h 12510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874655" h="1251093">
                        <a:moveTo>
                          <a:pt x="0" y="3868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233754" y="3412"/>
                          <a:pt x="233754" y="3412"/>
                          <a:pt x="233754" y="3412"/>
                        </a:cubicBezTo>
                        <a:cubicBezTo>
                          <a:pt x="234851" y="3412"/>
                          <a:pt x="235948" y="3412"/>
                          <a:pt x="237046" y="3412"/>
                        </a:cubicBezTo>
                        <a:cubicBezTo>
                          <a:pt x="358861" y="30716"/>
                          <a:pt x="387394" y="112628"/>
                          <a:pt x="398369" y="179749"/>
                        </a:cubicBezTo>
                        <a:cubicBezTo>
                          <a:pt x="399466" y="180887"/>
                          <a:pt x="399466" y="182025"/>
                          <a:pt x="399466" y="183162"/>
                        </a:cubicBezTo>
                        <a:cubicBezTo>
                          <a:pt x="390687" y="906712"/>
                          <a:pt x="390687" y="906712"/>
                          <a:pt x="390687" y="906712"/>
                        </a:cubicBezTo>
                        <a:cubicBezTo>
                          <a:pt x="400564" y="1029579"/>
                          <a:pt x="470799" y="1056883"/>
                          <a:pt x="545425" y="1068260"/>
                        </a:cubicBezTo>
                        <a:cubicBezTo>
                          <a:pt x="683701" y="1068260"/>
                          <a:pt x="683701" y="1068260"/>
                          <a:pt x="683701" y="1068260"/>
                        </a:cubicBezTo>
                        <a:cubicBezTo>
                          <a:pt x="823076" y="1069397"/>
                          <a:pt x="864778" y="1194540"/>
                          <a:pt x="874655" y="1233220"/>
                        </a:cubicBezTo>
                        <a:cubicBezTo>
                          <a:pt x="874655" y="1235495"/>
                          <a:pt x="874655" y="1236633"/>
                          <a:pt x="874655" y="1237771"/>
                        </a:cubicBezTo>
                        <a:lnTo>
                          <a:pt x="874655" y="1251093"/>
                        </a:lnTo>
                        <a:lnTo>
                          <a:pt x="837342" y="1251093"/>
                        </a:lnTo>
                        <a:lnTo>
                          <a:pt x="837342" y="1247210"/>
                        </a:lnTo>
                        <a:cubicBezTo>
                          <a:pt x="837342" y="1241184"/>
                          <a:pt x="837342" y="1241184"/>
                          <a:pt x="837342" y="1241184"/>
                        </a:cubicBezTo>
                        <a:cubicBezTo>
                          <a:pt x="826368" y="1199090"/>
                          <a:pt x="791250" y="1108078"/>
                          <a:pt x="683701" y="1106940"/>
                        </a:cubicBezTo>
                        <a:cubicBezTo>
                          <a:pt x="544327" y="1106940"/>
                          <a:pt x="544327" y="1106940"/>
                          <a:pt x="544327" y="1106940"/>
                        </a:cubicBezTo>
                        <a:cubicBezTo>
                          <a:pt x="543230" y="1106940"/>
                          <a:pt x="543230" y="1106940"/>
                          <a:pt x="542133" y="1106940"/>
                        </a:cubicBezTo>
                        <a:cubicBezTo>
                          <a:pt x="460922" y="1094426"/>
                          <a:pt x="365446" y="1061434"/>
                          <a:pt x="353374" y="908988"/>
                        </a:cubicBezTo>
                        <a:cubicBezTo>
                          <a:pt x="353374" y="908988"/>
                          <a:pt x="353374" y="907850"/>
                          <a:pt x="353374" y="907850"/>
                        </a:cubicBezTo>
                        <a:cubicBezTo>
                          <a:pt x="362153" y="184300"/>
                          <a:pt x="362153" y="184300"/>
                          <a:pt x="362153" y="184300"/>
                        </a:cubicBezTo>
                        <a:cubicBezTo>
                          <a:pt x="351179" y="124004"/>
                          <a:pt x="328133" y="64846"/>
                          <a:pt x="230461" y="42093"/>
                        </a:cubicBezTo>
                        <a:cubicBezTo>
                          <a:pt x="0" y="38680"/>
                          <a:pt x="0" y="38680"/>
                          <a:pt x="0" y="38680"/>
                        </a:cubicBezTo>
                        <a:close/>
                      </a:path>
                    </a:pathLst>
                  </a:custGeom>
                  <a:solidFill>
                    <a:srgbClr val="0283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1" name="Freeform 600"/>
                  <p:cNvSpPr>
                    <a:spLocks/>
                  </p:cNvSpPr>
                  <p:nvPr/>
                </p:nvSpPr>
                <p:spPr bwMode="auto">
                  <a:xfrm rot="5400000">
                    <a:off x="9938317" y="1410617"/>
                    <a:ext cx="664391" cy="484452"/>
                  </a:xfrm>
                  <a:custGeom>
                    <a:avLst/>
                    <a:gdLst>
                      <a:gd name="connsiteX0" fmla="*/ 45 w 664391"/>
                      <a:gd name="connsiteY0" fmla="*/ 252601 h 484452"/>
                      <a:gd name="connsiteX1" fmla="*/ 192211 w 664391"/>
                      <a:gd name="connsiteY1" fmla="*/ 13654 h 484452"/>
                      <a:gd name="connsiteX2" fmla="*/ 304217 w 664391"/>
                      <a:gd name="connsiteY2" fmla="*/ 9103 h 484452"/>
                      <a:gd name="connsiteX3" fmla="*/ 664391 w 664391"/>
                      <a:gd name="connsiteY3" fmla="*/ 0 h 484452"/>
                      <a:gd name="connsiteX4" fmla="*/ 664391 w 664391"/>
                      <a:gd name="connsiteY4" fmla="*/ 38687 h 484452"/>
                      <a:gd name="connsiteX5" fmla="*/ 306413 w 664391"/>
                      <a:gd name="connsiteY5" fmla="*/ 47789 h 484452"/>
                      <a:gd name="connsiteX6" fmla="*/ 193309 w 664391"/>
                      <a:gd name="connsiteY6" fmla="*/ 52341 h 484452"/>
                      <a:gd name="connsiteX7" fmla="*/ 37380 w 664391"/>
                      <a:gd name="connsiteY7" fmla="*/ 252601 h 484452"/>
                      <a:gd name="connsiteX8" fmla="*/ 38830 w 664391"/>
                      <a:gd name="connsiteY8" fmla="*/ 453159 h 484452"/>
                      <a:gd name="connsiteX9" fmla="*/ 39056 w 664391"/>
                      <a:gd name="connsiteY9" fmla="*/ 484452 h 484452"/>
                      <a:gd name="connsiteX10" fmla="*/ 1721 w 664391"/>
                      <a:gd name="connsiteY10" fmla="*/ 484452 h 484452"/>
                      <a:gd name="connsiteX11" fmla="*/ 1473 w 664391"/>
                      <a:gd name="connsiteY11" fmla="*/ 450044 h 484452"/>
                      <a:gd name="connsiteX12" fmla="*/ 45 w 664391"/>
                      <a:gd name="connsiteY12" fmla="*/ 252601 h 4844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664391" h="484452">
                        <a:moveTo>
                          <a:pt x="45" y="252601"/>
                        </a:moveTo>
                        <a:cubicBezTo>
                          <a:pt x="-2151" y="119473"/>
                          <a:pt x="78010" y="18205"/>
                          <a:pt x="192211" y="13654"/>
                        </a:cubicBezTo>
                        <a:cubicBezTo>
                          <a:pt x="227350" y="12516"/>
                          <a:pt x="264685" y="10241"/>
                          <a:pt x="304217" y="9103"/>
                        </a:cubicBezTo>
                        <a:cubicBezTo>
                          <a:pt x="415124" y="4551"/>
                          <a:pt x="541405" y="0"/>
                          <a:pt x="664391" y="0"/>
                        </a:cubicBezTo>
                        <a:cubicBezTo>
                          <a:pt x="664391" y="38687"/>
                          <a:pt x="664391" y="38687"/>
                          <a:pt x="664391" y="38687"/>
                        </a:cubicBezTo>
                        <a:cubicBezTo>
                          <a:pt x="542503" y="38687"/>
                          <a:pt x="416222" y="43238"/>
                          <a:pt x="306413" y="47789"/>
                        </a:cubicBezTo>
                        <a:cubicBezTo>
                          <a:pt x="266882" y="48927"/>
                          <a:pt x="229547" y="51203"/>
                          <a:pt x="193309" y="52341"/>
                        </a:cubicBezTo>
                        <a:cubicBezTo>
                          <a:pt x="101070" y="55754"/>
                          <a:pt x="35184" y="139954"/>
                          <a:pt x="37380" y="252601"/>
                        </a:cubicBezTo>
                        <a:cubicBezTo>
                          <a:pt x="37929" y="328552"/>
                          <a:pt x="38410" y="395009"/>
                          <a:pt x="38830" y="453159"/>
                        </a:cubicBezTo>
                        <a:lnTo>
                          <a:pt x="39056" y="484452"/>
                        </a:lnTo>
                        <a:lnTo>
                          <a:pt x="1721" y="484452"/>
                        </a:lnTo>
                        <a:lnTo>
                          <a:pt x="1473" y="450044"/>
                        </a:lnTo>
                        <a:cubicBezTo>
                          <a:pt x="45" y="252601"/>
                          <a:pt x="45" y="252601"/>
                          <a:pt x="45" y="252601"/>
                        </a:cubicBezTo>
                        <a:close/>
                      </a:path>
                    </a:pathLst>
                  </a:custGeom>
                  <a:solidFill>
                    <a:srgbClr val="2272B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2" name="Freeform 193"/>
                  <p:cNvSpPr>
                    <a:spLocks noEditPoints="1"/>
                  </p:cNvSpPr>
                  <p:nvPr/>
                </p:nvSpPr>
                <p:spPr bwMode="auto">
                  <a:xfrm>
                    <a:off x="10242246" y="1048594"/>
                    <a:ext cx="184828" cy="241462"/>
                  </a:xfrm>
                  <a:custGeom>
                    <a:avLst/>
                    <a:gdLst>
                      <a:gd name="T0" fmla="*/ 95 w 169"/>
                      <a:gd name="T1" fmla="*/ 105 h 212"/>
                      <a:gd name="T2" fmla="*/ 134 w 169"/>
                      <a:gd name="T3" fmla="*/ 212 h 212"/>
                      <a:gd name="T4" fmla="*/ 113 w 169"/>
                      <a:gd name="T5" fmla="*/ 212 h 212"/>
                      <a:gd name="T6" fmla="*/ 85 w 169"/>
                      <a:gd name="T7" fmla="*/ 188 h 212"/>
                      <a:gd name="T8" fmla="*/ 56 w 169"/>
                      <a:gd name="T9" fmla="*/ 212 h 212"/>
                      <a:gd name="T10" fmla="*/ 36 w 169"/>
                      <a:gd name="T11" fmla="*/ 212 h 212"/>
                      <a:gd name="T12" fmla="*/ 74 w 169"/>
                      <a:gd name="T13" fmla="*/ 105 h 212"/>
                      <a:gd name="T14" fmla="*/ 67 w 169"/>
                      <a:gd name="T15" fmla="*/ 90 h 212"/>
                      <a:gd name="T16" fmla="*/ 85 w 169"/>
                      <a:gd name="T17" fmla="*/ 72 h 212"/>
                      <a:gd name="T18" fmla="*/ 102 w 169"/>
                      <a:gd name="T19" fmla="*/ 90 h 212"/>
                      <a:gd name="T20" fmla="*/ 95 w 169"/>
                      <a:gd name="T21" fmla="*/ 105 h 212"/>
                      <a:gd name="T22" fmla="*/ 85 w 169"/>
                      <a:gd name="T23" fmla="*/ 36 h 212"/>
                      <a:gd name="T24" fmla="*/ 136 w 169"/>
                      <a:gd name="T25" fmla="*/ 87 h 212"/>
                      <a:gd name="T26" fmla="*/ 112 w 169"/>
                      <a:gd name="T27" fmla="*/ 129 h 212"/>
                      <a:gd name="T28" fmla="*/ 111 w 169"/>
                      <a:gd name="T29" fmla="*/ 122 h 212"/>
                      <a:gd name="T30" fmla="*/ 126 w 169"/>
                      <a:gd name="T31" fmla="*/ 90 h 212"/>
                      <a:gd name="T32" fmla="*/ 85 w 169"/>
                      <a:gd name="T33" fmla="*/ 49 h 212"/>
                      <a:gd name="T34" fmla="*/ 44 w 169"/>
                      <a:gd name="T35" fmla="*/ 90 h 212"/>
                      <a:gd name="T36" fmla="*/ 59 w 169"/>
                      <a:gd name="T37" fmla="*/ 122 h 212"/>
                      <a:gd name="T38" fmla="*/ 57 w 169"/>
                      <a:gd name="T39" fmla="*/ 129 h 212"/>
                      <a:gd name="T40" fmla="*/ 35 w 169"/>
                      <a:gd name="T41" fmla="*/ 87 h 212"/>
                      <a:gd name="T42" fmla="*/ 85 w 169"/>
                      <a:gd name="T43" fmla="*/ 36 h 212"/>
                      <a:gd name="T44" fmla="*/ 85 w 169"/>
                      <a:gd name="T45" fmla="*/ 0 h 212"/>
                      <a:gd name="T46" fmla="*/ 169 w 169"/>
                      <a:gd name="T47" fmla="*/ 85 h 212"/>
                      <a:gd name="T48" fmla="*/ 123 w 169"/>
                      <a:gd name="T49" fmla="*/ 161 h 212"/>
                      <a:gd name="T50" fmla="*/ 120 w 169"/>
                      <a:gd name="T51" fmla="*/ 155 h 212"/>
                      <a:gd name="T52" fmla="*/ 160 w 169"/>
                      <a:gd name="T53" fmla="*/ 89 h 212"/>
                      <a:gd name="T54" fmla="*/ 85 w 169"/>
                      <a:gd name="T55" fmla="*/ 14 h 212"/>
                      <a:gd name="T56" fmla="*/ 11 w 169"/>
                      <a:gd name="T57" fmla="*/ 89 h 212"/>
                      <a:gd name="T58" fmla="*/ 49 w 169"/>
                      <a:gd name="T59" fmla="*/ 155 h 212"/>
                      <a:gd name="T60" fmla="*/ 47 w 169"/>
                      <a:gd name="T61" fmla="*/ 161 h 212"/>
                      <a:gd name="T62" fmla="*/ 0 w 169"/>
                      <a:gd name="T63" fmla="*/ 85 h 212"/>
                      <a:gd name="T64" fmla="*/ 85 w 169"/>
                      <a:gd name="T65" fmla="*/ 0 h 212"/>
                      <a:gd name="T66" fmla="*/ 85 w 169"/>
                      <a:gd name="T67" fmla="*/ 130 h 212"/>
                      <a:gd name="T68" fmla="*/ 93 w 169"/>
                      <a:gd name="T69" fmla="*/ 138 h 212"/>
                      <a:gd name="T70" fmla="*/ 85 w 169"/>
                      <a:gd name="T71" fmla="*/ 145 h 212"/>
                      <a:gd name="T72" fmla="*/ 76 w 169"/>
                      <a:gd name="T73" fmla="*/ 138 h 212"/>
                      <a:gd name="T74" fmla="*/ 85 w 169"/>
                      <a:gd name="T75" fmla="*/ 130 h 212"/>
                      <a:gd name="T76" fmla="*/ 85 w 169"/>
                      <a:gd name="T77" fmla="*/ 179 h 212"/>
                      <a:gd name="T78" fmla="*/ 99 w 169"/>
                      <a:gd name="T79" fmla="*/ 167 h 212"/>
                      <a:gd name="T80" fmla="*/ 85 w 169"/>
                      <a:gd name="T81" fmla="*/ 156 h 212"/>
                      <a:gd name="T82" fmla="*/ 71 w 169"/>
                      <a:gd name="T83" fmla="*/ 167 h 212"/>
                      <a:gd name="T84" fmla="*/ 85 w 169"/>
                      <a:gd name="T85" fmla="*/ 179 h 2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169" h="212">
                        <a:moveTo>
                          <a:pt x="95" y="105"/>
                        </a:moveTo>
                        <a:cubicBezTo>
                          <a:pt x="102" y="151"/>
                          <a:pt x="119" y="189"/>
                          <a:pt x="134" y="212"/>
                        </a:cubicBezTo>
                        <a:cubicBezTo>
                          <a:pt x="113" y="212"/>
                          <a:pt x="113" y="212"/>
                          <a:pt x="113" y="212"/>
                        </a:cubicBezTo>
                        <a:cubicBezTo>
                          <a:pt x="113" y="199"/>
                          <a:pt x="104" y="188"/>
                          <a:pt x="85" y="188"/>
                        </a:cubicBezTo>
                        <a:cubicBezTo>
                          <a:pt x="66" y="188"/>
                          <a:pt x="57" y="199"/>
                          <a:pt x="56" y="212"/>
                        </a:cubicBezTo>
                        <a:cubicBezTo>
                          <a:pt x="36" y="212"/>
                          <a:pt x="36" y="212"/>
                          <a:pt x="36" y="212"/>
                        </a:cubicBezTo>
                        <a:cubicBezTo>
                          <a:pt x="51" y="189"/>
                          <a:pt x="67" y="151"/>
                          <a:pt x="74" y="105"/>
                        </a:cubicBezTo>
                        <a:cubicBezTo>
                          <a:pt x="70" y="102"/>
                          <a:pt x="67" y="96"/>
                          <a:pt x="67" y="90"/>
                        </a:cubicBezTo>
                        <a:cubicBezTo>
                          <a:pt x="67" y="81"/>
                          <a:pt x="75" y="72"/>
                          <a:pt x="85" y="72"/>
                        </a:cubicBezTo>
                        <a:cubicBezTo>
                          <a:pt x="95" y="72"/>
                          <a:pt x="102" y="81"/>
                          <a:pt x="102" y="90"/>
                        </a:cubicBezTo>
                        <a:cubicBezTo>
                          <a:pt x="102" y="96"/>
                          <a:pt x="100" y="102"/>
                          <a:pt x="95" y="105"/>
                        </a:cubicBezTo>
                        <a:close/>
                        <a:moveTo>
                          <a:pt x="85" y="36"/>
                        </a:moveTo>
                        <a:cubicBezTo>
                          <a:pt x="113" y="36"/>
                          <a:pt x="136" y="59"/>
                          <a:pt x="136" y="87"/>
                        </a:cubicBezTo>
                        <a:cubicBezTo>
                          <a:pt x="136" y="105"/>
                          <a:pt x="126" y="120"/>
                          <a:pt x="112" y="129"/>
                        </a:cubicBezTo>
                        <a:cubicBezTo>
                          <a:pt x="112" y="127"/>
                          <a:pt x="111" y="125"/>
                          <a:pt x="111" y="122"/>
                        </a:cubicBezTo>
                        <a:cubicBezTo>
                          <a:pt x="120" y="115"/>
                          <a:pt x="126" y="104"/>
                          <a:pt x="126" y="90"/>
                        </a:cubicBezTo>
                        <a:cubicBezTo>
                          <a:pt x="126" y="67"/>
                          <a:pt x="108" y="49"/>
                          <a:pt x="85" y="49"/>
                        </a:cubicBezTo>
                        <a:cubicBezTo>
                          <a:pt x="62" y="49"/>
                          <a:pt x="44" y="67"/>
                          <a:pt x="44" y="90"/>
                        </a:cubicBezTo>
                        <a:cubicBezTo>
                          <a:pt x="44" y="104"/>
                          <a:pt x="49" y="115"/>
                          <a:pt x="59" y="122"/>
                        </a:cubicBezTo>
                        <a:cubicBezTo>
                          <a:pt x="59" y="125"/>
                          <a:pt x="57" y="127"/>
                          <a:pt x="57" y="129"/>
                        </a:cubicBezTo>
                        <a:cubicBezTo>
                          <a:pt x="44" y="120"/>
                          <a:pt x="35" y="105"/>
                          <a:pt x="35" y="87"/>
                        </a:cubicBezTo>
                        <a:cubicBezTo>
                          <a:pt x="35" y="59"/>
                          <a:pt x="56" y="36"/>
                          <a:pt x="85" y="36"/>
                        </a:cubicBezTo>
                        <a:close/>
                        <a:moveTo>
                          <a:pt x="85" y="0"/>
                        </a:moveTo>
                        <a:cubicBezTo>
                          <a:pt x="132" y="0"/>
                          <a:pt x="169" y="39"/>
                          <a:pt x="169" y="85"/>
                        </a:cubicBezTo>
                        <a:cubicBezTo>
                          <a:pt x="169" y="118"/>
                          <a:pt x="150" y="148"/>
                          <a:pt x="123" y="161"/>
                        </a:cubicBezTo>
                        <a:cubicBezTo>
                          <a:pt x="122" y="159"/>
                          <a:pt x="121" y="157"/>
                          <a:pt x="120" y="155"/>
                        </a:cubicBezTo>
                        <a:cubicBezTo>
                          <a:pt x="144" y="142"/>
                          <a:pt x="160" y="117"/>
                          <a:pt x="160" y="89"/>
                        </a:cubicBezTo>
                        <a:cubicBezTo>
                          <a:pt x="160" y="47"/>
                          <a:pt x="126" y="14"/>
                          <a:pt x="85" y="14"/>
                        </a:cubicBezTo>
                        <a:cubicBezTo>
                          <a:pt x="44" y="14"/>
                          <a:pt x="11" y="47"/>
                          <a:pt x="11" y="89"/>
                        </a:cubicBezTo>
                        <a:cubicBezTo>
                          <a:pt x="11" y="117"/>
                          <a:pt x="26" y="142"/>
                          <a:pt x="49" y="155"/>
                        </a:cubicBezTo>
                        <a:cubicBezTo>
                          <a:pt x="48" y="157"/>
                          <a:pt x="48" y="159"/>
                          <a:pt x="47" y="161"/>
                        </a:cubicBezTo>
                        <a:cubicBezTo>
                          <a:pt x="19" y="148"/>
                          <a:pt x="0" y="118"/>
                          <a:pt x="0" y="85"/>
                        </a:cubicBezTo>
                        <a:cubicBezTo>
                          <a:pt x="0" y="39"/>
                          <a:pt x="38" y="0"/>
                          <a:pt x="85" y="0"/>
                        </a:cubicBezTo>
                        <a:close/>
                        <a:moveTo>
                          <a:pt x="85" y="130"/>
                        </a:moveTo>
                        <a:cubicBezTo>
                          <a:pt x="91" y="130"/>
                          <a:pt x="93" y="134"/>
                          <a:pt x="93" y="138"/>
                        </a:cubicBezTo>
                        <a:cubicBezTo>
                          <a:pt x="93" y="141"/>
                          <a:pt x="91" y="145"/>
                          <a:pt x="85" y="145"/>
                        </a:cubicBezTo>
                        <a:cubicBezTo>
                          <a:pt x="78" y="145"/>
                          <a:pt x="76" y="141"/>
                          <a:pt x="76" y="138"/>
                        </a:cubicBezTo>
                        <a:cubicBezTo>
                          <a:pt x="76" y="134"/>
                          <a:pt x="78" y="130"/>
                          <a:pt x="85" y="130"/>
                        </a:cubicBezTo>
                        <a:close/>
                        <a:moveTo>
                          <a:pt x="85" y="179"/>
                        </a:moveTo>
                        <a:cubicBezTo>
                          <a:pt x="95" y="179"/>
                          <a:pt x="99" y="174"/>
                          <a:pt x="99" y="167"/>
                        </a:cubicBezTo>
                        <a:cubicBezTo>
                          <a:pt x="99" y="161"/>
                          <a:pt x="95" y="156"/>
                          <a:pt x="85" y="156"/>
                        </a:cubicBezTo>
                        <a:cubicBezTo>
                          <a:pt x="74" y="156"/>
                          <a:pt x="71" y="161"/>
                          <a:pt x="71" y="167"/>
                        </a:cubicBezTo>
                        <a:cubicBezTo>
                          <a:pt x="71" y="174"/>
                          <a:pt x="74" y="179"/>
                          <a:pt x="85" y="179"/>
                        </a:cubicBezTo>
                        <a:close/>
                      </a:path>
                    </a:pathLst>
                  </a:custGeom>
                  <a:solidFill>
                    <a:srgbClr val="DA40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3" name="Freeform 194"/>
                  <p:cNvSpPr>
                    <a:spLocks noEditPoints="1"/>
                  </p:cNvSpPr>
                  <p:nvPr/>
                </p:nvSpPr>
                <p:spPr bwMode="auto">
                  <a:xfrm>
                    <a:off x="11233665" y="802912"/>
                    <a:ext cx="188741" cy="320267"/>
                  </a:xfrm>
                  <a:custGeom>
                    <a:avLst/>
                    <a:gdLst>
                      <a:gd name="T0" fmla="*/ 180 w 219"/>
                      <a:gd name="T1" fmla="*/ 29 h 358"/>
                      <a:gd name="T2" fmla="*/ 159 w 219"/>
                      <a:gd name="T3" fmla="*/ 35 h 358"/>
                      <a:gd name="T4" fmla="*/ 104 w 219"/>
                      <a:gd name="T5" fmla="*/ 0 h 358"/>
                      <a:gd name="T6" fmla="*/ 44 w 219"/>
                      <a:gd name="T7" fmla="*/ 48 h 358"/>
                      <a:gd name="T8" fmla="*/ 31 w 219"/>
                      <a:gd name="T9" fmla="*/ 45 h 358"/>
                      <a:gd name="T10" fmla="*/ 0 w 219"/>
                      <a:gd name="T11" fmla="*/ 76 h 358"/>
                      <a:gd name="T12" fmla="*/ 31 w 219"/>
                      <a:gd name="T13" fmla="*/ 108 h 358"/>
                      <a:gd name="T14" fmla="*/ 180 w 219"/>
                      <a:gd name="T15" fmla="*/ 108 h 358"/>
                      <a:gd name="T16" fmla="*/ 219 w 219"/>
                      <a:gd name="T17" fmla="*/ 68 h 358"/>
                      <a:gd name="T18" fmla="*/ 180 w 219"/>
                      <a:gd name="T19" fmla="*/ 29 h 358"/>
                      <a:gd name="T20" fmla="*/ 47 w 219"/>
                      <a:gd name="T21" fmla="*/ 299 h 358"/>
                      <a:gd name="T22" fmla="*/ 47 w 219"/>
                      <a:gd name="T23" fmla="*/ 353 h 358"/>
                      <a:gd name="T24" fmla="*/ 51 w 219"/>
                      <a:gd name="T25" fmla="*/ 358 h 358"/>
                      <a:gd name="T26" fmla="*/ 89 w 219"/>
                      <a:gd name="T27" fmla="*/ 358 h 358"/>
                      <a:gd name="T28" fmla="*/ 89 w 219"/>
                      <a:gd name="T29" fmla="*/ 307 h 358"/>
                      <a:gd name="T30" fmla="*/ 94 w 219"/>
                      <a:gd name="T31" fmla="*/ 303 h 358"/>
                      <a:gd name="T32" fmla="*/ 125 w 219"/>
                      <a:gd name="T33" fmla="*/ 303 h 358"/>
                      <a:gd name="T34" fmla="*/ 130 w 219"/>
                      <a:gd name="T35" fmla="*/ 307 h 358"/>
                      <a:gd name="T36" fmla="*/ 130 w 219"/>
                      <a:gd name="T37" fmla="*/ 358 h 358"/>
                      <a:gd name="T38" fmla="*/ 168 w 219"/>
                      <a:gd name="T39" fmla="*/ 358 h 358"/>
                      <a:gd name="T40" fmla="*/ 172 w 219"/>
                      <a:gd name="T41" fmla="*/ 353 h 358"/>
                      <a:gd name="T42" fmla="*/ 172 w 219"/>
                      <a:gd name="T43" fmla="*/ 299 h 358"/>
                      <a:gd name="T44" fmla="*/ 109 w 219"/>
                      <a:gd name="T45" fmla="*/ 243 h 358"/>
                      <a:gd name="T46" fmla="*/ 47 w 219"/>
                      <a:gd name="T47" fmla="*/ 299 h 358"/>
                      <a:gd name="T48" fmla="*/ 47 w 219"/>
                      <a:gd name="T49" fmla="*/ 299 h 358"/>
                      <a:gd name="T50" fmla="*/ 160 w 219"/>
                      <a:gd name="T51" fmla="*/ 218 h 358"/>
                      <a:gd name="T52" fmla="*/ 136 w 219"/>
                      <a:gd name="T53" fmla="*/ 218 h 358"/>
                      <a:gd name="T54" fmla="*/ 136 w 219"/>
                      <a:gd name="T55" fmla="*/ 235 h 358"/>
                      <a:gd name="T56" fmla="*/ 109 w 219"/>
                      <a:gd name="T57" fmla="*/ 212 h 358"/>
                      <a:gd name="T58" fmla="*/ 29 w 219"/>
                      <a:gd name="T59" fmla="*/ 283 h 358"/>
                      <a:gd name="T60" fmla="*/ 29 w 219"/>
                      <a:gd name="T61" fmla="*/ 304 h 358"/>
                      <a:gd name="T62" fmla="*/ 109 w 219"/>
                      <a:gd name="T63" fmla="*/ 234 h 358"/>
                      <a:gd name="T64" fmla="*/ 190 w 219"/>
                      <a:gd name="T65" fmla="*/ 304 h 358"/>
                      <a:gd name="T66" fmla="*/ 190 w 219"/>
                      <a:gd name="T67" fmla="*/ 283 h 358"/>
                      <a:gd name="T68" fmla="*/ 160 w 219"/>
                      <a:gd name="T69" fmla="*/ 256 h 358"/>
                      <a:gd name="T70" fmla="*/ 160 w 219"/>
                      <a:gd name="T71" fmla="*/ 218 h 358"/>
                      <a:gd name="T72" fmla="*/ 160 w 219"/>
                      <a:gd name="T73" fmla="*/ 218 h 358"/>
                      <a:gd name="T74" fmla="*/ 109 w 219"/>
                      <a:gd name="T75" fmla="*/ 189 h 358"/>
                      <a:gd name="T76" fmla="*/ 160 w 219"/>
                      <a:gd name="T77" fmla="*/ 159 h 358"/>
                      <a:gd name="T78" fmla="*/ 109 w 219"/>
                      <a:gd name="T79" fmla="*/ 180 h 358"/>
                      <a:gd name="T80" fmla="*/ 59 w 219"/>
                      <a:gd name="T81" fmla="*/ 159 h 358"/>
                      <a:gd name="T82" fmla="*/ 109 w 219"/>
                      <a:gd name="T83" fmla="*/ 189 h 358"/>
                      <a:gd name="T84" fmla="*/ 109 w 219"/>
                      <a:gd name="T85" fmla="*/ 164 h 358"/>
                      <a:gd name="T86" fmla="*/ 144 w 219"/>
                      <a:gd name="T87" fmla="*/ 141 h 358"/>
                      <a:gd name="T88" fmla="*/ 109 w 219"/>
                      <a:gd name="T89" fmla="*/ 156 h 358"/>
                      <a:gd name="T90" fmla="*/ 75 w 219"/>
                      <a:gd name="T91" fmla="*/ 141 h 358"/>
                      <a:gd name="T92" fmla="*/ 109 w 219"/>
                      <a:gd name="T93" fmla="*/ 164 h 358"/>
                      <a:gd name="T94" fmla="*/ 130 w 219"/>
                      <a:gd name="T95" fmla="*/ 127 h 358"/>
                      <a:gd name="T96" fmla="*/ 109 w 219"/>
                      <a:gd name="T97" fmla="*/ 135 h 358"/>
                      <a:gd name="T98" fmla="*/ 89 w 219"/>
                      <a:gd name="T99" fmla="*/ 127 h 358"/>
                      <a:gd name="T100" fmla="*/ 109 w 219"/>
                      <a:gd name="T101" fmla="*/ 142 h 358"/>
                      <a:gd name="T102" fmla="*/ 130 w 219"/>
                      <a:gd name="T103" fmla="*/ 127 h 3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219" h="358">
                        <a:moveTo>
                          <a:pt x="180" y="29"/>
                        </a:moveTo>
                        <a:cubicBezTo>
                          <a:pt x="172" y="29"/>
                          <a:pt x="165" y="31"/>
                          <a:pt x="159" y="35"/>
                        </a:cubicBezTo>
                        <a:cubicBezTo>
                          <a:pt x="149" y="14"/>
                          <a:pt x="128" y="0"/>
                          <a:pt x="104" y="0"/>
                        </a:cubicBezTo>
                        <a:cubicBezTo>
                          <a:pt x="74" y="0"/>
                          <a:pt x="50" y="20"/>
                          <a:pt x="44" y="48"/>
                        </a:cubicBezTo>
                        <a:cubicBezTo>
                          <a:pt x="40" y="46"/>
                          <a:pt x="36" y="45"/>
                          <a:pt x="31" y="45"/>
                        </a:cubicBezTo>
                        <a:cubicBezTo>
                          <a:pt x="14" y="45"/>
                          <a:pt x="0" y="59"/>
                          <a:pt x="0" y="76"/>
                        </a:cubicBezTo>
                        <a:cubicBezTo>
                          <a:pt x="0" y="94"/>
                          <a:pt x="14" y="108"/>
                          <a:pt x="31" y="108"/>
                        </a:cubicBezTo>
                        <a:cubicBezTo>
                          <a:pt x="180" y="108"/>
                          <a:pt x="180" y="108"/>
                          <a:pt x="180" y="108"/>
                        </a:cubicBezTo>
                        <a:cubicBezTo>
                          <a:pt x="201" y="108"/>
                          <a:pt x="219" y="90"/>
                          <a:pt x="219" y="68"/>
                        </a:cubicBezTo>
                        <a:cubicBezTo>
                          <a:pt x="219" y="46"/>
                          <a:pt x="201" y="29"/>
                          <a:pt x="180" y="29"/>
                        </a:cubicBezTo>
                        <a:close/>
                        <a:moveTo>
                          <a:pt x="47" y="299"/>
                        </a:moveTo>
                        <a:cubicBezTo>
                          <a:pt x="47" y="353"/>
                          <a:pt x="47" y="353"/>
                          <a:pt x="47" y="353"/>
                        </a:cubicBezTo>
                        <a:cubicBezTo>
                          <a:pt x="47" y="355"/>
                          <a:pt x="49" y="358"/>
                          <a:pt x="51" y="358"/>
                        </a:cubicBezTo>
                        <a:cubicBezTo>
                          <a:pt x="89" y="358"/>
                          <a:pt x="89" y="358"/>
                          <a:pt x="89" y="358"/>
                        </a:cubicBezTo>
                        <a:cubicBezTo>
                          <a:pt x="89" y="307"/>
                          <a:pt x="89" y="307"/>
                          <a:pt x="89" y="307"/>
                        </a:cubicBezTo>
                        <a:cubicBezTo>
                          <a:pt x="89" y="305"/>
                          <a:pt x="91" y="303"/>
                          <a:pt x="94" y="303"/>
                        </a:cubicBezTo>
                        <a:cubicBezTo>
                          <a:pt x="125" y="303"/>
                          <a:pt x="125" y="303"/>
                          <a:pt x="125" y="303"/>
                        </a:cubicBezTo>
                        <a:cubicBezTo>
                          <a:pt x="128" y="303"/>
                          <a:pt x="130" y="305"/>
                          <a:pt x="130" y="307"/>
                        </a:cubicBezTo>
                        <a:cubicBezTo>
                          <a:pt x="130" y="358"/>
                          <a:pt x="130" y="358"/>
                          <a:pt x="130" y="358"/>
                        </a:cubicBezTo>
                        <a:cubicBezTo>
                          <a:pt x="168" y="358"/>
                          <a:pt x="168" y="358"/>
                          <a:pt x="168" y="358"/>
                        </a:cubicBezTo>
                        <a:cubicBezTo>
                          <a:pt x="170" y="358"/>
                          <a:pt x="172" y="355"/>
                          <a:pt x="172" y="353"/>
                        </a:cubicBezTo>
                        <a:cubicBezTo>
                          <a:pt x="172" y="299"/>
                          <a:pt x="172" y="299"/>
                          <a:pt x="172" y="299"/>
                        </a:cubicBezTo>
                        <a:cubicBezTo>
                          <a:pt x="109" y="243"/>
                          <a:pt x="109" y="243"/>
                          <a:pt x="109" y="243"/>
                        </a:cubicBezTo>
                        <a:cubicBezTo>
                          <a:pt x="47" y="299"/>
                          <a:pt x="47" y="299"/>
                          <a:pt x="47" y="299"/>
                        </a:cubicBezTo>
                        <a:cubicBezTo>
                          <a:pt x="47" y="299"/>
                          <a:pt x="47" y="299"/>
                          <a:pt x="47" y="299"/>
                        </a:cubicBezTo>
                        <a:close/>
                        <a:moveTo>
                          <a:pt x="160" y="218"/>
                        </a:moveTo>
                        <a:cubicBezTo>
                          <a:pt x="136" y="218"/>
                          <a:pt x="136" y="218"/>
                          <a:pt x="136" y="218"/>
                        </a:cubicBezTo>
                        <a:cubicBezTo>
                          <a:pt x="136" y="235"/>
                          <a:pt x="136" y="235"/>
                          <a:pt x="136" y="235"/>
                        </a:cubicBezTo>
                        <a:cubicBezTo>
                          <a:pt x="109" y="212"/>
                          <a:pt x="109" y="212"/>
                          <a:pt x="109" y="212"/>
                        </a:cubicBezTo>
                        <a:cubicBezTo>
                          <a:pt x="29" y="283"/>
                          <a:pt x="29" y="283"/>
                          <a:pt x="29" y="283"/>
                        </a:cubicBezTo>
                        <a:cubicBezTo>
                          <a:pt x="29" y="304"/>
                          <a:pt x="29" y="304"/>
                          <a:pt x="29" y="304"/>
                        </a:cubicBezTo>
                        <a:cubicBezTo>
                          <a:pt x="109" y="234"/>
                          <a:pt x="109" y="234"/>
                          <a:pt x="109" y="234"/>
                        </a:cubicBezTo>
                        <a:cubicBezTo>
                          <a:pt x="190" y="304"/>
                          <a:pt x="190" y="304"/>
                          <a:pt x="190" y="304"/>
                        </a:cubicBezTo>
                        <a:cubicBezTo>
                          <a:pt x="190" y="283"/>
                          <a:pt x="190" y="283"/>
                          <a:pt x="190" y="283"/>
                        </a:cubicBezTo>
                        <a:cubicBezTo>
                          <a:pt x="160" y="256"/>
                          <a:pt x="160" y="256"/>
                          <a:pt x="160" y="256"/>
                        </a:cubicBezTo>
                        <a:cubicBezTo>
                          <a:pt x="160" y="218"/>
                          <a:pt x="160" y="218"/>
                          <a:pt x="160" y="218"/>
                        </a:cubicBezTo>
                        <a:cubicBezTo>
                          <a:pt x="160" y="218"/>
                          <a:pt x="160" y="218"/>
                          <a:pt x="160" y="218"/>
                        </a:cubicBezTo>
                        <a:close/>
                        <a:moveTo>
                          <a:pt x="109" y="189"/>
                        </a:moveTo>
                        <a:cubicBezTo>
                          <a:pt x="133" y="189"/>
                          <a:pt x="153" y="175"/>
                          <a:pt x="160" y="159"/>
                        </a:cubicBezTo>
                        <a:cubicBezTo>
                          <a:pt x="147" y="173"/>
                          <a:pt x="128" y="180"/>
                          <a:pt x="109" y="180"/>
                        </a:cubicBezTo>
                        <a:cubicBezTo>
                          <a:pt x="91" y="180"/>
                          <a:pt x="72" y="173"/>
                          <a:pt x="59" y="159"/>
                        </a:cubicBezTo>
                        <a:cubicBezTo>
                          <a:pt x="66" y="175"/>
                          <a:pt x="86" y="189"/>
                          <a:pt x="109" y="189"/>
                        </a:cubicBezTo>
                        <a:close/>
                        <a:moveTo>
                          <a:pt x="109" y="164"/>
                        </a:moveTo>
                        <a:cubicBezTo>
                          <a:pt x="127" y="164"/>
                          <a:pt x="140" y="152"/>
                          <a:pt x="144" y="141"/>
                        </a:cubicBezTo>
                        <a:cubicBezTo>
                          <a:pt x="135" y="150"/>
                          <a:pt x="122" y="156"/>
                          <a:pt x="109" y="156"/>
                        </a:cubicBezTo>
                        <a:cubicBezTo>
                          <a:pt x="96" y="156"/>
                          <a:pt x="84" y="150"/>
                          <a:pt x="75" y="141"/>
                        </a:cubicBezTo>
                        <a:cubicBezTo>
                          <a:pt x="79" y="152"/>
                          <a:pt x="92" y="164"/>
                          <a:pt x="109" y="164"/>
                        </a:cubicBezTo>
                        <a:close/>
                        <a:moveTo>
                          <a:pt x="130" y="127"/>
                        </a:moveTo>
                        <a:cubicBezTo>
                          <a:pt x="124" y="132"/>
                          <a:pt x="117" y="135"/>
                          <a:pt x="109" y="135"/>
                        </a:cubicBezTo>
                        <a:cubicBezTo>
                          <a:pt x="102" y="135"/>
                          <a:pt x="95" y="132"/>
                          <a:pt x="89" y="127"/>
                        </a:cubicBezTo>
                        <a:cubicBezTo>
                          <a:pt x="91" y="135"/>
                          <a:pt x="99" y="142"/>
                          <a:pt x="109" y="142"/>
                        </a:cubicBezTo>
                        <a:cubicBezTo>
                          <a:pt x="120" y="142"/>
                          <a:pt x="128" y="135"/>
                          <a:pt x="130" y="127"/>
                        </a:cubicBezTo>
                        <a:close/>
                      </a:path>
                    </a:pathLst>
                  </a:custGeom>
                  <a:solidFill>
                    <a:srgbClr val="2272B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4" name="Freeform 195"/>
                  <p:cNvSpPr>
                    <a:spLocks noEditPoints="1"/>
                  </p:cNvSpPr>
                  <p:nvPr/>
                </p:nvSpPr>
                <p:spPr bwMode="auto">
                  <a:xfrm>
                    <a:off x="11639761" y="1680208"/>
                    <a:ext cx="187738" cy="241462"/>
                  </a:xfrm>
                  <a:custGeom>
                    <a:avLst/>
                    <a:gdLst>
                      <a:gd name="T0" fmla="*/ 62 w 171"/>
                      <a:gd name="T1" fmla="*/ 187 h 212"/>
                      <a:gd name="T2" fmla="*/ 118 w 171"/>
                      <a:gd name="T3" fmla="*/ 175 h 212"/>
                      <a:gd name="T4" fmla="*/ 118 w 171"/>
                      <a:gd name="T5" fmla="*/ 11 h 212"/>
                      <a:gd name="T6" fmla="*/ 62 w 171"/>
                      <a:gd name="T7" fmla="*/ 0 h 212"/>
                      <a:gd name="T8" fmla="*/ 55 w 171"/>
                      <a:gd name="T9" fmla="*/ 34 h 212"/>
                      <a:gd name="T10" fmla="*/ 74 w 171"/>
                      <a:gd name="T11" fmla="*/ 45 h 212"/>
                      <a:gd name="T12" fmla="*/ 58 w 171"/>
                      <a:gd name="T13" fmla="*/ 56 h 212"/>
                      <a:gd name="T14" fmla="*/ 74 w 171"/>
                      <a:gd name="T15" fmla="*/ 67 h 212"/>
                      <a:gd name="T16" fmla="*/ 59 w 171"/>
                      <a:gd name="T17" fmla="*/ 78 h 212"/>
                      <a:gd name="T18" fmla="*/ 74 w 171"/>
                      <a:gd name="T19" fmla="*/ 89 h 212"/>
                      <a:gd name="T20" fmla="*/ 53 w 171"/>
                      <a:gd name="T21" fmla="*/ 170 h 212"/>
                      <a:gd name="T22" fmla="*/ 85 w 171"/>
                      <a:gd name="T23" fmla="*/ 146 h 212"/>
                      <a:gd name="T24" fmla="*/ 85 w 171"/>
                      <a:gd name="T25" fmla="*/ 168 h 212"/>
                      <a:gd name="T26" fmla="*/ 85 w 171"/>
                      <a:gd name="T27" fmla="*/ 146 h 212"/>
                      <a:gd name="T28" fmla="*/ 90 w 171"/>
                      <a:gd name="T29" fmla="*/ 157 h 212"/>
                      <a:gd name="T30" fmla="*/ 80 w 171"/>
                      <a:gd name="T31" fmla="*/ 157 h 212"/>
                      <a:gd name="T32" fmla="*/ 129 w 171"/>
                      <a:gd name="T33" fmla="*/ 170 h 212"/>
                      <a:gd name="T34" fmla="*/ 125 w 171"/>
                      <a:gd name="T35" fmla="*/ 174 h 212"/>
                      <a:gd name="T36" fmla="*/ 108 w 171"/>
                      <a:gd name="T37" fmla="*/ 194 h 212"/>
                      <a:gd name="T38" fmla="*/ 49 w 171"/>
                      <a:gd name="T39" fmla="*/ 188 h 212"/>
                      <a:gd name="T40" fmla="*/ 45 w 171"/>
                      <a:gd name="T41" fmla="*/ 170 h 212"/>
                      <a:gd name="T42" fmla="*/ 26 w 171"/>
                      <a:gd name="T43" fmla="*/ 185 h 212"/>
                      <a:gd name="T44" fmla="*/ 41 w 171"/>
                      <a:gd name="T45" fmla="*/ 212 h 212"/>
                      <a:gd name="T46" fmla="*/ 144 w 171"/>
                      <a:gd name="T47" fmla="*/ 197 h 212"/>
                      <a:gd name="T48" fmla="*/ 129 w 171"/>
                      <a:gd name="T49" fmla="*/ 170 h 212"/>
                      <a:gd name="T50" fmla="*/ 127 w 171"/>
                      <a:gd name="T51" fmla="*/ 51 h 212"/>
                      <a:gd name="T52" fmla="*/ 138 w 171"/>
                      <a:gd name="T53" fmla="*/ 65 h 212"/>
                      <a:gd name="T54" fmla="*/ 43 w 171"/>
                      <a:gd name="T55" fmla="*/ 51 h 212"/>
                      <a:gd name="T56" fmla="*/ 43 w 171"/>
                      <a:gd name="T57" fmla="*/ 79 h 212"/>
                      <a:gd name="T58" fmla="*/ 164 w 171"/>
                      <a:gd name="T59" fmla="*/ 65 h 212"/>
                      <a:gd name="T60" fmla="*/ 170 w 171"/>
                      <a:gd name="T61" fmla="*/ 65 h 212"/>
                      <a:gd name="T62" fmla="*/ 137 w 171"/>
                      <a:gd name="T63" fmla="*/ 41 h 212"/>
                      <a:gd name="T64" fmla="*/ 137 w 171"/>
                      <a:gd name="T65" fmla="*/ 89 h 212"/>
                      <a:gd name="T66" fmla="*/ 137 w 171"/>
                      <a:gd name="T67" fmla="*/ 41 h 212"/>
                      <a:gd name="T68" fmla="*/ 34 w 171"/>
                      <a:gd name="T69" fmla="*/ 41 h 212"/>
                      <a:gd name="T70" fmla="*/ 34 w 171"/>
                      <a:gd name="T71" fmla="*/ 89 h 212"/>
                      <a:gd name="T72" fmla="*/ 21 w 171"/>
                      <a:gd name="T73" fmla="*/ 30 h 212"/>
                      <a:gd name="T74" fmla="*/ 21 w 171"/>
                      <a:gd name="T75" fmla="*/ 100 h 212"/>
                      <a:gd name="T76" fmla="*/ 21 w 171"/>
                      <a:gd name="T77" fmla="*/ 30 h 2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</a:cxnLst>
                    <a:rect l="0" t="0" r="r" b="b"/>
                    <a:pathLst>
                      <a:path w="171" h="212">
                        <a:moveTo>
                          <a:pt x="52" y="175"/>
                        </a:moveTo>
                        <a:cubicBezTo>
                          <a:pt x="51" y="181"/>
                          <a:pt x="56" y="187"/>
                          <a:pt x="62" y="187"/>
                        </a:cubicBezTo>
                        <a:cubicBezTo>
                          <a:pt x="108" y="187"/>
                          <a:pt x="108" y="187"/>
                          <a:pt x="108" y="187"/>
                        </a:cubicBezTo>
                        <a:cubicBezTo>
                          <a:pt x="115" y="187"/>
                          <a:pt x="119" y="181"/>
                          <a:pt x="118" y="175"/>
                        </a:cubicBezTo>
                        <a:cubicBezTo>
                          <a:pt x="118" y="173"/>
                          <a:pt x="118" y="172"/>
                          <a:pt x="117" y="170"/>
                        </a:cubicBezTo>
                        <a:cubicBezTo>
                          <a:pt x="109" y="112"/>
                          <a:pt x="109" y="70"/>
                          <a:pt x="118" y="11"/>
                        </a:cubicBezTo>
                        <a:cubicBezTo>
                          <a:pt x="119" y="5"/>
                          <a:pt x="115" y="0"/>
                          <a:pt x="108" y="0"/>
                        </a:cubicBezTo>
                        <a:cubicBezTo>
                          <a:pt x="62" y="0"/>
                          <a:pt x="62" y="0"/>
                          <a:pt x="62" y="0"/>
                        </a:cubicBezTo>
                        <a:cubicBezTo>
                          <a:pt x="56" y="0"/>
                          <a:pt x="51" y="5"/>
                          <a:pt x="52" y="11"/>
                        </a:cubicBezTo>
                        <a:cubicBezTo>
                          <a:pt x="53" y="19"/>
                          <a:pt x="54" y="27"/>
                          <a:pt x="55" y="34"/>
                        </a:cubicBezTo>
                        <a:cubicBezTo>
                          <a:pt x="74" y="34"/>
                          <a:pt x="74" y="34"/>
                          <a:pt x="74" y="34"/>
                        </a:cubicBezTo>
                        <a:cubicBezTo>
                          <a:pt x="74" y="45"/>
                          <a:pt x="74" y="45"/>
                          <a:pt x="74" y="45"/>
                        </a:cubicBezTo>
                        <a:cubicBezTo>
                          <a:pt x="56" y="45"/>
                          <a:pt x="56" y="45"/>
                          <a:pt x="56" y="45"/>
                        </a:cubicBezTo>
                        <a:cubicBezTo>
                          <a:pt x="57" y="49"/>
                          <a:pt x="57" y="53"/>
                          <a:pt x="58" y="56"/>
                        </a:cubicBezTo>
                        <a:cubicBezTo>
                          <a:pt x="74" y="56"/>
                          <a:pt x="74" y="56"/>
                          <a:pt x="74" y="56"/>
                        </a:cubicBezTo>
                        <a:cubicBezTo>
                          <a:pt x="74" y="67"/>
                          <a:pt x="74" y="67"/>
                          <a:pt x="74" y="67"/>
                        </a:cubicBezTo>
                        <a:cubicBezTo>
                          <a:pt x="58" y="67"/>
                          <a:pt x="58" y="67"/>
                          <a:pt x="58" y="67"/>
                        </a:cubicBezTo>
                        <a:cubicBezTo>
                          <a:pt x="59" y="71"/>
                          <a:pt x="59" y="75"/>
                          <a:pt x="59" y="78"/>
                        </a:cubicBezTo>
                        <a:cubicBezTo>
                          <a:pt x="74" y="78"/>
                          <a:pt x="74" y="78"/>
                          <a:pt x="74" y="78"/>
                        </a:cubicBezTo>
                        <a:cubicBezTo>
                          <a:pt x="74" y="89"/>
                          <a:pt x="74" y="89"/>
                          <a:pt x="74" y="89"/>
                        </a:cubicBezTo>
                        <a:cubicBezTo>
                          <a:pt x="59" y="89"/>
                          <a:pt x="59" y="89"/>
                          <a:pt x="59" y="89"/>
                        </a:cubicBezTo>
                        <a:cubicBezTo>
                          <a:pt x="59" y="115"/>
                          <a:pt x="57" y="140"/>
                          <a:pt x="53" y="170"/>
                        </a:cubicBezTo>
                        <a:cubicBezTo>
                          <a:pt x="53" y="172"/>
                          <a:pt x="52" y="173"/>
                          <a:pt x="52" y="175"/>
                        </a:cubicBezTo>
                        <a:close/>
                        <a:moveTo>
                          <a:pt x="85" y="146"/>
                        </a:moveTo>
                        <a:cubicBezTo>
                          <a:pt x="91" y="146"/>
                          <a:pt x="97" y="151"/>
                          <a:pt x="97" y="157"/>
                        </a:cubicBezTo>
                        <a:cubicBezTo>
                          <a:pt x="97" y="163"/>
                          <a:pt x="91" y="168"/>
                          <a:pt x="85" y="168"/>
                        </a:cubicBezTo>
                        <a:cubicBezTo>
                          <a:pt x="79" y="168"/>
                          <a:pt x="74" y="163"/>
                          <a:pt x="74" y="157"/>
                        </a:cubicBezTo>
                        <a:cubicBezTo>
                          <a:pt x="74" y="151"/>
                          <a:pt x="79" y="146"/>
                          <a:pt x="85" y="146"/>
                        </a:cubicBezTo>
                        <a:close/>
                        <a:moveTo>
                          <a:pt x="85" y="162"/>
                        </a:moveTo>
                        <a:cubicBezTo>
                          <a:pt x="88" y="162"/>
                          <a:pt x="90" y="160"/>
                          <a:pt x="90" y="157"/>
                        </a:cubicBezTo>
                        <a:cubicBezTo>
                          <a:pt x="90" y="154"/>
                          <a:pt x="88" y="152"/>
                          <a:pt x="85" y="152"/>
                        </a:cubicBezTo>
                        <a:cubicBezTo>
                          <a:pt x="82" y="152"/>
                          <a:pt x="80" y="154"/>
                          <a:pt x="80" y="157"/>
                        </a:cubicBezTo>
                        <a:cubicBezTo>
                          <a:pt x="80" y="160"/>
                          <a:pt x="82" y="162"/>
                          <a:pt x="85" y="162"/>
                        </a:cubicBezTo>
                        <a:close/>
                        <a:moveTo>
                          <a:pt x="129" y="170"/>
                        </a:moveTo>
                        <a:cubicBezTo>
                          <a:pt x="125" y="170"/>
                          <a:pt x="125" y="170"/>
                          <a:pt x="125" y="170"/>
                        </a:cubicBezTo>
                        <a:cubicBezTo>
                          <a:pt x="125" y="171"/>
                          <a:pt x="125" y="173"/>
                          <a:pt x="125" y="174"/>
                        </a:cubicBezTo>
                        <a:cubicBezTo>
                          <a:pt x="126" y="179"/>
                          <a:pt x="125" y="184"/>
                          <a:pt x="121" y="188"/>
                        </a:cubicBezTo>
                        <a:cubicBezTo>
                          <a:pt x="118" y="192"/>
                          <a:pt x="114" y="194"/>
                          <a:pt x="108" y="194"/>
                        </a:cubicBezTo>
                        <a:cubicBezTo>
                          <a:pt x="62" y="194"/>
                          <a:pt x="62" y="194"/>
                          <a:pt x="62" y="194"/>
                        </a:cubicBezTo>
                        <a:cubicBezTo>
                          <a:pt x="57" y="194"/>
                          <a:pt x="52" y="192"/>
                          <a:pt x="49" y="188"/>
                        </a:cubicBezTo>
                        <a:cubicBezTo>
                          <a:pt x="45" y="184"/>
                          <a:pt x="44" y="179"/>
                          <a:pt x="45" y="174"/>
                        </a:cubicBezTo>
                        <a:cubicBezTo>
                          <a:pt x="45" y="173"/>
                          <a:pt x="45" y="171"/>
                          <a:pt x="45" y="170"/>
                        </a:cubicBezTo>
                        <a:cubicBezTo>
                          <a:pt x="41" y="170"/>
                          <a:pt x="41" y="170"/>
                          <a:pt x="41" y="170"/>
                        </a:cubicBezTo>
                        <a:cubicBezTo>
                          <a:pt x="33" y="170"/>
                          <a:pt x="26" y="177"/>
                          <a:pt x="26" y="185"/>
                        </a:cubicBezTo>
                        <a:cubicBezTo>
                          <a:pt x="26" y="197"/>
                          <a:pt x="26" y="197"/>
                          <a:pt x="26" y="197"/>
                        </a:cubicBezTo>
                        <a:cubicBezTo>
                          <a:pt x="26" y="205"/>
                          <a:pt x="33" y="212"/>
                          <a:pt x="41" y="212"/>
                        </a:cubicBezTo>
                        <a:cubicBezTo>
                          <a:pt x="129" y="212"/>
                          <a:pt x="129" y="212"/>
                          <a:pt x="129" y="212"/>
                        </a:cubicBezTo>
                        <a:cubicBezTo>
                          <a:pt x="137" y="212"/>
                          <a:pt x="144" y="205"/>
                          <a:pt x="144" y="197"/>
                        </a:cubicBezTo>
                        <a:cubicBezTo>
                          <a:pt x="144" y="185"/>
                          <a:pt x="144" y="185"/>
                          <a:pt x="144" y="185"/>
                        </a:cubicBezTo>
                        <a:cubicBezTo>
                          <a:pt x="144" y="177"/>
                          <a:pt x="137" y="170"/>
                          <a:pt x="129" y="170"/>
                        </a:cubicBezTo>
                        <a:close/>
                        <a:moveTo>
                          <a:pt x="138" y="65"/>
                        </a:moveTo>
                        <a:cubicBezTo>
                          <a:pt x="138" y="58"/>
                          <a:pt x="133" y="52"/>
                          <a:pt x="127" y="51"/>
                        </a:cubicBezTo>
                        <a:cubicBezTo>
                          <a:pt x="135" y="58"/>
                          <a:pt x="135" y="72"/>
                          <a:pt x="127" y="79"/>
                        </a:cubicBezTo>
                        <a:cubicBezTo>
                          <a:pt x="133" y="78"/>
                          <a:pt x="138" y="72"/>
                          <a:pt x="138" y="65"/>
                        </a:cubicBezTo>
                        <a:close/>
                        <a:moveTo>
                          <a:pt x="43" y="79"/>
                        </a:moveTo>
                        <a:cubicBezTo>
                          <a:pt x="35" y="72"/>
                          <a:pt x="35" y="58"/>
                          <a:pt x="43" y="51"/>
                        </a:cubicBezTo>
                        <a:cubicBezTo>
                          <a:pt x="38" y="52"/>
                          <a:pt x="32" y="58"/>
                          <a:pt x="33" y="65"/>
                        </a:cubicBezTo>
                        <a:cubicBezTo>
                          <a:pt x="32" y="72"/>
                          <a:pt x="38" y="78"/>
                          <a:pt x="43" y="79"/>
                        </a:cubicBezTo>
                        <a:close/>
                        <a:moveTo>
                          <a:pt x="150" y="30"/>
                        </a:moveTo>
                        <a:cubicBezTo>
                          <a:pt x="159" y="39"/>
                          <a:pt x="164" y="52"/>
                          <a:pt x="164" y="65"/>
                        </a:cubicBezTo>
                        <a:cubicBezTo>
                          <a:pt x="164" y="78"/>
                          <a:pt x="159" y="91"/>
                          <a:pt x="150" y="100"/>
                        </a:cubicBezTo>
                        <a:cubicBezTo>
                          <a:pt x="160" y="95"/>
                          <a:pt x="171" y="81"/>
                          <a:pt x="170" y="65"/>
                        </a:cubicBezTo>
                        <a:cubicBezTo>
                          <a:pt x="171" y="49"/>
                          <a:pt x="160" y="35"/>
                          <a:pt x="150" y="30"/>
                        </a:cubicBezTo>
                        <a:close/>
                        <a:moveTo>
                          <a:pt x="137" y="41"/>
                        </a:moveTo>
                        <a:cubicBezTo>
                          <a:pt x="143" y="47"/>
                          <a:pt x="147" y="56"/>
                          <a:pt x="147" y="65"/>
                        </a:cubicBezTo>
                        <a:cubicBezTo>
                          <a:pt x="147" y="74"/>
                          <a:pt x="143" y="83"/>
                          <a:pt x="137" y="89"/>
                        </a:cubicBezTo>
                        <a:cubicBezTo>
                          <a:pt x="145" y="86"/>
                          <a:pt x="153" y="77"/>
                          <a:pt x="153" y="65"/>
                        </a:cubicBezTo>
                        <a:cubicBezTo>
                          <a:pt x="153" y="53"/>
                          <a:pt x="145" y="44"/>
                          <a:pt x="137" y="41"/>
                        </a:cubicBezTo>
                        <a:close/>
                        <a:moveTo>
                          <a:pt x="23" y="65"/>
                        </a:moveTo>
                        <a:cubicBezTo>
                          <a:pt x="23" y="56"/>
                          <a:pt x="27" y="47"/>
                          <a:pt x="34" y="41"/>
                        </a:cubicBezTo>
                        <a:cubicBezTo>
                          <a:pt x="26" y="44"/>
                          <a:pt x="17" y="53"/>
                          <a:pt x="17" y="65"/>
                        </a:cubicBezTo>
                        <a:cubicBezTo>
                          <a:pt x="17" y="77"/>
                          <a:pt x="26" y="86"/>
                          <a:pt x="34" y="89"/>
                        </a:cubicBezTo>
                        <a:cubicBezTo>
                          <a:pt x="27" y="83"/>
                          <a:pt x="23" y="74"/>
                          <a:pt x="23" y="65"/>
                        </a:cubicBezTo>
                        <a:close/>
                        <a:moveTo>
                          <a:pt x="21" y="30"/>
                        </a:moveTo>
                        <a:cubicBezTo>
                          <a:pt x="10" y="35"/>
                          <a:pt x="0" y="49"/>
                          <a:pt x="0" y="65"/>
                        </a:cubicBezTo>
                        <a:cubicBezTo>
                          <a:pt x="0" y="81"/>
                          <a:pt x="10" y="95"/>
                          <a:pt x="21" y="100"/>
                        </a:cubicBezTo>
                        <a:cubicBezTo>
                          <a:pt x="11" y="91"/>
                          <a:pt x="6" y="78"/>
                          <a:pt x="6" y="65"/>
                        </a:cubicBezTo>
                        <a:cubicBezTo>
                          <a:pt x="6" y="52"/>
                          <a:pt x="11" y="39"/>
                          <a:pt x="21" y="30"/>
                        </a:cubicBezTo>
                        <a:close/>
                      </a:path>
                    </a:pathLst>
                  </a:custGeom>
                  <a:solidFill>
                    <a:srgbClr val="0283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5" name="Freeform 196"/>
                  <p:cNvSpPr>
                    <a:spLocks noEditPoints="1"/>
                  </p:cNvSpPr>
                  <p:nvPr/>
                </p:nvSpPr>
                <p:spPr bwMode="auto">
                  <a:xfrm rot="5400000">
                    <a:off x="10331851" y="762351"/>
                    <a:ext cx="215389" cy="215806"/>
                  </a:xfrm>
                  <a:custGeom>
                    <a:avLst/>
                    <a:gdLst>
                      <a:gd name="T0" fmla="*/ 155 w 196"/>
                      <a:gd name="T1" fmla="*/ 76 h 190"/>
                      <a:gd name="T2" fmla="*/ 147 w 196"/>
                      <a:gd name="T3" fmla="*/ 29 h 190"/>
                      <a:gd name="T4" fmla="*/ 117 w 196"/>
                      <a:gd name="T5" fmla="*/ 28 h 190"/>
                      <a:gd name="T6" fmla="*/ 92 w 196"/>
                      <a:gd name="T7" fmla="*/ 0 h 190"/>
                      <a:gd name="T8" fmla="*/ 70 w 196"/>
                      <a:gd name="T9" fmla="*/ 36 h 190"/>
                      <a:gd name="T10" fmla="*/ 35 w 196"/>
                      <a:gd name="T11" fmla="*/ 28 h 190"/>
                      <a:gd name="T12" fmla="*/ 21 w 196"/>
                      <a:gd name="T13" fmla="*/ 73 h 190"/>
                      <a:gd name="T14" fmla="*/ 0 w 196"/>
                      <a:gd name="T15" fmla="*/ 99 h 190"/>
                      <a:gd name="T16" fmla="*/ 29 w 196"/>
                      <a:gd name="T17" fmla="*/ 121 h 190"/>
                      <a:gd name="T18" fmla="*/ 14 w 196"/>
                      <a:gd name="T19" fmla="*/ 163 h 190"/>
                      <a:gd name="T20" fmla="*/ 66 w 196"/>
                      <a:gd name="T21" fmla="*/ 170 h 190"/>
                      <a:gd name="T22" fmla="*/ 91 w 196"/>
                      <a:gd name="T23" fmla="*/ 190 h 190"/>
                      <a:gd name="T24" fmla="*/ 93 w 196"/>
                      <a:gd name="T25" fmla="*/ 190 h 190"/>
                      <a:gd name="T26" fmla="*/ 102 w 196"/>
                      <a:gd name="T27" fmla="*/ 169 h 190"/>
                      <a:gd name="T28" fmla="*/ 143 w 196"/>
                      <a:gd name="T29" fmla="*/ 162 h 190"/>
                      <a:gd name="T30" fmla="*/ 161 w 196"/>
                      <a:gd name="T31" fmla="*/ 151 h 190"/>
                      <a:gd name="T32" fmla="*/ 178 w 196"/>
                      <a:gd name="T33" fmla="*/ 110 h 190"/>
                      <a:gd name="T34" fmla="*/ 167 w 196"/>
                      <a:gd name="T35" fmla="*/ 119 h 190"/>
                      <a:gd name="T36" fmla="*/ 119 w 196"/>
                      <a:gd name="T37" fmla="*/ 111 h 190"/>
                      <a:gd name="T38" fmla="*/ 158 w 196"/>
                      <a:gd name="T39" fmla="*/ 150 h 190"/>
                      <a:gd name="T40" fmla="*/ 112 w 196"/>
                      <a:gd name="T41" fmla="*/ 121 h 190"/>
                      <a:gd name="T42" fmla="*/ 123 w 196"/>
                      <a:gd name="T43" fmla="*/ 152 h 190"/>
                      <a:gd name="T44" fmla="*/ 103 w 196"/>
                      <a:gd name="T45" fmla="*/ 127 h 190"/>
                      <a:gd name="T46" fmla="*/ 99 w 196"/>
                      <a:gd name="T47" fmla="*/ 167 h 190"/>
                      <a:gd name="T48" fmla="*/ 91 w 196"/>
                      <a:gd name="T49" fmla="*/ 129 h 190"/>
                      <a:gd name="T50" fmla="*/ 75 w 196"/>
                      <a:gd name="T51" fmla="*/ 161 h 190"/>
                      <a:gd name="T52" fmla="*/ 69 w 196"/>
                      <a:gd name="T53" fmla="*/ 152 h 190"/>
                      <a:gd name="T54" fmla="*/ 37 w 196"/>
                      <a:gd name="T55" fmla="*/ 155 h 190"/>
                      <a:gd name="T56" fmla="*/ 31 w 196"/>
                      <a:gd name="T57" fmla="*/ 151 h 190"/>
                      <a:gd name="T58" fmla="*/ 47 w 196"/>
                      <a:gd name="T59" fmla="*/ 118 h 190"/>
                      <a:gd name="T60" fmla="*/ 38 w 196"/>
                      <a:gd name="T61" fmla="*/ 112 h 190"/>
                      <a:gd name="T62" fmla="*/ 62 w 196"/>
                      <a:gd name="T63" fmla="*/ 100 h 190"/>
                      <a:gd name="T64" fmla="*/ 21 w 196"/>
                      <a:gd name="T65" fmla="*/ 89 h 190"/>
                      <a:gd name="T66" fmla="*/ 64 w 196"/>
                      <a:gd name="T67" fmla="*/ 88 h 190"/>
                      <a:gd name="T68" fmla="*/ 33 w 196"/>
                      <a:gd name="T69" fmla="*/ 64 h 190"/>
                      <a:gd name="T70" fmla="*/ 70 w 196"/>
                      <a:gd name="T71" fmla="*/ 78 h 190"/>
                      <a:gd name="T72" fmla="*/ 60 w 196"/>
                      <a:gd name="T73" fmla="*/ 46 h 190"/>
                      <a:gd name="T74" fmla="*/ 81 w 196"/>
                      <a:gd name="T75" fmla="*/ 71 h 190"/>
                      <a:gd name="T76" fmla="*/ 86 w 196"/>
                      <a:gd name="T77" fmla="*/ 25 h 190"/>
                      <a:gd name="T78" fmla="*/ 93 w 196"/>
                      <a:gd name="T79" fmla="*/ 69 h 190"/>
                      <a:gd name="T80" fmla="*/ 108 w 196"/>
                      <a:gd name="T81" fmla="*/ 37 h 190"/>
                      <a:gd name="T82" fmla="*/ 115 w 196"/>
                      <a:gd name="T83" fmla="*/ 46 h 190"/>
                      <a:gd name="T84" fmla="*/ 134 w 196"/>
                      <a:gd name="T85" fmla="*/ 43 h 190"/>
                      <a:gd name="T86" fmla="*/ 139 w 196"/>
                      <a:gd name="T87" fmla="*/ 53 h 190"/>
                      <a:gd name="T88" fmla="*/ 137 w 196"/>
                      <a:gd name="T89" fmla="*/ 79 h 190"/>
                      <a:gd name="T90" fmla="*/ 146 w 196"/>
                      <a:gd name="T91" fmla="*/ 86 h 190"/>
                      <a:gd name="T92" fmla="*/ 122 w 196"/>
                      <a:gd name="T93" fmla="*/ 97 h 190"/>
                      <a:gd name="T94" fmla="*/ 175 w 196"/>
                      <a:gd name="T95" fmla="*/ 109 h 190"/>
                      <a:gd name="T96" fmla="*/ 116 w 196"/>
                      <a:gd name="T97" fmla="*/ 88 h 190"/>
                      <a:gd name="T98" fmla="*/ 101 w 196"/>
                      <a:gd name="T99" fmla="*/ 74 h 190"/>
                      <a:gd name="T100" fmla="*/ 83 w 196"/>
                      <a:gd name="T101" fmla="*/ 74 h 190"/>
                      <a:gd name="T102" fmla="*/ 68 w 196"/>
                      <a:gd name="T103" fmla="*/ 88 h 190"/>
                      <a:gd name="T104" fmla="*/ 66 w 196"/>
                      <a:gd name="T105" fmla="*/ 100 h 190"/>
                      <a:gd name="T106" fmla="*/ 74 w 196"/>
                      <a:gd name="T107" fmla="*/ 118 h 190"/>
                      <a:gd name="T108" fmla="*/ 92 w 196"/>
                      <a:gd name="T109" fmla="*/ 125 h 190"/>
                      <a:gd name="T110" fmla="*/ 109 w 196"/>
                      <a:gd name="T111" fmla="*/ 118 h 190"/>
                      <a:gd name="T112" fmla="*/ 118 w 196"/>
                      <a:gd name="T113" fmla="*/ 100 h 1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196" h="190">
                        <a:moveTo>
                          <a:pt x="183" y="85"/>
                        </a:moveTo>
                        <a:cubicBezTo>
                          <a:pt x="179" y="85"/>
                          <a:pt x="175" y="87"/>
                          <a:pt x="173" y="91"/>
                        </a:cubicBezTo>
                        <a:cubicBezTo>
                          <a:pt x="154" y="81"/>
                          <a:pt x="154" y="81"/>
                          <a:pt x="154" y="81"/>
                        </a:cubicBezTo>
                        <a:cubicBezTo>
                          <a:pt x="155" y="79"/>
                          <a:pt x="155" y="78"/>
                          <a:pt x="155" y="76"/>
                        </a:cubicBezTo>
                        <a:cubicBezTo>
                          <a:pt x="155" y="72"/>
                          <a:pt x="152" y="68"/>
                          <a:pt x="148" y="67"/>
                        </a:cubicBezTo>
                        <a:cubicBezTo>
                          <a:pt x="149" y="56"/>
                          <a:pt x="149" y="56"/>
                          <a:pt x="149" y="56"/>
                        </a:cubicBezTo>
                        <a:cubicBezTo>
                          <a:pt x="155" y="55"/>
                          <a:pt x="161" y="49"/>
                          <a:pt x="161" y="43"/>
                        </a:cubicBezTo>
                        <a:cubicBezTo>
                          <a:pt x="161" y="35"/>
                          <a:pt x="155" y="29"/>
                          <a:pt x="147" y="29"/>
                        </a:cubicBezTo>
                        <a:cubicBezTo>
                          <a:pt x="142" y="29"/>
                          <a:pt x="137" y="33"/>
                          <a:pt x="135" y="38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7"/>
                          <a:pt x="127" y="37"/>
                          <a:pt x="127" y="37"/>
                        </a:cubicBezTo>
                        <a:cubicBezTo>
                          <a:pt x="127" y="32"/>
                          <a:pt x="122" y="28"/>
                          <a:pt x="117" y="28"/>
                        </a:cubicBezTo>
                        <a:cubicBezTo>
                          <a:pt x="115" y="28"/>
                          <a:pt x="113" y="29"/>
                          <a:pt x="111" y="30"/>
                        </a:cubicBezTo>
                        <a:cubicBezTo>
                          <a:pt x="102" y="22"/>
                          <a:pt x="102" y="22"/>
                          <a:pt x="102" y="22"/>
                        </a:cubicBezTo>
                        <a:cubicBezTo>
                          <a:pt x="104" y="20"/>
                          <a:pt x="105" y="17"/>
                          <a:pt x="105" y="14"/>
                        </a:cubicBezTo>
                        <a:cubicBezTo>
                          <a:pt x="105" y="6"/>
                          <a:pt x="99" y="0"/>
                          <a:pt x="92" y="0"/>
                        </a:cubicBezTo>
                        <a:cubicBezTo>
                          <a:pt x="85" y="0"/>
                          <a:pt x="79" y="6"/>
                          <a:pt x="79" y="14"/>
                        </a:cubicBezTo>
                        <a:cubicBezTo>
                          <a:pt x="79" y="17"/>
                          <a:pt x="80" y="21"/>
                          <a:pt x="83" y="23"/>
                        </a:cubicBezTo>
                        <a:cubicBezTo>
                          <a:pt x="74" y="37"/>
                          <a:pt x="74" y="37"/>
                          <a:pt x="74" y="37"/>
                        </a:cubicBezTo>
                        <a:cubicBezTo>
                          <a:pt x="72" y="36"/>
                          <a:pt x="71" y="36"/>
                          <a:pt x="70" y="36"/>
                        </a:cubicBezTo>
                        <a:cubicBezTo>
                          <a:pt x="65" y="36"/>
                          <a:pt x="61" y="39"/>
                          <a:pt x="60" y="43"/>
                        </a:cubicBezTo>
                        <a:cubicBezTo>
                          <a:pt x="48" y="42"/>
                          <a:pt x="48" y="42"/>
                          <a:pt x="48" y="42"/>
                        </a:cubicBezTo>
                        <a:cubicBezTo>
                          <a:pt x="48" y="42"/>
                          <a:pt x="48" y="42"/>
                          <a:pt x="48" y="42"/>
                        </a:cubicBezTo>
                        <a:cubicBezTo>
                          <a:pt x="48" y="34"/>
                          <a:pt x="42" y="28"/>
                          <a:pt x="35" y="28"/>
                        </a:cubicBezTo>
                        <a:cubicBezTo>
                          <a:pt x="28" y="28"/>
                          <a:pt x="22" y="34"/>
                          <a:pt x="22" y="42"/>
                        </a:cubicBezTo>
                        <a:cubicBezTo>
                          <a:pt x="22" y="48"/>
                          <a:pt x="25" y="52"/>
                          <a:pt x="31" y="54"/>
                        </a:cubicBezTo>
                        <a:cubicBezTo>
                          <a:pt x="30" y="64"/>
                          <a:pt x="30" y="64"/>
                          <a:pt x="30" y="64"/>
                        </a:cubicBezTo>
                        <a:cubicBezTo>
                          <a:pt x="25" y="64"/>
                          <a:pt x="21" y="68"/>
                          <a:pt x="21" y="73"/>
                        </a:cubicBezTo>
                        <a:cubicBezTo>
                          <a:pt x="21" y="76"/>
                          <a:pt x="22" y="78"/>
                          <a:pt x="24" y="80"/>
                        </a:cubicBezTo>
                        <a:cubicBezTo>
                          <a:pt x="19" y="87"/>
                          <a:pt x="19" y="87"/>
                          <a:pt x="19" y="87"/>
                        </a:cubicBezTo>
                        <a:cubicBezTo>
                          <a:pt x="17" y="86"/>
                          <a:pt x="15" y="85"/>
                          <a:pt x="13" y="85"/>
                        </a:cubicBezTo>
                        <a:cubicBezTo>
                          <a:pt x="5" y="85"/>
                          <a:pt x="0" y="91"/>
                          <a:pt x="0" y="99"/>
                        </a:cubicBezTo>
                        <a:cubicBezTo>
                          <a:pt x="0" y="106"/>
                          <a:pt x="5" y="112"/>
                          <a:pt x="13" y="112"/>
                        </a:cubicBezTo>
                        <a:cubicBezTo>
                          <a:pt x="16" y="112"/>
                          <a:pt x="19" y="111"/>
                          <a:pt x="21" y="109"/>
                        </a:cubicBezTo>
                        <a:cubicBezTo>
                          <a:pt x="30" y="116"/>
                          <a:pt x="30" y="116"/>
                          <a:pt x="30" y="116"/>
                        </a:cubicBezTo>
                        <a:cubicBezTo>
                          <a:pt x="29" y="117"/>
                          <a:pt x="29" y="119"/>
                          <a:pt x="29" y="121"/>
                        </a:cubicBezTo>
                        <a:cubicBezTo>
                          <a:pt x="29" y="124"/>
                          <a:pt x="31" y="127"/>
                          <a:pt x="33" y="129"/>
                        </a:cubicBezTo>
                        <a:cubicBezTo>
                          <a:pt x="28" y="150"/>
                          <a:pt x="28" y="150"/>
                          <a:pt x="28" y="150"/>
                        </a:cubicBezTo>
                        <a:cubicBezTo>
                          <a:pt x="28" y="150"/>
                          <a:pt x="27" y="150"/>
                          <a:pt x="27" y="150"/>
                        </a:cubicBezTo>
                        <a:cubicBezTo>
                          <a:pt x="20" y="150"/>
                          <a:pt x="14" y="156"/>
                          <a:pt x="14" y="163"/>
                        </a:cubicBezTo>
                        <a:cubicBezTo>
                          <a:pt x="14" y="170"/>
                          <a:pt x="20" y="176"/>
                          <a:pt x="27" y="176"/>
                        </a:cubicBezTo>
                        <a:cubicBezTo>
                          <a:pt x="34" y="176"/>
                          <a:pt x="40" y="171"/>
                          <a:pt x="40" y="164"/>
                        </a:cubicBezTo>
                        <a:cubicBezTo>
                          <a:pt x="57" y="163"/>
                          <a:pt x="57" y="163"/>
                          <a:pt x="57" y="163"/>
                        </a:cubicBezTo>
                        <a:cubicBezTo>
                          <a:pt x="58" y="167"/>
                          <a:pt x="62" y="170"/>
                          <a:pt x="66" y="170"/>
                        </a:cubicBezTo>
                        <a:cubicBezTo>
                          <a:pt x="69" y="170"/>
                          <a:pt x="71" y="169"/>
                          <a:pt x="73" y="167"/>
                        </a:cubicBezTo>
                        <a:cubicBezTo>
                          <a:pt x="80" y="172"/>
                          <a:pt x="80" y="172"/>
                          <a:pt x="80" y="172"/>
                        </a:cubicBezTo>
                        <a:cubicBezTo>
                          <a:pt x="79" y="173"/>
                          <a:pt x="79" y="175"/>
                          <a:pt x="79" y="177"/>
                        </a:cubicBezTo>
                        <a:cubicBezTo>
                          <a:pt x="79" y="184"/>
                          <a:pt x="84" y="190"/>
                          <a:pt x="91" y="190"/>
                        </a:cubicBezTo>
                        <a:cubicBezTo>
                          <a:pt x="91" y="190"/>
                          <a:pt x="91" y="190"/>
                          <a:pt x="91" y="190"/>
                        </a:cubicBezTo>
                        <a:cubicBezTo>
                          <a:pt x="91" y="190"/>
                          <a:pt x="91" y="190"/>
                          <a:pt x="91" y="190"/>
                        </a:cubicBezTo>
                        <a:cubicBezTo>
                          <a:pt x="91" y="190"/>
                          <a:pt x="91" y="190"/>
                          <a:pt x="92" y="190"/>
                        </a:cubicBezTo>
                        <a:cubicBezTo>
                          <a:pt x="92" y="190"/>
                          <a:pt x="93" y="190"/>
                          <a:pt x="93" y="190"/>
                        </a:cubicBezTo>
                        <a:cubicBezTo>
                          <a:pt x="93" y="190"/>
                          <a:pt x="93" y="190"/>
                          <a:pt x="93" y="190"/>
                        </a:cubicBezTo>
                        <a:cubicBezTo>
                          <a:pt x="93" y="190"/>
                          <a:pt x="93" y="190"/>
                          <a:pt x="93" y="190"/>
                        </a:cubicBezTo>
                        <a:cubicBezTo>
                          <a:pt x="100" y="190"/>
                          <a:pt x="105" y="184"/>
                          <a:pt x="105" y="177"/>
                        </a:cubicBezTo>
                        <a:cubicBezTo>
                          <a:pt x="105" y="174"/>
                          <a:pt x="104" y="171"/>
                          <a:pt x="102" y="169"/>
                        </a:cubicBezTo>
                        <a:cubicBezTo>
                          <a:pt x="109" y="160"/>
                          <a:pt x="109" y="160"/>
                          <a:pt x="109" y="160"/>
                        </a:cubicBezTo>
                        <a:cubicBezTo>
                          <a:pt x="111" y="161"/>
                          <a:pt x="112" y="162"/>
                          <a:pt x="114" y="162"/>
                        </a:cubicBezTo>
                        <a:cubicBezTo>
                          <a:pt x="117" y="162"/>
                          <a:pt x="120" y="160"/>
                          <a:pt x="122" y="157"/>
                        </a:cubicBezTo>
                        <a:cubicBezTo>
                          <a:pt x="143" y="162"/>
                          <a:pt x="143" y="162"/>
                          <a:pt x="143" y="162"/>
                        </a:cubicBezTo>
                        <a:cubicBezTo>
                          <a:pt x="143" y="162"/>
                          <a:pt x="143" y="163"/>
                          <a:pt x="143" y="163"/>
                        </a:cubicBezTo>
                        <a:cubicBezTo>
                          <a:pt x="143" y="170"/>
                          <a:pt x="149" y="176"/>
                          <a:pt x="157" y="176"/>
                        </a:cubicBezTo>
                        <a:cubicBezTo>
                          <a:pt x="164" y="176"/>
                          <a:pt x="170" y="170"/>
                          <a:pt x="170" y="163"/>
                        </a:cubicBezTo>
                        <a:cubicBezTo>
                          <a:pt x="170" y="158"/>
                          <a:pt x="166" y="153"/>
                          <a:pt x="161" y="151"/>
                        </a:cubicBezTo>
                        <a:cubicBezTo>
                          <a:pt x="163" y="136"/>
                          <a:pt x="163" y="136"/>
                          <a:pt x="163" y="136"/>
                        </a:cubicBezTo>
                        <a:cubicBezTo>
                          <a:pt x="168" y="136"/>
                          <a:pt x="172" y="132"/>
                          <a:pt x="172" y="127"/>
                        </a:cubicBezTo>
                        <a:cubicBezTo>
                          <a:pt x="172" y="124"/>
                          <a:pt x="171" y="122"/>
                          <a:pt x="170" y="121"/>
                        </a:cubicBezTo>
                        <a:cubicBezTo>
                          <a:pt x="178" y="110"/>
                          <a:pt x="178" y="110"/>
                          <a:pt x="178" y="110"/>
                        </a:cubicBezTo>
                        <a:cubicBezTo>
                          <a:pt x="179" y="111"/>
                          <a:pt x="181" y="112"/>
                          <a:pt x="183" y="112"/>
                        </a:cubicBezTo>
                        <a:cubicBezTo>
                          <a:pt x="190" y="112"/>
                          <a:pt x="196" y="106"/>
                          <a:pt x="196" y="98"/>
                        </a:cubicBezTo>
                        <a:cubicBezTo>
                          <a:pt x="196" y="91"/>
                          <a:pt x="190" y="85"/>
                          <a:pt x="183" y="85"/>
                        </a:cubicBezTo>
                        <a:close/>
                        <a:moveTo>
                          <a:pt x="167" y="119"/>
                        </a:moveTo>
                        <a:cubicBezTo>
                          <a:pt x="166" y="118"/>
                          <a:pt x="164" y="117"/>
                          <a:pt x="162" y="117"/>
                        </a:cubicBezTo>
                        <a:cubicBezTo>
                          <a:pt x="158" y="117"/>
                          <a:pt x="155" y="120"/>
                          <a:pt x="154" y="123"/>
                        </a:cubicBezTo>
                        <a:cubicBezTo>
                          <a:pt x="120" y="109"/>
                          <a:pt x="120" y="109"/>
                          <a:pt x="120" y="109"/>
                        </a:cubicBezTo>
                        <a:cubicBezTo>
                          <a:pt x="120" y="110"/>
                          <a:pt x="119" y="110"/>
                          <a:pt x="119" y="111"/>
                        </a:cubicBezTo>
                        <a:cubicBezTo>
                          <a:pt x="153" y="125"/>
                          <a:pt x="153" y="125"/>
                          <a:pt x="153" y="125"/>
                        </a:cubicBezTo>
                        <a:cubicBezTo>
                          <a:pt x="153" y="125"/>
                          <a:pt x="153" y="126"/>
                          <a:pt x="153" y="127"/>
                        </a:cubicBezTo>
                        <a:cubicBezTo>
                          <a:pt x="153" y="131"/>
                          <a:pt x="156" y="135"/>
                          <a:pt x="160" y="136"/>
                        </a:cubicBezTo>
                        <a:cubicBezTo>
                          <a:pt x="158" y="150"/>
                          <a:pt x="158" y="150"/>
                          <a:pt x="158" y="150"/>
                        </a:cubicBezTo>
                        <a:cubicBezTo>
                          <a:pt x="158" y="150"/>
                          <a:pt x="157" y="150"/>
                          <a:pt x="157" y="150"/>
                        </a:cubicBezTo>
                        <a:cubicBezTo>
                          <a:pt x="153" y="150"/>
                          <a:pt x="150" y="151"/>
                          <a:pt x="148" y="153"/>
                        </a:cubicBezTo>
                        <a:cubicBezTo>
                          <a:pt x="114" y="119"/>
                          <a:pt x="114" y="119"/>
                          <a:pt x="114" y="119"/>
                        </a:cubicBezTo>
                        <a:cubicBezTo>
                          <a:pt x="113" y="119"/>
                          <a:pt x="113" y="120"/>
                          <a:pt x="112" y="121"/>
                        </a:cubicBezTo>
                        <a:cubicBezTo>
                          <a:pt x="146" y="155"/>
                          <a:pt x="146" y="155"/>
                          <a:pt x="146" y="155"/>
                        </a:cubicBezTo>
                        <a:cubicBezTo>
                          <a:pt x="145" y="156"/>
                          <a:pt x="145" y="157"/>
                          <a:pt x="144" y="159"/>
                        </a:cubicBezTo>
                        <a:cubicBezTo>
                          <a:pt x="123" y="154"/>
                          <a:pt x="123" y="154"/>
                          <a:pt x="123" y="154"/>
                        </a:cubicBezTo>
                        <a:cubicBezTo>
                          <a:pt x="123" y="153"/>
                          <a:pt x="123" y="153"/>
                          <a:pt x="123" y="152"/>
                        </a:cubicBezTo>
                        <a:cubicBezTo>
                          <a:pt x="123" y="147"/>
                          <a:pt x="119" y="143"/>
                          <a:pt x="114" y="143"/>
                        </a:cubicBezTo>
                        <a:cubicBezTo>
                          <a:pt x="113" y="143"/>
                          <a:pt x="112" y="143"/>
                          <a:pt x="111" y="143"/>
                        </a:cubicBezTo>
                        <a:cubicBezTo>
                          <a:pt x="104" y="126"/>
                          <a:pt x="104" y="126"/>
                          <a:pt x="104" y="126"/>
                        </a:cubicBezTo>
                        <a:cubicBezTo>
                          <a:pt x="104" y="126"/>
                          <a:pt x="103" y="126"/>
                          <a:pt x="103" y="127"/>
                        </a:cubicBezTo>
                        <a:cubicBezTo>
                          <a:pt x="110" y="144"/>
                          <a:pt x="110" y="144"/>
                          <a:pt x="110" y="144"/>
                        </a:cubicBezTo>
                        <a:cubicBezTo>
                          <a:pt x="107" y="145"/>
                          <a:pt x="105" y="149"/>
                          <a:pt x="105" y="152"/>
                        </a:cubicBezTo>
                        <a:cubicBezTo>
                          <a:pt x="105" y="155"/>
                          <a:pt x="105" y="157"/>
                          <a:pt x="107" y="158"/>
                        </a:cubicBezTo>
                        <a:cubicBezTo>
                          <a:pt x="99" y="167"/>
                          <a:pt x="99" y="167"/>
                          <a:pt x="99" y="167"/>
                        </a:cubicBezTo>
                        <a:cubicBezTo>
                          <a:pt x="98" y="165"/>
                          <a:pt x="95" y="164"/>
                          <a:pt x="93" y="164"/>
                        </a:cubicBezTo>
                        <a:cubicBezTo>
                          <a:pt x="93" y="129"/>
                          <a:pt x="93" y="129"/>
                          <a:pt x="93" y="129"/>
                        </a:cubicBezTo>
                        <a:cubicBezTo>
                          <a:pt x="93" y="129"/>
                          <a:pt x="92" y="129"/>
                          <a:pt x="92" y="129"/>
                        </a:cubicBezTo>
                        <a:cubicBezTo>
                          <a:pt x="91" y="129"/>
                          <a:pt x="91" y="129"/>
                          <a:pt x="91" y="129"/>
                        </a:cubicBezTo>
                        <a:cubicBezTo>
                          <a:pt x="91" y="164"/>
                          <a:pt x="91" y="164"/>
                          <a:pt x="91" y="164"/>
                        </a:cubicBezTo>
                        <a:cubicBezTo>
                          <a:pt x="87" y="165"/>
                          <a:pt x="84" y="166"/>
                          <a:pt x="82" y="169"/>
                        </a:cubicBezTo>
                        <a:cubicBezTo>
                          <a:pt x="75" y="164"/>
                          <a:pt x="75" y="164"/>
                          <a:pt x="75" y="164"/>
                        </a:cubicBezTo>
                        <a:cubicBezTo>
                          <a:pt x="75" y="163"/>
                          <a:pt x="75" y="162"/>
                          <a:pt x="75" y="161"/>
                        </a:cubicBezTo>
                        <a:cubicBezTo>
                          <a:pt x="75" y="157"/>
                          <a:pt x="73" y="154"/>
                          <a:pt x="70" y="152"/>
                        </a:cubicBezTo>
                        <a:cubicBezTo>
                          <a:pt x="81" y="127"/>
                          <a:pt x="81" y="127"/>
                          <a:pt x="81" y="127"/>
                        </a:cubicBezTo>
                        <a:cubicBezTo>
                          <a:pt x="81" y="126"/>
                          <a:pt x="80" y="126"/>
                          <a:pt x="80" y="126"/>
                        </a:cubicBezTo>
                        <a:cubicBezTo>
                          <a:pt x="69" y="152"/>
                          <a:pt x="69" y="152"/>
                          <a:pt x="69" y="152"/>
                        </a:cubicBezTo>
                        <a:cubicBezTo>
                          <a:pt x="68" y="151"/>
                          <a:pt x="67" y="151"/>
                          <a:pt x="66" y="151"/>
                        </a:cubicBezTo>
                        <a:cubicBezTo>
                          <a:pt x="61" y="151"/>
                          <a:pt x="57" y="155"/>
                          <a:pt x="57" y="160"/>
                        </a:cubicBezTo>
                        <a:cubicBezTo>
                          <a:pt x="40" y="161"/>
                          <a:pt x="40" y="161"/>
                          <a:pt x="40" y="161"/>
                        </a:cubicBezTo>
                        <a:cubicBezTo>
                          <a:pt x="40" y="159"/>
                          <a:pt x="39" y="157"/>
                          <a:pt x="37" y="155"/>
                        </a:cubicBezTo>
                        <a:cubicBezTo>
                          <a:pt x="72" y="121"/>
                          <a:pt x="72" y="121"/>
                          <a:pt x="72" y="121"/>
                        </a:cubicBezTo>
                        <a:cubicBezTo>
                          <a:pt x="71" y="120"/>
                          <a:pt x="70" y="119"/>
                          <a:pt x="70" y="119"/>
                        </a:cubicBezTo>
                        <a:cubicBezTo>
                          <a:pt x="36" y="153"/>
                          <a:pt x="36" y="153"/>
                          <a:pt x="36" y="153"/>
                        </a:cubicBezTo>
                        <a:cubicBezTo>
                          <a:pt x="34" y="152"/>
                          <a:pt x="33" y="151"/>
                          <a:pt x="31" y="151"/>
                        </a:cubicBezTo>
                        <a:cubicBezTo>
                          <a:pt x="37" y="130"/>
                          <a:pt x="37" y="130"/>
                          <a:pt x="37" y="130"/>
                        </a:cubicBezTo>
                        <a:cubicBezTo>
                          <a:pt x="37" y="130"/>
                          <a:pt x="38" y="130"/>
                          <a:pt x="38" y="130"/>
                        </a:cubicBezTo>
                        <a:cubicBezTo>
                          <a:pt x="43" y="130"/>
                          <a:pt x="48" y="126"/>
                          <a:pt x="48" y="121"/>
                        </a:cubicBezTo>
                        <a:cubicBezTo>
                          <a:pt x="48" y="120"/>
                          <a:pt x="47" y="119"/>
                          <a:pt x="47" y="118"/>
                        </a:cubicBezTo>
                        <a:cubicBezTo>
                          <a:pt x="65" y="111"/>
                          <a:pt x="65" y="111"/>
                          <a:pt x="65" y="111"/>
                        </a:cubicBezTo>
                        <a:cubicBezTo>
                          <a:pt x="64" y="110"/>
                          <a:pt x="64" y="110"/>
                          <a:pt x="64" y="109"/>
                        </a:cubicBezTo>
                        <a:cubicBezTo>
                          <a:pt x="47" y="117"/>
                          <a:pt x="47" y="117"/>
                          <a:pt x="47" y="117"/>
                        </a:cubicBezTo>
                        <a:cubicBezTo>
                          <a:pt x="45" y="114"/>
                          <a:pt x="42" y="112"/>
                          <a:pt x="38" y="112"/>
                        </a:cubicBezTo>
                        <a:cubicBezTo>
                          <a:pt x="36" y="112"/>
                          <a:pt x="34" y="112"/>
                          <a:pt x="32" y="114"/>
                        </a:cubicBezTo>
                        <a:cubicBezTo>
                          <a:pt x="23" y="106"/>
                          <a:pt x="23" y="106"/>
                          <a:pt x="23" y="106"/>
                        </a:cubicBezTo>
                        <a:cubicBezTo>
                          <a:pt x="25" y="104"/>
                          <a:pt x="26" y="102"/>
                          <a:pt x="26" y="100"/>
                        </a:cubicBezTo>
                        <a:cubicBezTo>
                          <a:pt x="62" y="100"/>
                          <a:pt x="62" y="100"/>
                          <a:pt x="62" y="100"/>
                        </a:cubicBezTo>
                        <a:cubicBezTo>
                          <a:pt x="62" y="100"/>
                          <a:pt x="62" y="99"/>
                          <a:pt x="62" y="99"/>
                        </a:cubicBezTo>
                        <a:cubicBezTo>
                          <a:pt x="62" y="98"/>
                          <a:pt x="62" y="98"/>
                          <a:pt x="62" y="97"/>
                        </a:cubicBezTo>
                        <a:cubicBezTo>
                          <a:pt x="26" y="97"/>
                          <a:pt x="26" y="97"/>
                          <a:pt x="26" y="97"/>
                        </a:cubicBezTo>
                        <a:cubicBezTo>
                          <a:pt x="26" y="94"/>
                          <a:pt x="24" y="91"/>
                          <a:pt x="21" y="89"/>
                        </a:cubicBezTo>
                        <a:cubicBezTo>
                          <a:pt x="27" y="82"/>
                          <a:pt x="27" y="82"/>
                          <a:pt x="27" y="82"/>
                        </a:cubicBezTo>
                        <a:cubicBezTo>
                          <a:pt x="28" y="82"/>
                          <a:pt x="29" y="82"/>
                          <a:pt x="30" y="82"/>
                        </a:cubicBezTo>
                        <a:cubicBezTo>
                          <a:pt x="34" y="82"/>
                          <a:pt x="37" y="80"/>
                          <a:pt x="39" y="77"/>
                        </a:cubicBezTo>
                        <a:cubicBezTo>
                          <a:pt x="64" y="88"/>
                          <a:pt x="64" y="88"/>
                          <a:pt x="64" y="88"/>
                        </a:cubicBezTo>
                        <a:cubicBezTo>
                          <a:pt x="64" y="87"/>
                          <a:pt x="64" y="87"/>
                          <a:pt x="65" y="86"/>
                        </a:cubicBezTo>
                        <a:cubicBezTo>
                          <a:pt x="39" y="76"/>
                          <a:pt x="39" y="76"/>
                          <a:pt x="39" y="76"/>
                        </a:cubicBezTo>
                        <a:cubicBezTo>
                          <a:pt x="39" y="75"/>
                          <a:pt x="40" y="74"/>
                          <a:pt x="40" y="73"/>
                        </a:cubicBezTo>
                        <a:cubicBezTo>
                          <a:pt x="40" y="69"/>
                          <a:pt x="37" y="65"/>
                          <a:pt x="33" y="64"/>
                        </a:cubicBezTo>
                        <a:cubicBezTo>
                          <a:pt x="34" y="55"/>
                          <a:pt x="34" y="55"/>
                          <a:pt x="34" y="55"/>
                        </a:cubicBezTo>
                        <a:cubicBezTo>
                          <a:pt x="34" y="55"/>
                          <a:pt x="35" y="55"/>
                          <a:pt x="35" y="55"/>
                        </a:cubicBezTo>
                        <a:cubicBezTo>
                          <a:pt x="38" y="55"/>
                          <a:pt x="41" y="54"/>
                          <a:pt x="43" y="52"/>
                        </a:cubicBezTo>
                        <a:cubicBezTo>
                          <a:pt x="70" y="78"/>
                          <a:pt x="70" y="78"/>
                          <a:pt x="70" y="78"/>
                        </a:cubicBezTo>
                        <a:cubicBezTo>
                          <a:pt x="70" y="78"/>
                          <a:pt x="71" y="77"/>
                          <a:pt x="72" y="77"/>
                        </a:cubicBezTo>
                        <a:cubicBezTo>
                          <a:pt x="45" y="50"/>
                          <a:pt x="45" y="50"/>
                          <a:pt x="45" y="50"/>
                        </a:cubicBezTo>
                        <a:cubicBezTo>
                          <a:pt x="46" y="49"/>
                          <a:pt x="47" y="47"/>
                          <a:pt x="48" y="45"/>
                        </a:cubicBezTo>
                        <a:cubicBezTo>
                          <a:pt x="60" y="46"/>
                          <a:pt x="60" y="46"/>
                          <a:pt x="60" y="46"/>
                        </a:cubicBezTo>
                        <a:cubicBezTo>
                          <a:pt x="61" y="51"/>
                          <a:pt x="65" y="55"/>
                          <a:pt x="70" y="55"/>
                        </a:cubicBezTo>
                        <a:cubicBezTo>
                          <a:pt x="71" y="55"/>
                          <a:pt x="72" y="55"/>
                          <a:pt x="73" y="54"/>
                        </a:cubicBezTo>
                        <a:cubicBezTo>
                          <a:pt x="80" y="71"/>
                          <a:pt x="80" y="71"/>
                          <a:pt x="80" y="71"/>
                        </a:cubicBezTo>
                        <a:cubicBezTo>
                          <a:pt x="80" y="71"/>
                          <a:pt x="81" y="71"/>
                          <a:pt x="81" y="71"/>
                        </a:cubicBezTo>
                        <a:cubicBezTo>
                          <a:pt x="74" y="54"/>
                          <a:pt x="74" y="54"/>
                          <a:pt x="74" y="54"/>
                        </a:cubicBezTo>
                        <a:cubicBezTo>
                          <a:pt x="77" y="52"/>
                          <a:pt x="79" y="49"/>
                          <a:pt x="79" y="45"/>
                        </a:cubicBezTo>
                        <a:cubicBezTo>
                          <a:pt x="79" y="43"/>
                          <a:pt x="78" y="40"/>
                          <a:pt x="76" y="39"/>
                        </a:cubicBezTo>
                        <a:cubicBezTo>
                          <a:pt x="86" y="25"/>
                          <a:pt x="86" y="25"/>
                          <a:pt x="86" y="25"/>
                        </a:cubicBezTo>
                        <a:cubicBezTo>
                          <a:pt x="87" y="26"/>
                          <a:pt x="89" y="27"/>
                          <a:pt x="91" y="27"/>
                        </a:cubicBezTo>
                        <a:cubicBezTo>
                          <a:pt x="91" y="69"/>
                          <a:pt x="91" y="69"/>
                          <a:pt x="91" y="69"/>
                        </a:cubicBezTo>
                        <a:cubicBezTo>
                          <a:pt x="91" y="69"/>
                          <a:pt x="91" y="69"/>
                          <a:pt x="92" y="69"/>
                        </a:cubicBezTo>
                        <a:cubicBezTo>
                          <a:pt x="92" y="69"/>
                          <a:pt x="93" y="69"/>
                          <a:pt x="93" y="69"/>
                        </a:cubicBezTo>
                        <a:cubicBezTo>
                          <a:pt x="93" y="27"/>
                          <a:pt x="93" y="27"/>
                          <a:pt x="93" y="27"/>
                        </a:cubicBezTo>
                        <a:cubicBezTo>
                          <a:pt x="96" y="26"/>
                          <a:pt x="98" y="26"/>
                          <a:pt x="100" y="24"/>
                        </a:cubicBezTo>
                        <a:cubicBezTo>
                          <a:pt x="109" y="33"/>
                          <a:pt x="109" y="33"/>
                          <a:pt x="109" y="33"/>
                        </a:cubicBezTo>
                        <a:cubicBezTo>
                          <a:pt x="108" y="34"/>
                          <a:pt x="108" y="35"/>
                          <a:pt x="108" y="37"/>
                        </a:cubicBezTo>
                        <a:cubicBezTo>
                          <a:pt x="108" y="41"/>
                          <a:pt x="110" y="44"/>
                          <a:pt x="113" y="45"/>
                        </a:cubicBezTo>
                        <a:cubicBezTo>
                          <a:pt x="103" y="71"/>
                          <a:pt x="103" y="71"/>
                          <a:pt x="103" y="71"/>
                        </a:cubicBezTo>
                        <a:cubicBezTo>
                          <a:pt x="103" y="71"/>
                          <a:pt x="104" y="71"/>
                          <a:pt x="104" y="71"/>
                        </a:cubicBezTo>
                        <a:cubicBezTo>
                          <a:pt x="115" y="46"/>
                          <a:pt x="115" y="46"/>
                          <a:pt x="115" y="46"/>
                        </a:cubicBezTo>
                        <a:cubicBezTo>
                          <a:pt x="115" y="46"/>
                          <a:pt x="116" y="46"/>
                          <a:pt x="117" y="46"/>
                        </a:cubicBezTo>
                        <a:cubicBezTo>
                          <a:pt x="121" y="46"/>
                          <a:pt x="125" y="44"/>
                          <a:pt x="126" y="40"/>
                        </a:cubicBezTo>
                        <a:cubicBezTo>
                          <a:pt x="134" y="41"/>
                          <a:pt x="134" y="41"/>
                          <a:pt x="134" y="41"/>
                        </a:cubicBezTo>
                        <a:cubicBezTo>
                          <a:pt x="134" y="42"/>
                          <a:pt x="134" y="42"/>
                          <a:pt x="134" y="43"/>
                        </a:cubicBezTo>
                        <a:cubicBezTo>
                          <a:pt x="134" y="46"/>
                          <a:pt x="135" y="49"/>
                          <a:pt x="137" y="51"/>
                        </a:cubicBezTo>
                        <a:cubicBezTo>
                          <a:pt x="112" y="77"/>
                          <a:pt x="112" y="77"/>
                          <a:pt x="112" y="77"/>
                        </a:cubicBezTo>
                        <a:cubicBezTo>
                          <a:pt x="113" y="77"/>
                          <a:pt x="113" y="78"/>
                          <a:pt x="114" y="78"/>
                        </a:cubicBezTo>
                        <a:cubicBezTo>
                          <a:pt x="139" y="53"/>
                          <a:pt x="139" y="53"/>
                          <a:pt x="139" y="53"/>
                        </a:cubicBezTo>
                        <a:cubicBezTo>
                          <a:pt x="141" y="54"/>
                          <a:pt x="143" y="55"/>
                          <a:pt x="146" y="56"/>
                        </a:cubicBezTo>
                        <a:cubicBezTo>
                          <a:pt x="145" y="67"/>
                          <a:pt x="145" y="67"/>
                          <a:pt x="145" y="67"/>
                        </a:cubicBezTo>
                        <a:cubicBezTo>
                          <a:pt x="140" y="67"/>
                          <a:pt x="136" y="71"/>
                          <a:pt x="136" y="76"/>
                        </a:cubicBezTo>
                        <a:cubicBezTo>
                          <a:pt x="136" y="77"/>
                          <a:pt x="136" y="78"/>
                          <a:pt x="137" y="79"/>
                        </a:cubicBezTo>
                        <a:cubicBezTo>
                          <a:pt x="119" y="86"/>
                          <a:pt x="119" y="86"/>
                          <a:pt x="119" y="86"/>
                        </a:cubicBezTo>
                        <a:cubicBezTo>
                          <a:pt x="119" y="87"/>
                          <a:pt x="120" y="87"/>
                          <a:pt x="120" y="88"/>
                        </a:cubicBezTo>
                        <a:cubicBezTo>
                          <a:pt x="137" y="81"/>
                          <a:pt x="137" y="81"/>
                          <a:pt x="137" y="81"/>
                        </a:cubicBezTo>
                        <a:cubicBezTo>
                          <a:pt x="139" y="84"/>
                          <a:pt x="142" y="86"/>
                          <a:pt x="146" y="86"/>
                        </a:cubicBezTo>
                        <a:cubicBezTo>
                          <a:pt x="148" y="86"/>
                          <a:pt x="150" y="85"/>
                          <a:pt x="152" y="83"/>
                        </a:cubicBezTo>
                        <a:cubicBezTo>
                          <a:pt x="171" y="93"/>
                          <a:pt x="171" y="93"/>
                          <a:pt x="171" y="93"/>
                        </a:cubicBezTo>
                        <a:cubicBezTo>
                          <a:pt x="170" y="95"/>
                          <a:pt x="170" y="96"/>
                          <a:pt x="170" y="97"/>
                        </a:cubicBezTo>
                        <a:cubicBezTo>
                          <a:pt x="122" y="97"/>
                          <a:pt x="122" y="97"/>
                          <a:pt x="122" y="97"/>
                        </a:cubicBezTo>
                        <a:cubicBezTo>
                          <a:pt x="122" y="98"/>
                          <a:pt x="122" y="98"/>
                          <a:pt x="122" y="99"/>
                        </a:cubicBezTo>
                        <a:cubicBezTo>
                          <a:pt x="122" y="99"/>
                          <a:pt x="122" y="100"/>
                          <a:pt x="122" y="100"/>
                        </a:cubicBezTo>
                        <a:cubicBezTo>
                          <a:pt x="170" y="100"/>
                          <a:pt x="170" y="100"/>
                          <a:pt x="170" y="100"/>
                        </a:cubicBezTo>
                        <a:cubicBezTo>
                          <a:pt x="170" y="103"/>
                          <a:pt x="172" y="107"/>
                          <a:pt x="175" y="109"/>
                        </a:cubicBezTo>
                        <a:cubicBezTo>
                          <a:pt x="167" y="119"/>
                          <a:pt x="167" y="119"/>
                          <a:pt x="167" y="119"/>
                        </a:cubicBezTo>
                        <a:cubicBezTo>
                          <a:pt x="167" y="119"/>
                          <a:pt x="167" y="119"/>
                          <a:pt x="167" y="119"/>
                        </a:cubicBezTo>
                        <a:close/>
                        <a:moveTo>
                          <a:pt x="116" y="89"/>
                        </a:moveTo>
                        <a:cubicBezTo>
                          <a:pt x="116" y="89"/>
                          <a:pt x="116" y="88"/>
                          <a:pt x="116" y="88"/>
                        </a:cubicBezTo>
                        <a:cubicBezTo>
                          <a:pt x="114" y="85"/>
                          <a:pt x="113" y="83"/>
                          <a:pt x="111" y="81"/>
                        </a:cubicBezTo>
                        <a:cubicBezTo>
                          <a:pt x="111" y="81"/>
                          <a:pt x="110" y="80"/>
                          <a:pt x="109" y="79"/>
                        </a:cubicBezTo>
                        <a:cubicBezTo>
                          <a:pt x="107" y="78"/>
                          <a:pt x="105" y="76"/>
                          <a:pt x="103" y="75"/>
                        </a:cubicBezTo>
                        <a:cubicBezTo>
                          <a:pt x="102" y="75"/>
                          <a:pt x="102" y="74"/>
                          <a:pt x="101" y="74"/>
                        </a:cubicBezTo>
                        <a:cubicBezTo>
                          <a:pt x="99" y="73"/>
                          <a:pt x="96" y="73"/>
                          <a:pt x="93" y="73"/>
                        </a:cubicBezTo>
                        <a:cubicBezTo>
                          <a:pt x="93" y="73"/>
                          <a:pt x="92" y="73"/>
                          <a:pt x="92" y="73"/>
                        </a:cubicBezTo>
                        <a:cubicBezTo>
                          <a:pt x="91" y="73"/>
                          <a:pt x="91" y="73"/>
                          <a:pt x="91" y="73"/>
                        </a:cubicBezTo>
                        <a:cubicBezTo>
                          <a:pt x="88" y="73"/>
                          <a:pt x="85" y="73"/>
                          <a:pt x="83" y="74"/>
                        </a:cubicBezTo>
                        <a:cubicBezTo>
                          <a:pt x="82" y="74"/>
                          <a:pt x="82" y="75"/>
                          <a:pt x="81" y="75"/>
                        </a:cubicBezTo>
                        <a:cubicBezTo>
                          <a:pt x="79" y="76"/>
                          <a:pt x="76" y="78"/>
                          <a:pt x="74" y="79"/>
                        </a:cubicBezTo>
                        <a:cubicBezTo>
                          <a:pt x="74" y="80"/>
                          <a:pt x="73" y="81"/>
                          <a:pt x="73" y="81"/>
                        </a:cubicBezTo>
                        <a:cubicBezTo>
                          <a:pt x="71" y="83"/>
                          <a:pt x="69" y="85"/>
                          <a:pt x="68" y="88"/>
                        </a:cubicBezTo>
                        <a:cubicBezTo>
                          <a:pt x="68" y="88"/>
                          <a:pt x="68" y="89"/>
                          <a:pt x="68" y="89"/>
                        </a:cubicBezTo>
                        <a:cubicBezTo>
                          <a:pt x="67" y="92"/>
                          <a:pt x="66" y="95"/>
                          <a:pt x="66" y="97"/>
                        </a:cubicBezTo>
                        <a:cubicBezTo>
                          <a:pt x="66" y="98"/>
                          <a:pt x="66" y="98"/>
                          <a:pt x="66" y="99"/>
                        </a:cubicBezTo>
                        <a:cubicBezTo>
                          <a:pt x="66" y="99"/>
                          <a:pt x="66" y="100"/>
                          <a:pt x="66" y="100"/>
                        </a:cubicBezTo>
                        <a:cubicBezTo>
                          <a:pt x="66" y="103"/>
                          <a:pt x="67" y="105"/>
                          <a:pt x="68" y="108"/>
                        </a:cubicBezTo>
                        <a:cubicBezTo>
                          <a:pt x="68" y="108"/>
                          <a:pt x="68" y="109"/>
                          <a:pt x="68" y="109"/>
                        </a:cubicBezTo>
                        <a:cubicBezTo>
                          <a:pt x="69" y="112"/>
                          <a:pt x="71" y="114"/>
                          <a:pt x="73" y="116"/>
                        </a:cubicBezTo>
                        <a:cubicBezTo>
                          <a:pt x="73" y="117"/>
                          <a:pt x="74" y="117"/>
                          <a:pt x="74" y="118"/>
                        </a:cubicBezTo>
                        <a:cubicBezTo>
                          <a:pt x="76" y="120"/>
                          <a:pt x="79" y="121"/>
                          <a:pt x="81" y="122"/>
                        </a:cubicBezTo>
                        <a:cubicBezTo>
                          <a:pt x="82" y="123"/>
                          <a:pt x="82" y="123"/>
                          <a:pt x="83" y="123"/>
                        </a:cubicBezTo>
                        <a:cubicBezTo>
                          <a:pt x="85" y="124"/>
                          <a:pt x="88" y="124"/>
                          <a:pt x="91" y="125"/>
                        </a:cubicBezTo>
                        <a:cubicBezTo>
                          <a:pt x="91" y="125"/>
                          <a:pt x="91" y="125"/>
                          <a:pt x="92" y="125"/>
                        </a:cubicBezTo>
                        <a:cubicBezTo>
                          <a:pt x="92" y="125"/>
                          <a:pt x="93" y="125"/>
                          <a:pt x="93" y="125"/>
                        </a:cubicBezTo>
                        <a:cubicBezTo>
                          <a:pt x="96" y="124"/>
                          <a:pt x="99" y="124"/>
                          <a:pt x="101" y="123"/>
                        </a:cubicBezTo>
                        <a:cubicBezTo>
                          <a:pt x="102" y="123"/>
                          <a:pt x="102" y="123"/>
                          <a:pt x="103" y="122"/>
                        </a:cubicBezTo>
                        <a:cubicBezTo>
                          <a:pt x="105" y="121"/>
                          <a:pt x="107" y="120"/>
                          <a:pt x="109" y="118"/>
                        </a:cubicBezTo>
                        <a:cubicBezTo>
                          <a:pt x="110" y="117"/>
                          <a:pt x="111" y="117"/>
                          <a:pt x="111" y="116"/>
                        </a:cubicBezTo>
                        <a:cubicBezTo>
                          <a:pt x="113" y="114"/>
                          <a:pt x="114" y="112"/>
                          <a:pt x="116" y="109"/>
                        </a:cubicBezTo>
                        <a:cubicBezTo>
                          <a:pt x="116" y="109"/>
                          <a:pt x="116" y="108"/>
                          <a:pt x="116" y="108"/>
                        </a:cubicBezTo>
                        <a:cubicBezTo>
                          <a:pt x="117" y="105"/>
                          <a:pt x="118" y="103"/>
                          <a:pt x="118" y="100"/>
                        </a:cubicBezTo>
                        <a:cubicBezTo>
                          <a:pt x="118" y="100"/>
                          <a:pt x="118" y="99"/>
                          <a:pt x="118" y="99"/>
                        </a:cubicBezTo>
                        <a:cubicBezTo>
                          <a:pt x="118" y="98"/>
                          <a:pt x="118" y="98"/>
                          <a:pt x="118" y="97"/>
                        </a:cubicBezTo>
                        <a:cubicBezTo>
                          <a:pt x="118" y="95"/>
                          <a:pt x="117" y="92"/>
                          <a:pt x="116" y="89"/>
                        </a:cubicBezTo>
                        <a:close/>
                      </a:path>
                    </a:pathLst>
                  </a:custGeom>
                  <a:solidFill>
                    <a:srgbClr val="F78C1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6" name="Freeform 197"/>
                  <p:cNvSpPr>
                    <a:spLocks noEditPoints="1"/>
                  </p:cNvSpPr>
                  <p:nvPr/>
                </p:nvSpPr>
                <p:spPr bwMode="auto">
                  <a:xfrm>
                    <a:off x="10442526" y="1165154"/>
                    <a:ext cx="353646" cy="226371"/>
                  </a:xfrm>
                  <a:custGeom>
                    <a:avLst/>
                    <a:gdLst>
                      <a:gd name="T0" fmla="*/ 149 w 323"/>
                      <a:gd name="T1" fmla="*/ 198 h 198"/>
                      <a:gd name="T2" fmla="*/ 192 w 323"/>
                      <a:gd name="T3" fmla="*/ 172 h 198"/>
                      <a:gd name="T4" fmla="*/ 139 w 323"/>
                      <a:gd name="T5" fmla="*/ 191 h 198"/>
                      <a:gd name="T6" fmla="*/ 146 w 323"/>
                      <a:gd name="T7" fmla="*/ 192 h 198"/>
                      <a:gd name="T8" fmla="*/ 184 w 323"/>
                      <a:gd name="T9" fmla="*/ 180 h 198"/>
                      <a:gd name="T10" fmla="*/ 98 w 323"/>
                      <a:gd name="T11" fmla="*/ 109 h 198"/>
                      <a:gd name="T12" fmla="*/ 187 w 323"/>
                      <a:gd name="T13" fmla="*/ 113 h 198"/>
                      <a:gd name="T14" fmla="*/ 234 w 323"/>
                      <a:gd name="T15" fmla="*/ 76 h 198"/>
                      <a:gd name="T16" fmla="*/ 83 w 323"/>
                      <a:gd name="T17" fmla="*/ 31 h 198"/>
                      <a:gd name="T18" fmla="*/ 178 w 323"/>
                      <a:gd name="T19" fmla="*/ 79 h 198"/>
                      <a:gd name="T20" fmla="*/ 176 w 323"/>
                      <a:gd name="T21" fmla="*/ 58 h 198"/>
                      <a:gd name="T22" fmla="*/ 196 w 323"/>
                      <a:gd name="T23" fmla="*/ 49 h 198"/>
                      <a:gd name="T24" fmla="*/ 153 w 323"/>
                      <a:gd name="T25" fmla="*/ 30 h 198"/>
                      <a:gd name="T26" fmla="*/ 215 w 323"/>
                      <a:gd name="T27" fmla="*/ 89 h 198"/>
                      <a:gd name="T28" fmla="*/ 208 w 323"/>
                      <a:gd name="T29" fmla="*/ 44 h 198"/>
                      <a:gd name="T30" fmla="*/ 189 w 323"/>
                      <a:gd name="T31" fmla="*/ 21 h 198"/>
                      <a:gd name="T32" fmla="*/ 189 w 323"/>
                      <a:gd name="T33" fmla="*/ 21 h 198"/>
                      <a:gd name="T34" fmla="*/ 161 w 323"/>
                      <a:gd name="T35" fmla="*/ 7 h 198"/>
                      <a:gd name="T36" fmla="*/ 101 w 323"/>
                      <a:gd name="T37" fmla="*/ 57 h 198"/>
                      <a:gd name="T38" fmla="*/ 101 w 323"/>
                      <a:gd name="T39" fmla="*/ 49 h 198"/>
                      <a:gd name="T40" fmla="*/ 121 w 323"/>
                      <a:gd name="T41" fmla="*/ 58 h 198"/>
                      <a:gd name="T42" fmla="*/ 115 w 323"/>
                      <a:gd name="T43" fmla="*/ 89 h 198"/>
                      <a:gd name="T44" fmla="*/ 144 w 323"/>
                      <a:gd name="T45" fmla="*/ 30 h 198"/>
                      <a:gd name="T46" fmla="*/ 123 w 323"/>
                      <a:gd name="T47" fmla="*/ 11 h 198"/>
                      <a:gd name="T48" fmla="*/ 114 w 323"/>
                      <a:gd name="T49" fmla="*/ 19 h 198"/>
                      <a:gd name="T50" fmla="*/ 87 w 323"/>
                      <a:gd name="T51" fmla="*/ 38 h 198"/>
                      <a:gd name="T52" fmla="*/ 97 w 323"/>
                      <a:gd name="T53" fmla="*/ 54 h 198"/>
                      <a:gd name="T54" fmla="*/ 46 w 323"/>
                      <a:gd name="T55" fmla="*/ 101 h 198"/>
                      <a:gd name="T56" fmla="*/ 156 w 323"/>
                      <a:gd name="T57" fmla="*/ 141 h 198"/>
                      <a:gd name="T58" fmla="*/ 241 w 323"/>
                      <a:gd name="T59" fmla="*/ 83 h 198"/>
                      <a:gd name="T60" fmla="*/ 0 w 323"/>
                      <a:gd name="T61" fmla="*/ 119 h 198"/>
                      <a:gd name="T62" fmla="*/ 146 w 323"/>
                      <a:gd name="T63" fmla="*/ 169 h 198"/>
                      <a:gd name="T64" fmla="*/ 241 w 323"/>
                      <a:gd name="T65" fmla="*/ 123 h 198"/>
                      <a:gd name="T66" fmla="*/ 12 w 323"/>
                      <a:gd name="T67" fmla="*/ 108 h 198"/>
                      <a:gd name="T68" fmla="*/ 28 w 323"/>
                      <a:gd name="T69" fmla="*/ 108 h 198"/>
                      <a:gd name="T70" fmla="*/ 65 w 323"/>
                      <a:gd name="T71" fmla="*/ 127 h 198"/>
                      <a:gd name="T72" fmla="*/ 61 w 323"/>
                      <a:gd name="T73" fmla="*/ 101 h 198"/>
                      <a:gd name="T74" fmla="*/ 64 w 323"/>
                      <a:gd name="T75" fmla="*/ 113 h 198"/>
                      <a:gd name="T76" fmla="*/ 72 w 323"/>
                      <a:gd name="T77" fmla="*/ 130 h 198"/>
                      <a:gd name="T78" fmla="*/ 72 w 323"/>
                      <a:gd name="T79" fmla="*/ 114 h 198"/>
                      <a:gd name="T80" fmla="*/ 87 w 323"/>
                      <a:gd name="T81" fmla="*/ 141 h 198"/>
                      <a:gd name="T82" fmla="*/ 94 w 323"/>
                      <a:gd name="T83" fmla="*/ 129 h 198"/>
                      <a:gd name="T84" fmla="*/ 127 w 323"/>
                      <a:gd name="T85" fmla="*/ 154 h 198"/>
                      <a:gd name="T86" fmla="*/ 132 w 323"/>
                      <a:gd name="T87" fmla="*/ 139 h 198"/>
                      <a:gd name="T88" fmla="*/ 148 w 323"/>
                      <a:gd name="T89" fmla="*/ 145 h 198"/>
                      <a:gd name="T90" fmla="*/ 195 w 323"/>
                      <a:gd name="T91" fmla="*/ 153 h 198"/>
                      <a:gd name="T92" fmla="*/ 180 w 323"/>
                      <a:gd name="T93" fmla="*/ 140 h 198"/>
                      <a:gd name="T94" fmla="*/ 192 w 323"/>
                      <a:gd name="T95" fmla="*/ 150 h 198"/>
                      <a:gd name="T96" fmla="*/ 214 w 323"/>
                      <a:gd name="T97" fmla="*/ 141 h 198"/>
                      <a:gd name="T98" fmla="*/ 218 w 323"/>
                      <a:gd name="T99" fmla="*/ 121 h 198"/>
                      <a:gd name="T100" fmla="*/ 234 w 323"/>
                      <a:gd name="T101" fmla="*/ 130 h 198"/>
                      <a:gd name="T102" fmla="*/ 237 w 323"/>
                      <a:gd name="T103" fmla="*/ 104 h 198"/>
                      <a:gd name="T104" fmla="*/ 271 w 323"/>
                      <a:gd name="T105" fmla="*/ 112 h 198"/>
                      <a:gd name="T106" fmla="*/ 281 w 323"/>
                      <a:gd name="T107" fmla="*/ 108 h 198"/>
                      <a:gd name="T108" fmla="*/ 97 w 323"/>
                      <a:gd name="T109" fmla="*/ 136 h 198"/>
                      <a:gd name="T110" fmla="*/ 232 w 323"/>
                      <a:gd name="T111" fmla="*/ 116 h 19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323" h="198">
                        <a:moveTo>
                          <a:pt x="148" y="178"/>
                        </a:moveTo>
                        <a:cubicBezTo>
                          <a:pt x="130" y="178"/>
                          <a:pt x="111" y="175"/>
                          <a:pt x="95" y="169"/>
                        </a:cubicBezTo>
                        <a:cubicBezTo>
                          <a:pt x="89" y="167"/>
                          <a:pt x="83" y="164"/>
                          <a:pt x="78" y="161"/>
                        </a:cubicBezTo>
                        <a:cubicBezTo>
                          <a:pt x="84" y="169"/>
                          <a:pt x="92" y="177"/>
                          <a:pt x="101" y="183"/>
                        </a:cubicBezTo>
                        <a:cubicBezTo>
                          <a:pt x="105" y="185"/>
                          <a:pt x="109" y="188"/>
                          <a:pt x="114" y="190"/>
                        </a:cubicBezTo>
                        <a:cubicBezTo>
                          <a:pt x="118" y="192"/>
                          <a:pt x="123" y="194"/>
                          <a:pt x="129" y="195"/>
                        </a:cubicBezTo>
                        <a:cubicBezTo>
                          <a:pt x="135" y="197"/>
                          <a:pt x="142" y="198"/>
                          <a:pt x="149" y="198"/>
                        </a:cubicBezTo>
                        <a:cubicBezTo>
                          <a:pt x="149" y="198"/>
                          <a:pt x="149" y="198"/>
                          <a:pt x="149" y="198"/>
                        </a:cubicBezTo>
                        <a:cubicBezTo>
                          <a:pt x="149" y="198"/>
                          <a:pt x="149" y="198"/>
                          <a:pt x="149" y="198"/>
                        </a:cubicBezTo>
                        <a:cubicBezTo>
                          <a:pt x="149" y="198"/>
                          <a:pt x="149" y="198"/>
                          <a:pt x="149" y="198"/>
                        </a:cubicBezTo>
                        <a:cubicBezTo>
                          <a:pt x="149" y="198"/>
                          <a:pt x="149" y="198"/>
                          <a:pt x="149" y="198"/>
                        </a:cubicBezTo>
                        <a:cubicBezTo>
                          <a:pt x="156" y="198"/>
                          <a:pt x="162" y="197"/>
                          <a:pt x="169" y="195"/>
                        </a:cubicBezTo>
                        <a:cubicBezTo>
                          <a:pt x="174" y="194"/>
                          <a:pt x="179" y="192"/>
                          <a:pt x="184" y="190"/>
                        </a:cubicBezTo>
                        <a:cubicBezTo>
                          <a:pt x="188" y="188"/>
                          <a:pt x="193" y="185"/>
                          <a:pt x="197" y="183"/>
                        </a:cubicBezTo>
                        <a:cubicBezTo>
                          <a:pt x="206" y="177"/>
                          <a:pt x="214" y="169"/>
                          <a:pt x="220" y="160"/>
                        </a:cubicBezTo>
                        <a:cubicBezTo>
                          <a:pt x="212" y="165"/>
                          <a:pt x="202" y="169"/>
                          <a:pt x="192" y="172"/>
                        </a:cubicBezTo>
                        <a:cubicBezTo>
                          <a:pt x="178" y="176"/>
                          <a:pt x="163" y="178"/>
                          <a:pt x="148" y="178"/>
                        </a:cubicBezTo>
                        <a:close/>
                        <a:moveTo>
                          <a:pt x="103" y="178"/>
                        </a:moveTo>
                        <a:cubicBezTo>
                          <a:pt x="102" y="177"/>
                          <a:pt x="100" y="176"/>
                          <a:pt x="99" y="174"/>
                        </a:cubicBezTo>
                        <a:cubicBezTo>
                          <a:pt x="101" y="176"/>
                          <a:pt x="104" y="177"/>
                          <a:pt x="106" y="177"/>
                        </a:cubicBezTo>
                        <a:cubicBezTo>
                          <a:pt x="106" y="178"/>
                          <a:pt x="107" y="179"/>
                          <a:pt x="107" y="179"/>
                        </a:cubicBezTo>
                        <a:cubicBezTo>
                          <a:pt x="106" y="179"/>
                          <a:pt x="105" y="178"/>
                          <a:pt x="103" y="178"/>
                        </a:cubicBezTo>
                        <a:close/>
                        <a:moveTo>
                          <a:pt x="146" y="192"/>
                        </a:moveTo>
                        <a:cubicBezTo>
                          <a:pt x="144" y="192"/>
                          <a:pt x="142" y="192"/>
                          <a:pt x="139" y="191"/>
                        </a:cubicBezTo>
                        <a:cubicBezTo>
                          <a:pt x="136" y="191"/>
                          <a:pt x="132" y="190"/>
                          <a:pt x="129" y="189"/>
                        </a:cubicBezTo>
                        <a:cubicBezTo>
                          <a:pt x="127" y="189"/>
                          <a:pt x="124" y="188"/>
                          <a:pt x="122" y="187"/>
                        </a:cubicBezTo>
                        <a:cubicBezTo>
                          <a:pt x="120" y="187"/>
                          <a:pt x="119" y="186"/>
                          <a:pt x="117" y="185"/>
                        </a:cubicBezTo>
                        <a:cubicBezTo>
                          <a:pt x="116" y="184"/>
                          <a:pt x="115" y="182"/>
                          <a:pt x="114" y="181"/>
                        </a:cubicBezTo>
                        <a:cubicBezTo>
                          <a:pt x="114" y="180"/>
                          <a:pt x="113" y="180"/>
                          <a:pt x="113" y="180"/>
                        </a:cubicBezTo>
                        <a:cubicBezTo>
                          <a:pt x="125" y="183"/>
                          <a:pt x="136" y="185"/>
                          <a:pt x="146" y="185"/>
                        </a:cubicBezTo>
                        <a:cubicBezTo>
                          <a:pt x="146" y="192"/>
                          <a:pt x="146" y="192"/>
                          <a:pt x="146" y="192"/>
                        </a:cubicBezTo>
                        <a:cubicBezTo>
                          <a:pt x="146" y="192"/>
                          <a:pt x="146" y="192"/>
                          <a:pt x="146" y="192"/>
                        </a:cubicBezTo>
                        <a:close/>
                        <a:moveTo>
                          <a:pt x="184" y="181"/>
                        </a:moveTo>
                        <a:cubicBezTo>
                          <a:pt x="183" y="182"/>
                          <a:pt x="182" y="184"/>
                          <a:pt x="181" y="185"/>
                        </a:cubicBezTo>
                        <a:cubicBezTo>
                          <a:pt x="179" y="186"/>
                          <a:pt x="177" y="187"/>
                          <a:pt x="175" y="187"/>
                        </a:cubicBezTo>
                        <a:cubicBezTo>
                          <a:pt x="173" y="188"/>
                          <a:pt x="171" y="189"/>
                          <a:pt x="169" y="189"/>
                        </a:cubicBezTo>
                        <a:cubicBezTo>
                          <a:pt x="165" y="190"/>
                          <a:pt x="162" y="191"/>
                          <a:pt x="158" y="191"/>
                        </a:cubicBezTo>
                        <a:cubicBezTo>
                          <a:pt x="156" y="192"/>
                          <a:pt x="154" y="192"/>
                          <a:pt x="152" y="192"/>
                        </a:cubicBezTo>
                        <a:cubicBezTo>
                          <a:pt x="152" y="185"/>
                          <a:pt x="152" y="185"/>
                          <a:pt x="152" y="185"/>
                        </a:cubicBezTo>
                        <a:cubicBezTo>
                          <a:pt x="162" y="185"/>
                          <a:pt x="173" y="183"/>
                          <a:pt x="184" y="180"/>
                        </a:cubicBezTo>
                        <a:cubicBezTo>
                          <a:pt x="184" y="180"/>
                          <a:pt x="184" y="180"/>
                          <a:pt x="184" y="181"/>
                        </a:cubicBezTo>
                        <a:close/>
                        <a:moveTo>
                          <a:pt x="194" y="178"/>
                        </a:moveTo>
                        <a:cubicBezTo>
                          <a:pt x="193" y="178"/>
                          <a:pt x="192" y="179"/>
                          <a:pt x="191" y="179"/>
                        </a:cubicBezTo>
                        <a:cubicBezTo>
                          <a:pt x="191" y="179"/>
                          <a:pt x="191" y="178"/>
                          <a:pt x="191" y="177"/>
                        </a:cubicBezTo>
                        <a:cubicBezTo>
                          <a:pt x="194" y="177"/>
                          <a:pt x="196" y="175"/>
                          <a:pt x="199" y="174"/>
                        </a:cubicBezTo>
                        <a:cubicBezTo>
                          <a:pt x="197" y="176"/>
                          <a:pt x="196" y="177"/>
                          <a:pt x="194" y="178"/>
                        </a:cubicBezTo>
                        <a:close/>
                        <a:moveTo>
                          <a:pt x="66" y="83"/>
                        </a:moveTo>
                        <a:cubicBezTo>
                          <a:pt x="73" y="95"/>
                          <a:pt x="85" y="103"/>
                          <a:pt x="98" y="109"/>
                        </a:cubicBezTo>
                        <a:cubicBezTo>
                          <a:pt x="100" y="110"/>
                          <a:pt x="103" y="111"/>
                          <a:pt x="105" y="112"/>
                        </a:cubicBezTo>
                        <a:cubicBezTo>
                          <a:pt x="105" y="112"/>
                          <a:pt x="105" y="112"/>
                          <a:pt x="105" y="112"/>
                        </a:cubicBezTo>
                        <a:cubicBezTo>
                          <a:pt x="107" y="113"/>
                          <a:pt x="109" y="113"/>
                          <a:pt x="110" y="114"/>
                        </a:cubicBezTo>
                        <a:cubicBezTo>
                          <a:pt x="110" y="114"/>
                          <a:pt x="110" y="113"/>
                          <a:pt x="110" y="113"/>
                        </a:cubicBezTo>
                        <a:cubicBezTo>
                          <a:pt x="116" y="115"/>
                          <a:pt x="121" y="116"/>
                          <a:pt x="127" y="117"/>
                        </a:cubicBezTo>
                        <a:cubicBezTo>
                          <a:pt x="134" y="118"/>
                          <a:pt x="141" y="119"/>
                          <a:pt x="148" y="119"/>
                        </a:cubicBezTo>
                        <a:cubicBezTo>
                          <a:pt x="156" y="119"/>
                          <a:pt x="163" y="118"/>
                          <a:pt x="170" y="117"/>
                        </a:cubicBezTo>
                        <a:cubicBezTo>
                          <a:pt x="175" y="116"/>
                          <a:pt x="181" y="115"/>
                          <a:pt x="187" y="113"/>
                        </a:cubicBezTo>
                        <a:cubicBezTo>
                          <a:pt x="187" y="113"/>
                          <a:pt x="187" y="114"/>
                          <a:pt x="187" y="114"/>
                        </a:cubicBezTo>
                        <a:cubicBezTo>
                          <a:pt x="188" y="113"/>
                          <a:pt x="190" y="113"/>
                          <a:pt x="192" y="112"/>
                        </a:cubicBezTo>
                        <a:cubicBezTo>
                          <a:pt x="192" y="112"/>
                          <a:pt x="192" y="112"/>
                          <a:pt x="192" y="112"/>
                        </a:cubicBezTo>
                        <a:cubicBezTo>
                          <a:pt x="195" y="111"/>
                          <a:pt x="197" y="110"/>
                          <a:pt x="200" y="109"/>
                        </a:cubicBezTo>
                        <a:cubicBezTo>
                          <a:pt x="212" y="103"/>
                          <a:pt x="223" y="95"/>
                          <a:pt x="231" y="83"/>
                        </a:cubicBezTo>
                        <a:cubicBezTo>
                          <a:pt x="231" y="83"/>
                          <a:pt x="231" y="83"/>
                          <a:pt x="231" y="83"/>
                        </a:cubicBezTo>
                        <a:cubicBezTo>
                          <a:pt x="232" y="82"/>
                          <a:pt x="232" y="81"/>
                          <a:pt x="232" y="80"/>
                        </a:cubicBezTo>
                        <a:cubicBezTo>
                          <a:pt x="234" y="76"/>
                          <a:pt x="234" y="76"/>
                          <a:pt x="234" y="76"/>
                        </a:cubicBezTo>
                        <a:cubicBezTo>
                          <a:pt x="234" y="74"/>
                          <a:pt x="233" y="72"/>
                          <a:pt x="233" y="71"/>
                        </a:cubicBezTo>
                        <a:cubicBezTo>
                          <a:pt x="230" y="56"/>
                          <a:pt x="223" y="43"/>
                          <a:pt x="214" y="31"/>
                        </a:cubicBezTo>
                        <a:cubicBezTo>
                          <a:pt x="213" y="30"/>
                          <a:pt x="212" y="29"/>
                          <a:pt x="210" y="27"/>
                        </a:cubicBezTo>
                        <a:cubicBezTo>
                          <a:pt x="210" y="27"/>
                          <a:pt x="206" y="23"/>
                          <a:pt x="206" y="23"/>
                        </a:cubicBezTo>
                        <a:cubicBezTo>
                          <a:pt x="190" y="9"/>
                          <a:pt x="170" y="1"/>
                          <a:pt x="148" y="0"/>
                        </a:cubicBezTo>
                        <a:cubicBezTo>
                          <a:pt x="148" y="0"/>
                          <a:pt x="148" y="0"/>
                          <a:pt x="148" y="0"/>
                        </a:cubicBezTo>
                        <a:cubicBezTo>
                          <a:pt x="127" y="1"/>
                          <a:pt x="107" y="9"/>
                          <a:pt x="91" y="23"/>
                        </a:cubicBezTo>
                        <a:cubicBezTo>
                          <a:pt x="91" y="23"/>
                          <a:pt x="87" y="27"/>
                          <a:pt x="83" y="31"/>
                        </a:cubicBezTo>
                        <a:cubicBezTo>
                          <a:pt x="74" y="43"/>
                          <a:pt x="67" y="56"/>
                          <a:pt x="64" y="71"/>
                        </a:cubicBezTo>
                        <a:cubicBezTo>
                          <a:pt x="64" y="71"/>
                          <a:pt x="63" y="73"/>
                          <a:pt x="63" y="76"/>
                        </a:cubicBezTo>
                        <a:cubicBezTo>
                          <a:pt x="65" y="80"/>
                          <a:pt x="65" y="80"/>
                          <a:pt x="65" y="80"/>
                        </a:cubicBezTo>
                        <a:cubicBezTo>
                          <a:pt x="65" y="81"/>
                          <a:pt x="65" y="82"/>
                          <a:pt x="66" y="83"/>
                        </a:cubicBezTo>
                        <a:close/>
                        <a:moveTo>
                          <a:pt x="151" y="112"/>
                        </a:moveTo>
                        <a:cubicBezTo>
                          <a:pt x="151" y="69"/>
                          <a:pt x="151" y="69"/>
                          <a:pt x="151" y="69"/>
                        </a:cubicBezTo>
                        <a:cubicBezTo>
                          <a:pt x="158" y="69"/>
                          <a:pt x="166" y="68"/>
                          <a:pt x="173" y="66"/>
                        </a:cubicBezTo>
                        <a:cubicBezTo>
                          <a:pt x="175" y="70"/>
                          <a:pt x="177" y="75"/>
                          <a:pt x="178" y="79"/>
                        </a:cubicBezTo>
                        <a:cubicBezTo>
                          <a:pt x="180" y="83"/>
                          <a:pt x="181" y="86"/>
                          <a:pt x="182" y="89"/>
                        </a:cubicBezTo>
                        <a:cubicBezTo>
                          <a:pt x="183" y="93"/>
                          <a:pt x="183" y="96"/>
                          <a:pt x="184" y="100"/>
                        </a:cubicBezTo>
                        <a:cubicBezTo>
                          <a:pt x="185" y="102"/>
                          <a:pt x="185" y="105"/>
                          <a:pt x="186" y="107"/>
                        </a:cubicBezTo>
                        <a:cubicBezTo>
                          <a:pt x="174" y="110"/>
                          <a:pt x="162" y="112"/>
                          <a:pt x="151" y="112"/>
                        </a:cubicBezTo>
                        <a:close/>
                        <a:moveTo>
                          <a:pt x="188" y="48"/>
                        </a:moveTo>
                        <a:cubicBezTo>
                          <a:pt x="188" y="48"/>
                          <a:pt x="188" y="49"/>
                          <a:pt x="189" y="49"/>
                        </a:cubicBezTo>
                        <a:cubicBezTo>
                          <a:pt x="190" y="50"/>
                          <a:pt x="191" y="51"/>
                          <a:pt x="192" y="52"/>
                        </a:cubicBezTo>
                        <a:cubicBezTo>
                          <a:pt x="187" y="54"/>
                          <a:pt x="182" y="57"/>
                          <a:pt x="176" y="58"/>
                        </a:cubicBezTo>
                        <a:cubicBezTo>
                          <a:pt x="171" y="46"/>
                          <a:pt x="164" y="35"/>
                          <a:pt x="158" y="27"/>
                        </a:cubicBezTo>
                        <a:cubicBezTo>
                          <a:pt x="168" y="32"/>
                          <a:pt x="179" y="39"/>
                          <a:pt x="188" y="48"/>
                        </a:cubicBezTo>
                        <a:close/>
                        <a:moveTo>
                          <a:pt x="164" y="24"/>
                        </a:moveTo>
                        <a:cubicBezTo>
                          <a:pt x="172" y="25"/>
                          <a:pt x="180" y="27"/>
                          <a:pt x="186" y="30"/>
                        </a:cubicBezTo>
                        <a:cubicBezTo>
                          <a:pt x="189" y="31"/>
                          <a:pt x="191" y="32"/>
                          <a:pt x="192" y="33"/>
                        </a:cubicBezTo>
                        <a:cubicBezTo>
                          <a:pt x="196" y="35"/>
                          <a:pt x="200" y="37"/>
                          <a:pt x="203" y="40"/>
                        </a:cubicBezTo>
                        <a:cubicBezTo>
                          <a:pt x="203" y="40"/>
                          <a:pt x="202" y="41"/>
                          <a:pt x="202" y="42"/>
                        </a:cubicBezTo>
                        <a:cubicBezTo>
                          <a:pt x="201" y="44"/>
                          <a:pt x="199" y="46"/>
                          <a:pt x="196" y="49"/>
                        </a:cubicBezTo>
                        <a:cubicBezTo>
                          <a:pt x="195" y="48"/>
                          <a:pt x="194" y="47"/>
                          <a:pt x="193" y="46"/>
                        </a:cubicBezTo>
                        <a:cubicBezTo>
                          <a:pt x="193" y="45"/>
                          <a:pt x="193" y="45"/>
                          <a:pt x="193" y="45"/>
                        </a:cubicBezTo>
                        <a:cubicBezTo>
                          <a:pt x="191" y="43"/>
                          <a:pt x="189" y="42"/>
                          <a:pt x="188" y="40"/>
                        </a:cubicBezTo>
                        <a:cubicBezTo>
                          <a:pt x="180" y="34"/>
                          <a:pt x="173" y="28"/>
                          <a:pt x="164" y="24"/>
                        </a:cubicBezTo>
                        <a:close/>
                        <a:moveTo>
                          <a:pt x="171" y="60"/>
                        </a:moveTo>
                        <a:cubicBezTo>
                          <a:pt x="164" y="62"/>
                          <a:pt x="158" y="63"/>
                          <a:pt x="151" y="63"/>
                        </a:cubicBezTo>
                        <a:cubicBezTo>
                          <a:pt x="151" y="27"/>
                          <a:pt x="151" y="27"/>
                          <a:pt x="151" y="27"/>
                        </a:cubicBezTo>
                        <a:cubicBezTo>
                          <a:pt x="152" y="28"/>
                          <a:pt x="152" y="29"/>
                          <a:pt x="153" y="30"/>
                        </a:cubicBezTo>
                        <a:cubicBezTo>
                          <a:pt x="159" y="38"/>
                          <a:pt x="166" y="48"/>
                          <a:pt x="171" y="60"/>
                        </a:cubicBezTo>
                        <a:close/>
                        <a:moveTo>
                          <a:pt x="191" y="105"/>
                        </a:moveTo>
                        <a:cubicBezTo>
                          <a:pt x="190" y="100"/>
                          <a:pt x="189" y="95"/>
                          <a:pt x="187" y="89"/>
                        </a:cubicBezTo>
                        <a:cubicBezTo>
                          <a:pt x="186" y="86"/>
                          <a:pt x="185" y="83"/>
                          <a:pt x="184" y="79"/>
                        </a:cubicBezTo>
                        <a:cubicBezTo>
                          <a:pt x="184" y="79"/>
                          <a:pt x="184" y="78"/>
                          <a:pt x="184" y="78"/>
                        </a:cubicBezTo>
                        <a:cubicBezTo>
                          <a:pt x="182" y="73"/>
                          <a:pt x="180" y="69"/>
                          <a:pt x="179" y="64"/>
                        </a:cubicBezTo>
                        <a:cubicBezTo>
                          <a:pt x="185" y="62"/>
                          <a:pt x="191" y="60"/>
                          <a:pt x="196" y="57"/>
                        </a:cubicBezTo>
                        <a:cubicBezTo>
                          <a:pt x="204" y="67"/>
                          <a:pt x="211" y="78"/>
                          <a:pt x="215" y="89"/>
                        </a:cubicBezTo>
                        <a:cubicBezTo>
                          <a:pt x="215" y="90"/>
                          <a:pt x="215" y="92"/>
                          <a:pt x="216" y="93"/>
                        </a:cubicBezTo>
                        <a:cubicBezTo>
                          <a:pt x="209" y="98"/>
                          <a:pt x="200" y="102"/>
                          <a:pt x="191" y="105"/>
                        </a:cubicBezTo>
                        <a:close/>
                        <a:moveTo>
                          <a:pt x="210" y="36"/>
                        </a:moveTo>
                        <a:cubicBezTo>
                          <a:pt x="212" y="38"/>
                          <a:pt x="213" y="40"/>
                          <a:pt x="214" y="42"/>
                        </a:cubicBezTo>
                        <a:cubicBezTo>
                          <a:pt x="213" y="40"/>
                          <a:pt x="211" y="39"/>
                          <a:pt x="210" y="38"/>
                        </a:cubicBezTo>
                        <a:cubicBezTo>
                          <a:pt x="210" y="38"/>
                          <a:pt x="210" y="37"/>
                          <a:pt x="210" y="36"/>
                        </a:cubicBezTo>
                        <a:close/>
                        <a:moveTo>
                          <a:pt x="208" y="45"/>
                        </a:moveTo>
                        <a:cubicBezTo>
                          <a:pt x="208" y="45"/>
                          <a:pt x="208" y="44"/>
                          <a:pt x="208" y="44"/>
                        </a:cubicBezTo>
                        <a:cubicBezTo>
                          <a:pt x="212" y="47"/>
                          <a:pt x="215" y="51"/>
                          <a:pt x="218" y="54"/>
                        </a:cubicBezTo>
                        <a:cubicBezTo>
                          <a:pt x="221" y="58"/>
                          <a:pt x="223" y="61"/>
                          <a:pt x="225" y="65"/>
                        </a:cubicBezTo>
                        <a:cubicBezTo>
                          <a:pt x="226" y="67"/>
                          <a:pt x="227" y="70"/>
                          <a:pt x="228" y="72"/>
                        </a:cubicBezTo>
                        <a:cubicBezTo>
                          <a:pt x="228" y="73"/>
                          <a:pt x="230" y="79"/>
                          <a:pt x="220" y="89"/>
                        </a:cubicBezTo>
                        <a:cubicBezTo>
                          <a:pt x="219" y="86"/>
                          <a:pt x="218" y="83"/>
                          <a:pt x="217" y="81"/>
                        </a:cubicBezTo>
                        <a:cubicBezTo>
                          <a:pt x="213" y="71"/>
                          <a:pt x="208" y="62"/>
                          <a:pt x="200" y="53"/>
                        </a:cubicBezTo>
                        <a:cubicBezTo>
                          <a:pt x="204" y="51"/>
                          <a:pt x="206" y="48"/>
                          <a:pt x="208" y="45"/>
                        </a:cubicBezTo>
                        <a:close/>
                        <a:moveTo>
                          <a:pt x="189" y="21"/>
                        </a:moveTo>
                        <a:cubicBezTo>
                          <a:pt x="194" y="22"/>
                          <a:pt x="198" y="24"/>
                          <a:pt x="201" y="27"/>
                        </a:cubicBezTo>
                        <a:cubicBezTo>
                          <a:pt x="203" y="29"/>
                          <a:pt x="203" y="31"/>
                          <a:pt x="204" y="33"/>
                        </a:cubicBezTo>
                        <a:cubicBezTo>
                          <a:pt x="200" y="31"/>
                          <a:pt x="196" y="28"/>
                          <a:pt x="191" y="26"/>
                        </a:cubicBezTo>
                        <a:cubicBezTo>
                          <a:pt x="189" y="25"/>
                          <a:pt x="187" y="25"/>
                          <a:pt x="185" y="24"/>
                        </a:cubicBezTo>
                        <a:cubicBezTo>
                          <a:pt x="179" y="21"/>
                          <a:pt x="173" y="20"/>
                          <a:pt x="166" y="19"/>
                        </a:cubicBezTo>
                        <a:cubicBezTo>
                          <a:pt x="169" y="18"/>
                          <a:pt x="171" y="18"/>
                          <a:pt x="173" y="18"/>
                        </a:cubicBezTo>
                        <a:cubicBezTo>
                          <a:pt x="176" y="18"/>
                          <a:pt x="179" y="19"/>
                          <a:pt x="183" y="19"/>
                        </a:cubicBezTo>
                        <a:cubicBezTo>
                          <a:pt x="185" y="20"/>
                          <a:pt x="187" y="20"/>
                          <a:pt x="189" y="21"/>
                        </a:cubicBezTo>
                        <a:close/>
                        <a:moveTo>
                          <a:pt x="174" y="11"/>
                        </a:moveTo>
                        <a:cubicBezTo>
                          <a:pt x="175" y="12"/>
                          <a:pt x="177" y="12"/>
                          <a:pt x="178" y="13"/>
                        </a:cubicBezTo>
                        <a:cubicBezTo>
                          <a:pt x="176" y="13"/>
                          <a:pt x="174" y="13"/>
                          <a:pt x="173" y="13"/>
                        </a:cubicBezTo>
                        <a:cubicBezTo>
                          <a:pt x="168" y="13"/>
                          <a:pt x="164" y="13"/>
                          <a:pt x="160" y="14"/>
                        </a:cubicBezTo>
                        <a:cubicBezTo>
                          <a:pt x="163" y="12"/>
                          <a:pt x="167" y="11"/>
                          <a:pt x="170" y="11"/>
                        </a:cubicBezTo>
                        <a:cubicBezTo>
                          <a:pt x="172" y="11"/>
                          <a:pt x="173" y="11"/>
                          <a:pt x="174" y="11"/>
                        </a:cubicBezTo>
                        <a:close/>
                        <a:moveTo>
                          <a:pt x="151" y="6"/>
                        </a:moveTo>
                        <a:cubicBezTo>
                          <a:pt x="154" y="6"/>
                          <a:pt x="158" y="7"/>
                          <a:pt x="161" y="7"/>
                        </a:cubicBezTo>
                        <a:cubicBezTo>
                          <a:pt x="158" y="9"/>
                          <a:pt x="154" y="11"/>
                          <a:pt x="151" y="14"/>
                        </a:cubicBezTo>
                        <a:cubicBezTo>
                          <a:pt x="151" y="6"/>
                          <a:pt x="151" y="6"/>
                          <a:pt x="151" y="6"/>
                        </a:cubicBezTo>
                        <a:cubicBezTo>
                          <a:pt x="151" y="6"/>
                          <a:pt x="151" y="6"/>
                          <a:pt x="151" y="6"/>
                        </a:cubicBezTo>
                        <a:close/>
                        <a:moveTo>
                          <a:pt x="110" y="89"/>
                        </a:moveTo>
                        <a:cubicBezTo>
                          <a:pt x="108" y="95"/>
                          <a:pt x="107" y="100"/>
                          <a:pt x="106" y="105"/>
                        </a:cubicBezTo>
                        <a:cubicBezTo>
                          <a:pt x="97" y="102"/>
                          <a:pt x="88" y="98"/>
                          <a:pt x="81" y="93"/>
                        </a:cubicBezTo>
                        <a:cubicBezTo>
                          <a:pt x="82" y="92"/>
                          <a:pt x="82" y="90"/>
                          <a:pt x="82" y="89"/>
                        </a:cubicBezTo>
                        <a:cubicBezTo>
                          <a:pt x="86" y="78"/>
                          <a:pt x="93" y="67"/>
                          <a:pt x="101" y="57"/>
                        </a:cubicBezTo>
                        <a:cubicBezTo>
                          <a:pt x="106" y="60"/>
                          <a:pt x="112" y="62"/>
                          <a:pt x="118" y="64"/>
                        </a:cubicBezTo>
                        <a:cubicBezTo>
                          <a:pt x="116" y="69"/>
                          <a:pt x="115" y="73"/>
                          <a:pt x="113" y="78"/>
                        </a:cubicBezTo>
                        <a:cubicBezTo>
                          <a:pt x="113" y="78"/>
                          <a:pt x="113" y="79"/>
                          <a:pt x="113" y="79"/>
                        </a:cubicBezTo>
                        <a:cubicBezTo>
                          <a:pt x="112" y="83"/>
                          <a:pt x="111" y="86"/>
                          <a:pt x="110" y="89"/>
                        </a:cubicBezTo>
                        <a:close/>
                        <a:moveTo>
                          <a:pt x="109" y="40"/>
                        </a:moveTo>
                        <a:cubicBezTo>
                          <a:pt x="108" y="42"/>
                          <a:pt x="106" y="43"/>
                          <a:pt x="104" y="45"/>
                        </a:cubicBezTo>
                        <a:cubicBezTo>
                          <a:pt x="104" y="45"/>
                          <a:pt x="104" y="45"/>
                          <a:pt x="104" y="46"/>
                        </a:cubicBezTo>
                        <a:cubicBezTo>
                          <a:pt x="103" y="47"/>
                          <a:pt x="102" y="48"/>
                          <a:pt x="101" y="49"/>
                        </a:cubicBezTo>
                        <a:cubicBezTo>
                          <a:pt x="98" y="47"/>
                          <a:pt x="96" y="44"/>
                          <a:pt x="95" y="42"/>
                        </a:cubicBezTo>
                        <a:cubicBezTo>
                          <a:pt x="94" y="41"/>
                          <a:pt x="94" y="40"/>
                          <a:pt x="94" y="40"/>
                        </a:cubicBezTo>
                        <a:cubicBezTo>
                          <a:pt x="97" y="37"/>
                          <a:pt x="101" y="35"/>
                          <a:pt x="104" y="33"/>
                        </a:cubicBezTo>
                        <a:cubicBezTo>
                          <a:pt x="106" y="32"/>
                          <a:pt x="109" y="31"/>
                          <a:pt x="111" y="30"/>
                        </a:cubicBezTo>
                        <a:cubicBezTo>
                          <a:pt x="117" y="27"/>
                          <a:pt x="125" y="25"/>
                          <a:pt x="133" y="24"/>
                        </a:cubicBezTo>
                        <a:cubicBezTo>
                          <a:pt x="124" y="28"/>
                          <a:pt x="117" y="34"/>
                          <a:pt x="109" y="40"/>
                        </a:cubicBezTo>
                        <a:close/>
                        <a:moveTo>
                          <a:pt x="139" y="27"/>
                        </a:moveTo>
                        <a:cubicBezTo>
                          <a:pt x="133" y="35"/>
                          <a:pt x="126" y="46"/>
                          <a:pt x="121" y="58"/>
                        </a:cubicBezTo>
                        <a:cubicBezTo>
                          <a:pt x="115" y="57"/>
                          <a:pt x="110" y="54"/>
                          <a:pt x="105" y="52"/>
                        </a:cubicBezTo>
                        <a:cubicBezTo>
                          <a:pt x="106" y="51"/>
                          <a:pt x="107" y="50"/>
                          <a:pt x="108" y="49"/>
                        </a:cubicBezTo>
                        <a:cubicBezTo>
                          <a:pt x="109" y="49"/>
                          <a:pt x="109" y="48"/>
                          <a:pt x="109" y="48"/>
                        </a:cubicBezTo>
                        <a:cubicBezTo>
                          <a:pt x="118" y="39"/>
                          <a:pt x="129" y="32"/>
                          <a:pt x="139" y="27"/>
                        </a:cubicBezTo>
                        <a:close/>
                        <a:moveTo>
                          <a:pt x="146" y="112"/>
                        </a:moveTo>
                        <a:cubicBezTo>
                          <a:pt x="135" y="112"/>
                          <a:pt x="123" y="110"/>
                          <a:pt x="111" y="107"/>
                        </a:cubicBezTo>
                        <a:cubicBezTo>
                          <a:pt x="112" y="105"/>
                          <a:pt x="112" y="102"/>
                          <a:pt x="113" y="100"/>
                        </a:cubicBezTo>
                        <a:cubicBezTo>
                          <a:pt x="114" y="96"/>
                          <a:pt x="115" y="93"/>
                          <a:pt x="115" y="89"/>
                        </a:cubicBezTo>
                        <a:cubicBezTo>
                          <a:pt x="116" y="86"/>
                          <a:pt x="117" y="83"/>
                          <a:pt x="119" y="79"/>
                        </a:cubicBezTo>
                        <a:cubicBezTo>
                          <a:pt x="120" y="75"/>
                          <a:pt x="122" y="70"/>
                          <a:pt x="123" y="66"/>
                        </a:cubicBezTo>
                        <a:cubicBezTo>
                          <a:pt x="132" y="68"/>
                          <a:pt x="139" y="69"/>
                          <a:pt x="146" y="69"/>
                        </a:cubicBezTo>
                        <a:cubicBezTo>
                          <a:pt x="146" y="112"/>
                          <a:pt x="146" y="112"/>
                          <a:pt x="146" y="112"/>
                        </a:cubicBezTo>
                        <a:cubicBezTo>
                          <a:pt x="146" y="112"/>
                          <a:pt x="146" y="112"/>
                          <a:pt x="146" y="112"/>
                        </a:cubicBezTo>
                        <a:close/>
                        <a:moveTo>
                          <a:pt x="146" y="63"/>
                        </a:moveTo>
                        <a:cubicBezTo>
                          <a:pt x="139" y="63"/>
                          <a:pt x="133" y="62"/>
                          <a:pt x="126" y="60"/>
                        </a:cubicBezTo>
                        <a:cubicBezTo>
                          <a:pt x="131" y="48"/>
                          <a:pt x="138" y="38"/>
                          <a:pt x="144" y="30"/>
                        </a:cubicBezTo>
                        <a:cubicBezTo>
                          <a:pt x="145" y="29"/>
                          <a:pt x="145" y="28"/>
                          <a:pt x="146" y="27"/>
                        </a:cubicBezTo>
                        <a:cubicBezTo>
                          <a:pt x="146" y="63"/>
                          <a:pt x="146" y="63"/>
                          <a:pt x="146" y="63"/>
                        </a:cubicBezTo>
                        <a:cubicBezTo>
                          <a:pt x="146" y="63"/>
                          <a:pt x="146" y="63"/>
                          <a:pt x="146" y="63"/>
                        </a:cubicBezTo>
                        <a:close/>
                        <a:moveTo>
                          <a:pt x="146" y="6"/>
                        </a:moveTo>
                        <a:cubicBezTo>
                          <a:pt x="146" y="14"/>
                          <a:pt x="146" y="14"/>
                          <a:pt x="146" y="14"/>
                        </a:cubicBezTo>
                        <a:cubicBezTo>
                          <a:pt x="143" y="11"/>
                          <a:pt x="139" y="9"/>
                          <a:pt x="136" y="7"/>
                        </a:cubicBezTo>
                        <a:cubicBezTo>
                          <a:pt x="139" y="7"/>
                          <a:pt x="143" y="6"/>
                          <a:pt x="146" y="6"/>
                        </a:cubicBezTo>
                        <a:close/>
                        <a:moveTo>
                          <a:pt x="123" y="11"/>
                        </a:moveTo>
                        <a:cubicBezTo>
                          <a:pt x="124" y="11"/>
                          <a:pt x="125" y="11"/>
                          <a:pt x="127" y="11"/>
                        </a:cubicBezTo>
                        <a:cubicBezTo>
                          <a:pt x="130" y="11"/>
                          <a:pt x="134" y="12"/>
                          <a:pt x="138" y="14"/>
                        </a:cubicBezTo>
                        <a:cubicBezTo>
                          <a:pt x="133" y="13"/>
                          <a:pt x="129" y="13"/>
                          <a:pt x="124" y="13"/>
                        </a:cubicBezTo>
                        <a:cubicBezTo>
                          <a:pt x="123" y="13"/>
                          <a:pt x="121" y="13"/>
                          <a:pt x="119" y="13"/>
                        </a:cubicBezTo>
                        <a:cubicBezTo>
                          <a:pt x="120" y="12"/>
                          <a:pt x="122" y="12"/>
                          <a:pt x="123" y="11"/>
                        </a:cubicBezTo>
                        <a:close/>
                        <a:moveTo>
                          <a:pt x="96" y="27"/>
                        </a:moveTo>
                        <a:cubicBezTo>
                          <a:pt x="99" y="24"/>
                          <a:pt x="103" y="22"/>
                          <a:pt x="108" y="21"/>
                        </a:cubicBezTo>
                        <a:cubicBezTo>
                          <a:pt x="110" y="20"/>
                          <a:pt x="112" y="20"/>
                          <a:pt x="114" y="19"/>
                        </a:cubicBezTo>
                        <a:cubicBezTo>
                          <a:pt x="118" y="19"/>
                          <a:pt x="121" y="18"/>
                          <a:pt x="124" y="18"/>
                        </a:cubicBezTo>
                        <a:cubicBezTo>
                          <a:pt x="126" y="18"/>
                          <a:pt x="128" y="18"/>
                          <a:pt x="131" y="19"/>
                        </a:cubicBezTo>
                        <a:cubicBezTo>
                          <a:pt x="124" y="20"/>
                          <a:pt x="118" y="21"/>
                          <a:pt x="112" y="24"/>
                        </a:cubicBezTo>
                        <a:cubicBezTo>
                          <a:pt x="110" y="25"/>
                          <a:pt x="108" y="25"/>
                          <a:pt x="106" y="26"/>
                        </a:cubicBezTo>
                        <a:cubicBezTo>
                          <a:pt x="101" y="28"/>
                          <a:pt x="97" y="31"/>
                          <a:pt x="93" y="34"/>
                        </a:cubicBezTo>
                        <a:cubicBezTo>
                          <a:pt x="94" y="31"/>
                          <a:pt x="94" y="29"/>
                          <a:pt x="96" y="27"/>
                        </a:cubicBezTo>
                        <a:close/>
                        <a:moveTo>
                          <a:pt x="87" y="36"/>
                        </a:moveTo>
                        <a:cubicBezTo>
                          <a:pt x="87" y="37"/>
                          <a:pt x="87" y="38"/>
                          <a:pt x="87" y="38"/>
                        </a:cubicBezTo>
                        <a:cubicBezTo>
                          <a:pt x="85" y="39"/>
                          <a:pt x="84" y="40"/>
                          <a:pt x="83" y="42"/>
                        </a:cubicBezTo>
                        <a:cubicBezTo>
                          <a:pt x="84" y="40"/>
                          <a:pt x="85" y="38"/>
                          <a:pt x="87" y="36"/>
                        </a:cubicBezTo>
                        <a:close/>
                        <a:moveTo>
                          <a:pt x="70" y="71"/>
                        </a:moveTo>
                        <a:cubicBezTo>
                          <a:pt x="70" y="69"/>
                          <a:pt x="71" y="67"/>
                          <a:pt x="72" y="65"/>
                        </a:cubicBezTo>
                        <a:cubicBezTo>
                          <a:pt x="74" y="61"/>
                          <a:pt x="76" y="58"/>
                          <a:pt x="79" y="54"/>
                        </a:cubicBezTo>
                        <a:cubicBezTo>
                          <a:pt x="82" y="51"/>
                          <a:pt x="85" y="47"/>
                          <a:pt x="89" y="44"/>
                        </a:cubicBezTo>
                        <a:cubicBezTo>
                          <a:pt x="89" y="44"/>
                          <a:pt x="89" y="45"/>
                          <a:pt x="89" y="45"/>
                        </a:cubicBezTo>
                        <a:cubicBezTo>
                          <a:pt x="91" y="48"/>
                          <a:pt x="93" y="51"/>
                          <a:pt x="97" y="54"/>
                        </a:cubicBezTo>
                        <a:cubicBezTo>
                          <a:pt x="90" y="62"/>
                          <a:pt x="84" y="71"/>
                          <a:pt x="80" y="81"/>
                        </a:cubicBezTo>
                        <a:cubicBezTo>
                          <a:pt x="79" y="83"/>
                          <a:pt x="78" y="86"/>
                          <a:pt x="77" y="89"/>
                        </a:cubicBezTo>
                        <a:cubicBezTo>
                          <a:pt x="72" y="84"/>
                          <a:pt x="70" y="79"/>
                          <a:pt x="69" y="73"/>
                        </a:cubicBezTo>
                        <a:cubicBezTo>
                          <a:pt x="69" y="73"/>
                          <a:pt x="69" y="72"/>
                          <a:pt x="70" y="71"/>
                        </a:cubicBezTo>
                        <a:close/>
                        <a:moveTo>
                          <a:pt x="42" y="93"/>
                        </a:moveTo>
                        <a:cubicBezTo>
                          <a:pt x="39" y="93"/>
                          <a:pt x="38" y="99"/>
                          <a:pt x="38" y="101"/>
                        </a:cubicBezTo>
                        <a:cubicBezTo>
                          <a:pt x="38" y="108"/>
                          <a:pt x="41" y="109"/>
                          <a:pt x="42" y="109"/>
                        </a:cubicBezTo>
                        <a:cubicBezTo>
                          <a:pt x="43" y="109"/>
                          <a:pt x="46" y="108"/>
                          <a:pt x="46" y="101"/>
                        </a:cubicBezTo>
                        <a:cubicBezTo>
                          <a:pt x="46" y="99"/>
                          <a:pt x="45" y="93"/>
                          <a:pt x="42" y="93"/>
                        </a:cubicBezTo>
                        <a:close/>
                        <a:moveTo>
                          <a:pt x="256" y="93"/>
                        </a:moveTo>
                        <a:cubicBezTo>
                          <a:pt x="253" y="93"/>
                          <a:pt x="253" y="99"/>
                          <a:pt x="253" y="101"/>
                        </a:cubicBezTo>
                        <a:cubicBezTo>
                          <a:pt x="253" y="108"/>
                          <a:pt x="255" y="109"/>
                          <a:pt x="256" y="109"/>
                        </a:cubicBezTo>
                        <a:cubicBezTo>
                          <a:pt x="257" y="109"/>
                          <a:pt x="260" y="108"/>
                          <a:pt x="260" y="101"/>
                        </a:cubicBezTo>
                        <a:cubicBezTo>
                          <a:pt x="260" y="99"/>
                          <a:pt x="260" y="93"/>
                          <a:pt x="256" y="93"/>
                        </a:cubicBezTo>
                        <a:close/>
                        <a:moveTo>
                          <a:pt x="164" y="144"/>
                        </a:moveTo>
                        <a:cubicBezTo>
                          <a:pt x="162" y="137"/>
                          <a:pt x="157" y="139"/>
                          <a:pt x="156" y="141"/>
                        </a:cubicBezTo>
                        <a:cubicBezTo>
                          <a:pt x="155" y="142"/>
                          <a:pt x="154" y="143"/>
                          <a:pt x="154" y="145"/>
                        </a:cubicBezTo>
                        <a:cubicBezTo>
                          <a:pt x="153" y="149"/>
                          <a:pt x="154" y="156"/>
                          <a:pt x="159" y="156"/>
                        </a:cubicBezTo>
                        <a:cubicBezTo>
                          <a:pt x="163" y="156"/>
                          <a:pt x="164" y="151"/>
                          <a:pt x="164" y="146"/>
                        </a:cubicBezTo>
                        <a:cubicBezTo>
                          <a:pt x="164" y="145"/>
                          <a:pt x="164" y="145"/>
                          <a:pt x="164" y="144"/>
                        </a:cubicBezTo>
                        <a:close/>
                        <a:moveTo>
                          <a:pt x="323" y="101"/>
                        </a:moveTo>
                        <a:cubicBezTo>
                          <a:pt x="292" y="71"/>
                          <a:pt x="292" y="71"/>
                          <a:pt x="292" y="71"/>
                        </a:cubicBezTo>
                        <a:cubicBezTo>
                          <a:pt x="292" y="83"/>
                          <a:pt x="292" y="83"/>
                          <a:pt x="292" y="83"/>
                        </a:cubicBezTo>
                        <a:cubicBezTo>
                          <a:pt x="241" y="83"/>
                          <a:pt x="241" y="83"/>
                          <a:pt x="241" y="83"/>
                        </a:cubicBezTo>
                        <a:cubicBezTo>
                          <a:pt x="241" y="85"/>
                          <a:pt x="240" y="86"/>
                          <a:pt x="240" y="87"/>
                        </a:cubicBezTo>
                        <a:cubicBezTo>
                          <a:pt x="233" y="103"/>
                          <a:pt x="215" y="116"/>
                          <a:pt x="189" y="124"/>
                        </a:cubicBezTo>
                        <a:cubicBezTo>
                          <a:pt x="176" y="128"/>
                          <a:pt x="162" y="129"/>
                          <a:pt x="148" y="129"/>
                        </a:cubicBezTo>
                        <a:cubicBezTo>
                          <a:pt x="113" y="129"/>
                          <a:pt x="79" y="117"/>
                          <a:pt x="63" y="96"/>
                        </a:cubicBezTo>
                        <a:cubicBezTo>
                          <a:pt x="61" y="94"/>
                          <a:pt x="60" y="92"/>
                          <a:pt x="58" y="90"/>
                        </a:cubicBezTo>
                        <a:cubicBezTo>
                          <a:pt x="57" y="88"/>
                          <a:pt x="56" y="86"/>
                          <a:pt x="56" y="83"/>
                        </a:cubicBezTo>
                        <a:cubicBezTo>
                          <a:pt x="0" y="83"/>
                          <a:pt x="0" y="83"/>
                          <a:pt x="0" y="83"/>
                        </a:cubicBezTo>
                        <a:cubicBezTo>
                          <a:pt x="0" y="119"/>
                          <a:pt x="0" y="119"/>
                          <a:pt x="0" y="119"/>
                        </a:cubicBezTo>
                        <a:cubicBezTo>
                          <a:pt x="55" y="119"/>
                          <a:pt x="55" y="119"/>
                          <a:pt x="55" y="119"/>
                        </a:cubicBezTo>
                        <a:cubicBezTo>
                          <a:pt x="55" y="120"/>
                          <a:pt x="55" y="122"/>
                          <a:pt x="56" y="123"/>
                        </a:cubicBezTo>
                        <a:cubicBezTo>
                          <a:pt x="57" y="127"/>
                          <a:pt x="60" y="131"/>
                          <a:pt x="63" y="135"/>
                        </a:cubicBezTo>
                        <a:cubicBezTo>
                          <a:pt x="64" y="137"/>
                          <a:pt x="65" y="138"/>
                          <a:pt x="66" y="140"/>
                        </a:cubicBezTo>
                        <a:cubicBezTo>
                          <a:pt x="70" y="144"/>
                          <a:pt x="74" y="147"/>
                          <a:pt x="79" y="150"/>
                        </a:cubicBezTo>
                        <a:cubicBezTo>
                          <a:pt x="86" y="155"/>
                          <a:pt x="94" y="159"/>
                          <a:pt x="103" y="162"/>
                        </a:cubicBezTo>
                        <a:cubicBezTo>
                          <a:pt x="105" y="162"/>
                          <a:pt x="107" y="163"/>
                          <a:pt x="109" y="163"/>
                        </a:cubicBezTo>
                        <a:cubicBezTo>
                          <a:pt x="120" y="167"/>
                          <a:pt x="133" y="168"/>
                          <a:pt x="146" y="169"/>
                        </a:cubicBezTo>
                        <a:cubicBezTo>
                          <a:pt x="147" y="169"/>
                          <a:pt x="148" y="169"/>
                          <a:pt x="148" y="169"/>
                        </a:cubicBezTo>
                        <a:cubicBezTo>
                          <a:pt x="150" y="169"/>
                          <a:pt x="151" y="169"/>
                          <a:pt x="152" y="169"/>
                        </a:cubicBezTo>
                        <a:cubicBezTo>
                          <a:pt x="164" y="168"/>
                          <a:pt x="177" y="167"/>
                          <a:pt x="189" y="163"/>
                        </a:cubicBezTo>
                        <a:cubicBezTo>
                          <a:pt x="189" y="163"/>
                          <a:pt x="189" y="163"/>
                          <a:pt x="189" y="163"/>
                        </a:cubicBezTo>
                        <a:cubicBezTo>
                          <a:pt x="191" y="163"/>
                          <a:pt x="193" y="162"/>
                          <a:pt x="194" y="161"/>
                        </a:cubicBezTo>
                        <a:cubicBezTo>
                          <a:pt x="204" y="158"/>
                          <a:pt x="212" y="154"/>
                          <a:pt x="219" y="149"/>
                        </a:cubicBezTo>
                        <a:cubicBezTo>
                          <a:pt x="224" y="146"/>
                          <a:pt x="228" y="142"/>
                          <a:pt x="232" y="138"/>
                        </a:cubicBezTo>
                        <a:cubicBezTo>
                          <a:pt x="236" y="134"/>
                          <a:pt x="239" y="129"/>
                          <a:pt x="241" y="123"/>
                        </a:cubicBezTo>
                        <a:cubicBezTo>
                          <a:pt x="242" y="122"/>
                          <a:pt x="242" y="120"/>
                          <a:pt x="243" y="119"/>
                        </a:cubicBezTo>
                        <a:cubicBezTo>
                          <a:pt x="292" y="119"/>
                          <a:pt x="292" y="119"/>
                          <a:pt x="292" y="119"/>
                        </a:cubicBezTo>
                        <a:cubicBezTo>
                          <a:pt x="292" y="131"/>
                          <a:pt x="292" y="131"/>
                          <a:pt x="292" y="131"/>
                        </a:cubicBezTo>
                        <a:cubicBezTo>
                          <a:pt x="323" y="101"/>
                          <a:pt x="323" y="101"/>
                          <a:pt x="323" y="101"/>
                        </a:cubicBezTo>
                        <a:cubicBezTo>
                          <a:pt x="323" y="101"/>
                          <a:pt x="323" y="101"/>
                          <a:pt x="323" y="101"/>
                        </a:cubicBezTo>
                        <a:close/>
                        <a:moveTo>
                          <a:pt x="28" y="112"/>
                        </a:moveTo>
                        <a:cubicBezTo>
                          <a:pt x="12" y="112"/>
                          <a:pt x="12" y="112"/>
                          <a:pt x="12" y="112"/>
                        </a:cubicBezTo>
                        <a:cubicBezTo>
                          <a:pt x="12" y="108"/>
                          <a:pt x="12" y="108"/>
                          <a:pt x="12" y="108"/>
                        </a:cubicBezTo>
                        <a:cubicBezTo>
                          <a:pt x="18" y="108"/>
                          <a:pt x="18" y="108"/>
                          <a:pt x="18" y="108"/>
                        </a:cubicBezTo>
                        <a:cubicBezTo>
                          <a:pt x="18" y="94"/>
                          <a:pt x="18" y="94"/>
                          <a:pt x="18" y="94"/>
                        </a:cubicBezTo>
                        <a:cubicBezTo>
                          <a:pt x="13" y="97"/>
                          <a:pt x="13" y="97"/>
                          <a:pt x="13" y="97"/>
                        </a:cubicBezTo>
                        <a:cubicBezTo>
                          <a:pt x="11" y="93"/>
                          <a:pt x="11" y="93"/>
                          <a:pt x="11" y="93"/>
                        </a:cubicBezTo>
                        <a:cubicBezTo>
                          <a:pt x="19" y="90"/>
                          <a:pt x="19" y="90"/>
                          <a:pt x="19" y="90"/>
                        </a:cubicBezTo>
                        <a:cubicBezTo>
                          <a:pt x="22" y="90"/>
                          <a:pt x="22" y="90"/>
                          <a:pt x="22" y="90"/>
                        </a:cubicBezTo>
                        <a:cubicBezTo>
                          <a:pt x="22" y="108"/>
                          <a:pt x="22" y="108"/>
                          <a:pt x="22" y="108"/>
                        </a:cubicBezTo>
                        <a:cubicBezTo>
                          <a:pt x="28" y="108"/>
                          <a:pt x="28" y="108"/>
                          <a:pt x="28" y="108"/>
                        </a:cubicBezTo>
                        <a:cubicBezTo>
                          <a:pt x="28" y="112"/>
                          <a:pt x="28" y="112"/>
                          <a:pt x="28" y="112"/>
                        </a:cubicBezTo>
                        <a:cubicBezTo>
                          <a:pt x="28" y="112"/>
                          <a:pt x="28" y="112"/>
                          <a:pt x="28" y="112"/>
                        </a:cubicBezTo>
                        <a:close/>
                        <a:moveTo>
                          <a:pt x="42" y="112"/>
                        </a:moveTo>
                        <a:cubicBezTo>
                          <a:pt x="35" y="112"/>
                          <a:pt x="34" y="106"/>
                          <a:pt x="34" y="101"/>
                        </a:cubicBezTo>
                        <a:cubicBezTo>
                          <a:pt x="34" y="96"/>
                          <a:pt x="36" y="90"/>
                          <a:pt x="42" y="90"/>
                        </a:cubicBezTo>
                        <a:cubicBezTo>
                          <a:pt x="49" y="90"/>
                          <a:pt x="50" y="96"/>
                          <a:pt x="50" y="101"/>
                        </a:cubicBezTo>
                        <a:cubicBezTo>
                          <a:pt x="50" y="106"/>
                          <a:pt x="49" y="112"/>
                          <a:pt x="42" y="112"/>
                        </a:cubicBezTo>
                        <a:close/>
                        <a:moveTo>
                          <a:pt x="65" y="127"/>
                        </a:moveTo>
                        <a:cubicBezTo>
                          <a:pt x="64" y="125"/>
                          <a:pt x="62" y="123"/>
                          <a:pt x="61" y="121"/>
                        </a:cubicBezTo>
                        <a:cubicBezTo>
                          <a:pt x="60" y="120"/>
                          <a:pt x="60" y="118"/>
                          <a:pt x="59" y="117"/>
                        </a:cubicBezTo>
                        <a:cubicBezTo>
                          <a:pt x="59" y="113"/>
                          <a:pt x="59" y="113"/>
                          <a:pt x="59" y="113"/>
                        </a:cubicBezTo>
                        <a:cubicBezTo>
                          <a:pt x="60" y="114"/>
                          <a:pt x="60" y="115"/>
                          <a:pt x="61" y="116"/>
                        </a:cubicBezTo>
                        <a:cubicBezTo>
                          <a:pt x="61" y="117"/>
                          <a:pt x="61" y="117"/>
                          <a:pt x="62" y="118"/>
                        </a:cubicBezTo>
                        <a:cubicBezTo>
                          <a:pt x="62" y="110"/>
                          <a:pt x="62" y="110"/>
                          <a:pt x="62" y="110"/>
                        </a:cubicBezTo>
                        <a:cubicBezTo>
                          <a:pt x="62" y="102"/>
                          <a:pt x="62" y="102"/>
                          <a:pt x="62" y="102"/>
                        </a:cubicBezTo>
                        <a:cubicBezTo>
                          <a:pt x="61" y="102"/>
                          <a:pt x="61" y="102"/>
                          <a:pt x="61" y="101"/>
                        </a:cubicBezTo>
                        <a:cubicBezTo>
                          <a:pt x="61" y="101"/>
                          <a:pt x="61" y="101"/>
                          <a:pt x="61" y="101"/>
                        </a:cubicBezTo>
                        <a:cubicBezTo>
                          <a:pt x="60" y="101"/>
                          <a:pt x="60" y="101"/>
                          <a:pt x="59" y="100"/>
                        </a:cubicBezTo>
                        <a:cubicBezTo>
                          <a:pt x="59" y="97"/>
                          <a:pt x="59" y="97"/>
                          <a:pt x="59" y="97"/>
                        </a:cubicBezTo>
                        <a:cubicBezTo>
                          <a:pt x="59" y="95"/>
                          <a:pt x="59" y="95"/>
                          <a:pt x="59" y="95"/>
                        </a:cubicBezTo>
                        <a:cubicBezTo>
                          <a:pt x="60" y="96"/>
                          <a:pt x="61" y="97"/>
                          <a:pt x="62" y="98"/>
                        </a:cubicBezTo>
                        <a:cubicBezTo>
                          <a:pt x="63" y="99"/>
                          <a:pt x="63" y="100"/>
                          <a:pt x="64" y="100"/>
                        </a:cubicBezTo>
                        <a:cubicBezTo>
                          <a:pt x="64" y="105"/>
                          <a:pt x="64" y="105"/>
                          <a:pt x="64" y="105"/>
                        </a:cubicBezTo>
                        <a:cubicBezTo>
                          <a:pt x="64" y="113"/>
                          <a:pt x="64" y="113"/>
                          <a:pt x="64" y="113"/>
                        </a:cubicBezTo>
                        <a:cubicBezTo>
                          <a:pt x="64" y="121"/>
                          <a:pt x="64" y="121"/>
                          <a:pt x="64" y="121"/>
                        </a:cubicBezTo>
                        <a:cubicBezTo>
                          <a:pt x="64" y="122"/>
                          <a:pt x="65" y="122"/>
                          <a:pt x="65" y="123"/>
                        </a:cubicBezTo>
                        <a:cubicBezTo>
                          <a:pt x="66" y="124"/>
                          <a:pt x="67" y="125"/>
                          <a:pt x="68" y="126"/>
                        </a:cubicBezTo>
                        <a:cubicBezTo>
                          <a:pt x="68" y="130"/>
                          <a:pt x="68" y="130"/>
                          <a:pt x="68" y="130"/>
                        </a:cubicBezTo>
                        <a:cubicBezTo>
                          <a:pt x="67" y="129"/>
                          <a:pt x="66" y="128"/>
                          <a:pt x="65" y="127"/>
                        </a:cubicBezTo>
                        <a:close/>
                        <a:moveTo>
                          <a:pt x="77" y="138"/>
                        </a:moveTo>
                        <a:cubicBezTo>
                          <a:pt x="75" y="137"/>
                          <a:pt x="74" y="136"/>
                          <a:pt x="72" y="134"/>
                        </a:cubicBezTo>
                        <a:cubicBezTo>
                          <a:pt x="72" y="130"/>
                          <a:pt x="72" y="130"/>
                          <a:pt x="72" y="130"/>
                        </a:cubicBezTo>
                        <a:cubicBezTo>
                          <a:pt x="73" y="132"/>
                          <a:pt x="75" y="133"/>
                          <a:pt x="76" y="134"/>
                        </a:cubicBezTo>
                        <a:cubicBezTo>
                          <a:pt x="77" y="134"/>
                          <a:pt x="77" y="134"/>
                          <a:pt x="77" y="135"/>
                        </a:cubicBezTo>
                        <a:cubicBezTo>
                          <a:pt x="77" y="125"/>
                          <a:pt x="77" y="125"/>
                          <a:pt x="77" y="125"/>
                        </a:cubicBezTo>
                        <a:cubicBezTo>
                          <a:pt x="77" y="124"/>
                          <a:pt x="77" y="124"/>
                          <a:pt x="77" y="124"/>
                        </a:cubicBezTo>
                        <a:cubicBezTo>
                          <a:pt x="77" y="119"/>
                          <a:pt x="77" y="119"/>
                          <a:pt x="77" y="119"/>
                        </a:cubicBezTo>
                        <a:cubicBezTo>
                          <a:pt x="76" y="119"/>
                          <a:pt x="74" y="118"/>
                          <a:pt x="73" y="118"/>
                        </a:cubicBezTo>
                        <a:cubicBezTo>
                          <a:pt x="73" y="117"/>
                          <a:pt x="73" y="117"/>
                          <a:pt x="73" y="117"/>
                        </a:cubicBezTo>
                        <a:cubicBezTo>
                          <a:pt x="72" y="114"/>
                          <a:pt x="72" y="114"/>
                          <a:pt x="72" y="114"/>
                        </a:cubicBezTo>
                        <a:cubicBezTo>
                          <a:pt x="72" y="114"/>
                          <a:pt x="72" y="114"/>
                          <a:pt x="72" y="114"/>
                        </a:cubicBezTo>
                        <a:cubicBezTo>
                          <a:pt x="72" y="113"/>
                          <a:pt x="72" y="113"/>
                          <a:pt x="72" y="113"/>
                        </a:cubicBezTo>
                        <a:cubicBezTo>
                          <a:pt x="74" y="114"/>
                          <a:pt x="76" y="114"/>
                          <a:pt x="78" y="115"/>
                        </a:cubicBezTo>
                        <a:cubicBezTo>
                          <a:pt x="79" y="115"/>
                          <a:pt x="80" y="116"/>
                          <a:pt x="81" y="116"/>
                        </a:cubicBezTo>
                        <a:cubicBezTo>
                          <a:pt x="81" y="121"/>
                          <a:pt x="81" y="121"/>
                          <a:pt x="81" y="121"/>
                        </a:cubicBezTo>
                        <a:cubicBezTo>
                          <a:pt x="81" y="128"/>
                          <a:pt x="81" y="128"/>
                          <a:pt x="81" y="128"/>
                        </a:cubicBezTo>
                        <a:cubicBezTo>
                          <a:pt x="81" y="137"/>
                          <a:pt x="81" y="137"/>
                          <a:pt x="81" y="137"/>
                        </a:cubicBezTo>
                        <a:cubicBezTo>
                          <a:pt x="83" y="138"/>
                          <a:pt x="85" y="140"/>
                          <a:pt x="87" y="141"/>
                        </a:cubicBezTo>
                        <a:cubicBezTo>
                          <a:pt x="87" y="145"/>
                          <a:pt x="87" y="145"/>
                          <a:pt x="87" y="145"/>
                        </a:cubicBezTo>
                        <a:cubicBezTo>
                          <a:pt x="83" y="143"/>
                          <a:pt x="80" y="141"/>
                          <a:pt x="77" y="138"/>
                        </a:cubicBezTo>
                        <a:close/>
                        <a:moveTo>
                          <a:pt x="110" y="149"/>
                        </a:moveTo>
                        <a:cubicBezTo>
                          <a:pt x="109" y="150"/>
                          <a:pt x="109" y="150"/>
                          <a:pt x="108" y="151"/>
                        </a:cubicBezTo>
                        <a:cubicBezTo>
                          <a:pt x="107" y="153"/>
                          <a:pt x="105" y="153"/>
                          <a:pt x="103" y="153"/>
                        </a:cubicBezTo>
                        <a:cubicBezTo>
                          <a:pt x="100" y="152"/>
                          <a:pt x="96" y="149"/>
                          <a:pt x="95" y="146"/>
                        </a:cubicBezTo>
                        <a:cubicBezTo>
                          <a:pt x="94" y="145"/>
                          <a:pt x="93" y="139"/>
                          <a:pt x="93" y="134"/>
                        </a:cubicBezTo>
                        <a:cubicBezTo>
                          <a:pt x="93" y="132"/>
                          <a:pt x="93" y="130"/>
                          <a:pt x="94" y="129"/>
                        </a:cubicBezTo>
                        <a:cubicBezTo>
                          <a:pt x="95" y="126"/>
                          <a:pt x="97" y="126"/>
                          <a:pt x="101" y="127"/>
                        </a:cubicBezTo>
                        <a:cubicBezTo>
                          <a:pt x="106" y="128"/>
                          <a:pt x="108" y="131"/>
                          <a:pt x="109" y="134"/>
                        </a:cubicBezTo>
                        <a:cubicBezTo>
                          <a:pt x="109" y="135"/>
                          <a:pt x="109" y="135"/>
                          <a:pt x="110" y="135"/>
                        </a:cubicBezTo>
                        <a:cubicBezTo>
                          <a:pt x="110" y="137"/>
                          <a:pt x="110" y="138"/>
                          <a:pt x="111" y="140"/>
                        </a:cubicBezTo>
                        <a:cubicBezTo>
                          <a:pt x="111" y="145"/>
                          <a:pt x="110" y="149"/>
                          <a:pt x="110" y="149"/>
                        </a:cubicBezTo>
                        <a:close/>
                        <a:moveTo>
                          <a:pt x="119" y="157"/>
                        </a:moveTo>
                        <a:cubicBezTo>
                          <a:pt x="119" y="153"/>
                          <a:pt x="119" y="153"/>
                          <a:pt x="119" y="153"/>
                        </a:cubicBezTo>
                        <a:cubicBezTo>
                          <a:pt x="122" y="153"/>
                          <a:pt x="124" y="154"/>
                          <a:pt x="127" y="154"/>
                        </a:cubicBezTo>
                        <a:cubicBezTo>
                          <a:pt x="127" y="143"/>
                          <a:pt x="127" y="143"/>
                          <a:pt x="127" y="143"/>
                        </a:cubicBezTo>
                        <a:cubicBezTo>
                          <a:pt x="127" y="139"/>
                          <a:pt x="127" y="139"/>
                          <a:pt x="127" y="139"/>
                        </a:cubicBezTo>
                        <a:cubicBezTo>
                          <a:pt x="125" y="139"/>
                          <a:pt x="122" y="139"/>
                          <a:pt x="120" y="140"/>
                        </a:cubicBezTo>
                        <a:cubicBezTo>
                          <a:pt x="119" y="137"/>
                          <a:pt x="119" y="137"/>
                          <a:pt x="119" y="137"/>
                        </a:cubicBezTo>
                        <a:cubicBezTo>
                          <a:pt x="118" y="135"/>
                          <a:pt x="118" y="135"/>
                          <a:pt x="118" y="135"/>
                        </a:cubicBezTo>
                        <a:cubicBezTo>
                          <a:pt x="122" y="135"/>
                          <a:pt x="126" y="134"/>
                          <a:pt x="129" y="134"/>
                        </a:cubicBezTo>
                        <a:cubicBezTo>
                          <a:pt x="130" y="134"/>
                          <a:pt x="131" y="134"/>
                          <a:pt x="132" y="134"/>
                        </a:cubicBezTo>
                        <a:cubicBezTo>
                          <a:pt x="132" y="139"/>
                          <a:pt x="132" y="139"/>
                          <a:pt x="132" y="139"/>
                        </a:cubicBezTo>
                        <a:cubicBezTo>
                          <a:pt x="132" y="144"/>
                          <a:pt x="132" y="144"/>
                          <a:pt x="132" y="144"/>
                        </a:cubicBezTo>
                        <a:cubicBezTo>
                          <a:pt x="132" y="155"/>
                          <a:pt x="132" y="155"/>
                          <a:pt x="132" y="155"/>
                        </a:cubicBezTo>
                        <a:cubicBezTo>
                          <a:pt x="135" y="155"/>
                          <a:pt x="138" y="155"/>
                          <a:pt x="141" y="156"/>
                        </a:cubicBezTo>
                        <a:cubicBezTo>
                          <a:pt x="141" y="160"/>
                          <a:pt x="141" y="160"/>
                          <a:pt x="141" y="160"/>
                        </a:cubicBezTo>
                        <a:cubicBezTo>
                          <a:pt x="133" y="159"/>
                          <a:pt x="126" y="158"/>
                          <a:pt x="119" y="157"/>
                        </a:cubicBezTo>
                        <a:close/>
                        <a:moveTo>
                          <a:pt x="152" y="159"/>
                        </a:moveTo>
                        <a:cubicBezTo>
                          <a:pt x="152" y="159"/>
                          <a:pt x="152" y="159"/>
                          <a:pt x="152" y="158"/>
                        </a:cubicBezTo>
                        <a:cubicBezTo>
                          <a:pt x="148" y="155"/>
                          <a:pt x="148" y="149"/>
                          <a:pt x="148" y="145"/>
                        </a:cubicBezTo>
                        <a:cubicBezTo>
                          <a:pt x="148" y="144"/>
                          <a:pt x="149" y="143"/>
                          <a:pt x="149" y="142"/>
                        </a:cubicBezTo>
                        <a:cubicBezTo>
                          <a:pt x="149" y="141"/>
                          <a:pt x="150" y="140"/>
                          <a:pt x="150" y="139"/>
                        </a:cubicBezTo>
                        <a:cubicBezTo>
                          <a:pt x="153" y="136"/>
                          <a:pt x="157" y="135"/>
                          <a:pt x="159" y="135"/>
                        </a:cubicBezTo>
                        <a:cubicBezTo>
                          <a:pt x="163" y="135"/>
                          <a:pt x="166" y="136"/>
                          <a:pt x="167" y="138"/>
                        </a:cubicBezTo>
                        <a:cubicBezTo>
                          <a:pt x="168" y="140"/>
                          <a:pt x="169" y="141"/>
                          <a:pt x="169" y="144"/>
                        </a:cubicBezTo>
                        <a:cubicBezTo>
                          <a:pt x="169" y="144"/>
                          <a:pt x="169" y="144"/>
                          <a:pt x="169" y="144"/>
                        </a:cubicBezTo>
                        <a:cubicBezTo>
                          <a:pt x="172" y="160"/>
                          <a:pt x="158" y="163"/>
                          <a:pt x="152" y="159"/>
                        </a:cubicBezTo>
                        <a:close/>
                        <a:moveTo>
                          <a:pt x="195" y="153"/>
                        </a:moveTo>
                        <a:cubicBezTo>
                          <a:pt x="194" y="154"/>
                          <a:pt x="192" y="154"/>
                          <a:pt x="191" y="155"/>
                        </a:cubicBezTo>
                        <a:cubicBezTo>
                          <a:pt x="191" y="155"/>
                          <a:pt x="190" y="155"/>
                          <a:pt x="189" y="155"/>
                        </a:cubicBezTo>
                        <a:cubicBezTo>
                          <a:pt x="186" y="156"/>
                          <a:pt x="182" y="157"/>
                          <a:pt x="179" y="158"/>
                        </a:cubicBezTo>
                        <a:cubicBezTo>
                          <a:pt x="179" y="153"/>
                          <a:pt x="179" y="153"/>
                          <a:pt x="179" y="153"/>
                        </a:cubicBezTo>
                        <a:cubicBezTo>
                          <a:pt x="181" y="153"/>
                          <a:pt x="184" y="152"/>
                          <a:pt x="187" y="152"/>
                        </a:cubicBezTo>
                        <a:cubicBezTo>
                          <a:pt x="187" y="140"/>
                          <a:pt x="187" y="140"/>
                          <a:pt x="187" y="140"/>
                        </a:cubicBezTo>
                        <a:cubicBezTo>
                          <a:pt x="187" y="136"/>
                          <a:pt x="187" y="136"/>
                          <a:pt x="187" y="136"/>
                        </a:cubicBezTo>
                        <a:cubicBezTo>
                          <a:pt x="185" y="137"/>
                          <a:pt x="182" y="139"/>
                          <a:pt x="180" y="140"/>
                        </a:cubicBezTo>
                        <a:cubicBezTo>
                          <a:pt x="178" y="137"/>
                          <a:pt x="178" y="137"/>
                          <a:pt x="178" y="137"/>
                        </a:cubicBezTo>
                        <a:cubicBezTo>
                          <a:pt x="178" y="136"/>
                          <a:pt x="178" y="136"/>
                          <a:pt x="178" y="136"/>
                        </a:cubicBezTo>
                        <a:cubicBezTo>
                          <a:pt x="181" y="135"/>
                          <a:pt x="185" y="132"/>
                          <a:pt x="189" y="131"/>
                        </a:cubicBezTo>
                        <a:cubicBezTo>
                          <a:pt x="189" y="130"/>
                          <a:pt x="190" y="130"/>
                          <a:pt x="191" y="130"/>
                        </a:cubicBezTo>
                        <a:cubicBezTo>
                          <a:pt x="192" y="130"/>
                          <a:pt x="192" y="130"/>
                          <a:pt x="192" y="129"/>
                        </a:cubicBezTo>
                        <a:cubicBezTo>
                          <a:pt x="192" y="133"/>
                          <a:pt x="192" y="133"/>
                          <a:pt x="192" y="133"/>
                        </a:cubicBezTo>
                        <a:cubicBezTo>
                          <a:pt x="192" y="139"/>
                          <a:pt x="192" y="139"/>
                          <a:pt x="192" y="139"/>
                        </a:cubicBezTo>
                        <a:cubicBezTo>
                          <a:pt x="192" y="150"/>
                          <a:pt x="192" y="150"/>
                          <a:pt x="192" y="150"/>
                        </a:cubicBezTo>
                        <a:cubicBezTo>
                          <a:pt x="193" y="150"/>
                          <a:pt x="194" y="149"/>
                          <a:pt x="195" y="149"/>
                        </a:cubicBezTo>
                        <a:cubicBezTo>
                          <a:pt x="197" y="149"/>
                          <a:pt x="198" y="148"/>
                          <a:pt x="200" y="147"/>
                        </a:cubicBezTo>
                        <a:cubicBezTo>
                          <a:pt x="200" y="152"/>
                          <a:pt x="200" y="152"/>
                          <a:pt x="200" y="152"/>
                        </a:cubicBezTo>
                        <a:cubicBezTo>
                          <a:pt x="198" y="152"/>
                          <a:pt x="197" y="153"/>
                          <a:pt x="195" y="153"/>
                        </a:cubicBezTo>
                        <a:close/>
                        <a:moveTo>
                          <a:pt x="221" y="141"/>
                        </a:moveTo>
                        <a:cubicBezTo>
                          <a:pt x="217" y="144"/>
                          <a:pt x="212" y="147"/>
                          <a:pt x="207" y="149"/>
                        </a:cubicBezTo>
                        <a:cubicBezTo>
                          <a:pt x="207" y="145"/>
                          <a:pt x="207" y="145"/>
                          <a:pt x="207" y="145"/>
                        </a:cubicBezTo>
                        <a:cubicBezTo>
                          <a:pt x="209" y="144"/>
                          <a:pt x="211" y="143"/>
                          <a:pt x="214" y="141"/>
                        </a:cubicBezTo>
                        <a:cubicBezTo>
                          <a:pt x="214" y="129"/>
                          <a:pt x="214" y="129"/>
                          <a:pt x="214" y="129"/>
                        </a:cubicBezTo>
                        <a:cubicBezTo>
                          <a:pt x="214" y="126"/>
                          <a:pt x="214" y="126"/>
                          <a:pt x="214" y="126"/>
                        </a:cubicBezTo>
                        <a:cubicBezTo>
                          <a:pt x="212" y="128"/>
                          <a:pt x="210" y="129"/>
                          <a:pt x="208" y="131"/>
                        </a:cubicBezTo>
                        <a:cubicBezTo>
                          <a:pt x="206" y="128"/>
                          <a:pt x="206" y="128"/>
                          <a:pt x="206" y="128"/>
                        </a:cubicBezTo>
                        <a:cubicBezTo>
                          <a:pt x="207" y="128"/>
                          <a:pt x="207" y="127"/>
                          <a:pt x="208" y="127"/>
                        </a:cubicBezTo>
                        <a:cubicBezTo>
                          <a:pt x="210" y="125"/>
                          <a:pt x="213" y="122"/>
                          <a:pt x="215" y="120"/>
                        </a:cubicBezTo>
                        <a:cubicBezTo>
                          <a:pt x="216" y="120"/>
                          <a:pt x="217" y="119"/>
                          <a:pt x="218" y="118"/>
                        </a:cubicBezTo>
                        <a:cubicBezTo>
                          <a:pt x="218" y="121"/>
                          <a:pt x="218" y="121"/>
                          <a:pt x="218" y="121"/>
                        </a:cubicBezTo>
                        <a:cubicBezTo>
                          <a:pt x="218" y="127"/>
                          <a:pt x="218" y="127"/>
                          <a:pt x="218" y="127"/>
                        </a:cubicBezTo>
                        <a:cubicBezTo>
                          <a:pt x="218" y="139"/>
                          <a:pt x="218" y="139"/>
                          <a:pt x="218" y="139"/>
                        </a:cubicBezTo>
                        <a:cubicBezTo>
                          <a:pt x="219" y="138"/>
                          <a:pt x="220" y="138"/>
                          <a:pt x="221" y="137"/>
                        </a:cubicBezTo>
                        <a:cubicBezTo>
                          <a:pt x="222" y="136"/>
                          <a:pt x="223" y="136"/>
                          <a:pt x="223" y="135"/>
                        </a:cubicBezTo>
                        <a:cubicBezTo>
                          <a:pt x="223" y="139"/>
                          <a:pt x="223" y="139"/>
                          <a:pt x="223" y="139"/>
                        </a:cubicBezTo>
                        <a:cubicBezTo>
                          <a:pt x="223" y="140"/>
                          <a:pt x="222" y="141"/>
                          <a:pt x="221" y="141"/>
                        </a:cubicBezTo>
                        <a:close/>
                        <a:moveTo>
                          <a:pt x="237" y="123"/>
                        </a:moveTo>
                        <a:cubicBezTo>
                          <a:pt x="237" y="126"/>
                          <a:pt x="236" y="128"/>
                          <a:pt x="234" y="130"/>
                        </a:cubicBezTo>
                        <a:cubicBezTo>
                          <a:pt x="233" y="132"/>
                          <a:pt x="232" y="133"/>
                          <a:pt x="231" y="133"/>
                        </a:cubicBezTo>
                        <a:cubicBezTo>
                          <a:pt x="230" y="133"/>
                          <a:pt x="229" y="132"/>
                          <a:pt x="229" y="130"/>
                        </a:cubicBezTo>
                        <a:cubicBezTo>
                          <a:pt x="228" y="127"/>
                          <a:pt x="227" y="123"/>
                          <a:pt x="228" y="119"/>
                        </a:cubicBezTo>
                        <a:cubicBezTo>
                          <a:pt x="229" y="115"/>
                          <a:pt x="230" y="112"/>
                          <a:pt x="232" y="108"/>
                        </a:cubicBezTo>
                        <a:cubicBezTo>
                          <a:pt x="232" y="107"/>
                          <a:pt x="233" y="106"/>
                          <a:pt x="234" y="106"/>
                        </a:cubicBezTo>
                        <a:cubicBezTo>
                          <a:pt x="235" y="104"/>
                          <a:pt x="236" y="103"/>
                          <a:pt x="237" y="104"/>
                        </a:cubicBezTo>
                        <a:cubicBezTo>
                          <a:pt x="237" y="104"/>
                          <a:pt x="237" y="104"/>
                          <a:pt x="237" y="104"/>
                        </a:cubicBezTo>
                        <a:cubicBezTo>
                          <a:pt x="237" y="104"/>
                          <a:pt x="237" y="104"/>
                          <a:pt x="237" y="104"/>
                        </a:cubicBezTo>
                        <a:cubicBezTo>
                          <a:pt x="239" y="107"/>
                          <a:pt x="239" y="117"/>
                          <a:pt x="237" y="123"/>
                        </a:cubicBezTo>
                        <a:close/>
                        <a:moveTo>
                          <a:pt x="256" y="112"/>
                        </a:moveTo>
                        <a:cubicBezTo>
                          <a:pt x="250" y="112"/>
                          <a:pt x="249" y="106"/>
                          <a:pt x="249" y="101"/>
                        </a:cubicBezTo>
                        <a:cubicBezTo>
                          <a:pt x="249" y="96"/>
                          <a:pt x="250" y="90"/>
                          <a:pt x="256" y="90"/>
                        </a:cubicBezTo>
                        <a:cubicBezTo>
                          <a:pt x="263" y="90"/>
                          <a:pt x="264" y="96"/>
                          <a:pt x="264" y="101"/>
                        </a:cubicBezTo>
                        <a:cubicBezTo>
                          <a:pt x="264" y="106"/>
                          <a:pt x="263" y="112"/>
                          <a:pt x="256" y="112"/>
                        </a:cubicBezTo>
                        <a:close/>
                        <a:moveTo>
                          <a:pt x="287" y="112"/>
                        </a:moveTo>
                        <a:cubicBezTo>
                          <a:pt x="271" y="112"/>
                          <a:pt x="271" y="112"/>
                          <a:pt x="271" y="112"/>
                        </a:cubicBezTo>
                        <a:cubicBezTo>
                          <a:pt x="271" y="108"/>
                          <a:pt x="271" y="108"/>
                          <a:pt x="271" y="108"/>
                        </a:cubicBezTo>
                        <a:cubicBezTo>
                          <a:pt x="277" y="108"/>
                          <a:pt x="277" y="108"/>
                          <a:pt x="277" y="108"/>
                        </a:cubicBezTo>
                        <a:cubicBezTo>
                          <a:pt x="277" y="94"/>
                          <a:pt x="277" y="94"/>
                          <a:pt x="277" y="94"/>
                        </a:cubicBezTo>
                        <a:cubicBezTo>
                          <a:pt x="272" y="97"/>
                          <a:pt x="272" y="97"/>
                          <a:pt x="272" y="97"/>
                        </a:cubicBezTo>
                        <a:cubicBezTo>
                          <a:pt x="270" y="93"/>
                          <a:pt x="270" y="93"/>
                          <a:pt x="270" y="93"/>
                        </a:cubicBezTo>
                        <a:cubicBezTo>
                          <a:pt x="278" y="90"/>
                          <a:pt x="278" y="90"/>
                          <a:pt x="278" y="90"/>
                        </a:cubicBezTo>
                        <a:cubicBezTo>
                          <a:pt x="281" y="90"/>
                          <a:pt x="281" y="90"/>
                          <a:pt x="281" y="90"/>
                        </a:cubicBezTo>
                        <a:cubicBezTo>
                          <a:pt x="281" y="108"/>
                          <a:pt x="281" y="108"/>
                          <a:pt x="281" y="108"/>
                        </a:cubicBezTo>
                        <a:cubicBezTo>
                          <a:pt x="287" y="108"/>
                          <a:pt x="287" y="108"/>
                          <a:pt x="287" y="108"/>
                        </a:cubicBezTo>
                        <a:cubicBezTo>
                          <a:pt x="287" y="112"/>
                          <a:pt x="287" y="112"/>
                          <a:pt x="287" y="112"/>
                        </a:cubicBezTo>
                        <a:cubicBezTo>
                          <a:pt x="287" y="112"/>
                          <a:pt x="287" y="112"/>
                          <a:pt x="287" y="112"/>
                        </a:cubicBezTo>
                        <a:close/>
                        <a:moveTo>
                          <a:pt x="104" y="133"/>
                        </a:moveTo>
                        <a:cubicBezTo>
                          <a:pt x="104" y="133"/>
                          <a:pt x="104" y="133"/>
                          <a:pt x="103" y="132"/>
                        </a:cubicBezTo>
                        <a:cubicBezTo>
                          <a:pt x="102" y="131"/>
                          <a:pt x="101" y="130"/>
                          <a:pt x="100" y="131"/>
                        </a:cubicBezTo>
                        <a:cubicBezTo>
                          <a:pt x="99" y="131"/>
                          <a:pt x="99" y="131"/>
                          <a:pt x="99" y="131"/>
                        </a:cubicBezTo>
                        <a:cubicBezTo>
                          <a:pt x="98" y="132"/>
                          <a:pt x="97" y="134"/>
                          <a:pt x="97" y="136"/>
                        </a:cubicBezTo>
                        <a:cubicBezTo>
                          <a:pt x="97" y="138"/>
                          <a:pt x="97" y="140"/>
                          <a:pt x="97" y="141"/>
                        </a:cubicBezTo>
                        <a:cubicBezTo>
                          <a:pt x="98" y="147"/>
                          <a:pt x="101" y="148"/>
                          <a:pt x="101" y="148"/>
                        </a:cubicBezTo>
                        <a:cubicBezTo>
                          <a:pt x="102" y="148"/>
                          <a:pt x="102" y="148"/>
                          <a:pt x="103" y="148"/>
                        </a:cubicBezTo>
                        <a:cubicBezTo>
                          <a:pt x="104" y="148"/>
                          <a:pt x="104" y="148"/>
                          <a:pt x="105" y="147"/>
                        </a:cubicBezTo>
                        <a:cubicBezTo>
                          <a:pt x="106" y="145"/>
                          <a:pt x="106" y="142"/>
                          <a:pt x="106" y="139"/>
                        </a:cubicBezTo>
                        <a:cubicBezTo>
                          <a:pt x="105" y="137"/>
                          <a:pt x="105" y="135"/>
                          <a:pt x="104" y="133"/>
                        </a:cubicBezTo>
                        <a:close/>
                        <a:moveTo>
                          <a:pt x="235" y="109"/>
                        </a:moveTo>
                        <a:cubicBezTo>
                          <a:pt x="234" y="109"/>
                          <a:pt x="232" y="110"/>
                          <a:pt x="232" y="116"/>
                        </a:cubicBezTo>
                        <a:cubicBezTo>
                          <a:pt x="231" y="117"/>
                          <a:pt x="231" y="119"/>
                          <a:pt x="231" y="122"/>
                        </a:cubicBezTo>
                        <a:cubicBezTo>
                          <a:pt x="231" y="125"/>
                          <a:pt x="232" y="129"/>
                          <a:pt x="234" y="127"/>
                        </a:cubicBezTo>
                        <a:cubicBezTo>
                          <a:pt x="236" y="124"/>
                          <a:pt x="236" y="115"/>
                          <a:pt x="236" y="111"/>
                        </a:cubicBezTo>
                        <a:cubicBezTo>
                          <a:pt x="235" y="110"/>
                          <a:pt x="235" y="109"/>
                          <a:pt x="235" y="109"/>
                        </a:cubicBezTo>
                        <a:close/>
                      </a:path>
                    </a:pathLst>
                  </a:custGeom>
                  <a:solidFill>
                    <a:srgbClr val="5A5A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7" name="Freeform 198"/>
                  <p:cNvSpPr>
                    <a:spLocks noEditPoints="1"/>
                  </p:cNvSpPr>
                  <p:nvPr/>
                </p:nvSpPr>
                <p:spPr bwMode="auto">
                  <a:xfrm>
                    <a:off x="11581770" y="1479207"/>
                    <a:ext cx="112061" cy="128276"/>
                  </a:xfrm>
                  <a:custGeom>
                    <a:avLst/>
                    <a:gdLst>
                      <a:gd name="T0" fmla="*/ 102 w 102"/>
                      <a:gd name="T1" fmla="*/ 21 h 112"/>
                      <a:gd name="T2" fmla="*/ 101 w 102"/>
                      <a:gd name="T3" fmla="*/ 20 h 112"/>
                      <a:gd name="T4" fmla="*/ 101 w 102"/>
                      <a:gd name="T5" fmla="*/ 19 h 112"/>
                      <a:gd name="T6" fmla="*/ 100 w 102"/>
                      <a:gd name="T7" fmla="*/ 18 h 112"/>
                      <a:gd name="T8" fmla="*/ 100 w 102"/>
                      <a:gd name="T9" fmla="*/ 17 h 112"/>
                      <a:gd name="T10" fmla="*/ 99 w 102"/>
                      <a:gd name="T11" fmla="*/ 17 h 112"/>
                      <a:gd name="T12" fmla="*/ 98 w 102"/>
                      <a:gd name="T13" fmla="*/ 17 h 112"/>
                      <a:gd name="T14" fmla="*/ 97 w 102"/>
                      <a:gd name="T15" fmla="*/ 16 h 112"/>
                      <a:gd name="T16" fmla="*/ 96 w 102"/>
                      <a:gd name="T17" fmla="*/ 16 h 112"/>
                      <a:gd name="T18" fmla="*/ 11 w 102"/>
                      <a:gd name="T19" fmla="*/ 5 h 112"/>
                      <a:gd name="T20" fmla="*/ 0 w 102"/>
                      <a:gd name="T21" fmla="*/ 8 h 112"/>
                      <a:gd name="T22" fmla="*/ 23 w 102"/>
                      <a:gd name="T23" fmla="*/ 94 h 112"/>
                      <a:gd name="T24" fmla="*/ 23 w 102"/>
                      <a:gd name="T25" fmla="*/ 96 h 112"/>
                      <a:gd name="T26" fmla="*/ 24 w 102"/>
                      <a:gd name="T27" fmla="*/ 96 h 112"/>
                      <a:gd name="T28" fmla="*/ 25 w 102"/>
                      <a:gd name="T29" fmla="*/ 97 h 112"/>
                      <a:gd name="T30" fmla="*/ 26 w 102"/>
                      <a:gd name="T31" fmla="*/ 98 h 112"/>
                      <a:gd name="T32" fmla="*/ 26 w 102"/>
                      <a:gd name="T33" fmla="*/ 98 h 112"/>
                      <a:gd name="T34" fmla="*/ 43 w 102"/>
                      <a:gd name="T35" fmla="*/ 98 h 112"/>
                      <a:gd name="T36" fmla="*/ 77 w 102"/>
                      <a:gd name="T37" fmla="*/ 94 h 112"/>
                      <a:gd name="T38" fmla="*/ 91 w 102"/>
                      <a:gd name="T39" fmla="*/ 93 h 112"/>
                      <a:gd name="T40" fmla="*/ 32 w 102"/>
                      <a:gd name="T41" fmla="*/ 87 h 112"/>
                      <a:gd name="T42" fmla="*/ 91 w 102"/>
                      <a:gd name="T43" fmla="*/ 66 h 112"/>
                      <a:gd name="T44" fmla="*/ 92 w 102"/>
                      <a:gd name="T45" fmla="*/ 66 h 112"/>
                      <a:gd name="T46" fmla="*/ 93 w 102"/>
                      <a:gd name="T47" fmla="*/ 66 h 112"/>
                      <a:gd name="T48" fmla="*/ 94 w 102"/>
                      <a:gd name="T49" fmla="*/ 65 h 112"/>
                      <a:gd name="T50" fmla="*/ 94 w 102"/>
                      <a:gd name="T51" fmla="*/ 65 h 112"/>
                      <a:gd name="T52" fmla="*/ 95 w 102"/>
                      <a:gd name="T53" fmla="*/ 64 h 112"/>
                      <a:gd name="T54" fmla="*/ 96 w 102"/>
                      <a:gd name="T55" fmla="*/ 63 h 112"/>
                      <a:gd name="T56" fmla="*/ 96 w 102"/>
                      <a:gd name="T57" fmla="*/ 62 h 112"/>
                      <a:gd name="T58" fmla="*/ 96 w 102"/>
                      <a:gd name="T59" fmla="*/ 61 h 112"/>
                      <a:gd name="T60" fmla="*/ 102 w 102"/>
                      <a:gd name="T61" fmla="*/ 22 h 112"/>
                      <a:gd name="T62" fmla="*/ 102 w 102"/>
                      <a:gd name="T63" fmla="*/ 22 h 112"/>
                      <a:gd name="T64" fmla="*/ 24 w 102"/>
                      <a:gd name="T65" fmla="*/ 55 h 112"/>
                      <a:gd name="T66" fmla="*/ 87 w 102"/>
                      <a:gd name="T67" fmla="*/ 47 h 112"/>
                      <a:gd name="T68" fmla="*/ 86 w 102"/>
                      <a:gd name="T69" fmla="*/ 55 h 112"/>
                      <a:gd name="T70" fmla="*/ 19 w 102"/>
                      <a:gd name="T71" fmla="*/ 35 h 112"/>
                      <a:gd name="T72" fmla="*/ 90 w 102"/>
                      <a:gd name="T73" fmla="*/ 27 h 112"/>
                      <a:gd name="T74" fmla="*/ 89 w 102"/>
                      <a:gd name="T75" fmla="*/ 35 h 112"/>
                      <a:gd name="T76" fmla="*/ 34 w 102"/>
                      <a:gd name="T77" fmla="*/ 112 h 112"/>
                      <a:gd name="T78" fmla="*/ 34 w 102"/>
                      <a:gd name="T79" fmla="*/ 97 h 112"/>
                      <a:gd name="T80" fmla="*/ 85 w 102"/>
                      <a:gd name="T81" fmla="*/ 105 h 112"/>
                      <a:gd name="T82" fmla="*/ 69 w 102"/>
                      <a:gd name="T83" fmla="*/ 105 h 112"/>
                      <a:gd name="T84" fmla="*/ 85 w 102"/>
                      <a:gd name="T85" fmla="*/ 105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102" h="112">
                        <a:moveTo>
                          <a:pt x="102" y="22"/>
                        </a:moveTo>
                        <a:cubicBezTo>
                          <a:pt x="102" y="21"/>
                          <a:pt x="102" y="21"/>
                          <a:pt x="102" y="21"/>
                        </a:cubicBezTo>
                        <a:cubicBezTo>
                          <a:pt x="102" y="21"/>
                          <a:pt x="102" y="21"/>
                          <a:pt x="102" y="21"/>
                        </a:cubicBezTo>
                        <a:cubicBezTo>
                          <a:pt x="101" y="20"/>
                          <a:pt x="101" y="20"/>
                          <a:pt x="101" y="20"/>
                        </a:cubicBezTo>
                        <a:cubicBezTo>
                          <a:pt x="101" y="20"/>
                          <a:pt x="101" y="20"/>
                          <a:pt x="101" y="20"/>
                        </a:cubicBezTo>
                        <a:cubicBezTo>
                          <a:pt x="101" y="19"/>
                          <a:pt x="101" y="19"/>
                          <a:pt x="101" y="19"/>
                        </a:cubicBezTo>
                        <a:cubicBezTo>
                          <a:pt x="101" y="19"/>
                          <a:pt x="101" y="19"/>
                          <a:pt x="101" y="19"/>
                        </a:cubicBezTo>
                        <a:cubicBezTo>
                          <a:pt x="101" y="19"/>
                          <a:pt x="101" y="19"/>
                          <a:pt x="100" y="18"/>
                        </a:cubicBezTo>
                        <a:cubicBezTo>
                          <a:pt x="100" y="18"/>
                          <a:pt x="100" y="18"/>
                          <a:pt x="100" y="18"/>
                        </a:cubicBezTo>
                        <a:cubicBezTo>
                          <a:pt x="100" y="18"/>
                          <a:pt x="100" y="18"/>
                          <a:pt x="100" y="17"/>
                        </a:cubicBezTo>
                        <a:cubicBezTo>
                          <a:pt x="100" y="17"/>
                          <a:pt x="99" y="17"/>
                          <a:pt x="99" y="17"/>
                        </a:cubicBezTo>
                        <a:cubicBezTo>
                          <a:pt x="99" y="17"/>
                          <a:pt x="99" y="17"/>
                          <a:pt x="99" y="17"/>
                        </a:cubicBezTo>
                        <a:cubicBezTo>
                          <a:pt x="98" y="17"/>
                          <a:pt x="98" y="17"/>
                          <a:pt x="98" y="17"/>
                        </a:cubicBezTo>
                        <a:cubicBezTo>
                          <a:pt x="98" y="17"/>
                          <a:pt x="98" y="17"/>
                          <a:pt x="98" y="17"/>
                        </a:cubicBezTo>
                        <a:cubicBezTo>
                          <a:pt x="98" y="16"/>
                          <a:pt x="97" y="16"/>
                          <a:pt x="97" y="16"/>
                        </a:cubicBezTo>
                        <a:cubicBezTo>
                          <a:pt x="97" y="16"/>
                          <a:pt x="97" y="16"/>
                          <a:pt x="97" y="16"/>
                        </a:cubicBezTo>
                        <a:cubicBezTo>
                          <a:pt x="97" y="16"/>
                          <a:pt x="97" y="16"/>
                          <a:pt x="97" y="16"/>
                        </a:cubicBezTo>
                        <a:cubicBezTo>
                          <a:pt x="96" y="16"/>
                          <a:pt x="96" y="16"/>
                          <a:pt x="96" y="16"/>
                        </a:cubicBezTo>
                        <a:cubicBezTo>
                          <a:pt x="14" y="16"/>
                          <a:pt x="14" y="16"/>
                          <a:pt x="14" y="16"/>
                        </a:cubicBezTo>
                        <a:cubicBezTo>
                          <a:pt x="11" y="5"/>
                          <a:pt x="11" y="5"/>
                          <a:pt x="11" y="5"/>
                        </a:cubicBezTo>
                        <a:cubicBezTo>
                          <a:pt x="10" y="2"/>
                          <a:pt x="7" y="0"/>
                          <a:pt x="4" y="1"/>
                        </a:cubicBezTo>
                        <a:cubicBezTo>
                          <a:pt x="1" y="2"/>
                          <a:pt x="0" y="5"/>
                          <a:pt x="0" y="8"/>
                        </a:cubicBezTo>
                        <a:cubicBezTo>
                          <a:pt x="22" y="94"/>
                          <a:pt x="22" y="94"/>
                          <a:pt x="22" y="94"/>
                        </a:cubicBezTo>
                        <a:cubicBezTo>
                          <a:pt x="23" y="94"/>
                          <a:pt x="23" y="94"/>
                          <a:pt x="23" y="94"/>
                        </a:cubicBezTo>
                        <a:cubicBezTo>
                          <a:pt x="23" y="95"/>
                          <a:pt x="23" y="95"/>
                          <a:pt x="23" y="95"/>
                        </a:cubicBezTo>
                        <a:cubicBezTo>
                          <a:pt x="23" y="95"/>
                          <a:pt x="23" y="96"/>
                          <a:pt x="23" y="96"/>
                        </a:cubicBezTo>
                        <a:cubicBezTo>
                          <a:pt x="23" y="96"/>
                          <a:pt x="23" y="96"/>
                          <a:pt x="23" y="96"/>
                        </a:cubicBezTo>
                        <a:cubicBezTo>
                          <a:pt x="23" y="96"/>
                          <a:pt x="24" y="96"/>
                          <a:pt x="24" y="96"/>
                        </a:cubicBezTo>
                        <a:cubicBezTo>
                          <a:pt x="24" y="97"/>
                          <a:pt x="24" y="97"/>
                          <a:pt x="24" y="97"/>
                        </a:cubicBezTo>
                        <a:cubicBezTo>
                          <a:pt x="25" y="97"/>
                          <a:pt x="25" y="97"/>
                          <a:pt x="25" y="97"/>
                        </a:cubicBezTo>
                        <a:cubicBezTo>
                          <a:pt x="25" y="97"/>
                          <a:pt x="25" y="97"/>
                          <a:pt x="25" y="97"/>
                        </a:cubicBezTo>
                        <a:cubicBezTo>
                          <a:pt x="25" y="97"/>
                          <a:pt x="25" y="97"/>
                          <a:pt x="26" y="98"/>
                        </a:cubicBezTo>
                        <a:cubicBezTo>
                          <a:pt x="26" y="98"/>
                          <a:pt x="26" y="98"/>
                          <a:pt x="26" y="98"/>
                        </a:cubicBezTo>
                        <a:cubicBezTo>
                          <a:pt x="26" y="98"/>
                          <a:pt x="26" y="98"/>
                          <a:pt x="26" y="98"/>
                        </a:cubicBezTo>
                        <a:cubicBezTo>
                          <a:pt x="28" y="95"/>
                          <a:pt x="31" y="94"/>
                          <a:pt x="34" y="94"/>
                        </a:cubicBezTo>
                        <a:cubicBezTo>
                          <a:pt x="38" y="94"/>
                          <a:pt x="41" y="96"/>
                          <a:pt x="43" y="98"/>
                        </a:cubicBezTo>
                        <a:cubicBezTo>
                          <a:pt x="68" y="98"/>
                          <a:pt x="68" y="98"/>
                          <a:pt x="68" y="98"/>
                        </a:cubicBezTo>
                        <a:cubicBezTo>
                          <a:pt x="71" y="96"/>
                          <a:pt x="73" y="94"/>
                          <a:pt x="77" y="94"/>
                        </a:cubicBezTo>
                        <a:cubicBezTo>
                          <a:pt x="81" y="94"/>
                          <a:pt x="84" y="96"/>
                          <a:pt x="86" y="98"/>
                        </a:cubicBezTo>
                        <a:cubicBezTo>
                          <a:pt x="89" y="98"/>
                          <a:pt x="91" y="96"/>
                          <a:pt x="91" y="93"/>
                        </a:cubicBezTo>
                        <a:cubicBezTo>
                          <a:pt x="91" y="90"/>
                          <a:pt x="88" y="87"/>
                          <a:pt x="85" y="87"/>
                        </a:cubicBezTo>
                        <a:cubicBezTo>
                          <a:pt x="32" y="87"/>
                          <a:pt x="32" y="87"/>
                          <a:pt x="32" y="87"/>
                        </a:cubicBezTo>
                        <a:cubicBezTo>
                          <a:pt x="27" y="66"/>
                          <a:pt x="27" y="66"/>
                          <a:pt x="27" y="66"/>
                        </a:cubicBezTo>
                        <a:cubicBezTo>
                          <a:pt x="91" y="66"/>
                          <a:pt x="91" y="66"/>
                          <a:pt x="91" y="66"/>
                        </a:cubicBezTo>
                        <a:cubicBezTo>
                          <a:pt x="91" y="66"/>
                          <a:pt x="91" y="66"/>
                          <a:pt x="91" y="66"/>
                        </a:cubicBezTo>
                        <a:cubicBezTo>
                          <a:pt x="91" y="66"/>
                          <a:pt x="91" y="66"/>
                          <a:pt x="92" y="66"/>
                        </a:cubicBezTo>
                        <a:cubicBezTo>
                          <a:pt x="92" y="66"/>
                          <a:pt x="92" y="66"/>
                          <a:pt x="92" y="66"/>
                        </a:cubicBezTo>
                        <a:cubicBezTo>
                          <a:pt x="92" y="66"/>
                          <a:pt x="93" y="66"/>
                          <a:pt x="93" y="66"/>
                        </a:cubicBezTo>
                        <a:cubicBezTo>
                          <a:pt x="93" y="66"/>
                          <a:pt x="93" y="66"/>
                          <a:pt x="93" y="65"/>
                        </a:cubicBezTo>
                        <a:cubicBezTo>
                          <a:pt x="94" y="65"/>
                          <a:pt x="94" y="65"/>
                          <a:pt x="94" y="65"/>
                        </a:cubicBezTo>
                        <a:cubicBezTo>
                          <a:pt x="94" y="65"/>
                          <a:pt x="94" y="65"/>
                          <a:pt x="94" y="65"/>
                        </a:cubicBezTo>
                        <a:cubicBezTo>
                          <a:pt x="94" y="65"/>
                          <a:pt x="94" y="65"/>
                          <a:pt x="94" y="65"/>
                        </a:cubicBezTo>
                        <a:cubicBezTo>
                          <a:pt x="95" y="65"/>
                          <a:pt x="95" y="64"/>
                          <a:pt x="95" y="64"/>
                        </a:cubicBezTo>
                        <a:cubicBezTo>
                          <a:pt x="95" y="64"/>
                          <a:pt x="95" y="64"/>
                          <a:pt x="95" y="64"/>
                        </a:cubicBezTo>
                        <a:cubicBezTo>
                          <a:pt x="96" y="63"/>
                          <a:pt x="96" y="63"/>
                          <a:pt x="96" y="63"/>
                        </a:cubicBezTo>
                        <a:cubicBezTo>
                          <a:pt x="96" y="63"/>
                          <a:pt x="96" y="63"/>
                          <a:pt x="96" y="63"/>
                        </a:cubicBezTo>
                        <a:cubicBezTo>
                          <a:pt x="96" y="63"/>
                          <a:pt x="96" y="63"/>
                          <a:pt x="96" y="62"/>
                        </a:cubicBezTo>
                        <a:cubicBezTo>
                          <a:pt x="96" y="62"/>
                          <a:pt x="96" y="62"/>
                          <a:pt x="96" y="62"/>
                        </a:cubicBezTo>
                        <a:cubicBezTo>
                          <a:pt x="96" y="62"/>
                          <a:pt x="96" y="62"/>
                          <a:pt x="96" y="62"/>
                        </a:cubicBezTo>
                        <a:cubicBezTo>
                          <a:pt x="96" y="61"/>
                          <a:pt x="96" y="61"/>
                          <a:pt x="96" y="61"/>
                        </a:cubicBezTo>
                        <a:cubicBezTo>
                          <a:pt x="102" y="23"/>
                          <a:pt x="102" y="23"/>
                          <a:pt x="102" y="23"/>
                        </a:cubicBezTo>
                        <a:cubicBezTo>
                          <a:pt x="102" y="22"/>
                          <a:pt x="102" y="22"/>
                          <a:pt x="102" y="22"/>
                        </a:cubicBezTo>
                        <a:cubicBezTo>
                          <a:pt x="102" y="22"/>
                          <a:pt x="102" y="22"/>
                          <a:pt x="102" y="22"/>
                        </a:cubicBezTo>
                        <a:cubicBezTo>
                          <a:pt x="102" y="22"/>
                          <a:pt x="102" y="22"/>
                          <a:pt x="102" y="22"/>
                        </a:cubicBezTo>
                        <a:close/>
                        <a:moveTo>
                          <a:pt x="86" y="55"/>
                        </a:moveTo>
                        <a:cubicBezTo>
                          <a:pt x="24" y="55"/>
                          <a:pt x="24" y="55"/>
                          <a:pt x="24" y="55"/>
                        </a:cubicBezTo>
                        <a:cubicBezTo>
                          <a:pt x="22" y="47"/>
                          <a:pt x="22" y="47"/>
                          <a:pt x="22" y="47"/>
                        </a:cubicBezTo>
                        <a:cubicBezTo>
                          <a:pt x="87" y="47"/>
                          <a:pt x="87" y="47"/>
                          <a:pt x="87" y="47"/>
                        </a:cubicBezTo>
                        <a:cubicBezTo>
                          <a:pt x="86" y="55"/>
                          <a:pt x="86" y="55"/>
                          <a:pt x="86" y="55"/>
                        </a:cubicBezTo>
                        <a:cubicBezTo>
                          <a:pt x="86" y="55"/>
                          <a:pt x="86" y="55"/>
                          <a:pt x="86" y="55"/>
                        </a:cubicBezTo>
                        <a:close/>
                        <a:moveTo>
                          <a:pt x="89" y="35"/>
                        </a:moveTo>
                        <a:cubicBezTo>
                          <a:pt x="19" y="35"/>
                          <a:pt x="19" y="35"/>
                          <a:pt x="19" y="35"/>
                        </a:cubicBezTo>
                        <a:cubicBezTo>
                          <a:pt x="17" y="27"/>
                          <a:pt x="17" y="27"/>
                          <a:pt x="17" y="27"/>
                        </a:cubicBezTo>
                        <a:cubicBezTo>
                          <a:pt x="90" y="27"/>
                          <a:pt x="90" y="27"/>
                          <a:pt x="90" y="27"/>
                        </a:cubicBezTo>
                        <a:cubicBezTo>
                          <a:pt x="89" y="35"/>
                          <a:pt x="89" y="35"/>
                          <a:pt x="89" y="35"/>
                        </a:cubicBezTo>
                        <a:cubicBezTo>
                          <a:pt x="89" y="35"/>
                          <a:pt x="89" y="35"/>
                          <a:pt x="89" y="35"/>
                        </a:cubicBezTo>
                        <a:close/>
                        <a:moveTo>
                          <a:pt x="42" y="105"/>
                        </a:moveTo>
                        <a:cubicBezTo>
                          <a:pt x="42" y="109"/>
                          <a:pt x="39" y="112"/>
                          <a:pt x="34" y="112"/>
                        </a:cubicBezTo>
                        <a:cubicBezTo>
                          <a:pt x="30" y="112"/>
                          <a:pt x="27" y="109"/>
                          <a:pt x="27" y="105"/>
                        </a:cubicBezTo>
                        <a:cubicBezTo>
                          <a:pt x="27" y="100"/>
                          <a:pt x="30" y="97"/>
                          <a:pt x="34" y="97"/>
                        </a:cubicBezTo>
                        <a:cubicBezTo>
                          <a:pt x="39" y="97"/>
                          <a:pt x="42" y="100"/>
                          <a:pt x="42" y="105"/>
                        </a:cubicBezTo>
                        <a:close/>
                        <a:moveTo>
                          <a:pt x="85" y="105"/>
                        </a:moveTo>
                        <a:cubicBezTo>
                          <a:pt x="85" y="109"/>
                          <a:pt x="82" y="112"/>
                          <a:pt x="77" y="112"/>
                        </a:cubicBezTo>
                        <a:cubicBezTo>
                          <a:pt x="73" y="112"/>
                          <a:pt x="69" y="109"/>
                          <a:pt x="69" y="105"/>
                        </a:cubicBezTo>
                        <a:cubicBezTo>
                          <a:pt x="69" y="100"/>
                          <a:pt x="73" y="97"/>
                          <a:pt x="77" y="97"/>
                        </a:cubicBezTo>
                        <a:cubicBezTo>
                          <a:pt x="82" y="97"/>
                          <a:pt x="85" y="100"/>
                          <a:pt x="85" y="105"/>
                        </a:cubicBezTo>
                        <a:close/>
                      </a:path>
                    </a:pathLst>
                  </a:custGeom>
                  <a:solidFill>
                    <a:srgbClr val="682A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8" name="Freeform 199"/>
                  <p:cNvSpPr>
                    <a:spLocks noEditPoints="1"/>
                  </p:cNvSpPr>
                  <p:nvPr/>
                </p:nvSpPr>
                <p:spPr bwMode="auto">
                  <a:xfrm rot="5400000">
                    <a:off x="11948084" y="817760"/>
                    <a:ext cx="171729" cy="169023"/>
                  </a:xfrm>
                  <a:custGeom>
                    <a:avLst/>
                    <a:gdLst>
                      <a:gd name="T0" fmla="*/ 132 w 156"/>
                      <a:gd name="T1" fmla="*/ 15 h 148"/>
                      <a:gd name="T2" fmla="*/ 78 w 156"/>
                      <a:gd name="T3" fmla="*/ 0 h 148"/>
                      <a:gd name="T4" fmla="*/ 24 w 156"/>
                      <a:gd name="T5" fmla="*/ 15 h 148"/>
                      <a:gd name="T6" fmla="*/ 0 w 156"/>
                      <a:gd name="T7" fmla="*/ 55 h 148"/>
                      <a:gd name="T8" fmla="*/ 25 w 156"/>
                      <a:gd name="T9" fmla="*/ 96 h 148"/>
                      <a:gd name="T10" fmla="*/ 20 w 156"/>
                      <a:gd name="T11" fmla="*/ 121 h 148"/>
                      <a:gd name="T12" fmla="*/ 16 w 156"/>
                      <a:gd name="T13" fmla="*/ 142 h 148"/>
                      <a:gd name="T14" fmla="*/ 15 w 156"/>
                      <a:gd name="T15" fmla="*/ 148 h 148"/>
                      <a:gd name="T16" fmla="*/ 19 w 156"/>
                      <a:gd name="T17" fmla="*/ 143 h 148"/>
                      <a:gd name="T18" fmla="*/ 33 w 156"/>
                      <a:gd name="T19" fmla="*/ 127 h 148"/>
                      <a:gd name="T20" fmla="*/ 53 w 156"/>
                      <a:gd name="T21" fmla="*/ 107 h 148"/>
                      <a:gd name="T22" fmla="*/ 78 w 156"/>
                      <a:gd name="T23" fmla="*/ 110 h 148"/>
                      <a:gd name="T24" fmla="*/ 132 w 156"/>
                      <a:gd name="T25" fmla="*/ 94 h 148"/>
                      <a:gd name="T26" fmla="*/ 156 w 156"/>
                      <a:gd name="T27" fmla="*/ 55 h 148"/>
                      <a:gd name="T28" fmla="*/ 132 w 156"/>
                      <a:gd name="T29" fmla="*/ 15 h 148"/>
                      <a:gd name="T30" fmla="*/ 36 w 156"/>
                      <a:gd name="T31" fmla="*/ 92 h 148"/>
                      <a:gd name="T32" fmla="*/ 36 w 156"/>
                      <a:gd name="T33" fmla="*/ 91 h 148"/>
                      <a:gd name="T34" fmla="*/ 35 w 156"/>
                      <a:gd name="T35" fmla="*/ 91 h 148"/>
                      <a:gd name="T36" fmla="*/ 9 w 156"/>
                      <a:gd name="T37" fmla="*/ 55 h 148"/>
                      <a:gd name="T38" fmla="*/ 78 w 156"/>
                      <a:gd name="T39" fmla="*/ 10 h 148"/>
                      <a:gd name="T40" fmla="*/ 147 w 156"/>
                      <a:gd name="T41" fmla="*/ 55 h 148"/>
                      <a:gd name="T42" fmla="*/ 78 w 156"/>
                      <a:gd name="T43" fmla="*/ 100 h 148"/>
                      <a:gd name="T44" fmla="*/ 51 w 156"/>
                      <a:gd name="T45" fmla="*/ 97 h 148"/>
                      <a:gd name="T46" fmla="*/ 50 w 156"/>
                      <a:gd name="T47" fmla="*/ 96 h 148"/>
                      <a:gd name="T48" fmla="*/ 49 w 156"/>
                      <a:gd name="T49" fmla="*/ 97 h 148"/>
                      <a:gd name="T50" fmla="*/ 30 w 156"/>
                      <a:gd name="T51" fmla="*/ 118 h 148"/>
                      <a:gd name="T52" fmla="*/ 36 w 156"/>
                      <a:gd name="T53" fmla="*/ 92 h 148"/>
                      <a:gd name="T54" fmla="*/ 36 w 156"/>
                      <a:gd name="T55" fmla="*/ 92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156" h="148">
                        <a:moveTo>
                          <a:pt x="132" y="15"/>
                        </a:moveTo>
                        <a:cubicBezTo>
                          <a:pt x="118" y="5"/>
                          <a:pt x="98" y="0"/>
                          <a:pt x="78" y="0"/>
                        </a:cubicBezTo>
                        <a:cubicBezTo>
                          <a:pt x="57" y="0"/>
                          <a:pt x="38" y="5"/>
                          <a:pt x="24" y="15"/>
                        </a:cubicBezTo>
                        <a:cubicBezTo>
                          <a:pt x="8" y="26"/>
                          <a:pt x="0" y="40"/>
                          <a:pt x="0" y="55"/>
                        </a:cubicBezTo>
                        <a:cubicBezTo>
                          <a:pt x="0" y="70"/>
                          <a:pt x="9" y="85"/>
                          <a:pt x="25" y="96"/>
                        </a:cubicBezTo>
                        <a:cubicBezTo>
                          <a:pt x="20" y="121"/>
                          <a:pt x="20" y="121"/>
                          <a:pt x="20" y="121"/>
                        </a:cubicBezTo>
                        <a:cubicBezTo>
                          <a:pt x="16" y="142"/>
                          <a:pt x="16" y="142"/>
                          <a:pt x="16" y="142"/>
                        </a:cubicBezTo>
                        <a:cubicBezTo>
                          <a:pt x="15" y="148"/>
                          <a:pt x="15" y="148"/>
                          <a:pt x="15" y="148"/>
                        </a:cubicBezTo>
                        <a:cubicBezTo>
                          <a:pt x="19" y="143"/>
                          <a:pt x="19" y="143"/>
                          <a:pt x="19" y="143"/>
                        </a:cubicBezTo>
                        <a:cubicBezTo>
                          <a:pt x="33" y="127"/>
                          <a:pt x="33" y="127"/>
                          <a:pt x="33" y="127"/>
                        </a:cubicBezTo>
                        <a:cubicBezTo>
                          <a:pt x="53" y="107"/>
                          <a:pt x="53" y="107"/>
                          <a:pt x="53" y="107"/>
                        </a:cubicBezTo>
                        <a:cubicBezTo>
                          <a:pt x="61" y="108"/>
                          <a:pt x="69" y="110"/>
                          <a:pt x="78" y="110"/>
                        </a:cubicBezTo>
                        <a:cubicBezTo>
                          <a:pt x="98" y="110"/>
                          <a:pt x="118" y="104"/>
                          <a:pt x="132" y="94"/>
                        </a:cubicBezTo>
                        <a:cubicBezTo>
                          <a:pt x="148" y="84"/>
                          <a:pt x="156" y="70"/>
                          <a:pt x="156" y="55"/>
                        </a:cubicBezTo>
                        <a:cubicBezTo>
                          <a:pt x="156" y="40"/>
                          <a:pt x="148" y="26"/>
                          <a:pt x="132" y="15"/>
                        </a:cubicBezTo>
                        <a:close/>
                        <a:moveTo>
                          <a:pt x="36" y="92"/>
                        </a:moveTo>
                        <a:cubicBezTo>
                          <a:pt x="36" y="91"/>
                          <a:pt x="36" y="91"/>
                          <a:pt x="36" y="91"/>
                        </a:cubicBezTo>
                        <a:cubicBezTo>
                          <a:pt x="35" y="91"/>
                          <a:pt x="35" y="91"/>
                          <a:pt x="35" y="91"/>
                        </a:cubicBezTo>
                        <a:cubicBezTo>
                          <a:pt x="18" y="81"/>
                          <a:pt x="9" y="69"/>
                          <a:pt x="9" y="55"/>
                        </a:cubicBezTo>
                        <a:cubicBezTo>
                          <a:pt x="9" y="30"/>
                          <a:pt x="40" y="10"/>
                          <a:pt x="78" y="10"/>
                        </a:cubicBezTo>
                        <a:cubicBezTo>
                          <a:pt x="116" y="10"/>
                          <a:pt x="147" y="30"/>
                          <a:pt x="147" y="55"/>
                        </a:cubicBezTo>
                        <a:cubicBezTo>
                          <a:pt x="147" y="80"/>
                          <a:pt x="116" y="100"/>
                          <a:pt x="78" y="100"/>
                        </a:cubicBezTo>
                        <a:cubicBezTo>
                          <a:pt x="68" y="100"/>
                          <a:pt x="59" y="99"/>
                          <a:pt x="51" y="97"/>
                        </a:cubicBezTo>
                        <a:cubicBezTo>
                          <a:pt x="50" y="96"/>
                          <a:pt x="50" y="96"/>
                          <a:pt x="50" y="96"/>
                        </a:cubicBezTo>
                        <a:cubicBezTo>
                          <a:pt x="49" y="97"/>
                          <a:pt x="49" y="97"/>
                          <a:pt x="49" y="97"/>
                        </a:cubicBezTo>
                        <a:cubicBezTo>
                          <a:pt x="30" y="118"/>
                          <a:pt x="30" y="118"/>
                          <a:pt x="30" y="118"/>
                        </a:cubicBezTo>
                        <a:cubicBezTo>
                          <a:pt x="36" y="92"/>
                          <a:pt x="36" y="92"/>
                          <a:pt x="36" y="92"/>
                        </a:cubicBezTo>
                        <a:cubicBezTo>
                          <a:pt x="36" y="92"/>
                          <a:pt x="36" y="92"/>
                          <a:pt x="36" y="92"/>
                        </a:cubicBezTo>
                        <a:close/>
                      </a:path>
                    </a:pathLst>
                  </a:custGeom>
                  <a:solidFill>
                    <a:srgbClr val="682A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9" name="Freeform 200"/>
                  <p:cNvSpPr>
                    <a:spLocks/>
                  </p:cNvSpPr>
                  <p:nvPr/>
                </p:nvSpPr>
                <p:spPr bwMode="auto">
                  <a:xfrm rot="5400000">
                    <a:off x="11921028" y="929604"/>
                    <a:ext cx="136801" cy="140349"/>
                  </a:xfrm>
                  <a:custGeom>
                    <a:avLst/>
                    <a:gdLst>
                      <a:gd name="T0" fmla="*/ 124 w 124"/>
                      <a:gd name="T1" fmla="*/ 45 h 123"/>
                      <a:gd name="T2" fmla="*/ 104 w 124"/>
                      <a:gd name="T3" fmla="*/ 12 h 123"/>
                      <a:gd name="T4" fmla="*/ 60 w 124"/>
                      <a:gd name="T5" fmla="*/ 0 h 123"/>
                      <a:gd name="T6" fmla="*/ 58 w 124"/>
                      <a:gd name="T7" fmla="*/ 0 h 123"/>
                      <a:gd name="T8" fmla="*/ 58 w 124"/>
                      <a:gd name="T9" fmla="*/ 2 h 123"/>
                      <a:gd name="T10" fmla="*/ 58 w 124"/>
                      <a:gd name="T11" fmla="*/ 7 h 123"/>
                      <a:gd name="T12" fmla="*/ 58 w 124"/>
                      <a:gd name="T13" fmla="*/ 8 h 123"/>
                      <a:gd name="T14" fmla="*/ 60 w 124"/>
                      <a:gd name="T15" fmla="*/ 8 h 123"/>
                      <a:gd name="T16" fmla="*/ 116 w 124"/>
                      <a:gd name="T17" fmla="*/ 45 h 123"/>
                      <a:gd name="T18" fmla="*/ 95 w 124"/>
                      <a:gd name="T19" fmla="*/ 74 h 123"/>
                      <a:gd name="T20" fmla="*/ 93 w 124"/>
                      <a:gd name="T21" fmla="*/ 75 h 123"/>
                      <a:gd name="T22" fmla="*/ 93 w 124"/>
                      <a:gd name="T23" fmla="*/ 76 h 123"/>
                      <a:gd name="T24" fmla="*/ 98 w 124"/>
                      <a:gd name="T25" fmla="*/ 97 h 123"/>
                      <a:gd name="T26" fmla="*/ 83 w 124"/>
                      <a:gd name="T27" fmla="*/ 80 h 123"/>
                      <a:gd name="T28" fmla="*/ 82 w 124"/>
                      <a:gd name="T29" fmla="*/ 79 h 123"/>
                      <a:gd name="T30" fmla="*/ 81 w 124"/>
                      <a:gd name="T31" fmla="*/ 80 h 123"/>
                      <a:gd name="T32" fmla="*/ 59 w 124"/>
                      <a:gd name="T33" fmla="*/ 82 h 123"/>
                      <a:gd name="T34" fmla="*/ 9 w 124"/>
                      <a:gd name="T35" fmla="*/ 63 h 123"/>
                      <a:gd name="T36" fmla="*/ 8 w 124"/>
                      <a:gd name="T37" fmla="*/ 61 h 123"/>
                      <a:gd name="T38" fmla="*/ 7 w 124"/>
                      <a:gd name="T39" fmla="*/ 62 h 123"/>
                      <a:gd name="T40" fmla="*/ 2 w 124"/>
                      <a:gd name="T41" fmla="*/ 63 h 123"/>
                      <a:gd name="T42" fmla="*/ 0 w 124"/>
                      <a:gd name="T43" fmla="*/ 64 h 123"/>
                      <a:gd name="T44" fmla="*/ 1 w 124"/>
                      <a:gd name="T45" fmla="*/ 66 h 123"/>
                      <a:gd name="T46" fmla="*/ 14 w 124"/>
                      <a:gd name="T47" fmla="*/ 78 h 123"/>
                      <a:gd name="T48" fmla="*/ 59 w 124"/>
                      <a:gd name="T49" fmla="*/ 91 h 123"/>
                      <a:gd name="T50" fmla="*/ 79 w 124"/>
                      <a:gd name="T51" fmla="*/ 89 h 123"/>
                      <a:gd name="T52" fmla="*/ 95 w 124"/>
                      <a:gd name="T53" fmla="*/ 106 h 123"/>
                      <a:gd name="T54" fmla="*/ 107 w 124"/>
                      <a:gd name="T55" fmla="*/ 119 h 123"/>
                      <a:gd name="T56" fmla="*/ 111 w 124"/>
                      <a:gd name="T57" fmla="*/ 123 h 123"/>
                      <a:gd name="T58" fmla="*/ 110 w 124"/>
                      <a:gd name="T59" fmla="*/ 118 h 123"/>
                      <a:gd name="T60" fmla="*/ 107 w 124"/>
                      <a:gd name="T61" fmla="*/ 100 h 123"/>
                      <a:gd name="T62" fmla="*/ 103 w 124"/>
                      <a:gd name="T63" fmla="*/ 79 h 123"/>
                      <a:gd name="T64" fmla="*/ 124 w 124"/>
                      <a:gd name="T65" fmla="*/ 45 h 1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124" h="123">
                        <a:moveTo>
                          <a:pt x="124" y="45"/>
                        </a:moveTo>
                        <a:cubicBezTo>
                          <a:pt x="124" y="32"/>
                          <a:pt x="117" y="21"/>
                          <a:pt x="104" y="12"/>
                        </a:cubicBezTo>
                        <a:cubicBezTo>
                          <a:pt x="92" y="4"/>
                          <a:pt x="76" y="0"/>
                          <a:pt x="60" y="0"/>
                        </a:cubicBezTo>
                        <a:cubicBezTo>
                          <a:pt x="58" y="0"/>
                          <a:pt x="58" y="0"/>
                          <a:pt x="58" y="0"/>
                        </a:cubicBezTo>
                        <a:cubicBezTo>
                          <a:pt x="58" y="2"/>
                          <a:pt x="58" y="2"/>
                          <a:pt x="58" y="2"/>
                        </a:cubicBezTo>
                        <a:cubicBezTo>
                          <a:pt x="58" y="3"/>
                          <a:pt x="58" y="5"/>
                          <a:pt x="58" y="7"/>
                        </a:cubicBezTo>
                        <a:cubicBezTo>
                          <a:pt x="58" y="8"/>
                          <a:pt x="58" y="8"/>
                          <a:pt x="58" y="8"/>
                        </a:cubicBezTo>
                        <a:cubicBezTo>
                          <a:pt x="60" y="8"/>
                          <a:pt x="60" y="8"/>
                          <a:pt x="60" y="8"/>
                        </a:cubicBezTo>
                        <a:cubicBezTo>
                          <a:pt x="91" y="8"/>
                          <a:pt x="116" y="25"/>
                          <a:pt x="116" y="45"/>
                        </a:cubicBezTo>
                        <a:cubicBezTo>
                          <a:pt x="116" y="57"/>
                          <a:pt x="108" y="68"/>
                          <a:pt x="95" y="74"/>
                        </a:cubicBezTo>
                        <a:cubicBezTo>
                          <a:pt x="93" y="75"/>
                          <a:pt x="93" y="75"/>
                          <a:pt x="93" y="75"/>
                        </a:cubicBezTo>
                        <a:cubicBezTo>
                          <a:pt x="93" y="76"/>
                          <a:pt x="93" y="76"/>
                          <a:pt x="93" y="76"/>
                        </a:cubicBezTo>
                        <a:cubicBezTo>
                          <a:pt x="98" y="97"/>
                          <a:pt x="98" y="97"/>
                          <a:pt x="98" y="97"/>
                        </a:cubicBezTo>
                        <a:cubicBezTo>
                          <a:pt x="83" y="80"/>
                          <a:pt x="83" y="80"/>
                          <a:pt x="83" y="80"/>
                        </a:cubicBezTo>
                        <a:cubicBezTo>
                          <a:pt x="82" y="79"/>
                          <a:pt x="82" y="79"/>
                          <a:pt x="82" y="79"/>
                        </a:cubicBezTo>
                        <a:cubicBezTo>
                          <a:pt x="81" y="80"/>
                          <a:pt x="81" y="80"/>
                          <a:pt x="81" y="80"/>
                        </a:cubicBezTo>
                        <a:cubicBezTo>
                          <a:pt x="74" y="82"/>
                          <a:pt x="66" y="82"/>
                          <a:pt x="59" y="82"/>
                        </a:cubicBezTo>
                        <a:cubicBezTo>
                          <a:pt x="38" y="82"/>
                          <a:pt x="19" y="75"/>
                          <a:pt x="9" y="63"/>
                        </a:cubicBezTo>
                        <a:cubicBezTo>
                          <a:pt x="8" y="61"/>
                          <a:pt x="8" y="61"/>
                          <a:pt x="8" y="61"/>
                        </a:cubicBezTo>
                        <a:cubicBezTo>
                          <a:pt x="7" y="62"/>
                          <a:pt x="7" y="62"/>
                          <a:pt x="7" y="62"/>
                        </a:cubicBezTo>
                        <a:cubicBezTo>
                          <a:pt x="6" y="63"/>
                          <a:pt x="4" y="63"/>
                          <a:pt x="2" y="63"/>
                        </a:cubicBezTo>
                        <a:cubicBezTo>
                          <a:pt x="0" y="64"/>
                          <a:pt x="0" y="64"/>
                          <a:pt x="0" y="64"/>
                        </a:cubicBezTo>
                        <a:cubicBezTo>
                          <a:pt x="1" y="66"/>
                          <a:pt x="1" y="66"/>
                          <a:pt x="1" y="66"/>
                        </a:cubicBezTo>
                        <a:cubicBezTo>
                          <a:pt x="5" y="71"/>
                          <a:pt x="9" y="74"/>
                          <a:pt x="14" y="78"/>
                        </a:cubicBezTo>
                        <a:cubicBezTo>
                          <a:pt x="27" y="87"/>
                          <a:pt x="43" y="91"/>
                          <a:pt x="59" y="91"/>
                        </a:cubicBezTo>
                        <a:cubicBezTo>
                          <a:pt x="66" y="91"/>
                          <a:pt x="73" y="90"/>
                          <a:pt x="79" y="89"/>
                        </a:cubicBezTo>
                        <a:cubicBezTo>
                          <a:pt x="95" y="106"/>
                          <a:pt x="95" y="106"/>
                          <a:pt x="95" y="106"/>
                        </a:cubicBezTo>
                        <a:cubicBezTo>
                          <a:pt x="107" y="119"/>
                          <a:pt x="107" y="119"/>
                          <a:pt x="107" y="119"/>
                        </a:cubicBezTo>
                        <a:cubicBezTo>
                          <a:pt x="111" y="123"/>
                          <a:pt x="111" y="123"/>
                          <a:pt x="111" y="123"/>
                        </a:cubicBezTo>
                        <a:cubicBezTo>
                          <a:pt x="110" y="118"/>
                          <a:pt x="110" y="118"/>
                          <a:pt x="110" y="118"/>
                        </a:cubicBezTo>
                        <a:cubicBezTo>
                          <a:pt x="107" y="100"/>
                          <a:pt x="107" y="100"/>
                          <a:pt x="107" y="100"/>
                        </a:cubicBezTo>
                        <a:cubicBezTo>
                          <a:pt x="103" y="79"/>
                          <a:pt x="103" y="79"/>
                          <a:pt x="103" y="79"/>
                        </a:cubicBezTo>
                        <a:cubicBezTo>
                          <a:pt x="116" y="71"/>
                          <a:pt x="124" y="58"/>
                          <a:pt x="124" y="45"/>
                        </a:cubicBezTo>
                        <a:close/>
                      </a:path>
                    </a:pathLst>
                  </a:custGeom>
                  <a:solidFill>
                    <a:srgbClr val="682A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10" name="Group 609"/>
                  <p:cNvGrpSpPr/>
                  <p:nvPr/>
                </p:nvGrpSpPr>
                <p:grpSpPr>
                  <a:xfrm rot="16200000">
                    <a:off x="11187929" y="138102"/>
                    <a:ext cx="129784" cy="222667"/>
                    <a:chOff x="11193360" y="90196"/>
                    <a:chExt cx="129784" cy="222667"/>
                  </a:xfrm>
                </p:grpSpPr>
                <p:sp>
                  <p:nvSpPr>
                    <p:cNvPr id="671" name="Freeform 201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176293" y="164556"/>
                      <a:ext cx="219755" cy="73947"/>
                    </a:xfrm>
                    <a:custGeom>
                      <a:avLst/>
                      <a:gdLst>
                        <a:gd name="T0" fmla="*/ 100 w 201"/>
                        <a:gd name="T1" fmla="*/ 65 h 65"/>
                        <a:gd name="T2" fmla="*/ 107 w 201"/>
                        <a:gd name="T3" fmla="*/ 63 h 65"/>
                        <a:gd name="T4" fmla="*/ 107 w 201"/>
                        <a:gd name="T5" fmla="*/ 63 h 65"/>
                        <a:gd name="T6" fmla="*/ 201 w 201"/>
                        <a:gd name="T7" fmla="*/ 7 h 65"/>
                        <a:gd name="T8" fmla="*/ 189 w 201"/>
                        <a:gd name="T9" fmla="*/ 0 h 65"/>
                        <a:gd name="T10" fmla="*/ 11 w 201"/>
                        <a:gd name="T11" fmla="*/ 0 h 65"/>
                        <a:gd name="T12" fmla="*/ 0 w 201"/>
                        <a:gd name="T13" fmla="*/ 7 h 65"/>
                        <a:gd name="T14" fmla="*/ 93 w 201"/>
                        <a:gd name="T15" fmla="*/ 63 h 65"/>
                        <a:gd name="T16" fmla="*/ 100 w 201"/>
                        <a:gd name="T17" fmla="*/ 65 h 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01" h="65">
                          <a:moveTo>
                            <a:pt x="100" y="65"/>
                          </a:moveTo>
                          <a:cubicBezTo>
                            <a:pt x="103" y="65"/>
                            <a:pt x="105" y="64"/>
                            <a:pt x="107" y="63"/>
                          </a:cubicBezTo>
                          <a:cubicBezTo>
                            <a:pt x="107" y="63"/>
                            <a:pt x="107" y="63"/>
                            <a:pt x="107" y="63"/>
                          </a:cubicBezTo>
                          <a:cubicBezTo>
                            <a:pt x="201" y="7"/>
                            <a:pt x="201" y="7"/>
                            <a:pt x="201" y="7"/>
                          </a:cubicBezTo>
                          <a:cubicBezTo>
                            <a:pt x="199" y="3"/>
                            <a:pt x="194" y="0"/>
                            <a:pt x="189" y="0"/>
                          </a:cubicBezTo>
                          <a:cubicBezTo>
                            <a:pt x="11" y="0"/>
                            <a:pt x="11" y="0"/>
                            <a:pt x="11" y="0"/>
                          </a:cubicBezTo>
                          <a:cubicBezTo>
                            <a:pt x="6" y="0"/>
                            <a:pt x="2" y="3"/>
                            <a:pt x="0" y="7"/>
                          </a:cubicBezTo>
                          <a:cubicBezTo>
                            <a:pt x="93" y="63"/>
                            <a:pt x="93" y="63"/>
                            <a:pt x="93" y="63"/>
                          </a:cubicBezTo>
                          <a:cubicBezTo>
                            <a:pt x="95" y="64"/>
                            <a:pt x="98" y="65"/>
                            <a:pt x="100" y="65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72" name="Freeform 202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233754" y="243090"/>
                      <a:ext cx="62580" cy="76966"/>
                    </a:xfrm>
                    <a:custGeom>
                      <a:avLst/>
                      <a:gdLst>
                        <a:gd name="T0" fmla="*/ 43 w 43"/>
                        <a:gd name="T1" fmla="*/ 51 h 51"/>
                        <a:gd name="T2" fmla="*/ 43 w 43"/>
                        <a:gd name="T3" fmla="*/ 0 h 51"/>
                        <a:gd name="T4" fmla="*/ 0 w 43"/>
                        <a:gd name="T5" fmla="*/ 25 h 51"/>
                        <a:gd name="T6" fmla="*/ 43 w 43"/>
                        <a:gd name="T7" fmla="*/ 51 h 51"/>
                        <a:gd name="T8" fmla="*/ 43 w 43"/>
                        <a:gd name="T9" fmla="*/ 51 h 51"/>
                        <a:gd name="T10" fmla="*/ 43 w 43"/>
                        <a:gd name="T11" fmla="*/ 51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3" h="51">
                          <a:moveTo>
                            <a:pt x="43" y="51"/>
                          </a:moveTo>
                          <a:lnTo>
                            <a:pt x="43" y="0"/>
                          </a:lnTo>
                          <a:lnTo>
                            <a:pt x="0" y="25"/>
                          </a:lnTo>
                          <a:lnTo>
                            <a:pt x="43" y="51"/>
                          </a:lnTo>
                          <a:lnTo>
                            <a:pt x="43" y="51"/>
                          </a:lnTo>
                          <a:lnTo>
                            <a:pt x="43" y="51"/>
                          </a:ln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73" name="Freeform 203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114473" y="169083"/>
                      <a:ext cx="222666" cy="64892"/>
                    </a:xfrm>
                    <a:custGeom>
                      <a:avLst/>
                      <a:gdLst>
                        <a:gd name="T0" fmla="*/ 0 w 203"/>
                        <a:gd name="T1" fmla="*/ 46 h 58"/>
                        <a:gd name="T2" fmla="*/ 12 w 203"/>
                        <a:gd name="T3" fmla="*/ 58 h 58"/>
                        <a:gd name="T4" fmla="*/ 190 w 203"/>
                        <a:gd name="T5" fmla="*/ 58 h 58"/>
                        <a:gd name="T6" fmla="*/ 203 w 203"/>
                        <a:gd name="T7" fmla="*/ 46 h 58"/>
                        <a:gd name="T8" fmla="*/ 203 w 203"/>
                        <a:gd name="T9" fmla="*/ 39 h 58"/>
                        <a:gd name="T10" fmla="*/ 137 w 203"/>
                        <a:gd name="T11" fmla="*/ 0 h 58"/>
                        <a:gd name="T12" fmla="*/ 113 w 203"/>
                        <a:gd name="T13" fmla="*/ 14 h 58"/>
                        <a:gd name="T14" fmla="*/ 101 w 203"/>
                        <a:gd name="T15" fmla="*/ 17 h 58"/>
                        <a:gd name="T16" fmla="*/ 101 w 203"/>
                        <a:gd name="T17" fmla="*/ 17 h 58"/>
                        <a:gd name="T18" fmla="*/ 89 w 203"/>
                        <a:gd name="T19" fmla="*/ 14 h 58"/>
                        <a:gd name="T20" fmla="*/ 65 w 203"/>
                        <a:gd name="T21" fmla="*/ 0 h 58"/>
                        <a:gd name="T22" fmla="*/ 0 w 203"/>
                        <a:gd name="T23" fmla="*/ 39 h 58"/>
                        <a:gd name="T24" fmla="*/ 0 w 203"/>
                        <a:gd name="T25" fmla="*/ 46 h 58"/>
                        <a:gd name="T26" fmla="*/ 0 w 203"/>
                        <a:gd name="T27" fmla="*/ 46 h 5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203" h="58">
                          <a:moveTo>
                            <a:pt x="0" y="46"/>
                          </a:moveTo>
                          <a:cubicBezTo>
                            <a:pt x="0" y="53"/>
                            <a:pt x="5" y="58"/>
                            <a:pt x="12" y="58"/>
                          </a:cubicBezTo>
                          <a:cubicBezTo>
                            <a:pt x="190" y="58"/>
                            <a:pt x="190" y="58"/>
                            <a:pt x="190" y="58"/>
                          </a:cubicBezTo>
                          <a:cubicBezTo>
                            <a:pt x="197" y="58"/>
                            <a:pt x="203" y="53"/>
                            <a:pt x="203" y="46"/>
                          </a:cubicBezTo>
                          <a:cubicBezTo>
                            <a:pt x="203" y="39"/>
                            <a:pt x="203" y="39"/>
                            <a:pt x="203" y="39"/>
                          </a:cubicBezTo>
                          <a:cubicBezTo>
                            <a:pt x="137" y="0"/>
                            <a:pt x="137" y="0"/>
                            <a:pt x="137" y="0"/>
                          </a:cubicBezTo>
                          <a:cubicBezTo>
                            <a:pt x="113" y="14"/>
                            <a:pt x="113" y="14"/>
                            <a:pt x="113" y="14"/>
                          </a:cubicBezTo>
                          <a:cubicBezTo>
                            <a:pt x="110" y="16"/>
                            <a:pt x="106" y="17"/>
                            <a:pt x="101" y="17"/>
                          </a:cubicBezTo>
                          <a:cubicBezTo>
                            <a:pt x="101" y="17"/>
                            <a:pt x="101" y="17"/>
                            <a:pt x="101" y="17"/>
                          </a:cubicBezTo>
                          <a:cubicBezTo>
                            <a:pt x="97" y="17"/>
                            <a:pt x="93" y="16"/>
                            <a:pt x="89" y="14"/>
                          </a:cubicBezTo>
                          <a:cubicBezTo>
                            <a:pt x="65" y="0"/>
                            <a:pt x="65" y="0"/>
                            <a:pt x="65" y="0"/>
                          </a:cubicBezTo>
                          <a:cubicBezTo>
                            <a:pt x="0" y="39"/>
                            <a:pt x="0" y="39"/>
                            <a:pt x="0" y="39"/>
                          </a:cubicBezTo>
                          <a:cubicBezTo>
                            <a:pt x="0" y="46"/>
                            <a:pt x="0" y="46"/>
                            <a:pt x="0" y="46"/>
                          </a:cubicBezTo>
                          <a:cubicBezTo>
                            <a:pt x="0" y="46"/>
                            <a:pt x="0" y="46"/>
                            <a:pt x="0" y="46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74" name="Freeform 204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1234482" y="82276"/>
                      <a:ext cx="61124" cy="76966"/>
                    </a:xfrm>
                    <a:custGeom>
                      <a:avLst/>
                      <a:gdLst>
                        <a:gd name="T0" fmla="*/ 42 w 42"/>
                        <a:gd name="T1" fmla="*/ 25 h 51"/>
                        <a:gd name="T2" fmla="*/ 0 w 42"/>
                        <a:gd name="T3" fmla="*/ 0 h 51"/>
                        <a:gd name="T4" fmla="*/ 0 w 42"/>
                        <a:gd name="T5" fmla="*/ 51 h 51"/>
                        <a:gd name="T6" fmla="*/ 42 w 42"/>
                        <a:gd name="T7" fmla="*/ 25 h 51"/>
                        <a:gd name="T8" fmla="*/ 42 w 42"/>
                        <a:gd name="T9" fmla="*/ 25 h 51"/>
                        <a:gd name="T10" fmla="*/ 42 w 42"/>
                        <a:gd name="T11" fmla="*/ 25 h 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2" h="51">
                          <a:moveTo>
                            <a:pt x="42" y="25"/>
                          </a:moveTo>
                          <a:lnTo>
                            <a:pt x="0" y="0"/>
                          </a:lnTo>
                          <a:lnTo>
                            <a:pt x="0" y="51"/>
                          </a:lnTo>
                          <a:lnTo>
                            <a:pt x="42" y="25"/>
                          </a:lnTo>
                          <a:lnTo>
                            <a:pt x="42" y="25"/>
                          </a:lnTo>
                          <a:lnTo>
                            <a:pt x="42" y="25"/>
                          </a:ln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611" name="Freeform 205"/>
                  <p:cNvSpPr>
                    <a:spLocks noEditPoints="1"/>
                  </p:cNvSpPr>
                  <p:nvPr/>
                </p:nvSpPr>
                <p:spPr bwMode="auto">
                  <a:xfrm rot="19800000">
                    <a:off x="11189998" y="1751243"/>
                    <a:ext cx="299798" cy="230898"/>
                  </a:xfrm>
                  <a:custGeom>
                    <a:avLst/>
                    <a:gdLst>
                      <a:gd name="T0" fmla="*/ 232 w 273"/>
                      <a:gd name="T1" fmla="*/ 117 h 203"/>
                      <a:gd name="T2" fmla="*/ 251 w 273"/>
                      <a:gd name="T3" fmla="*/ 185 h 203"/>
                      <a:gd name="T4" fmla="*/ 32 w 273"/>
                      <a:gd name="T5" fmla="*/ 30 h 203"/>
                      <a:gd name="T6" fmla="*/ 99 w 273"/>
                      <a:gd name="T7" fmla="*/ 7 h 203"/>
                      <a:gd name="T8" fmla="*/ 56 w 273"/>
                      <a:gd name="T9" fmla="*/ 1 h 203"/>
                      <a:gd name="T10" fmla="*/ 48 w 273"/>
                      <a:gd name="T11" fmla="*/ 24 h 203"/>
                      <a:gd name="T12" fmla="*/ 0 w 273"/>
                      <a:gd name="T13" fmla="*/ 31 h 203"/>
                      <a:gd name="T14" fmla="*/ 23 w 273"/>
                      <a:gd name="T15" fmla="*/ 20 h 203"/>
                      <a:gd name="T16" fmla="*/ 172 w 273"/>
                      <a:gd name="T17" fmla="*/ 185 h 203"/>
                      <a:gd name="T18" fmla="*/ 45 w 273"/>
                      <a:gd name="T19" fmla="*/ 102 h 203"/>
                      <a:gd name="T20" fmla="*/ 83 w 273"/>
                      <a:gd name="T21" fmla="*/ 51 h 203"/>
                      <a:gd name="T22" fmla="*/ 93 w 273"/>
                      <a:gd name="T23" fmla="*/ 78 h 203"/>
                      <a:gd name="T24" fmla="*/ 99 w 273"/>
                      <a:gd name="T25" fmla="*/ 39 h 203"/>
                      <a:gd name="T26" fmla="*/ 135 w 273"/>
                      <a:gd name="T27" fmla="*/ 11 h 203"/>
                      <a:gd name="T28" fmla="*/ 206 w 273"/>
                      <a:gd name="T29" fmla="*/ 158 h 203"/>
                      <a:gd name="T30" fmla="*/ 204 w 273"/>
                      <a:gd name="T31" fmla="*/ 127 h 203"/>
                      <a:gd name="T32" fmla="*/ 163 w 273"/>
                      <a:gd name="T33" fmla="*/ 169 h 203"/>
                      <a:gd name="T34" fmla="*/ 92 w 273"/>
                      <a:gd name="T35" fmla="*/ 126 h 203"/>
                      <a:gd name="T36" fmla="*/ 92 w 273"/>
                      <a:gd name="T37" fmla="*/ 87 h 203"/>
                      <a:gd name="T38" fmla="*/ 62 w 273"/>
                      <a:gd name="T39" fmla="*/ 102 h 203"/>
                      <a:gd name="T40" fmla="*/ 107 w 273"/>
                      <a:gd name="T41" fmla="*/ 169 h 203"/>
                      <a:gd name="T42" fmla="*/ 68 w 273"/>
                      <a:gd name="T43" fmla="*/ 128 h 203"/>
                      <a:gd name="T44" fmla="*/ 107 w 273"/>
                      <a:gd name="T45" fmla="*/ 169 h 203"/>
                      <a:gd name="T46" fmla="*/ 104 w 273"/>
                      <a:gd name="T47" fmla="*/ 138 h 203"/>
                      <a:gd name="T48" fmla="*/ 131 w 273"/>
                      <a:gd name="T49" fmla="*/ 140 h 203"/>
                      <a:gd name="T50" fmla="*/ 101 w 273"/>
                      <a:gd name="T51" fmla="*/ 89 h 203"/>
                      <a:gd name="T52" fmla="*/ 103 w 273"/>
                      <a:gd name="T53" fmla="*/ 127 h 203"/>
                      <a:gd name="T54" fmla="*/ 131 w 273"/>
                      <a:gd name="T55" fmla="*/ 90 h 203"/>
                      <a:gd name="T56" fmla="*/ 123 w 273"/>
                      <a:gd name="T57" fmla="*/ 32 h 203"/>
                      <a:gd name="T58" fmla="*/ 131 w 273"/>
                      <a:gd name="T59" fmla="*/ 80 h 203"/>
                      <a:gd name="T60" fmla="*/ 206 w 273"/>
                      <a:gd name="T61" fmla="*/ 80 h 203"/>
                      <a:gd name="T62" fmla="*/ 180 w 273"/>
                      <a:gd name="T63" fmla="*/ 103 h 203"/>
                      <a:gd name="T64" fmla="*/ 208 w 273"/>
                      <a:gd name="T65" fmla="*/ 112 h 203"/>
                      <a:gd name="T66" fmla="*/ 206 w 273"/>
                      <a:gd name="T67" fmla="*/ 80 h 203"/>
                      <a:gd name="T68" fmla="*/ 179 w 273"/>
                      <a:gd name="T69" fmla="*/ 78 h 203"/>
                      <a:gd name="T70" fmla="*/ 187 w 273"/>
                      <a:gd name="T71" fmla="*/ 51 h 203"/>
                      <a:gd name="T72" fmla="*/ 141 w 273"/>
                      <a:gd name="T73" fmla="*/ 80 h 203"/>
                      <a:gd name="T74" fmla="*/ 141 w 273"/>
                      <a:gd name="T75" fmla="*/ 30 h 203"/>
                      <a:gd name="T76" fmla="*/ 141 w 273"/>
                      <a:gd name="T77" fmla="*/ 80 h 203"/>
                      <a:gd name="T78" fmla="*/ 169 w 273"/>
                      <a:gd name="T79" fmla="*/ 127 h 203"/>
                      <a:gd name="T80" fmla="*/ 170 w 273"/>
                      <a:gd name="T81" fmla="*/ 89 h 203"/>
                      <a:gd name="T82" fmla="*/ 141 w 273"/>
                      <a:gd name="T83" fmla="*/ 130 h 203"/>
                      <a:gd name="T84" fmla="*/ 166 w 273"/>
                      <a:gd name="T85" fmla="*/ 138 h 203"/>
                      <a:gd name="T86" fmla="*/ 141 w 273"/>
                      <a:gd name="T87" fmla="*/ 175 h 203"/>
                      <a:gd name="T88" fmla="*/ 225 w 273"/>
                      <a:gd name="T89" fmla="*/ 179 h 203"/>
                      <a:gd name="T90" fmla="*/ 183 w 273"/>
                      <a:gd name="T91" fmla="*/ 155 h 203"/>
                      <a:gd name="T92" fmla="*/ 193 w 273"/>
                      <a:gd name="T93" fmla="*/ 191 h 203"/>
                      <a:gd name="T94" fmla="*/ 251 w 273"/>
                      <a:gd name="T95" fmla="*/ 188 h 2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273" h="203">
                        <a:moveTo>
                          <a:pt x="251" y="185"/>
                        </a:moveTo>
                        <a:cubicBezTo>
                          <a:pt x="261" y="164"/>
                          <a:pt x="232" y="117"/>
                          <a:pt x="232" y="117"/>
                        </a:cubicBezTo>
                        <a:cubicBezTo>
                          <a:pt x="232" y="117"/>
                          <a:pt x="273" y="141"/>
                          <a:pt x="273" y="174"/>
                        </a:cubicBezTo>
                        <a:cubicBezTo>
                          <a:pt x="268" y="177"/>
                          <a:pt x="259" y="181"/>
                          <a:pt x="251" y="185"/>
                        </a:cubicBezTo>
                        <a:close/>
                        <a:moveTo>
                          <a:pt x="48" y="24"/>
                        </a:moveTo>
                        <a:cubicBezTo>
                          <a:pt x="32" y="30"/>
                          <a:pt x="32" y="30"/>
                          <a:pt x="32" y="30"/>
                        </a:cubicBezTo>
                        <a:cubicBezTo>
                          <a:pt x="92" y="48"/>
                          <a:pt x="92" y="48"/>
                          <a:pt x="92" y="48"/>
                        </a:cubicBezTo>
                        <a:cubicBezTo>
                          <a:pt x="99" y="7"/>
                          <a:pt x="99" y="7"/>
                          <a:pt x="99" y="7"/>
                        </a:cubicBezTo>
                        <a:cubicBezTo>
                          <a:pt x="82" y="13"/>
                          <a:pt x="82" y="13"/>
                          <a:pt x="82" y="13"/>
                        </a:cubicBezTo>
                        <a:cubicBezTo>
                          <a:pt x="78" y="8"/>
                          <a:pt x="66" y="0"/>
                          <a:pt x="56" y="1"/>
                        </a:cubicBezTo>
                        <a:cubicBezTo>
                          <a:pt x="51" y="3"/>
                          <a:pt x="31" y="11"/>
                          <a:pt x="23" y="15"/>
                        </a:cubicBezTo>
                        <a:cubicBezTo>
                          <a:pt x="32" y="13"/>
                          <a:pt x="44" y="21"/>
                          <a:pt x="48" y="24"/>
                        </a:cubicBezTo>
                        <a:close/>
                        <a:moveTo>
                          <a:pt x="23" y="20"/>
                        </a:moveTo>
                        <a:cubicBezTo>
                          <a:pt x="16" y="22"/>
                          <a:pt x="6" y="27"/>
                          <a:pt x="0" y="31"/>
                        </a:cubicBezTo>
                        <a:cubicBezTo>
                          <a:pt x="0" y="62"/>
                          <a:pt x="42" y="86"/>
                          <a:pt x="42" y="86"/>
                        </a:cubicBezTo>
                        <a:cubicBezTo>
                          <a:pt x="42" y="86"/>
                          <a:pt x="14" y="39"/>
                          <a:pt x="23" y="20"/>
                        </a:cubicBezTo>
                        <a:close/>
                        <a:moveTo>
                          <a:pt x="176" y="162"/>
                        </a:moveTo>
                        <a:cubicBezTo>
                          <a:pt x="172" y="185"/>
                          <a:pt x="172" y="185"/>
                          <a:pt x="172" y="185"/>
                        </a:cubicBezTo>
                        <a:cubicBezTo>
                          <a:pt x="161" y="189"/>
                          <a:pt x="148" y="192"/>
                          <a:pt x="135" y="192"/>
                        </a:cubicBezTo>
                        <a:cubicBezTo>
                          <a:pt x="85" y="192"/>
                          <a:pt x="45" y="152"/>
                          <a:pt x="45" y="102"/>
                        </a:cubicBezTo>
                        <a:cubicBezTo>
                          <a:pt x="45" y="80"/>
                          <a:pt x="54" y="61"/>
                          <a:pt x="66" y="45"/>
                        </a:cubicBezTo>
                        <a:cubicBezTo>
                          <a:pt x="83" y="51"/>
                          <a:pt x="83" y="51"/>
                          <a:pt x="83" y="51"/>
                        </a:cubicBezTo>
                        <a:cubicBezTo>
                          <a:pt x="78" y="56"/>
                          <a:pt x="73" y="63"/>
                          <a:pt x="69" y="71"/>
                        </a:cubicBezTo>
                        <a:cubicBezTo>
                          <a:pt x="72" y="73"/>
                          <a:pt x="78" y="75"/>
                          <a:pt x="93" y="78"/>
                        </a:cubicBezTo>
                        <a:cubicBezTo>
                          <a:pt x="96" y="59"/>
                          <a:pt x="100" y="45"/>
                          <a:pt x="109" y="34"/>
                        </a:cubicBezTo>
                        <a:cubicBezTo>
                          <a:pt x="106" y="35"/>
                          <a:pt x="101" y="37"/>
                          <a:pt x="99" y="39"/>
                        </a:cubicBezTo>
                        <a:cubicBezTo>
                          <a:pt x="101" y="18"/>
                          <a:pt x="101" y="18"/>
                          <a:pt x="101" y="18"/>
                        </a:cubicBezTo>
                        <a:cubicBezTo>
                          <a:pt x="113" y="14"/>
                          <a:pt x="124" y="11"/>
                          <a:pt x="135" y="11"/>
                        </a:cubicBezTo>
                        <a:cubicBezTo>
                          <a:pt x="186" y="11"/>
                          <a:pt x="225" y="52"/>
                          <a:pt x="225" y="102"/>
                        </a:cubicBezTo>
                        <a:cubicBezTo>
                          <a:pt x="225" y="123"/>
                          <a:pt x="218" y="143"/>
                          <a:pt x="206" y="158"/>
                        </a:cubicBezTo>
                        <a:cubicBezTo>
                          <a:pt x="189" y="152"/>
                          <a:pt x="189" y="152"/>
                          <a:pt x="189" y="152"/>
                        </a:cubicBezTo>
                        <a:cubicBezTo>
                          <a:pt x="196" y="145"/>
                          <a:pt x="200" y="137"/>
                          <a:pt x="204" y="127"/>
                        </a:cubicBezTo>
                        <a:cubicBezTo>
                          <a:pt x="199" y="131"/>
                          <a:pt x="187" y="134"/>
                          <a:pt x="178" y="136"/>
                        </a:cubicBezTo>
                        <a:cubicBezTo>
                          <a:pt x="175" y="150"/>
                          <a:pt x="170" y="161"/>
                          <a:pt x="163" y="169"/>
                        </a:cubicBezTo>
                        <a:cubicBezTo>
                          <a:pt x="168" y="168"/>
                          <a:pt x="172" y="165"/>
                          <a:pt x="176" y="162"/>
                        </a:cubicBezTo>
                        <a:close/>
                        <a:moveTo>
                          <a:pt x="92" y="126"/>
                        </a:moveTo>
                        <a:cubicBezTo>
                          <a:pt x="92" y="119"/>
                          <a:pt x="90" y="110"/>
                          <a:pt x="90" y="103"/>
                        </a:cubicBezTo>
                        <a:cubicBezTo>
                          <a:pt x="90" y="97"/>
                          <a:pt x="90" y="93"/>
                          <a:pt x="92" y="87"/>
                        </a:cubicBezTo>
                        <a:cubicBezTo>
                          <a:pt x="80" y="86"/>
                          <a:pt x="71" y="83"/>
                          <a:pt x="65" y="80"/>
                        </a:cubicBezTo>
                        <a:cubicBezTo>
                          <a:pt x="63" y="87"/>
                          <a:pt x="62" y="95"/>
                          <a:pt x="62" y="102"/>
                        </a:cubicBezTo>
                        <a:cubicBezTo>
                          <a:pt x="62" y="114"/>
                          <a:pt x="63" y="120"/>
                          <a:pt x="92" y="126"/>
                        </a:cubicBezTo>
                        <a:close/>
                        <a:moveTo>
                          <a:pt x="107" y="169"/>
                        </a:moveTo>
                        <a:cubicBezTo>
                          <a:pt x="101" y="161"/>
                          <a:pt x="97" y="150"/>
                          <a:pt x="94" y="137"/>
                        </a:cubicBezTo>
                        <a:cubicBezTo>
                          <a:pt x="83" y="134"/>
                          <a:pt x="75" y="131"/>
                          <a:pt x="68" y="128"/>
                        </a:cubicBezTo>
                        <a:cubicBezTo>
                          <a:pt x="71" y="138"/>
                          <a:pt x="76" y="147"/>
                          <a:pt x="83" y="154"/>
                        </a:cubicBezTo>
                        <a:cubicBezTo>
                          <a:pt x="90" y="161"/>
                          <a:pt x="99" y="167"/>
                          <a:pt x="107" y="169"/>
                        </a:cubicBezTo>
                        <a:close/>
                        <a:moveTo>
                          <a:pt x="131" y="140"/>
                        </a:moveTo>
                        <a:cubicBezTo>
                          <a:pt x="121" y="140"/>
                          <a:pt x="113" y="138"/>
                          <a:pt x="104" y="138"/>
                        </a:cubicBezTo>
                        <a:cubicBezTo>
                          <a:pt x="109" y="151"/>
                          <a:pt x="116" y="175"/>
                          <a:pt x="131" y="175"/>
                        </a:cubicBezTo>
                        <a:cubicBezTo>
                          <a:pt x="131" y="175"/>
                          <a:pt x="131" y="175"/>
                          <a:pt x="131" y="140"/>
                        </a:cubicBezTo>
                        <a:close/>
                        <a:moveTo>
                          <a:pt x="131" y="90"/>
                        </a:moveTo>
                        <a:cubicBezTo>
                          <a:pt x="120" y="90"/>
                          <a:pt x="110" y="89"/>
                          <a:pt x="101" y="89"/>
                        </a:cubicBezTo>
                        <a:cubicBezTo>
                          <a:pt x="100" y="93"/>
                          <a:pt x="100" y="97"/>
                          <a:pt x="100" y="103"/>
                        </a:cubicBezTo>
                        <a:cubicBezTo>
                          <a:pt x="100" y="112"/>
                          <a:pt x="101" y="120"/>
                          <a:pt x="103" y="127"/>
                        </a:cubicBezTo>
                        <a:cubicBezTo>
                          <a:pt x="111" y="128"/>
                          <a:pt x="121" y="130"/>
                          <a:pt x="131" y="130"/>
                        </a:cubicBezTo>
                        <a:cubicBezTo>
                          <a:pt x="131" y="130"/>
                          <a:pt x="131" y="130"/>
                          <a:pt x="131" y="90"/>
                        </a:cubicBezTo>
                        <a:close/>
                        <a:moveTo>
                          <a:pt x="131" y="30"/>
                        </a:moveTo>
                        <a:cubicBezTo>
                          <a:pt x="128" y="30"/>
                          <a:pt x="125" y="31"/>
                          <a:pt x="123" y="32"/>
                        </a:cubicBezTo>
                        <a:cubicBezTo>
                          <a:pt x="114" y="41"/>
                          <a:pt x="106" y="59"/>
                          <a:pt x="101" y="79"/>
                        </a:cubicBezTo>
                        <a:cubicBezTo>
                          <a:pt x="111" y="80"/>
                          <a:pt x="121" y="80"/>
                          <a:pt x="131" y="80"/>
                        </a:cubicBezTo>
                        <a:cubicBezTo>
                          <a:pt x="131" y="80"/>
                          <a:pt x="131" y="80"/>
                          <a:pt x="131" y="30"/>
                        </a:cubicBezTo>
                        <a:close/>
                        <a:moveTo>
                          <a:pt x="206" y="80"/>
                        </a:moveTo>
                        <a:cubicBezTo>
                          <a:pt x="200" y="83"/>
                          <a:pt x="193" y="85"/>
                          <a:pt x="180" y="87"/>
                        </a:cubicBezTo>
                        <a:cubicBezTo>
                          <a:pt x="180" y="93"/>
                          <a:pt x="180" y="97"/>
                          <a:pt x="180" y="103"/>
                        </a:cubicBezTo>
                        <a:cubicBezTo>
                          <a:pt x="180" y="110"/>
                          <a:pt x="180" y="119"/>
                          <a:pt x="179" y="126"/>
                        </a:cubicBezTo>
                        <a:cubicBezTo>
                          <a:pt x="196" y="121"/>
                          <a:pt x="204" y="116"/>
                          <a:pt x="208" y="112"/>
                        </a:cubicBezTo>
                        <a:cubicBezTo>
                          <a:pt x="208" y="109"/>
                          <a:pt x="208" y="106"/>
                          <a:pt x="208" y="102"/>
                        </a:cubicBezTo>
                        <a:cubicBezTo>
                          <a:pt x="208" y="95"/>
                          <a:pt x="207" y="87"/>
                          <a:pt x="206" y="80"/>
                        </a:cubicBezTo>
                        <a:close/>
                        <a:moveTo>
                          <a:pt x="162" y="34"/>
                        </a:moveTo>
                        <a:cubicBezTo>
                          <a:pt x="170" y="45"/>
                          <a:pt x="176" y="59"/>
                          <a:pt x="179" y="78"/>
                        </a:cubicBezTo>
                        <a:cubicBezTo>
                          <a:pt x="194" y="73"/>
                          <a:pt x="199" y="73"/>
                          <a:pt x="201" y="71"/>
                        </a:cubicBezTo>
                        <a:cubicBezTo>
                          <a:pt x="199" y="63"/>
                          <a:pt x="193" y="56"/>
                          <a:pt x="187" y="51"/>
                        </a:cubicBezTo>
                        <a:cubicBezTo>
                          <a:pt x="180" y="42"/>
                          <a:pt x="172" y="38"/>
                          <a:pt x="162" y="34"/>
                        </a:cubicBezTo>
                        <a:close/>
                        <a:moveTo>
                          <a:pt x="141" y="80"/>
                        </a:moveTo>
                        <a:cubicBezTo>
                          <a:pt x="151" y="80"/>
                          <a:pt x="159" y="80"/>
                          <a:pt x="169" y="79"/>
                        </a:cubicBezTo>
                        <a:cubicBezTo>
                          <a:pt x="165" y="54"/>
                          <a:pt x="154" y="34"/>
                          <a:pt x="141" y="30"/>
                        </a:cubicBezTo>
                        <a:cubicBezTo>
                          <a:pt x="141" y="30"/>
                          <a:pt x="141" y="30"/>
                          <a:pt x="141" y="30"/>
                        </a:cubicBezTo>
                        <a:cubicBezTo>
                          <a:pt x="141" y="30"/>
                          <a:pt x="141" y="30"/>
                          <a:pt x="141" y="80"/>
                        </a:cubicBezTo>
                        <a:close/>
                        <a:moveTo>
                          <a:pt x="141" y="130"/>
                        </a:moveTo>
                        <a:cubicBezTo>
                          <a:pt x="151" y="130"/>
                          <a:pt x="159" y="128"/>
                          <a:pt x="169" y="127"/>
                        </a:cubicBezTo>
                        <a:cubicBezTo>
                          <a:pt x="170" y="120"/>
                          <a:pt x="170" y="112"/>
                          <a:pt x="170" y="103"/>
                        </a:cubicBezTo>
                        <a:cubicBezTo>
                          <a:pt x="170" y="97"/>
                          <a:pt x="170" y="93"/>
                          <a:pt x="170" y="89"/>
                        </a:cubicBezTo>
                        <a:cubicBezTo>
                          <a:pt x="161" y="89"/>
                          <a:pt x="151" y="90"/>
                          <a:pt x="141" y="90"/>
                        </a:cubicBezTo>
                        <a:cubicBezTo>
                          <a:pt x="141" y="90"/>
                          <a:pt x="141" y="90"/>
                          <a:pt x="141" y="130"/>
                        </a:cubicBezTo>
                        <a:close/>
                        <a:moveTo>
                          <a:pt x="159" y="157"/>
                        </a:moveTo>
                        <a:cubicBezTo>
                          <a:pt x="162" y="151"/>
                          <a:pt x="165" y="145"/>
                          <a:pt x="166" y="138"/>
                        </a:cubicBezTo>
                        <a:cubicBezTo>
                          <a:pt x="158" y="138"/>
                          <a:pt x="149" y="140"/>
                          <a:pt x="141" y="140"/>
                        </a:cubicBezTo>
                        <a:cubicBezTo>
                          <a:pt x="141" y="140"/>
                          <a:pt x="141" y="140"/>
                          <a:pt x="141" y="175"/>
                        </a:cubicBezTo>
                        <a:cubicBezTo>
                          <a:pt x="148" y="175"/>
                          <a:pt x="155" y="168"/>
                          <a:pt x="159" y="157"/>
                        </a:cubicBezTo>
                        <a:close/>
                        <a:moveTo>
                          <a:pt x="225" y="179"/>
                        </a:moveTo>
                        <a:cubicBezTo>
                          <a:pt x="241" y="174"/>
                          <a:pt x="241" y="174"/>
                          <a:pt x="241" y="174"/>
                        </a:cubicBezTo>
                        <a:cubicBezTo>
                          <a:pt x="183" y="155"/>
                          <a:pt x="183" y="155"/>
                          <a:pt x="183" y="155"/>
                        </a:cubicBezTo>
                        <a:cubicBezTo>
                          <a:pt x="175" y="196"/>
                          <a:pt x="175" y="196"/>
                          <a:pt x="175" y="196"/>
                        </a:cubicBezTo>
                        <a:cubicBezTo>
                          <a:pt x="193" y="191"/>
                          <a:pt x="193" y="191"/>
                          <a:pt x="193" y="191"/>
                        </a:cubicBezTo>
                        <a:cubicBezTo>
                          <a:pt x="197" y="195"/>
                          <a:pt x="208" y="203"/>
                          <a:pt x="218" y="202"/>
                        </a:cubicBezTo>
                        <a:cubicBezTo>
                          <a:pt x="224" y="201"/>
                          <a:pt x="242" y="192"/>
                          <a:pt x="251" y="188"/>
                        </a:cubicBezTo>
                        <a:cubicBezTo>
                          <a:pt x="242" y="191"/>
                          <a:pt x="231" y="182"/>
                          <a:pt x="225" y="179"/>
                        </a:cubicBezTo>
                        <a:close/>
                      </a:path>
                    </a:pathLst>
                  </a:custGeom>
                  <a:solidFill>
                    <a:srgbClr val="21BBE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12" name="Group 611"/>
                  <p:cNvGrpSpPr/>
                  <p:nvPr/>
                </p:nvGrpSpPr>
                <p:grpSpPr>
                  <a:xfrm rot="16200000">
                    <a:off x="11538952" y="548917"/>
                    <a:ext cx="197697" cy="120792"/>
                    <a:chOff x="11543479" y="566091"/>
                    <a:chExt cx="197697" cy="120792"/>
                  </a:xfrm>
                </p:grpSpPr>
                <p:sp>
                  <p:nvSpPr>
                    <p:cNvPr id="667" name="Freeform 206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616132" y="493438"/>
                      <a:ext cx="52392" cy="197697"/>
                    </a:xfrm>
                    <a:custGeom>
                      <a:avLst/>
                      <a:gdLst>
                        <a:gd name="T0" fmla="*/ 40 w 48"/>
                        <a:gd name="T1" fmla="*/ 0 h 174"/>
                        <a:gd name="T2" fmla="*/ 7 w 48"/>
                        <a:gd name="T3" fmla="*/ 0 h 174"/>
                        <a:gd name="T4" fmla="*/ 0 w 48"/>
                        <a:gd name="T5" fmla="*/ 8 h 174"/>
                        <a:gd name="T6" fmla="*/ 0 w 48"/>
                        <a:gd name="T7" fmla="*/ 166 h 174"/>
                        <a:gd name="T8" fmla="*/ 7 w 48"/>
                        <a:gd name="T9" fmla="*/ 174 h 174"/>
                        <a:gd name="T10" fmla="*/ 40 w 48"/>
                        <a:gd name="T11" fmla="*/ 174 h 174"/>
                        <a:gd name="T12" fmla="*/ 48 w 48"/>
                        <a:gd name="T13" fmla="*/ 166 h 174"/>
                        <a:gd name="T14" fmla="*/ 48 w 48"/>
                        <a:gd name="T15" fmla="*/ 8 h 174"/>
                        <a:gd name="T16" fmla="*/ 40 w 48"/>
                        <a:gd name="T17" fmla="*/ 0 h 174"/>
                        <a:gd name="T18" fmla="*/ 11 w 48"/>
                        <a:gd name="T19" fmla="*/ 16 h 174"/>
                        <a:gd name="T20" fmla="*/ 15 w 48"/>
                        <a:gd name="T21" fmla="*/ 11 h 174"/>
                        <a:gd name="T22" fmla="*/ 32 w 48"/>
                        <a:gd name="T23" fmla="*/ 11 h 174"/>
                        <a:gd name="T24" fmla="*/ 36 w 48"/>
                        <a:gd name="T25" fmla="*/ 16 h 174"/>
                        <a:gd name="T26" fmla="*/ 36 w 48"/>
                        <a:gd name="T27" fmla="*/ 117 h 174"/>
                        <a:gd name="T28" fmla="*/ 32 w 48"/>
                        <a:gd name="T29" fmla="*/ 121 h 174"/>
                        <a:gd name="T30" fmla="*/ 15 w 48"/>
                        <a:gd name="T31" fmla="*/ 121 h 174"/>
                        <a:gd name="T32" fmla="*/ 11 w 48"/>
                        <a:gd name="T33" fmla="*/ 117 h 174"/>
                        <a:gd name="T34" fmla="*/ 11 w 48"/>
                        <a:gd name="T35" fmla="*/ 16 h 174"/>
                        <a:gd name="T36" fmla="*/ 11 w 48"/>
                        <a:gd name="T37" fmla="*/ 16 h 174"/>
                        <a:gd name="T38" fmla="*/ 23 w 48"/>
                        <a:gd name="T39" fmla="*/ 164 h 174"/>
                        <a:gd name="T40" fmla="*/ 11 w 48"/>
                        <a:gd name="T41" fmla="*/ 151 h 174"/>
                        <a:gd name="T42" fmla="*/ 23 w 48"/>
                        <a:gd name="T43" fmla="*/ 138 h 174"/>
                        <a:gd name="T44" fmla="*/ 36 w 48"/>
                        <a:gd name="T45" fmla="*/ 151 h 174"/>
                        <a:gd name="T46" fmla="*/ 23 w 48"/>
                        <a:gd name="T47" fmla="*/ 164 h 1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8" h="174">
                          <a:moveTo>
                            <a:pt x="40" y="0"/>
                          </a:moveTo>
                          <a:cubicBezTo>
                            <a:pt x="7" y="0"/>
                            <a:pt x="7" y="0"/>
                            <a:pt x="7" y="0"/>
                          </a:cubicBezTo>
                          <a:cubicBezTo>
                            <a:pt x="3" y="0"/>
                            <a:pt x="0" y="3"/>
                            <a:pt x="0" y="8"/>
                          </a:cubicBezTo>
                          <a:cubicBezTo>
                            <a:pt x="0" y="166"/>
                            <a:pt x="0" y="166"/>
                            <a:pt x="0" y="166"/>
                          </a:cubicBezTo>
                          <a:cubicBezTo>
                            <a:pt x="0" y="170"/>
                            <a:pt x="3" y="174"/>
                            <a:pt x="7" y="174"/>
                          </a:cubicBezTo>
                          <a:cubicBezTo>
                            <a:pt x="40" y="174"/>
                            <a:pt x="40" y="174"/>
                            <a:pt x="40" y="174"/>
                          </a:cubicBezTo>
                          <a:cubicBezTo>
                            <a:pt x="44" y="174"/>
                            <a:pt x="48" y="170"/>
                            <a:pt x="48" y="166"/>
                          </a:cubicBezTo>
                          <a:cubicBezTo>
                            <a:pt x="48" y="8"/>
                            <a:pt x="48" y="8"/>
                            <a:pt x="48" y="8"/>
                          </a:cubicBezTo>
                          <a:cubicBezTo>
                            <a:pt x="48" y="3"/>
                            <a:pt x="44" y="0"/>
                            <a:pt x="40" y="0"/>
                          </a:cubicBezTo>
                          <a:close/>
                          <a:moveTo>
                            <a:pt x="11" y="16"/>
                          </a:moveTo>
                          <a:cubicBezTo>
                            <a:pt x="11" y="13"/>
                            <a:pt x="13" y="11"/>
                            <a:pt x="15" y="11"/>
                          </a:cubicBezTo>
                          <a:cubicBezTo>
                            <a:pt x="32" y="11"/>
                            <a:pt x="32" y="11"/>
                            <a:pt x="32" y="11"/>
                          </a:cubicBezTo>
                          <a:cubicBezTo>
                            <a:pt x="34" y="11"/>
                            <a:pt x="36" y="13"/>
                            <a:pt x="36" y="16"/>
                          </a:cubicBezTo>
                          <a:cubicBezTo>
                            <a:pt x="36" y="117"/>
                            <a:pt x="36" y="117"/>
                            <a:pt x="36" y="117"/>
                          </a:cubicBezTo>
                          <a:cubicBezTo>
                            <a:pt x="36" y="119"/>
                            <a:pt x="34" y="121"/>
                            <a:pt x="32" y="121"/>
                          </a:cubicBezTo>
                          <a:cubicBezTo>
                            <a:pt x="15" y="121"/>
                            <a:pt x="15" y="121"/>
                            <a:pt x="15" y="121"/>
                          </a:cubicBezTo>
                          <a:cubicBezTo>
                            <a:pt x="13" y="121"/>
                            <a:pt x="11" y="119"/>
                            <a:pt x="11" y="117"/>
                          </a:cubicBezTo>
                          <a:cubicBezTo>
                            <a:pt x="11" y="16"/>
                            <a:pt x="11" y="16"/>
                            <a:pt x="11" y="16"/>
                          </a:cubicBezTo>
                          <a:cubicBezTo>
                            <a:pt x="11" y="16"/>
                            <a:pt x="11" y="16"/>
                            <a:pt x="11" y="16"/>
                          </a:cubicBezTo>
                          <a:close/>
                          <a:moveTo>
                            <a:pt x="23" y="164"/>
                          </a:moveTo>
                          <a:cubicBezTo>
                            <a:pt x="17" y="164"/>
                            <a:pt x="11" y="158"/>
                            <a:pt x="11" y="151"/>
                          </a:cubicBezTo>
                          <a:cubicBezTo>
                            <a:pt x="11" y="144"/>
                            <a:pt x="17" y="138"/>
                            <a:pt x="23" y="138"/>
                          </a:cubicBezTo>
                          <a:cubicBezTo>
                            <a:pt x="30" y="138"/>
                            <a:pt x="36" y="144"/>
                            <a:pt x="36" y="151"/>
                          </a:cubicBezTo>
                          <a:cubicBezTo>
                            <a:pt x="36" y="158"/>
                            <a:pt x="30" y="164"/>
                            <a:pt x="23" y="164"/>
                          </a:cubicBezTo>
                          <a:close/>
                        </a:path>
                      </a:pathLst>
                    </a:cu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68" name="Oval 207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1562613" y="583986"/>
                      <a:ext cx="14553" cy="16600"/>
                    </a:xfrm>
                    <a:prstGeom prst="ellipse">
                      <a:avLst/>
                    </a:prstGeom>
                    <a:solidFill>
                      <a:srgbClr val="21BBEE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69" name="Freeform 208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616132" y="561838"/>
                      <a:ext cx="52392" cy="197697"/>
                    </a:xfrm>
                    <a:custGeom>
                      <a:avLst/>
                      <a:gdLst>
                        <a:gd name="T0" fmla="*/ 41 w 48"/>
                        <a:gd name="T1" fmla="*/ 0 h 174"/>
                        <a:gd name="T2" fmla="*/ 8 w 48"/>
                        <a:gd name="T3" fmla="*/ 0 h 174"/>
                        <a:gd name="T4" fmla="*/ 0 w 48"/>
                        <a:gd name="T5" fmla="*/ 8 h 174"/>
                        <a:gd name="T6" fmla="*/ 0 w 48"/>
                        <a:gd name="T7" fmla="*/ 166 h 174"/>
                        <a:gd name="T8" fmla="*/ 8 w 48"/>
                        <a:gd name="T9" fmla="*/ 174 h 174"/>
                        <a:gd name="T10" fmla="*/ 41 w 48"/>
                        <a:gd name="T11" fmla="*/ 174 h 174"/>
                        <a:gd name="T12" fmla="*/ 48 w 48"/>
                        <a:gd name="T13" fmla="*/ 166 h 174"/>
                        <a:gd name="T14" fmla="*/ 48 w 48"/>
                        <a:gd name="T15" fmla="*/ 8 h 174"/>
                        <a:gd name="T16" fmla="*/ 41 w 48"/>
                        <a:gd name="T17" fmla="*/ 0 h 174"/>
                        <a:gd name="T18" fmla="*/ 12 w 48"/>
                        <a:gd name="T19" fmla="*/ 16 h 174"/>
                        <a:gd name="T20" fmla="*/ 16 w 48"/>
                        <a:gd name="T21" fmla="*/ 11 h 174"/>
                        <a:gd name="T22" fmla="*/ 33 w 48"/>
                        <a:gd name="T23" fmla="*/ 11 h 174"/>
                        <a:gd name="T24" fmla="*/ 37 w 48"/>
                        <a:gd name="T25" fmla="*/ 16 h 174"/>
                        <a:gd name="T26" fmla="*/ 37 w 48"/>
                        <a:gd name="T27" fmla="*/ 117 h 174"/>
                        <a:gd name="T28" fmla="*/ 33 w 48"/>
                        <a:gd name="T29" fmla="*/ 121 h 174"/>
                        <a:gd name="T30" fmla="*/ 16 w 48"/>
                        <a:gd name="T31" fmla="*/ 121 h 174"/>
                        <a:gd name="T32" fmla="*/ 12 w 48"/>
                        <a:gd name="T33" fmla="*/ 117 h 174"/>
                        <a:gd name="T34" fmla="*/ 12 w 48"/>
                        <a:gd name="T35" fmla="*/ 16 h 174"/>
                        <a:gd name="T36" fmla="*/ 12 w 48"/>
                        <a:gd name="T37" fmla="*/ 16 h 174"/>
                        <a:gd name="T38" fmla="*/ 24 w 48"/>
                        <a:gd name="T39" fmla="*/ 164 h 174"/>
                        <a:gd name="T40" fmla="*/ 12 w 48"/>
                        <a:gd name="T41" fmla="*/ 151 h 174"/>
                        <a:gd name="T42" fmla="*/ 24 w 48"/>
                        <a:gd name="T43" fmla="*/ 138 h 174"/>
                        <a:gd name="T44" fmla="*/ 37 w 48"/>
                        <a:gd name="T45" fmla="*/ 151 h 174"/>
                        <a:gd name="T46" fmla="*/ 24 w 48"/>
                        <a:gd name="T47" fmla="*/ 164 h 1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48" h="174">
                          <a:moveTo>
                            <a:pt x="41" y="0"/>
                          </a:moveTo>
                          <a:cubicBezTo>
                            <a:pt x="8" y="0"/>
                            <a:pt x="8" y="0"/>
                            <a:pt x="8" y="0"/>
                          </a:cubicBezTo>
                          <a:cubicBezTo>
                            <a:pt x="4" y="0"/>
                            <a:pt x="0" y="3"/>
                            <a:pt x="0" y="8"/>
                          </a:cubicBezTo>
                          <a:cubicBezTo>
                            <a:pt x="0" y="166"/>
                            <a:pt x="0" y="166"/>
                            <a:pt x="0" y="166"/>
                          </a:cubicBezTo>
                          <a:cubicBezTo>
                            <a:pt x="0" y="170"/>
                            <a:pt x="4" y="174"/>
                            <a:pt x="8" y="174"/>
                          </a:cubicBezTo>
                          <a:cubicBezTo>
                            <a:pt x="41" y="174"/>
                            <a:pt x="41" y="174"/>
                            <a:pt x="41" y="174"/>
                          </a:cubicBezTo>
                          <a:cubicBezTo>
                            <a:pt x="45" y="174"/>
                            <a:pt x="48" y="170"/>
                            <a:pt x="48" y="166"/>
                          </a:cubicBezTo>
                          <a:cubicBezTo>
                            <a:pt x="48" y="8"/>
                            <a:pt x="48" y="8"/>
                            <a:pt x="48" y="8"/>
                          </a:cubicBezTo>
                          <a:cubicBezTo>
                            <a:pt x="48" y="3"/>
                            <a:pt x="45" y="0"/>
                            <a:pt x="41" y="0"/>
                          </a:cubicBezTo>
                          <a:close/>
                          <a:moveTo>
                            <a:pt x="12" y="16"/>
                          </a:moveTo>
                          <a:cubicBezTo>
                            <a:pt x="12" y="13"/>
                            <a:pt x="14" y="11"/>
                            <a:pt x="16" y="11"/>
                          </a:cubicBezTo>
                          <a:cubicBezTo>
                            <a:pt x="33" y="11"/>
                            <a:pt x="33" y="11"/>
                            <a:pt x="33" y="11"/>
                          </a:cubicBezTo>
                          <a:cubicBezTo>
                            <a:pt x="35" y="11"/>
                            <a:pt x="37" y="13"/>
                            <a:pt x="37" y="16"/>
                          </a:cubicBezTo>
                          <a:cubicBezTo>
                            <a:pt x="37" y="117"/>
                            <a:pt x="37" y="117"/>
                            <a:pt x="37" y="117"/>
                          </a:cubicBezTo>
                          <a:cubicBezTo>
                            <a:pt x="37" y="119"/>
                            <a:pt x="35" y="121"/>
                            <a:pt x="33" y="121"/>
                          </a:cubicBezTo>
                          <a:cubicBezTo>
                            <a:pt x="16" y="121"/>
                            <a:pt x="16" y="121"/>
                            <a:pt x="16" y="121"/>
                          </a:cubicBezTo>
                          <a:cubicBezTo>
                            <a:pt x="14" y="121"/>
                            <a:pt x="12" y="119"/>
                            <a:pt x="12" y="117"/>
                          </a:cubicBezTo>
                          <a:cubicBezTo>
                            <a:pt x="12" y="16"/>
                            <a:pt x="12" y="16"/>
                            <a:pt x="12" y="16"/>
                          </a:cubicBezTo>
                          <a:cubicBezTo>
                            <a:pt x="12" y="16"/>
                            <a:pt x="12" y="16"/>
                            <a:pt x="12" y="16"/>
                          </a:cubicBezTo>
                          <a:close/>
                          <a:moveTo>
                            <a:pt x="24" y="164"/>
                          </a:moveTo>
                          <a:cubicBezTo>
                            <a:pt x="17" y="164"/>
                            <a:pt x="12" y="158"/>
                            <a:pt x="12" y="151"/>
                          </a:cubicBezTo>
                          <a:cubicBezTo>
                            <a:pt x="12" y="144"/>
                            <a:pt x="17" y="138"/>
                            <a:pt x="24" y="138"/>
                          </a:cubicBezTo>
                          <a:cubicBezTo>
                            <a:pt x="31" y="138"/>
                            <a:pt x="37" y="144"/>
                            <a:pt x="37" y="151"/>
                          </a:cubicBezTo>
                          <a:cubicBezTo>
                            <a:pt x="37" y="158"/>
                            <a:pt x="31" y="164"/>
                            <a:pt x="24" y="164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70" name="Oval 209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1563340" y="653114"/>
                      <a:ext cx="13098" cy="16600"/>
                    </a:xfrm>
                    <a:prstGeom prst="ellipse">
                      <a:avLst/>
                    </a:pr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613" name="Freeform 210"/>
                  <p:cNvSpPr>
                    <a:spLocks/>
                  </p:cNvSpPr>
                  <p:nvPr/>
                </p:nvSpPr>
                <p:spPr bwMode="auto">
                  <a:xfrm>
                    <a:off x="10269655" y="1884130"/>
                    <a:ext cx="174640" cy="98093"/>
                  </a:xfrm>
                  <a:custGeom>
                    <a:avLst/>
                    <a:gdLst>
                      <a:gd name="T0" fmla="*/ 117 w 159"/>
                      <a:gd name="T1" fmla="*/ 86 h 86"/>
                      <a:gd name="T2" fmla="*/ 159 w 159"/>
                      <a:gd name="T3" fmla="*/ 43 h 86"/>
                      <a:gd name="T4" fmla="*/ 117 w 159"/>
                      <a:gd name="T5" fmla="*/ 0 h 86"/>
                      <a:gd name="T6" fmla="*/ 80 w 159"/>
                      <a:gd name="T7" fmla="*/ 21 h 86"/>
                      <a:gd name="T8" fmla="*/ 66 w 159"/>
                      <a:gd name="T9" fmla="*/ 18 h 86"/>
                      <a:gd name="T10" fmla="*/ 35 w 159"/>
                      <a:gd name="T11" fmla="*/ 36 h 86"/>
                      <a:gd name="T12" fmla="*/ 26 w 159"/>
                      <a:gd name="T13" fmla="*/ 34 h 86"/>
                      <a:gd name="T14" fmla="*/ 0 w 159"/>
                      <a:gd name="T15" fmla="*/ 60 h 86"/>
                      <a:gd name="T16" fmla="*/ 26 w 159"/>
                      <a:gd name="T17" fmla="*/ 86 h 86"/>
                      <a:gd name="T18" fmla="*/ 117 w 159"/>
                      <a:gd name="T19" fmla="*/ 86 h 86"/>
                      <a:gd name="T20" fmla="*/ 117 w 159"/>
                      <a:gd name="T21" fmla="*/ 86 h 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59" h="86">
                        <a:moveTo>
                          <a:pt x="117" y="86"/>
                        </a:moveTo>
                        <a:cubicBezTo>
                          <a:pt x="140" y="86"/>
                          <a:pt x="159" y="66"/>
                          <a:pt x="159" y="43"/>
                        </a:cubicBezTo>
                        <a:cubicBezTo>
                          <a:pt x="159" y="20"/>
                          <a:pt x="140" y="0"/>
                          <a:pt x="117" y="0"/>
                        </a:cubicBezTo>
                        <a:cubicBezTo>
                          <a:pt x="101" y="0"/>
                          <a:pt x="88" y="9"/>
                          <a:pt x="80" y="21"/>
                        </a:cubicBezTo>
                        <a:cubicBezTo>
                          <a:pt x="76" y="19"/>
                          <a:pt x="71" y="18"/>
                          <a:pt x="66" y="18"/>
                        </a:cubicBezTo>
                        <a:cubicBezTo>
                          <a:pt x="52" y="18"/>
                          <a:pt x="41" y="25"/>
                          <a:pt x="35" y="36"/>
                        </a:cubicBezTo>
                        <a:cubicBezTo>
                          <a:pt x="32" y="35"/>
                          <a:pt x="29" y="34"/>
                          <a:pt x="26" y="34"/>
                        </a:cubicBezTo>
                        <a:cubicBezTo>
                          <a:pt x="12" y="34"/>
                          <a:pt x="0" y="46"/>
                          <a:pt x="0" y="60"/>
                        </a:cubicBezTo>
                        <a:cubicBezTo>
                          <a:pt x="0" y="74"/>
                          <a:pt x="12" y="86"/>
                          <a:pt x="26" y="86"/>
                        </a:cubicBezTo>
                        <a:cubicBezTo>
                          <a:pt x="117" y="86"/>
                          <a:pt x="117" y="86"/>
                          <a:pt x="117" y="86"/>
                        </a:cubicBezTo>
                        <a:cubicBezTo>
                          <a:pt x="117" y="86"/>
                          <a:pt x="117" y="86"/>
                          <a:pt x="117" y="86"/>
                        </a:cubicBezTo>
                        <a:close/>
                      </a:path>
                    </a:pathLst>
                  </a:custGeom>
                  <a:solidFill>
                    <a:srgbClr val="21BBE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4" name="Freeform 211"/>
                  <p:cNvSpPr>
                    <a:spLocks noEditPoints="1"/>
                  </p:cNvSpPr>
                  <p:nvPr/>
                </p:nvSpPr>
                <p:spPr bwMode="auto">
                  <a:xfrm>
                    <a:off x="10830108" y="1154290"/>
                    <a:ext cx="228487" cy="108658"/>
                  </a:xfrm>
                  <a:custGeom>
                    <a:avLst/>
                    <a:gdLst>
                      <a:gd name="T0" fmla="*/ 157 w 208"/>
                      <a:gd name="T1" fmla="*/ 95 h 95"/>
                      <a:gd name="T2" fmla="*/ 147 w 208"/>
                      <a:gd name="T3" fmla="*/ 95 h 95"/>
                      <a:gd name="T4" fmla="*/ 114 w 208"/>
                      <a:gd name="T5" fmla="*/ 63 h 95"/>
                      <a:gd name="T6" fmla="*/ 112 w 208"/>
                      <a:gd name="T7" fmla="*/ 63 h 95"/>
                      <a:gd name="T8" fmla="*/ 106 w 208"/>
                      <a:gd name="T9" fmla="*/ 51 h 95"/>
                      <a:gd name="T10" fmla="*/ 114 w 208"/>
                      <a:gd name="T11" fmla="*/ 51 h 95"/>
                      <a:gd name="T12" fmla="*/ 157 w 208"/>
                      <a:gd name="T13" fmla="*/ 95 h 95"/>
                      <a:gd name="T14" fmla="*/ 114 w 208"/>
                      <a:gd name="T15" fmla="*/ 0 h 95"/>
                      <a:gd name="T16" fmla="*/ 47 w 208"/>
                      <a:gd name="T17" fmla="*/ 27 h 95"/>
                      <a:gd name="T18" fmla="*/ 57 w 208"/>
                      <a:gd name="T19" fmla="*/ 25 h 95"/>
                      <a:gd name="T20" fmla="*/ 65 w 208"/>
                      <a:gd name="T21" fmla="*/ 27 h 95"/>
                      <a:gd name="T22" fmla="*/ 114 w 208"/>
                      <a:gd name="T23" fmla="*/ 12 h 95"/>
                      <a:gd name="T24" fmla="*/ 198 w 208"/>
                      <a:gd name="T25" fmla="*/ 95 h 95"/>
                      <a:gd name="T26" fmla="*/ 208 w 208"/>
                      <a:gd name="T27" fmla="*/ 95 h 95"/>
                      <a:gd name="T28" fmla="*/ 114 w 208"/>
                      <a:gd name="T29" fmla="*/ 0 h 95"/>
                      <a:gd name="T30" fmla="*/ 114 w 208"/>
                      <a:gd name="T31" fmla="*/ 27 h 95"/>
                      <a:gd name="T32" fmla="*/ 78 w 208"/>
                      <a:gd name="T33" fmla="*/ 35 h 95"/>
                      <a:gd name="T34" fmla="*/ 80 w 208"/>
                      <a:gd name="T35" fmla="*/ 39 h 95"/>
                      <a:gd name="T36" fmla="*/ 80 w 208"/>
                      <a:gd name="T37" fmla="*/ 39 h 95"/>
                      <a:gd name="T38" fmla="*/ 94 w 208"/>
                      <a:gd name="T39" fmla="*/ 41 h 95"/>
                      <a:gd name="T40" fmla="*/ 114 w 208"/>
                      <a:gd name="T41" fmla="*/ 37 h 95"/>
                      <a:gd name="T42" fmla="*/ 171 w 208"/>
                      <a:gd name="T43" fmla="*/ 95 h 95"/>
                      <a:gd name="T44" fmla="*/ 183 w 208"/>
                      <a:gd name="T45" fmla="*/ 95 h 95"/>
                      <a:gd name="T46" fmla="*/ 114 w 208"/>
                      <a:gd name="T47" fmla="*/ 27 h 95"/>
                      <a:gd name="T48" fmla="*/ 0 w 208"/>
                      <a:gd name="T49" fmla="*/ 79 h 95"/>
                      <a:gd name="T50" fmla="*/ 17 w 208"/>
                      <a:gd name="T51" fmla="*/ 93 h 95"/>
                      <a:gd name="T52" fmla="*/ 19 w 208"/>
                      <a:gd name="T53" fmla="*/ 93 h 95"/>
                      <a:gd name="T54" fmla="*/ 84 w 208"/>
                      <a:gd name="T55" fmla="*/ 93 h 95"/>
                      <a:gd name="T56" fmla="*/ 104 w 208"/>
                      <a:gd name="T57" fmla="*/ 71 h 95"/>
                      <a:gd name="T58" fmla="*/ 80 w 208"/>
                      <a:gd name="T59" fmla="*/ 49 h 95"/>
                      <a:gd name="T60" fmla="*/ 74 w 208"/>
                      <a:gd name="T61" fmla="*/ 49 h 95"/>
                      <a:gd name="T62" fmla="*/ 57 w 208"/>
                      <a:gd name="T63" fmla="*/ 35 h 95"/>
                      <a:gd name="T64" fmla="*/ 37 w 208"/>
                      <a:gd name="T65" fmla="*/ 53 h 95"/>
                      <a:gd name="T66" fmla="*/ 37 w 208"/>
                      <a:gd name="T67" fmla="*/ 57 h 95"/>
                      <a:gd name="T68" fmla="*/ 31 w 208"/>
                      <a:gd name="T69" fmla="*/ 55 h 95"/>
                      <a:gd name="T70" fmla="*/ 19 w 208"/>
                      <a:gd name="T71" fmla="*/ 63 h 95"/>
                      <a:gd name="T72" fmla="*/ 17 w 208"/>
                      <a:gd name="T73" fmla="*/ 63 h 95"/>
                      <a:gd name="T74" fmla="*/ 0 w 208"/>
                      <a:gd name="T75" fmla="*/ 79 h 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208" h="95">
                        <a:moveTo>
                          <a:pt x="157" y="95"/>
                        </a:moveTo>
                        <a:cubicBezTo>
                          <a:pt x="147" y="95"/>
                          <a:pt x="147" y="95"/>
                          <a:pt x="147" y="95"/>
                        </a:cubicBezTo>
                        <a:cubicBezTo>
                          <a:pt x="147" y="77"/>
                          <a:pt x="131" y="63"/>
                          <a:pt x="114" y="63"/>
                        </a:cubicBezTo>
                        <a:cubicBezTo>
                          <a:pt x="112" y="63"/>
                          <a:pt x="112" y="63"/>
                          <a:pt x="112" y="63"/>
                        </a:cubicBezTo>
                        <a:cubicBezTo>
                          <a:pt x="110" y="59"/>
                          <a:pt x="108" y="55"/>
                          <a:pt x="106" y="51"/>
                        </a:cubicBezTo>
                        <a:cubicBezTo>
                          <a:pt x="108" y="51"/>
                          <a:pt x="110" y="51"/>
                          <a:pt x="114" y="51"/>
                        </a:cubicBezTo>
                        <a:cubicBezTo>
                          <a:pt x="139" y="51"/>
                          <a:pt x="157" y="71"/>
                          <a:pt x="157" y="95"/>
                        </a:cubicBezTo>
                        <a:close/>
                        <a:moveTo>
                          <a:pt x="114" y="0"/>
                        </a:moveTo>
                        <a:cubicBezTo>
                          <a:pt x="88" y="0"/>
                          <a:pt x="65" y="10"/>
                          <a:pt x="47" y="27"/>
                        </a:cubicBezTo>
                        <a:cubicBezTo>
                          <a:pt x="51" y="27"/>
                          <a:pt x="53" y="25"/>
                          <a:pt x="57" y="25"/>
                        </a:cubicBezTo>
                        <a:cubicBezTo>
                          <a:pt x="59" y="25"/>
                          <a:pt x="63" y="27"/>
                          <a:pt x="65" y="27"/>
                        </a:cubicBezTo>
                        <a:cubicBezTo>
                          <a:pt x="80" y="18"/>
                          <a:pt x="96" y="12"/>
                          <a:pt x="114" y="12"/>
                        </a:cubicBezTo>
                        <a:cubicBezTo>
                          <a:pt x="159" y="12"/>
                          <a:pt x="198" y="49"/>
                          <a:pt x="198" y="95"/>
                        </a:cubicBezTo>
                        <a:cubicBezTo>
                          <a:pt x="208" y="95"/>
                          <a:pt x="208" y="95"/>
                          <a:pt x="208" y="95"/>
                        </a:cubicBezTo>
                        <a:cubicBezTo>
                          <a:pt x="208" y="43"/>
                          <a:pt x="165" y="0"/>
                          <a:pt x="114" y="0"/>
                        </a:cubicBezTo>
                        <a:close/>
                        <a:moveTo>
                          <a:pt x="114" y="27"/>
                        </a:moveTo>
                        <a:cubicBezTo>
                          <a:pt x="100" y="27"/>
                          <a:pt x="88" y="29"/>
                          <a:pt x="78" y="35"/>
                        </a:cubicBezTo>
                        <a:cubicBezTo>
                          <a:pt x="80" y="37"/>
                          <a:pt x="80" y="37"/>
                          <a:pt x="80" y="39"/>
                        </a:cubicBezTo>
                        <a:cubicBezTo>
                          <a:pt x="80" y="39"/>
                          <a:pt x="80" y="39"/>
                          <a:pt x="80" y="39"/>
                        </a:cubicBezTo>
                        <a:cubicBezTo>
                          <a:pt x="86" y="39"/>
                          <a:pt x="90" y="39"/>
                          <a:pt x="94" y="41"/>
                        </a:cubicBezTo>
                        <a:cubicBezTo>
                          <a:pt x="100" y="39"/>
                          <a:pt x="106" y="37"/>
                          <a:pt x="114" y="37"/>
                        </a:cubicBezTo>
                        <a:cubicBezTo>
                          <a:pt x="145" y="37"/>
                          <a:pt x="171" y="63"/>
                          <a:pt x="171" y="95"/>
                        </a:cubicBezTo>
                        <a:cubicBezTo>
                          <a:pt x="183" y="95"/>
                          <a:pt x="183" y="95"/>
                          <a:pt x="183" y="95"/>
                        </a:cubicBezTo>
                        <a:cubicBezTo>
                          <a:pt x="183" y="57"/>
                          <a:pt x="153" y="27"/>
                          <a:pt x="114" y="27"/>
                        </a:cubicBezTo>
                        <a:close/>
                        <a:moveTo>
                          <a:pt x="0" y="79"/>
                        </a:moveTo>
                        <a:cubicBezTo>
                          <a:pt x="0" y="87"/>
                          <a:pt x="7" y="93"/>
                          <a:pt x="17" y="93"/>
                        </a:cubicBezTo>
                        <a:cubicBezTo>
                          <a:pt x="19" y="93"/>
                          <a:pt x="19" y="93"/>
                          <a:pt x="19" y="93"/>
                        </a:cubicBezTo>
                        <a:cubicBezTo>
                          <a:pt x="84" y="93"/>
                          <a:pt x="84" y="93"/>
                          <a:pt x="84" y="93"/>
                        </a:cubicBezTo>
                        <a:cubicBezTo>
                          <a:pt x="94" y="93"/>
                          <a:pt x="104" y="83"/>
                          <a:pt x="104" y="71"/>
                        </a:cubicBezTo>
                        <a:cubicBezTo>
                          <a:pt x="104" y="59"/>
                          <a:pt x="94" y="49"/>
                          <a:pt x="80" y="49"/>
                        </a:cubicBezTo>
                        <a:cubicBezTo>
                          <a:pt x="78" y="49"/>
                          <a:pt x="76" y="49"/>
                          <a:pt x="74" y="49"/>
                        </a:cubicBezTo>
                        <a:cubicBezTo>
                          <a:pt x="72" y="41"/>
                          <a:pt x="65" y="35"/>
                          <a:pt x="57" y="35"/>
                        </a:cubicBezTo>
                        <a:cubicBezTo>
                          <a:pt x="45" y="35"/>
                          <a:pt x="37" y="43"/>
                          <a:pt x="37" y="53"/>
                        </a:cubicBezTo>
                        <a:cubicBezTo>
                          <a:pt x="37" y="55"/>
                          <a:pt x="37" y="55"/>
                          <a:pt x="37" y="57"/>
                        </a:cubicBezTo>
                        <a:cubicBezTo>
                          <a:pt x="35" y="55"/>
                          <a:pt x="33" y="55"/>
                          <a:pt x="31" y="55"/>
                        </a:cubicBezTo>
                        <a:cubicBezTo>
                          <a:pt x="27" y="55"/>
                          <a:pt x="21" y="59"/>
                          <a:pt x="19" y="63"/>
                        </a:cubicBezTo>
                        <a:cubicBezTo>
                          <a:pt x="17" y="63"/>
                          <a:pt x="17" y="63"/>
                          <a:pt x="17" y="63"/>
                        </a:cubicBezTo>
                        <a:cubicBezTo>
                          <a:pt x="7" y="63"/>
                          <a:pt x="0" y="69"/>
                          <a:pt x="0" y="79"/>
                        </a:cubicBezTo>
                        <a:close/>
                      </a:path>
                    </a:pathLst>
                  </a:custGeom>
                  <a:solidFill>
                    <a:srgbClr val="0283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5" name="Freeform 212"/>
                  <p:cNvSpPr>
                    <a:spLocks noEditPoints="1"/>
                  </p:cNvSpPr>
                  <p:nvPr/>
                </p:nvSpPr>
                <p:spPr bwMode="auto">
                  <a:xfrm rot="5400000">
                    <a:off x="11526332" y="832802"/>
                    <a:ext cx="256138" cy="264099"/>
                  </a:xfrm>
                  <a:custGeom>
                    <a:avLst/>
                    <a:gdLst>
                      <a:gd name="T0" fmla="*/ 86 w 176"/>
                      <a:gd name="T1" fmla="*/ 78 h 175"/>
                      <a:gd name="T2" fmla="*/ 92 w 176"/>
                      <a:gd name="T3" fmla="*/ 48 h 175"/>
                      <a:gd name="T4" fmla="*/ 92 w 176"/>
                      <a:gd name="T5" fmla="*/ 50 h 175"/>
                      <a:gd name="T6" fmla="*/ 101 w 176"/>
                      <a:gd name="T7" fmla="*/ 53 h 175"/>
                      <a:gd name="T8" fmla="*/ 109 w 176"/>
                      <a:gd name="T9" fmla="*/ 67 h 175"/>
                      <a:gd name="T10" fmla="*/ 131 w 176"/>
                      <a:gd name="T11" fmla="*/ 40 h 175"/>
                      <a:gd name="T12" fmla="*/ 92 w 176"/>
                      <a:gd name="T13" fmla="*/ 47 h 175"/>
                      <a:gd name="T14" fmla="*/ 92 w 176"/>
                      <a:gd name="T15" fmla="*/ 48 h 175"/>
                      <a:gd name="T16" fmla="*/ 101 w 176"/>
                      <a:gd name="T17" fmla="*/ 50 h 175"/>
                      <a:gd name="T18" fmla="*/ 111 w 176"/>
                      <a:gd name="T19" fmla="*/ 53 h 175"/>
                      <a:gd name="T20" fmla="*/ 111 w 176"/>
                      <a:gd name="T21" fmla="*/ 51 h 175"/>
                      <a:gd name="T22" fmla="*/ 111 w 176"/>
                      <a:gd name="T23" fmla="*/ 53 h 175"/>
                      <a:gd name="T24" fmla="*/ 110 w 176"/>
                      <a:gd name="T25" fmla="*/ 53 h 175"/>
                      <a:gd name="T26" fmla="*/ 111 w 176"/>
                      <a:gd name="T27" fmla="*/ 51 h 175"/>
                      <a:gd name="T28" fmla="*/ 110 w 176"/>
                      <a:gd name="T29" fmla="*/ 53 h 175"/>
                      <a:gd name="T30" fmla="*/ 51 w 176"/>
                      <a:gd name="T31" fmla="*/ 102 h 175"/>
                      <a:gd name="T32" fmla="*/ 83 w 176"/>
                      <a:gd name="T33" fmla="*/ 93 h 175"/>
                      <a:gd name="T34" fmla="*/ 49 w 176"/>
                      <a:gd name="T35" fmla="*/ 83 h 175"/>
                      <a:gd name="T36" fmla="*/ 30 w 176"/>
                      <a:gd name="T37" fmla="*/ 87 h 175"/>
                      <a:gd name="T38" fmla="*/ 44 w 176"/>
                      <a:gd name="T39" fmla="*/ 103 h 175"/>
                      <a:gd name="T40" fmla="*/ 51 w 176"/>
                      <a:gd name="T41" fmla="*/ 102 h 175"/>
                      <a:gd name="T42" fmla="*/ 51 w 176"/>
                      <a:gd name="T43" fmla="*/ 92 h 175"/>
                      <a:gd name="T44" fmla="*/ 45 w 176"/>
                      <a:gd name="T45" fmla="*/ 83 h 175"/>
                      <a:gd name="T46" fmla="*/ 46 w 176"/>
                      <a:gd name="T47" fmla="*/ 84 h 175"/>
                      <a:gd name="T48" fmla="*/ 44 w 176"/>
                      <a:gd name="T49" fmla="*/ 86 h 175"/>
                      <a:gd name="T50" fmla="*/ 45 w 176"/>
                      <a:gd name="T51" fmla="*/ 84 h 175"/>
                      <a:gd name="T52" fmla="*/ 48 w 176"/>
                      <a:gd name="T53" fmla="*/ 84 h 175"/>
                      <a:gd name="T54" fmla="*/ 45 w 176"/>
                      <a:gd name="T55" fmla="*/ 84 h 175"/>
                      <a:gd name="T56" fmla="*/ 46 w 176"/>
                      <a:gd name="T57" fmla="*/ 86 h 175"/>
                      <a:gd name="T58" fmla="*/ 45 w 176"/>
                      <a:gd name="T59" fmla="*/ 84 h 175"/>
                      <a:gd name="T60" fmla="*/ 118 w 176"/>
                      <a:gd name="T61" fmla="*/ 110 h 175"/>
                      <a:gd name="T62" fmla="*/ 95 w 176"/>
                      <a:gd name="T63" fmla="*/ 87 h 175"/>
                      <a:gd name="T64" fmla="*/ 123 w 176"/>
                      <a:gd name="T65" fmla="*/ 126 h 175"/>
                      <a:gd name="T66" fmla="*/ 103 w 176"/>
                      <a:gd name="T67" fmla="*/ 125 h 175"/>
                      <a:gd name="T68" fmla="*/ 95 w 176"/>
                      <a:gd name="T69" fmla="*/ 151 h 175"/>
                      <a:gd name="T70" fmla="*/ 118 w 176"/>
                      <a:gd name="T71" fmla="*/ 110 h 175"/>
                      <a:gd name="T72" fmla="*/ 110 w 176"/>
                      <a:gd name="T73" fmla="*/ 115 h 175"/>
                      <a:gd name="T74" fmla="*/ 105 w 176"/>
                      <a:gd name="T75" fmla="*/ 124 h 175"/>
                      <a:gd name="T76" fmla="*/ 107 w 176"/>
                      <a:gd name="T77" fmla="*/ 125 h 175"/>
                      <a:gd name="T78" fmla="*/ 112 w 176"/>
                      <a:gd name="T79" fmla="*/ 117 h 175"/>
                      <a:gd name="T80" fmla="*/ 108 w 176"/>
                      <a:gd name="T81" fmla="*/ 125 h 175"/>
                      <a:gd name="T82" fmla="*/ 107 w 176"/>
                      <a:gd name="T83" fmla="*/ 125 h 175"/>
                      <a:gd name="T84" fmla="*/ 112 w 176"/>
                      <a:gd name="T85" fmla="*/ 117 h 175"/>
                      <a:gd name="T86" fmla="*/ 107 w 176"/>
                      <a:gd name="T87" fmla="*/ 125 h 175"/>
                      <a:gd name="T88" fmla="*/ 105 w 176"/>
                      <a:gd name="T89" fmla="*/ 124 h 175"/>
                      <a:gd name="T90" fmla="*/ 92 w 176"/>
                      <a:gd name="T91" fmla="*/ 86 h 175"/>
                      <a:gd name="T92" fmla="*/ 86 w 176"/>
                      <a:gd name="T93" fmla="*/ 80 h 175"/>
                      <a:gd name="T94" fmla="*/ 82 w 176"/>
                      <a:gd name="T95" fmla="*/ 90 h 175"/>
                      <a:gd name="T96" fmla="*/ 80 w 176"/>
                      <a:gd name="T97" fmla="*/ 87 h 175"/>
                      <a:gd name="T98" fmla="*/ 95 w 176"/>
                      <a:gd name="T99" fmla="*/ 90 h 175"/>
                      <a:gd name="T100" fmla="*/ 86 w 176"/>
                      <a:gd name="T101" fmla="*/ 80 h 175"/>
                      <a:gd name="T102" fmla="*/ 80 w 176"/>
                      <a:gd name="T103" fmla="*/ 91 h 175"/>
                      <a:gd name="T104" fmla="*/ 95 w 176"/>
                      <a:gd name="T105" fmla="*/ 90 h 175"/>
                      <a:gd name="T106" fmla="*/ 24 w 176"/>
                      <a:gd name="T107" fmla="*/ 130 h 175"/>
                      <a:gd name="T108" fmla="*/ 29 w 176"/>
                      <a:gd name="T109" fmla="*/ 38 h 175"/>
                      <a:gd name="T110" fmla="*/ 117 w 176"/>
                      <a:gd name="T111" fmla="*/ 16 h 175"/>
                      <a:gd name="T112" fmla="*/ 164 w 176"/>
                      <a:gd name="T113" fmla="*/ 95 h 175"/>
                      <a:gd name="T114" fmla="*/ 95 w 176"/>
                      <a:gd name="T115" fmla="*/ 164 h 175"/>
                      <a:gd name="T116" fmla="*/ 156 w 176"/>
                      <a:gd name="T117" fmla="*/ 142 h 175"/>
                      <a:gd name="T118" fmla="*/ 161 w 176"/>
                      <a:gd name="T119" fmla="*/ 38 h 175"/>
                      <a:gd name="T120" fmla="*/ 62 w 176"/>
                      <a:gd name="T121" fmla="*/ 4 h 175"/>
                      <a:gd name="T122" fmla="*/ 0 w 176"/>
                      <a:gd name="T123" fmla="*/ 87 h 175"/>
                      <a:gd name="T124" fmla="*/ 70 w 176"/>
                      <a:gd name="T125" fmla="*/ 173 h 1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176" h="175">
                        <a:moveTo>
                          <a:pt x="92" y="48"/>
                        </a:moveTo>
                        <a:lnTo>
                          <a:pt x="92" y="50"/>
                        </a:lnTo>
                        <a:lnTo>
                          <a:pt x="92" y="50"/>
                        </a:lnTo>
                        <a:lnTo>
                          <a:pt x="86" y="50"/>
                        </a:lnTo>
                        <a:lnTo>
                          <a:pt x="80" y="51"/>
                        </a:lnTo>
                        <a:lnTo>
                          <a:pt x="77" y="55"/>
                        </a:lnTo>
                        <a:lnTo>
                          <a:pt x="74" y="61"/>
                        </a:lnTo>
                        <a:lnTo>
                          <a:pt x="74" y="61"/>
                        </a:lnTo>
                        <a:lnTo>
                          <a:pt x="74" y="67"/>
                        </a:lnTo>
                        <a:lnTo>
                          <a:pt x="77" y="72"/>
                        </a:lnTo>
                        <a:lnTo>
                          <a:pt x="77" y="72"/>
                        </a:lnTo>
                        <a:lnTo>
                          <a:pt x="80" y="76"/>
                        </a:lnTo>
                        <a:lnTo>
                          <a:pt x="86" y="78"/>
                        </a:lnTo>
                        <a:lnTo>
                          <a:pt x="86" y="78"/>
                        </a:lnTo>
                        <a:lnTo>
                          <a:pt x="84" y="80"/>
                        </a:lnTo>
                        <a:lnTo>
                          <a:pt x="84" y="80"/>
                        </a:lnTo>
                        <a:lnTo>
                          <a:pt x="78" y="76"/>
                        </a:lnTo>
                        <a:lnTo>
                          <a:pt x="74" y="72"/>
                        </a:lnTo>
                        <a:lnTo>
                          <a:pt x="73" y="67"/>
                        </a:lnTo>
                        <a:lnTo>
                          <a:pt x="73" y="61"/>
                        </a:lnTo>
                        <a:lnTo>
                          <a:pt x="73" y="61"/>
                        </a:lnTo>
                        <a:lnTo>
                          <a:pt x="76" y="55"/>
                        </a:lnTo>
                        <a:lnTo>
                          <a:pt x="80" y="50"/>
                        </a:lnTo>
                        <a:lnTo>
                          <a:pt x="86" y="47"/>
                        </a:lnTo>
                        <a:lnTo>
                          <a:pt x="92" y="47"/>
                        </a:lnTo>
                        <a:lnTo>
                          <a:pt x="92" y="48"/>
                        </a:lnTo>
                        <a:lnTo>
                          <a:pt x="92" y="48"/>
                        </a:lnTo>
                        <a:lnTo>
                          <a:pt x="92" y="48"/>
                        </a:lnTo>
                        <a:close/>
                        <a:moveTo>
                          <a:pt x="86" y="80"/>
                        </a:moveTo>
                        <a:lnTo>
                          <a:pt x="86" y="80"/>
                        </a:lnTo>
                        <a:lnTo>
                          <a:pt x="86" y="80"/>
                        </a:lnTo>
                        <a:lnTo>
                          <a:pt x="86" y="80"/>
                        </a:lnTo>
                        <a:lnTo>
                          <a:pt x="86" y="80"/>
                        </a:lnTo>
                        <a:lnTo>
                          <a:pt x="86" y="80"/>
                        </a:lnTo>
                        <a:lnTo>
                          <a:pt x="86" y="80"/>
                        </a:lnTo>
                        <a:lnTo>
                          <a:pt x="86" y="80"/>
                        </a:lnTo>
                        <a:close/>
                        <a:moveTo>
                          <a:pt x="101" y="53"/>
                        </a:moveTo>
                        <a:lnTo>
                          <a:pt x="101" y="53"/>
                        </a:lnTo>
                        <a:lnTo>
                          <a:pt x="98" y="51"/>
                        </a:lnTo>
                        <a:lnTo>
                          <a:pt x="97" y="50"/>
                        </a:lnTo>
                        <a:lnTo>
                          <a:pt x="92" y="48"/>
                        </a:lnTo>
                        <a:lnTo>
                          <a:pt x="92" y="50"/>
                        </a:lnTo>
                        <a:lnTo>
                          <a:pt x="92" y="50"/>
                        </a:lnTo>
                        <a:lnTo>
                          <a:pt x="92" y="50"/>
                        </a:lnTo>
                        <a:lnTo>
                          <a:pt x="92" y="50"/>
                        </a:lnTo>
                        <a:lnTo>
                          <a:pt x="92" y="50"/>
                        </a:lnTo>
                        <a:lnTo>
                          <a:pt x="92" y="55"/>
                        </a:lnTo>
                        <a:lnTo>
                          <a:pt x="93" y="59"/>
                        </a:lnTo>
                        <a:lnTo>
                          <a:pt x="98" y="63"/>
                        </a:lnTo>
                        <a:lnTo>
                          <a:pt x="103" y="65"/>
                        </a:lnTo>
                        <a:lnTo>
                          <a:pt x="108" y="67"/>
                        </a:lnTo>
                        <a:lnTo>
                          <a:pt x="108" y="67"/>
                        </a:lnTo>
                        <a:lnTo>
                          <a:pt x="109" y="55"/>
                        </a:lnTo>
                        <a:lnTo>
                          <a:pt x="101" y="53"/>
                        </a:lnTo>
                        <a:lnTo>
                          <a:pt x="101" y="53"/>
                        </a:lnTo>
                        <a:lnTo>
                          <a:pt x="101" y="53"/>
                        </a:lnTo>
                        <a:close/>
                        <a:moveTo>
                          <a:pt x="131" y="40"/>
                        </a:moveTo>
                        <a:lnTo>
                          <a:pt x="116" y="37"/>
                        </a:lnTo>
                        <a:lnTo>
                          <a:pt x="116" y="37"/>
                        </a:lnTo>
                        <a:lnTo>
                          <a:pt x="112" y="50"/>
                        </a:lnTo>
                        <a:lnTo>
                          <a:pt x="112" y="50"/>
                        </a:lnTo>
                        <a:lnTo>
                          <a:pt x="112" y="50"/>
                        </a:lnTo>
                        <a:lnTo>
                          <a:pt x="114" y="50"/>
                        </a:lnTo>
                        <a:lnTo>
                          <a:pt x="114" y="53"/>
                        </a:lnTo>
                        <a:lnTo>
                          <a:pt x="114" y="53"/>
                        </a:lnTo>
                        <a:lnTo>
                          <a:pt x="112" y="55"/>
                        </a:lnTo>
                        <a:lnTo>
                          <a:pt x="110" y="55"/>
                        </a:lnTo>
                        <a:lnTo>
                          <a:pt x="110" y="55"/>
                        </a:lnTo>
                        <a:lnTo>
                          <a:pt x="110" y="55"/>
                        </a:lnTo>
                        <a:lnTo>
                          <a:pt x="109" y="67"/>
                        </a:lnTo>
                        <a:lnTo>
                          <a:pt x="124" y="70"/>
                        </a:lnTo>
                        <a:lnTo>
                          <a:pt x="124" y="70"/>
                        </a:lnTo>
                        <a:lnTo>
                          <a:pt x="130" y="71"/>
                        </a:lnTo>
                        <a:lnTo>
                          <a:pt x="135" y="68"/>
                        </a:lnTo>
                        <a:lnTo>
                          <a:pt x="138" y="65"/>
                        </a:lnTo>
                        <a:lnTo>
                          <a:pt x="141" y="59"/>
                        </a:lnTo>
                        <a:lnTo>
                          <a:pt x="142" y="59"/>
                        </a:lnTo>
                        <a:lnTo>
                          <a:pt x="142" y="59"/>
                        </a:lnTo>
                        <a:lnTo>
                          <a:pt x="142" y="53"/>
                        </a:lnTo>
                        <a:lnTo>
                          <a:pt x="140" y="48"/>
                        </a:lnTo>
                        <a:lnTo>
                          <a:pt x="136" y="43"/>
                        </a:lnTo>
                        <a:lnTo>
                          <a:pt x="131" y="40"/>
                        </a:lnTo>
                        <a:lnTo>
                          <a:pt x="131" y="40"/>
                        </a:lnTo>
                        <a:lnTo>
                          <a:pt x="131" y="40"/>
                        </a:lnTo>
                        <a:close/>
                        <a:moveTo>
                          <a:pt x="92" y="47"/>
                        </a:moveTo>
                        <a:lnTo>
                          <a:pt x="98" y="48"/>
                        </a:lnTo>
                        <a:lnTo>
                          <a:pt x="98" y="48"/>
                        </a:lnTo>
                        <a:lnTo>
                          <a:pt x="99" y="47"/>
                        </a:lnTo>
                        <a:lnTo>
                          <a:pt x="102" y="47"/>
                        </a:lnTo>
                        <a:lnTo>
                          <a:pt x="111" y="50"/>
                        </a:lnTo>
                        <a:lnTo>
                          <a:pt x="111" y="50"/>
                        </a:lnTo>
                        <a:lnTo>
                          <a:pt x="114" y="37"/>
                        </a:lnTo>
                        <a:lnTo>
                          <a:pt x="110" y="36"/>
                        </a:lnTo>
                        <a:lnTo>
                          <a:pt x="110" y="36"/>
                        </a:lnTo>
                        <a:lnTo>
                          <a:pt x="105" y="36"/>
                        </a:lnTo>
                        <a:lnTo>
                          <a:pt x="99" y="38"/>
                        </a:lnTo>
                        <a:lnTo>
                          <a:pt x="95" y="42"/>
                        </a:lnTo>
                        <a:lnTo>
                          <a:pt x="92" y="47"/>
                        </a:lnTo>
                        <a:lnTo>
                          <a:pt x="92" y="48"/>
                        </a:lnTo>
                        <a:lnTo>
                          <a:pt x="92" y="48"/>
                        </a:lnTo>
                        <a:lnTo>
                          <a:pt x="92" y="47"/>
                        </a:lnTo>
                        <a:lnTo>
                          <a:pt x="92" y="47"/>
                        </a:lnTo>
                        <a:lnTo>
                          <a:pt x="92" y="47"/>
                        </a:lnTo>
                        <a:close/>
                        <a:moveTo>
                          <a:pt x="92" y="48"/>
                        </a:moveTo>
                        <a:lnTo>
                          <a:pt x="92" y="48"/>
                        </a:lnTo>
                        <a:lnTo>
                          <a:pt x="92" y="48"/>
                        </a:lnTo>
                        <a:lnTo>
                          <a:pt x="92" y="48"/>
                        </a:lnTo>
                        <a:lnTo>
                          <a:pt x="92" y="50"/>
                        </a:lnTo>
                        <a:lnTo>
                          <a:pt x="92" y="50"/>
                        </a:lnTo>
                        <a:lnTo>
                          <a:pt x="92" y="50"/>
                        </a:lnTo>
                        <a:lnTo>
                          <a:pt x="92" y="48"/>
                        </a:lnTo>
                        <a:lnTo>
                          <a:pt x="92" y="48"/>
                        </a:lnTo>
                        <a:lnTo>
                          <a:pt x="92" y="48"/>
                        </a:lnTo>
                        <a:close/>
                        <a:moveTo>
                          <a:pt x="103" y="48"/>
                        </a:moveTo>
                        <a:lnTo>
                          <a:pt x="103" y="48"/>
                        </a:lnTo>
                        <a:lnTo>
                          <a:pt x="102" y="48"/>
                        </a:lnTo>
                        <a:lnTo>
                          <a:pt x="101" y="50"/>
                        </a:lnTo>
                        <a:lnTo>
                          <a:pt x="110" y="51"/>
                        </a:lnTo>
                        <a:lnTo>
                          <a:pt x="110" y="51"/>
                        </a:lnTo>
                        <a:lnTo>
                          <a:pt x="110" y="50"/>
                        </a:lnTo>
                        <a:lnTo>
                          <a:pt x="110" y="50"/>
                        </a:lnTo>
                        <a:lnTo>
                          <a:pt x="110" y="50"/>
                        </a:lnTo>
                        <a:lnTo>
                          <a:pt x="103" y="48"/>
                        </a:lnTo>
                        <a:lnTo>
                          <a:pt x="103" y="48"/>
                        </a:lnTo>
                        <a:lnTo>
                          <a:pt x="103" y="48"/>
                        </a:lnTo>
                        <a:close/>
                        <a:moveTo>
                          <a:pt x="101" y="50"/>
                        </a:moveTo>
                        <a:lnTo>
                          <a:pt x="101" y="50"/>
                        </a:lnTo>
                        <a:lnTo>
                          <a:pt x="102" y="51"/>
                        </a:lnTo>
                        <a:lnTo>
                          <a:pt x="103" y="53"/>
                        </a:lnTo>
                        <a:lnTo>
                          <a:pt x="109" y="53"/>
                        </a:lnTo>
                        <a:lnTo>
                          <a:pt x="109" y="53"/>
                        </a:lnTo>
                        <a:lnTo>
                          <a:pt x="110" y="53"/>
                        </a:lnTo>
                        <a:lnTo>
                          <a:pt x="110" y="53"/>
                        </a:lnTo>
                        <a:lnTo>
                          <a:pt x="110" y="53"/>
                        </a:lnTo>
                        <a:lnTo>
                          <a:pt x="101" y="50"/>
                        </a:lnTo>
                        <a:lnTo>
                          <a:pt x="101" y="50"/>
                        </a:lnTo>
                        <a:lnTo>
                          <a:pt x="101" y="50"/>
                        </a:lnTo>
                        <a:close/>
                        <a:moveTo>
                          <a:pt x="111" y="53"/>
                        </a:move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close/>
                        <a:moveTo>
                          <a:pt x="111" y="51"/>
                        </a:moveTo>
                        <a:lnTo>
                          <a:pt x="111" y="51"/>
                        </a:lnTo>
                        <a:lnTo>
                          <a:pt x="111" y="51"/>
                        </a:lnTo>
                        <a:lnTo>
                          <a:pt x="111" y="51"/>
                        </a:lnTo>
                        <a:lnTo>
                          <a:pt x="111" y="51"/>
                        </a:lnTo>
                        <a:lnTo>
                          <a:pt x="111" y="51"/>
                        </a:lnTo>
                        <a:lnTo>
                          <a:pt x="111" y="51"/>
                        </a:lnTo>
                        <a:lnTo>
                          <a:pt x="111" y="51"/>
                        </a:lnTo>
                        <a:close/>
                        <a:moveTo>
                          <a:pt x="111" y="51"/>
                        </a:moveTo>
                        <a:lnTo>
                          <a:pt x="111" y="51"/>
                        </a:lnTo>
                        <a:lnTo>
                          <a:pt x="111" y="51"/>
                        </a:lnTo>
                        <a:lnTo>
                          <a:pt x="111" y="51"/>
                        </a:lnTo>
                        <a:lnTo>
                          <a:pt x="110" y="50"/>
                        </a:lnTo>
                        <a:lnTo>
                          <a:pt x="110" y="50"/>
                        </a:lnTo>
                        <a:lnTo>
                          <a:pt x="110" y="51"/>
                        </a:lnTo>
                        <a:lnTo>
                          <a:pt x="111" y="51"/>
                        </a:lnTo>
                        <a:lnTo>
                          <a:pt x="111" y="51"/>
                        </a:lnTo>
                        <a:lnTo>
                          <a:pt x="111" y="51"/>
                        </a:lnTo>
                        <a:close/>
                        <a:moveTo>
                          <a:pt x="110" y="53"/>
                        </a:moveTo>
                        <a:lnTo>
                          <a:pt x="110" y="53"/>
                        </a:lnTo>
                        <a:lnTo>
                          <a:pt x="110" y="53"/>
                        </a:lnTo>
                        <a:lnTo>
                          <a:pt x="110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0" y="53"/>
                        </a:lnTo>
                        <a:lnTo>
                          <a:pt x="110" y="53"/>
                        </a:lnTo>
                        <a:lnTo>
                          <a:pt x="110" y="53"/>
                        </a:lnTo>
                        <a:close/>
                        <a:moveTo>
                          <a:pt x="110" y="51"/>
                        </a:moveTo>
                        <a:lnTo>
                          <a:pt x="110" y="51"/>
                        </a:lnTo>
                        <a:lnTo>
                          <a:pt x="110" y="51"/>
                        </a:lnTo>
                        <a:lnTo>
                          <a:pt x="101" y="50"/>
                        </a:lnTo>
                        <a:lnTo>
                          <a:pt x="101" y="50"/>
                        </a:lnTo>
                        <a:lnTo>
                          <a:pt x="101" y="50"/>
                        </a:lnTo>
                        <a:lnTo>
                          <a:pt x="101" y="50"/>
                        </a:lnTo>
                        <a:lnTo>
                          <a:pt x="101" y="50"/>
                        </a:lnTo>
                        <a:lnTo>
                          <a:pt x="110" y="53"/>
                        </a:lnTo>
                        <a:lnTo>
                          <a:pt x="110" y="53"/>
                        </a:lnTo>
                        <a:lnTo>
                          <a:pt x="110" y="51"/>
                        </a:lnTo>
                        <a:lnTo>
                          <a:pt x="110" y="51"/>
                        </a:lnTo>
                        <a:lnTo>
                          <a:pt x="110" y="51"/>
                        </a:lnTo>
                        <a:close/>
                        <a:moveTo>
                          <a:pt x="111" y="53"/>
                        </a:move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1"/>
                        </a:lnTo>
                        <a:lnTo>
                          <a:pt x="111" y="51"/>
                        </a:lnTo>
                        <a:lnTo>
                          <a:pt x="111" y="51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close/>
                        <a:moveTo>
                          <a:pt x="110" y="53"/>
                        </a:move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3"/>
                        </a:lnTo>
                        <a:lnTo>
                          <a:pt x="111" y="51"/>
                        </a:lnTo>
                        <a:lnTo>
                          <a:pt x="110" y="51"/>
                        </a:lnTo>
                        <a:lnTo>
                          <a:pt x="110" y="51"/>
                        </a:lnTo>
                        <a:lnTo>
                          <a:pt x="110" y="51"/>
                        </a:lnTo>
                        <a:lnTo>
                          <a:pt x="110" y="51"/>
                        </a:lnTo>
                        <a:lnTo>
                          <a:pt x="110" y="53"/>
                        </a:lnTo>
                        <a:lnTo>
                          <a:pt x="110" y="53"/>
                        </a:lnTo>
                        <a:lnTo>
                          <a:pt x="110" y="53"/>
                        </a:lnTo>
                        <a:close/>
                        <a:moveTo>
                          <a:pt x="80" y="91"/>
                        </a:moveTo>
                        <a:lnTo>
                          <a:pt x="80" y="91"/>
                        </a:lnTo>
                        <a:lnTo>
                          <a:pt x="82" y="97"/>
                        </a:lnTo>
                        <a:lnTo>
                          <a:pt x="80" y="103"/>
                        </a:lnTo>
                        <a:lnTo>
                          <a:pt x="76" y="108"/>
                        </a:lnTo>
                        <a:lnTo>
                          <a:pt x="71" y="111"/>
                        </a:lnTo>
                        <a:lnTo>
                          <a:pt x="71" y="111"/>
                        </a:lnTo>
                        <a:lnTo>
                          <a:pt x="65" y="112"/>
                        </a:lnTo>
                        <a:lnTo>
                          <a:pt x="59" y="110"/>
                        </a:lnTo>
                        <a:lnTo>
                          <a:pt x="55" y="106"/>
                        </a:lnTo>
                        <a:lnTo>
                          <a:pt x="51" y="102"/>
                        </a:lnTo>
                        <a:lnTo>
                          <a:pt x="51" y="102"/>
                        </a:lnTo>
                        <a:lnTo>
                          <a:pt x="51" y="102"/>
                        </a:lnTo>
                        <a:lnTo>
                          <a:pt x="50" y="102"/>
                        </a:lnTo>
                        <a:lnTo>
                          <a:pt x="50" y="102"/>
                        </a:lnTo>
                        <a:lnTo>
                          <a:pt x="54" y="108"/>
                        </a:lnTo>
                        <a:lnTo>
                          <a:pt x="59" y="112"/>
                        </a:lnTo>
                        <a:lnTo>
                          <a:pt x="65" y="114"/>
                        </a:lnTo>
                        <a:lnTo>
                          <a:pt x="73" y="112"/>
                        </a:lnTo>
                        <a:lnTo>
                          <a:pt x="73" y="112"/>
                        </a:lnTo>
                        <a:lnTo>
                          <a:pt x="74" y="111"/>
                        </a:lnTo>
                        <a:lnTo>
                          <a:pt x="74" y="111"/>
                        </a:lnTo>
                        <a:lnTo>
                          <a:pt x="80" y="108"/>
                        </a:lnTo>
                        <a:lnTo>
                          <a:pt x="82" y="103"/>
                        </a:lnTo>
                        <a:lnTo>
                          <a:pt x="83" y="99"/>
                        </a:lnTo>
                        <a:lnTo>
                          <a:pt x="83" y="93"/>
                        </a:lnTo>
                        <a:lnTo>
                          <a:pt x="83" y="93"/>
                        </a:lnTo>
                        <a:lnTo>
                          <a:pt x="80" y="91"/>
                        </a:lnTo>
                        <a:lnTo>
                          <a:pt x="80" y="91"/>
                        </a:lnTo>
                        <a:lnTo>
                          <a:pt x="80" y="91"/>
                        </a:lnTo>
                        <a:lnTo>
                          <a:pt x="80" y="91"/>
                        </a:lnTo>
                        <a:close/>
                        <a:moveTo>
                          <a:pt x="41" y="84"/>
                        </a:moveTo>
                        <a:lnTo>
                          <a:pt x="41" y="84"/>
                        </a:lnTo>
                        <a:lnTo>
                          <a:pt x="43" y="82"/>
                        </a:lnTo>
                        <a:lnTo>
                          <a:pt x="44" y="80"/>
                        </a:lnTo>
                        <a:lnTo>
                          <a:pt x="44" y="80"/>
                        </a:lnTo>
                        <a:lnTo>
                          <a:pt x="46" y="80"/>
                        </a:lnTo>
                        <a:lnTo>
                          <a:pt x="49" y="83"/>
                        </a:lnTo>
                        <a:lnTo>
                          <a:pt x="49" y="83"/>
                        </a:lnTo>
                        <a:lnTo>
                          <a:pt x="49" y="83"/>
                        </a:lnTo>
                        <a:lnTo>
                          <a:pt x="59" y="78"/>
                        </a:lnTo>
                        <a:lnTo>
                          <a:pt x="55" y="63"/>
                        </a:lnTo>
                        <a:lnTo>
                          <a:pt x="55" y="63"/>
                        </a:lnTo>
                        <a:lnTo>
                          <a:pt x="53" y="59"/>
                        </a:lnTo>
                        <a:lnTo>
                          <a:pt x="49" y="55"/>
                        </a:lnTo>
                        <a:lnTo>
                          <a:pt x="43" y="53"/>
                        </a:lnTo>
                        <a:lnTo>
                          <a:pt x="37" y="53"/>
                        </a:lnTo>
                        <a:lnTo>
                          <a:pt x="36" y="55"/>
                        </a:lnTo>
                        <a:lnTo>
                          <a:pt x="36" y="55"/>
                        </a:lnTo>
                        <a:lnTo>
                          <a:pt x="30" y="57"/>
                        </a:lnTo>
                        <a:lnTo>
                          <a:pt x="26" y="62"/>
                        </a:lnTo>
                        <a:lnTo>
                          <a:pt x="25" y="67"/>
                        </a:lnTo>
                        <a:lnTo>
                          <a:pt x="26" y="72"/>
                        </a:lnTo>
                        <a:lnTo>
                          <a:pt x="30" y="87"/>
                        </a:lnTo>
                        <a:lnTo>
                          <a:pt x="30" y="87"/>
                        </a:lnTo>
                        <a:lnTo>
                          <a:pt x="41" y="84"/>
                        </a:lnTo>
                        <a:lnTo>
                          <a:pt x="41" y="84"/>
                        </a:lnTo>
                        <a:lnTo>
                          <a:pt x="41" y="84"/>
                        </a:lnTo>
                        <a:lnTo>
                          <a:pt x="41" y="84"/>
                        </a:lnTo>
                        <a:close/>
                        <a:moveTo>
                          <a:pt x="45" y="95"/>
                        </a:moveTo>
                        <a:lnTo>
                          <a:pt x="43" y="86"/>
                        </a:lnTo>
                        <a:lnTo>
                          <a:pt x="43" y="86"/>
                        </a:lnTo>
                        <a:lnTo>
                          <a:pt x="31" y="89"/>
                        </a:lnTo>
                        <a:lnTo>
                          <a:pt x="32" y="92"/>
                        </a:lnTo>
                        <a:lnTo>
                          <a:pt x="32" y="92"/>
                        </a:lnTo>
                        <a:lnTo>
                          <a:pt x="35" y="99"/>
                        </a:lnTo>
                        <a:lnTo>
                          <a:pt x="39" y="101"/>
                        </a:lnTo>
                        <a:lnTo>
                          <a:pt x="44" y="103"/>
                        </a:lnTo>
                        <a:lnTo>
                          <a:pt x="50" y="102"/>
                        </a:lnTo>
                        <a:lnTo>
                          <a:pt x="50" y="102"/>
                        </a:lnTo>
                        <a:lnTo>
                          <a:pt x="49" y="97"/>
                        </a:lnTo>
                        <a:lnTo>
                          <a:pt x="49" y="97"/>
                        </a:lnTo>
                        <a:lnTo>
                          <a:pt x="46" y="96"/>
                        </a:lnTo>
                        <a:lnTo>
                          <a:pt x="45" y="95"/>
                        </a:lnTo>
                        <a:lnTo>
                          <a:pt x="45" y="95"/>
                        </a:lnTo>
                        <a:lnTo>
                          <a:pt x="45" y="95"/>
                        </a:lnTo>
                        <a:close/>
                        <a:moveTo>
                          <a:pt x="51" y="92"/>
                        </a:moveTo>
                        <a:lnTo>
                          <a:pt x="51" y="92"/>
                        </a:lnTo>
                        <a:lnTo>
                          <a:pt x="51" y="95"/>
                        </a:lnTo>
                        <a:lnTo>
                          <a:pt x="50" y="97"/>
                        </a:lnTo>
                        <a:lnTo>
                          <a:pt x="51" y="102"/>
                        </a:lnTo>
                        <a:lnTo>
                          <a:pt x="51" y="102"/>
                        </a:lnTo>
                        <a:lnTo>
                          <a:pt x="51" y="102"/>
                        </a:lnTo>
                        <a:lnTo>
                          <a:pt x="51" y="102"/>
                        </a:lnTo>
                        <a:lnTo>
                          <a:pt x="53" y="102"/>
                        </a:lnTo>
                        <a:lnTo>
                          <a:pt x="53" y="102"/>
                        </a:lnTo>
                        <a:lnTo>
                          <a:pt x="57" y="99"/>
                        </a:lnTo>
                        <a:lnTo>
                          <a:pt x="61" y="95"/>
                        </a:lnTo>
                        <a:lnTo>
                          <a:pt x="62" y="90"/>
                        </a:lnTo>
                        <a:lnTo>
                          <a:pt x="62" y="84"/>
                        </a:lnTo>
                        <a:lnTo>
                          <a:pt x="61" y="80"/>
                        </a:lnTo>
                        <a:lnTo>
                          <a:pt x="61" y="80"/>
                        </a:lnTo>
                        <a:lnTo>
                          <a:pt x="49" y="84"/>
                        </a:lnTo>
                        <a:lnTo>
                          <a:pt x="51" y="92"/>
                        </a:lnTo>
                        <a:lnTo>
                          <a:pt x="51" y="92"/>
                        </a:lnTo>
                        <a:lnTo>
                          <a:pt x="51" y="92"/>
                        </a:lnTo>
                        <a:close/>
                        <a:moveTo>
                          <a:pt x="51" y="102"/>
                        </a:moveTo>
                        <a:lnTo>
                          <a:pt x="51" y="102"/>
                        </a:lnTo>
                        <a:lnTo>
                          <a:pt x="51" y="102"/>
                        </a:lnTo>
                        <a:lnTo>
                          <a:pt x="51" y="102"/>
                        </a:lnTo>
                        <a:lnTo>
                          <a:pt x="51" y="102"/>
                        </a:lnTo>
                        <a:lnTo>
                          <a:pt x="51" y="102"/>
                        </a:lnTo>
                        <a:lnTo>
                          <a:pt x="51" y="102"/>
                        </a:lnTo>
                        <a:lnTo>
                          <a:pt x="51" y="102"/>
                        </a:lnTo>
                        <a:close/>
                        <a:moveTo>
                          <a:pt x="45" y="83"/>
                        </a:moveTo>
                        <a:lnTo>
                          <a:pt x="45" y="83"/>
                        </a:lnTo>
                        <a:lnTo>
                          <a:pt x="45" y="83"/>
                        </a:lnTo>
                        <a:lnTo>
                          <a:pt x="45" y="83"/>
                        </a:lnTo>
                        <a:lnTo>
                          <a:pt x="45" y="83"/>
                        </a:lnTo>
                        <a:lnTo>
                          <a:pt x="45" y="83"/>
                        </a:lnTo>
                        <a:lnTo>
                          <a:pt x="45" y="83"/>
                        </a:lnTo>
                        <a:close/>
                        <a:moveTo>
                          <a:pt x="45" y="84"/>
                        </a:moveTo>
                        <a:lnTo>
                          <a:pt x="45" y="84"/>
                        </a:lnTo>
                        <a:lnTo>
                          <a:pt x="44" y="84"/>
                        </a:lnTo>
                        <a:lnTo>
                          <a:pt x="44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close/>
                        <a:moveTo>
                          <a:pt x="46" y="83"/>
                        </a:moveTo>
                        <a:lnTo>
                          <a:pt x="46" y="83"/>
                        </a:lnTo>
                        <a:lnTo>
                          <a:pt x="45" y="83"/>
                        </a:lnTo>
                        <a:lnTo>
                          <a:pt x="46" y="84"/>
                        </a:lnTo>
                        <a:lnTo>
                          <a:pt x="46" y="84"/>
                        </a:lnTo>
                        <a:lnTo>
                          <a:pt x="46" y="83"/>
                        </a:lnTo>
                        <a:lnTo>
                          <a:pt x="46" y="83"/>
                        </a:lnTo>
                        <a:lnTo>
                          <a:pt x="46" y="83"/>
                        </a:lnTo>
                        <a:close/>
                        <a:moveTo>
                          <a:pt x="44" y="86"/>
                        </a:moveTo>
                        <a:lnTo>
                          <a:pt x="44" y="86"/>
                        </a:lnTo>
                        <a:lnTo>
                          <a:pt x="44" y="86"/>
                        </a:lnTo>
                        <a:lnTo>
                          <a:pt x="45" y="92"/>
                        </a:lnTo>
                        <a:lnTo>
                          <a:pt x="45" y="92"/>
                        </a:lnTo>
                        <a:lnTo>
                          <a:pt x="46" y="93"/>
                        </a:lnTo>
                        <a:lnTo>
                          <a:pt x="48" y="93"/>
                        </a:lnTo>
                        <a:lnTo>
                          <a:pt x="45" y="86"/>
                        </a:lnTo>
                        <a:lnTo>
                          <a:pt x="45" y="86"/>
                        </a:lnTo>
                        <a:lnTo>
                          <a:pt x="44" y="86"/>
                        </a:lnTo>
                        <a:lnTo>
                          <a:pt x="44" y="86"/>
                        </a:lnTo>
                        <a:lnTo>
                          <a:pt x="44" y="86"/>
                        </a:lnTo>
                        <a:close/>
                        <a:moveTo>
                          <a:pt x="49" y="93"/>
                        </a:moveTo>
                        <a:lnTo>
                          <a:pt x="49" y="93"/>
                        </a:lnTo>
                        <a:lnTo>
                          <a:pt x="50" y="92"/>
                        </a:lnTo>
                        <a:lnTo>
                          <a:pt x="50" y="91"/>
                        </a:lnTo>
                        <a:lnTo>
                          <a:pt x="48" y="86"/>
                        </a:lnTo>
                        <a:lnTo>
                          <a:pt x="48" y="86"/>
                        </a:lnTo>
                        <a:lnTo>
                          <a:pt x="48" y="84"/>
                        </a:lnTo>
                        <a:lnTo>
                          <a:pt x="48" y="84"/>
                        </a:lnTo>
                        <a:lnTo>
                          <a:pt x="46" y="86"/>
                        </a:lnTo>
                        <a:lnTo>
                          <a:pt x="49" y="93"/>
                        </a:lnTo>
                        <a:lnTo>
                          <a:pt x="49" y="93"/>
                        </a:lnTo>
                        <a:lnTo>
                          <a:pt x="49" y="93"/>
                        </a:lnTo>
                        <a:close/>
                        <a:moveTo>
                          <a:pt x="45" y="84"/>
                        </a:moveTo>
                        <a:lnTo>
                          <a:pt x="45" y="84"/>
                        </a:lnTo>
                        <a:lnTo>
                          <a:pt x="44" y="84"/>
                        </a:lnTo>
                        <a:lnTo>
                          <a:pt x="44" y="84"/>
                        </a:lnTo>
                        <a:lnTo>
                          <a:pt x="44" y="86"/>
                        </a:lnTo>
                        <a:lnTo>
                          <a:pt x="44" y="86"/>
                        </a:lnTo>
                        <a:lnTo>
                          <a:pt x="45" y="86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close/>
                        <a:moveTo>
                          <a:pt x="46" y="84"/>
                        </a:moveTo>
                        <a:lnTo>
                          <a:pt x="46" y="86"/>
                        </a:lnTo>
                        <a:lnTo>
                          <a:pt x="46" y="86"/>
                        </a:lnTo>
                        <a:lnTo>
                          <a:pt x="48" y="84"/>
                        </a:lnTo>
                        <a:lnTo>
                          <a:pt x="48" y="84"/>
                        </a:lnTo>
                        <a:lnTo>
                          <a:pt x="46" y="83"/>
                        </a:lnTo>
                        <a:lnTo>
                          <a:pt x="46" y="83"/>
                        </a:lnTo>
                        <a:lnTo>
                          <a:pt x="46" y="84"/>
                        </a:lnTo>
                        <a:lnTo>
                          <a:pt x="46" y="84"/>
                        </a:lnTo>
                        <a:lnTo>
                          <a:pt x="46" y="84"/>
                        </a:lnTo>
                        <a:close/>
                        <a:moveTo>
                          <a:pt x="45" y="84"/>
                        </a:moveTo>
                        <a:lnTo>
                          <a:pt x="45" y="84"/>
                        </a:lnTo>
                        <a:lnTo>
                          <a:pt x="46" y="84"/>
                        </a:lnTo>
                        <a:lnTo>
                          <a:pt x="45" y="83"/>
                        </a:lnTo>
                        <a:lnTo>
                          <a:pt x="45" y="83"/>
                        </a:lnTo>
                        <a:lnTo>
                          <a:pt x="45" y="83"/>
                        </a:lnTo>
                        <a:lnTo>
                          <a:pt x="45" y="83"/>
                        </a:lnTo>
                        <a:lnTo>
                          <a:pt x="45" y="83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close/>
                        <a:moveTo>
                          <a:pt x="45" y="86"/>
                        </a:moveTo>
                        <a:lnTo>
                          <a:pt x="45" y="86"/>
                        </a:lnTo>
                        <a:lnTo>
                          <a:pt x="45" y="86"/>
                        </a:lnTo>
                        <a:lnTo>
                          <a:pt x="48" y="93"/>
                        </a:lnTo>
                        <a:lnTo>
                          <a:pt x="48" y="93"/>
                        </a:lnTo>
                        <a:lnTo>
                          <a:pt x="49" y="93"/>
                        </a:lnTo>
                        <a:lnTo>
                          <a:pt x="49" y="93"/>
                        </a:lnTo>
                        <a:lnTo>
                          <a:pt x="49" y="93"/>
                        </a:lnTo>
                        <a:lnTo>
                          <a:pt x="46" y="86"/>
                        </a:lnTo>
                        <a:lnTo>
                          <a:pt x="46" y="86"/>
                        </a:lnTo>
                        <a:lnTo>
                          <a:pt x="45" y="86"/>
                        </a:lnTo>
                        <a:lnTo>
                          <a:pt x="45" y="86"/>
                        </a:lnTo>
                        <a:lnTo>
                          <a:pt x="45" y="86"/>
                        </a:lnTo>
                        <a:close/>
                        <a:moveTo>
                          <a:pt x="45" y="84"/>
                        </a:moveTo>
                        <a:lnTo>
                          <a:pt x="45" y="86"/>
                        </a:lnTo>
                        <a:lnTo>
                          <a:pt x="45" y="86"/>
                        </a:lnTo>
                        <a:lnTo>
                          <a:pt x="45" y="86"/>
                        </a:lnTo>
                        <a:lnTo>
                          <a:pt x="45" y="86"/>
                        </a:lnTo>
                        <a:lnTo>
                          <a:pt x="46" y="86"/>
                        </a:lnTo>
                        <a:lnTo>
                          <a:pt x="46" y="84"/>
                        </a:lnTo>
                        <a:lnTo>
                          <a:pt x="46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lnTo>
                          <a:pt x="45" y="84"/>
                        </a:lnTo>
                        <a:close/>
                        <a:moveTo>
                          <a:pt x="95" y="90"/>
                        </a:moveTo>
                        <a:lnTo>
                          <a:pt x="95" y="90"/>
                        </a:lnTo>
                        <a:lnTo>
                          <a:pt x="99" y="86"/>
                        </a:lnTo>
                        <a:lnTo>
                          <a:pt x="105" y="86"/>
                        </a:lnTo>
                        <a:lnTo>
                          <a:pt x="111" y="86"/>
                        </a:lnTo>
                        <a:lnTo>
                          <a:pt x="117" y="89"/>
                        </a:lnTo>
                        <a:lnTo>
                          <a:pt x="117" y="89"/>
                        </a:lnTo>
                        <a:lnTo>
                          <a:pt x="120" y="93"/>
                        </a:lnTo>
                        <a:lnTo>
                          <a:pt x="122" y="99"/>
                        </a:lnTo>
                        <a:lnTo>
                          <a:pt x="122" y="105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8" y="111"/>
                        </a:lnTo>
                        <a:lnTo>
                          <a:pt x="120" y="111"/>
                        </a:lnTo>
                        <a:lnTo>
                          <a:pt x="120" y="111"/>
                        </a:lnTo>
                        <a:lnTo>
                          <a:pt x="123" y="105"/>
                        </a:lnTo>
                        <a:lnTo>
                          <a:pt x="123" y="99"/>
                        </a:lnTo>
                        <a:lnTo>
                          <a:pt x="122" y="92"/>
                        </a:lnTo>
                        <a:lnTo>
                          <a:pt x="117" y="87"/>
                        </a:lnTo>
                        <a:lnTo>
                          <a:pt x="117" y="87"/>
                        </a:lnTo>
                        <a:lnTo>
                          <a:pt x="112" y="84"/>
                        </a:lnTo>
                        <a:lnTo>
                          <a:pt x="107" y="83"/>
                        </a:lnTo>
                        <a:lnTo>
                          <a:pt x="101" y="84"/>
                        </a:lnTo>
                        <a:lnTo>
                          <a:pt x="95" y="87"/>
                        </a:lnTo>
                        <a:lnTo>
                          <a:pt x="95" y="87"/>
                        </a:lnTo>
                        <a:lnTo>
                          <a:pt x="95" y="90"/>
                        </a:lnTo>
                        <a:lnTo>
                          <a:pt x="95" y="90"/>
                        </a:lnTo>
                        <a:lnTo>
                          <a:pt x="95" y="90"/>
                        </a:lnTo>
                        <a:close/>
                        <a:moveTo>
                          <a:pt x="116" y="115"/>
                        </a:moveTo>
                        <a:lnTo>
                          <a:pt x="116" y="115"/>
                        </a:lnTo>
                        <a:lnTo>
                          <a:pt x="116" y="117"/>
                        </a:lnTo>
                        <a:lnTo>
                          <a:pt x="114" y="120"/>
                        </a:lnTo>
                        <a:lnTo>
                          <a:pt x="109" y="126"/>
                        </a:lnTo>
                        <a:lnTo>
                          <a:pt x="109" y="126"/>
                        </a:lnTo>
                        <a:lnTo>
                          <a:pt x="117" y="135"/>
                        </a:lnTo>
                        <a:lnTo>
                          <a:pt x="120" y="131"/>
                        </a:lnTo>
                        <a:lnTo>
                          <a:pt x="120" y="131"/>
                        </a:lnTo>
                        <a:lnTo>
                          <a:pt x="123" y="126"/>
                        </a:lnTo>
                        <a:lnTo>
                          <a:pt x="124" y="122"/>
                        </a:lnTo>
                        <a:lnTo>
                          <a:pt x="123" y="116"/>
                        </a:lnTo>
                        <a:lnTo>
                          <a:pt x="120" y="111"/>
                        </a:lnTo>
                        <a:lnTo>
                          <a:pt x="120" y="111"/>
                        </a:lnTo>
                        <a:lnTo>
                          <a:pt x="120" y="111"/>
                        </a:lnTo>
                        <a:lnTo>
                          <a:pt x="116" y="115"/>
                        </a:lnTo>
                        <a:lnTo>
                          <a:pt x="116" y="115"/>
                        </a:lnTo>
                        <a:lnTo>
                          <a:pt x="116" y="115"/>
                        </a:lnTo>
                        <a:close/>
                        <a:moveTo>
                          <a:pt x="108" y="126"/>
                        </a:moveTo>
                        <a:lnTo>
                          <a:pt x="108" y="126"/>
                        </a:lnTo>
                        <a:lnTo>
                          <a:pt x="105" y="127"/>
                        </a:lnTo>
                        <a:lnTo>
                          <a:pt x="103" y="127"/>
                        </a:lnTo>
                        <a:lnTo>
                          <a:pt x="103" y="127"/>
                        </a:lnTo>
                        <a:lnTo>
                          <a:pt x="103" y="125"/>
                        </a:lnTo>
                        <a:lnTo>
                          <a:pt x="103" y="123"/>
                        </a:lnTo>
                        <a:lnTo>
                          <a:pt x="103" y="123"/>
                        </a:lnTo>
                        <a:lnTo>
                          <a:pt x="103" y="123"/>
                        </a:lnTo>
                        <a:lnTo>
                          <a:pt x="93" y="115"/>
                        </a:lnTo>
                        <a:lnTo>
                          <a:pt x="83" y="126"/>
                        </a:lnTo>
                        <a:lnTo>
                          <a:pt x="83" y="126"/>
                        </a:lnTo>
                        <a:lnTo>
                          <a:pt x="80" y="131"/>
                        </a:lnTo>
                        <a:lnTo>
                          <a:pt x="80" y="137"/>
                        </a:lnTo>
                        <a:lnTo>
                          <a:pt x="80" y="141"/>
                        </a:lnTo>
                        <a:lnTo>
                          <a:pt x="84" y="146"/>
                        </a:lnTo>
                        <a:lnTo>
                          <a:pt x="86" y="148"/>
                        </a:lnTo>
                        <a:lnTo>
                          <a:pt x="86" y="148"/>
                        </a:lnTo>
                        <a:lnTo>
                          <a:pt x="90" y="151"/>
                        </a:lnTo>
                        <a:lnTo>
                          <a:pt x="95" y="151"/>
                        </a:lnTo>
                        <a:lnTo>
                          <a:pt x="101" y="150"/>
                        </a:lnTo>
                        <a:lnTo>
                          <a:pt x="105" y="148"/>
                        </a:lnTo>
                        <a:lnTo>
                          <a:pt x="116" y="136"/>
                        </a:lnTo>
                        <a:lnTo>
                          <a:pt x="116" y="136"/>
                        </a:lnTo>
                        <a:lnTo>
                          <a:pt x="108" y="126"/>
                        </a:lnTo>
                        <a:lnTo>
                          <a:pt x="108" y="126"/>
                        </a:lnTo>
                        <a:lnTo>
                          <a:pt x="108" y="126"/>
                        </a:lnTo>
                        <a:lnTo>
                          <a:pt x="108" y="126"/>
                        </a:lnTo>
                        <a:close/>
                        <a:moveTo>
                          <a:pt x="110" y="115"/>
                        </a:moveTo>
                        <a:lnTo>
                          <a:pt x="110" y="115"/>
                        </a:lnTo>
                        <a:lnTo>
                          <a:pt x="112" y="114"/>
                        </a:lnTo>
                        <a:lnTo>
                          <a:pt x="114" y="115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4" y="108"/>
                        </a:lnTo>
                        <a:lnTo>
                          <a:pt x="108" y="106"/>
                        </a:lnTo>
                        <a:lnTo>
                          <a:pt x="103" y="108"/>
                        </a:lnTo>
                        <a:lnTo>
                          <a:pt x="98" y="111"/>
                        </a:lnTo>
                        <a:lnTo>
                          <a:pt x="95" y="114"/>
                        </a:lnTo>
                        <a:lnTo>
                          <a:pt x="95" y="114"/>
                        </a:lnTo>
                        <a:lnTo>
                          <a:pt x="105" y="122"/>
                        </a:lnTo>
                        <a:lnTo>
                          <a:pt x="110" y="115"/>
                        </a:lnTo>
                        <a:lnTo>
                          <a:pt x="110" y="115"/>
                        </a:lnTo>
                        <a:lnTo>
                          <a:pt x="110" y="115"/>
                        </a:lnTo>
                        <a:close/>
                        <a:moveTo>
                          <a:pt x="118" y="110"/>
                        </a:move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lnTo>
                          <a:pt x="118" y="110"/>
                        </a:lnTo>
                        <a:close/>
                        <a:moveTo>
                          <a:pt x="105" y="124"/>
                        </a:move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close/>
                        <a:moveTo>
                          <a:pt x="105" y="125"/>
                        </a:moveTo>
                        <a:lnTo>
                          <a:pt x="105" y="125"/>
                        </a:lnTo>
                        <a:lnTo>
                          <a:pt x="105" y="125"/>
                        </a:lnTo>
                        <a:lnTo>
                          <a:pt x="105" y="125"/>
                        </a:lnTo>
                        <a:lnTo>
                          <a:pt x="105" y="125"/>
                        </a:lnTo>
                        <a:lnTo>
                          <a:pt x="105" y="125"/>
                        </a:lnTo>
                        <a:lnTo>
                          <a:pt x="105" y="125"/>
                        </a:lnTo>
                        <a:lnTo>
                          <a:pt x="105" y="125"/>
                        </a:lnTo>
                        <a:close/>
                        <a:moveTo>
                          <a:pt x="107" y="125"/>
                        </a:moveTo>
                        <a:lnTo>
                          <a:pt x="107" y="125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close/>
                        <a:moveTo>
                          <a:pt x="112" y="117"/>
                        </a:moveTo>
                        <a:lnTo>
                          <a:pt x="112" y="117"/>
                        </a:lnTo>
                        <a:lnTo>
                          <a:pt x="111" y="117"/>
                        </a:lnTo>
                        <a:lnTo>
                          <a:pt x="110" y="117"/>
                        </a:lnTo>
                        <a:lnTo>
                          <a:pt x="105" y="122"/>
                        </a:lnTo>
                        <a:lnTo>
                          <a:pt x="105" y="122"/>
                        </a:lnTo>
                        <a:lnTo>
                          <a:pt x="105" y="123"/>
                        </a:lnTo>
                        <a:lnTo>
                          <a:pt x="105" y="123"/>
                        </a:lnTo>
                        <a:lnTo>
                          <a:pt x="107" y="123"/>
                        </a:lnTo>
                        <a:lnTo>
                          <a:pt x="112" y="117"/>
                        </a:lnTo>
                        <a:lnTo>
                          <a:pt x="112" y="117"/>
                        </a:lnTo>
                        <a:lnTo>
                          <a:pt x="112" y="117"/>
                        </a:lnTo>
                        <a:close/>
                        <a:moveTo>
                          <a:pt x="108" y="125"/>
                        </a:moveTo>
                        <a:lnTo>
                          <a:pt x="108" y="125"/>
                        </a:lnTo>
                        <a:lnTo>
                          <a:pt x="109" y="124"/>
                        </a:lnTo>
                        <a:lnTo>
                          <a:pt x="114" y="121"/>
                        </a:lnTo>
                        <a:lnTo>
                          <a:pt x="114" y="121"/>
                        </a:lnTo>
                        <a:lnTo>
                          <a:pt x="114" y="118"/>
                        </a:lnTo>
                        <a:lnTo>
                          <a:pt x="114" y="117"/>
                        </a:lnTo>
                        <a:lnTo>
                          <a:pt x="108" y="124"/>
                        </a:lnTo>
                        <a:lnTo>
                          <a:pt x="108" y="124"/>
                        </a:lnTo>
                        <a:lnTo>
                          <a:pt x="108" y="125"/>
                        </a:lnTo>
                        <a:lnTo>
                          <a:pt x="108" y="125"/>
                        </a:lnTo>
                        <a:lnTo>
                          <a:pt x="108" y="125"/>
                        </a:lnTo>
                        <a:close/>
                        <a:moveTo>
                          <a:pt x="105" y="124"/>
                        </a:move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7" y="123"/>
                        </a:lnTo>
                        <a:lnTo>
                          <a:pt x="107" y="123"/>
                        </a:lnTo>
                        <a:lnTo>
                          <a:pt x="105" y="123"/>
                        </a:lnTo>
                        <a:lnTo>
                          <a:pt x="105" y="123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close/>
                        <a:moveTo>
                          <a:pt x="107" y="125"/>
                        </a:moveTo>
                        <a:lnTo>
                          <a:pt x="107" y="125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lnTo>
                          <a:pt x="108" y="125"/>
                        </a:lnTo>
                        <a:lnTo>
                          <a:pt x="108" y="125"/>
                        </a:lnTo>
                        <a:lnTo>
                          <a:pt x="108" y="124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close/>
                        <a:moveTo>
                          <a:pt x="107" y="124"/>
                        </a:moveTo>
                        <a:lnTo>
                          <a:pt x="107" y="124"/>
                        </a:lnTo>
                        <a:lnTo>
                          <a:pt x="108" y="124"/>
                        </a:lnTo>
                        <a:lnTo>
                          <a:pt x="114" y="117"/>
                        </a:lnTo>
                        <a:lnTo>
                          <a:pt x="114" y="117"/>
                        </a:lnTo>
                        <a:lnTo>
                          <a:pt x="114" y="117"/>
                        </a:lnTo>
                        <a:lnTo>
                          <a:pt x="114" y="117"/>
                        </a:lnTo>
                        <a:lnTo>
                          <a:pt x="112" y="117"/>
                        </a:lnTo>
                        <a:lnTo>
                          <a:pt x="107" y="123"/>
                        </a:lnTo>
                        <a:lnTo>
                          <a:pt x="107" y="123"/>
                        </a:lnTo>
                        <a:lnTo>
                          <a:pt x="107" y="124"/>
                        </a:lnTo>
                        <a:lnTo>
                          <a:pt x="107" y="124"/>
                        </a:lnTo>
                        <a:lnTo>
                          <a:pt x="107" y="124"/>
                        </a:lnTo>
                        <a:close/>
                        <a:moveTo>
                          <a:pt x="105" y="124"/>
                        </a:move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5"/>
                        </a:lnTo>
                        <a:lnTo>
                          <a:pt x="105" y="125"/>
                        </a:lnTo>
                        <a:lnTo>
                          <a:pt x="105" y="125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close/>
                        <a:moveTo>
                          <a:pt x="107" y="125"/>
                        </a:moveTo>
                        <a:lnTo>
                          <a:pt x="108" y="124"/>
                        </a:lnTo>
                        <a:lnTo>
                          <a:pt x="108" y="124"/>
                        </a:lnTo>
                        <a:lnTo>
                          <a:pt x="107" y="124"/>
                        </a:lnTo>
                        <a:lnTo>
                          <a:pt x="107" y="124"/>
                        </a:lnTo>
                        <a:lnTo>
                          <a:pt x="107" y="123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5" y="124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lnTo>
                          <a:pt x="107" y="125"/>
                        </a:lnTo>
                        <a:close/>
                        <a:moveTo>
                          <a:pt x="83" y="90"/>
                        </a:moveTo>
                        <a:lnTo>
                          <a:pt x="83" y="90"/>
                        </a:lnTo>
                        <a:lnTo>
                          <a:pt x="84" y="91"/>
                        </a:lnTo>
                        <a:lnTo>
                          <a:pt x="86" y="92"/>
                        </a:lnTo>
                        <a:lnTo>
                          <a:pt x="89" y="92"/>
                        </a:lnTo>
                        <a:lnTo>
                          <a:pt x="90" y="91"/>
                        </a:lnTo>
                        <a:lnTo>
                          <a:pt x="90" y="91"/>
                        </a:lnTo>
                        <a:lnTo>
                          <a:pt x="92" y="90"/>
                        </a:lnTo>
                        <a:lnTo>
                          <a:pt x="92" y="87"/>
                        </a:lnTo>
                        <a:lnTo>
                          <a:pt x="92" y="86"/>
                        </a:lnTo>
                        <a:lnTo>
                          <a:pt x="92" y="84"/>
                        </a:lnTo>
                        <a:lnTo>
                          <a:pt x="92" y="84"/>
                        </a:lnTo>
                        <a:lnTo>
                          <a:pt x="91" y="82"/>
                        </a:lnTo>
                        <a:lnTo>
                          <a:pt x="89" y="82"/>
                        </a:lnTo>
                        <a:lnTo>
                          <a:pt x="86" y="82"/>
                        </a:lnTo>
                        <a:lnTo>
                          <a:pt x="84" y="82"/>
                        </a:lnTo>
                        <a:lnTo>
                          <a:pt x="84" y="82"/>
                        </a:lnTo>
                        <a:lnTo>
                          <a:pt x="83" y="84"/>
                        </a:lnTo>
                        <a:lnTo>
                          <a:pt x="82" y="86"/>
                        </a:lnTo>
                        <a:lnTo>
                          <a:pt x="82" y="87"/>
                        </a:lnTo>
                        <a:lnTo>
                          <a:pt x="83" y="90"/>
                        </a:lnTo>
                        <a:lnTo>
                          <a:pt x="83" y="90"/>
                        </a:lnTo>
                        <a:lnTo>
                          <a:pt x="83" y="90"/>
                        </a:lnTo>
                        <a:close/>
                        <a:moveTo>
                          <a:pt x="86" y="80"/>
                        </a:moveTo>
                        <a:lnTo>
                          <a:pt x="86" y="80"/>
                        </a:lnTo>
                        <a:lnTo>
                          <a:pt x="90" y="80"/>
                        </a:lnTo>
                        <a:lnTo>
                          <a:pt x="93" y="83"/>
                        </a:lnTo>
                        <a:lnTo>
                          <a:pt x="93" y="83"/>
                        </a:lnTo>
                        <a:lnTo>
                          <a:pt x="95" y="86"/>
                        </a:lnTo>
                        <a:lnTo>
                          <a:pt x="93" y="89"/>
                        </a:lnTo>
                        <a:lnTo>
                          <a:pt x="93" y="91"/>
                        </a:lnTo>
                        <a:lnTo>
                          <a:pt x="91" y="92"/>
                        </a:lnTo>
                        <a:lnTo>
                          <a:pt x="91" y="92"/>
                        </a:lnTo>
                        <a:lnTo>
                          <a:pt x="89" y="93"/>
                        </a:lnTo>
                        <a:lnTo>
                          <a:pt x="86" y="93"/>
                        </a:lnTo>
                        <a:lnTo>
                          <a:pt x="84" y="92"/>
                        </a:lnTo>
                        <a:lnTo>
                          <a:pt x="82" y="90"/>
                        </a:lnTo>
                        <a:lnTo>
                          <a:pt x="82" y="90"/>
                        </a:lnTo>
                        <a:lnTo>
                          <a:pt x="80" y="87"/>
                        </a:lnTo>
                        <a:lnTo>
                          <a:pt x="80" y="86"/>
                        </a:lnTo>
                        <a:lnTo>
                          <a:pt x="82" y="83"/>
                        </a:lnTo>
                        <a:lnTo>
                          <a:pt x="84" y="80"/>
                        </a:lnTo>
                        <a:lnTo>
                          <a:pt x="84" y="80"/>
                        </a:lnTo>
                        <a:lnTo>
                          <a:pt x="86" y="80"/>
                        </a:lnTo>
                        <a:lnTo>
                          <a:pt x="86" y="80"/>
                        </a:lnTo>
                        <a:lnTo>
                          <a:pt x="84" y="80"/>
                        </a:lnTo>
                        <a:lnTo>
                          <a:pt x="84" y="80"/>
                        </a:lnTo>
                        <a:lnTo>
                          <a:pt x="83" y="80"/>
                        </a:lnTo>
                        <a:lnTo>
                          <a:pt x="83" y="80"/>
                        </a:lnTo>
                        <a:lnTo>
                          <a:pt x="80" y="82"/>
                        </a:lnTo>
                        <a:lnTo>
                          <a:pt x="80" y="86"/>
                        </a:lnTo>
                        <a:lnTo>
                          <a:pt x="80" y="87"/>
                        </a:lnTo>
                        <a:lnTo>
                          <a:pt x="80" y="91"/>
                        </a:lnTo>
                        <a:lnTo>
                          <a:pt x="80" y="91"/>
                        </a:lnTo>
                        <a:lnTo>
                          <a:pt x="80" y="91"/>
                        </a:lnTo>
                        <a:lnTo>
                          <a:pt x="82" y="91"/>
                        </a:lnTo>
                        <a:lnTo>
                          <a:pt x="82" y="91"/>
                        </a:lnTo>
                        <a:lnTo>
                          <a:pt x="83" y="93"/>
                        </a:lnTo>
                        <a:lnTo>
                          <a:pt x="83" y="93"/>
                        </a:lnTo>
                        <a:lnTo>
                          <a:pt x="88" y="95"/>
                        </a:lnTo>
                        <a:lnTo>
                          <a:pt x="90" y="95"/>
                        </a:lnTo>
                        <a:lnTo>
                          <a:pt x="92" y="93"/>
                        </a:lnTo>
                        <a:lnTo>
                          <a:pt x="92" y="93"/>
                        </a:lnTo>
                        <a:lnTo>
                          <a:pt x="95" y="90"/>
                        </a:lnTo>
                        <a:lnTo>
                          <a:pt x="95" y="90"/>
                        </a:lnTo>
                        <a:lnTo>
                          <a:pt x="95" y="90"/>
                        </a:lnTo>
                        <a:lnTo>
                          <a:pt x="93" y="89"/>
                        </a:lnTo>
                        <a:lnTo>
                          <a:pt x="93" y="89"/>
                        </a:lnTo>
                        <a:lnTo>
                          <a:pt x="95" y="87"/>
                        </a:lnTo>
                        <a:lnTo>
                          <a:pt x="95" y="87"/>
                        </a:lnTo>
                        <a:lnTo>
                          <a:pt x="95" y="86"/>
                        </a:lnTo>
                        <a:lnTo>
                          <a:pt x="95" y="82"/>
                        </a:lnTo>
                        <a:lnTo>
                          <a:pt x="95" y="82"/>
                        </a:lnTo>
                        <a:lnTo>
                          <a:pt x="91" y="80"/>
                        </a:lnTo>
                        <a:lnTo>
                          <a:pt x="86" y="78"/>
                        </a:lnTo>
                        <a:lnTo>
                          <a:pt x="86" y="78"/>
                        </a:lnTo>
                        <a:lnTo>
                          <a:pt x="86" y="78"/>
                        </a:lnTo>
                        <a:lnTo>
                          <a:pt x="86" y="80"/>
                        </a:lnTo>
                        <a:lnTo>
                          <a:pt x="86" y="80"/>
                        </a:lnTo>
                        <a:lnTo>
                          <a:pt x="86" y="80"/>
                        </a:lnTo>
                        <a:close/>
                        <a:moveTo>
                          <a:pt x="86" y="80"/>
                        </a:moveTo>
                        <a:lnTo>
                          <a:pt x="86" y="80"/>
                        </a:lnTo>
                        <a:lnTo>
                          <a:pt x="86" y="80"/>
                        </a:lnTo>
                        <a:lnTo>
                          <a:pt x="86" y="78"/>
                        </a:lnTo>
                        <a:lnTo>
                          <a:pt x="86" y="78"/>
                        </a:lnTo>
                        <a:lnTo>
                          <a:pt x="86" y="78"/>
                        </a:lnTo>
                        <a:lnTo>
                          <a:pt x="86" y="78"/>
                        </a:lnTo>
                        <a:lnTo>
                          <a:pt x="84" y="80"/>
                        </a:lnTo>
                        <a:lnTo>
                          <a:pt x="84" y="80"/>
                        </a:lnTo>
                        <a:lnTo>
                          <a:pt x="86" y="80"/>
                        </a:lnTo>
                        <a:lnTo>
                          <a:pt x="86" y="80"/>
                        </a:lnTo>
                        <a:lnTo>
                          <a:pt x="86" y="80"/>
                        </a:lnTo>
                        <a:close/>
                        <a:moveTo>
                          <a:pt x="80" y="91"/>
                        </a:moveTo>
                        <a:lnTo>
                          <a:pt x="80" y="91"/>
                        </a:lnTo>
                        <a:lnTo>
                          <a:pt x="83" y="93"/>
                        </a:lnTo>
                        <a:lnTo>
                          <a:pt x="83" y="93"/>
                        </a:lnTo>
                        <a:lnTo>
                          <a:pt x="82" y="91"/>
                        </a:lnTo>
                        <a:lnTo>
                          <a:pt x="80" y="91"/>
                        </a:lnTo>
                        <a:lnTo>
                          <a:pt x="80" y="91"/>
                        </a:lnTo>
                        <a:lnTo>
                          <a:pt x="80" y="91"/>
                        </a:lnTo>
                        <a:close/>
                        <a:moveTo>
                          <a:pt x="95" y="90"/>
                        </a:moveTo>
                        <a:lnTo>
                          <a:pt x="95" y="90"/>
                        </a:lnTo>
                        <a:lnTo>
                          <a:pt x="95" y="90"/>
                        </a:lnTo>
                        <a:lnTo>
                          <a:pt x="95" y="90"/>
                        </a:lnTo>
                        <a:lnTo>
                          <a:pt x="95" y="87"/>
                        </a:lnTo>
                        <a:lnTo>
                          <a:pt x="95" y="87"/>
                        </a:lnTo>
                        <a:lnTo>
                          <a:pt x="93" y="89"/>
                        </a:lnTo>
                        <a:lnTo>
                          <a:pt x="95" y="90"/>
                        </a:lnTo>
                        <a:lnTo>
                          <a:pt x="95" y="90"/>
                        </a:lnTo>
                        <a:lnTo>
                          <a:pt x="95" y="90"/>
                        </a:lnTo>
                        <a:close/>
                        <a:moveTo>
                          <a:pt x="88" y="164"/>
                        </a:moveTo>
                        <a:lnTo>
                          <a:pt x="88" y="164"/>
                        </a:lnTo>
                        <a:lnTo>
                          <a:pt x="80" y="164"/>
                        </a:lnTo>
                        <a:lnTo>
                          <a:pt x="73" y="163"/>
                        </a:lnTo>
                        <a:lnTo>
                          <a:pt x="65" y="160"/>
                        </a:lnTo>
                        <a:lnTo>
                          <a:pt x="58" y="158"/>
                        </a:lnTo>
                        <a:lnTo>
                          <a:pt x="51" y="155"/>
                        </a:lnTo>
                        <a:lnTo>
                          <a:pt x="45" y="151"/>
                        </a:lnTo>
                        <a:lnTo>
                          <a:pt x="39" y="146"/>
                        </a:lnTo>
                        <a:lnTo>
                          <a:pt x="34" y="141"/>
                        </a:lnTo>
                        <a:lnTo>
                          <a:pt x="29" y="136"/>
                        </a:lnTo>
                        <a:lnTo>
                          <a:pt x="24" y="130"/>
                        </a:lnTo>
                        <a:lnTo>
                          <a:pt x="20" y="124"/>
                        </a:lnTo>
                        <a:lnTo>
                          <a:pt x="17" y="117"/>
                        </a:lnTo>
                        <a:lnTo>
                          <a:pt x="15" y="110"/>
                        </a:lnTo>
                        <a:lnTo>
                          <a:pt x="13" y="103"/>
                        </a:lnTo>
                        <a:lnTo>
                          <a:pt x="11" y="95"/>
                        </a:lnTo>
                        <a:lnTo>
                          <a:pt x="11" y="87"/>
                        </a:lnTo>
                        <a:lnTo>
                          <a:pt x="11" y="87"/>
                        </a:lnTo>
                        <a:lnTo>
                          <a:pt x="11" y="80"/>
                        </a:lnTo>
                        <a:lnTo>
                          <a:pt x="13" y="71"/>
                        </a:lnTo>
                        <a:lnTo>
                          <a:pt x="15" y="65"/>
                        </a:lnTo>
                        <a:lnTo>
                          <a:pt x="17" y="57"/>
                        </a:lnTo>
                        <a:lnTo>
                          <a:pt x="20" y="50"/>
                        </a:lnTo>
                        <a:lnTo>
                          <a:pt x="24" y="44"/>
                        </a:lnTo>
                        <a:lnTo>
                          <a:pt x="29" y="38"/>
                        </a:lnTo>
                        <a:lnTo>
                          <a:pt x="34" y="32"/>
                        </a:lnTo>
                        <a:lnTo>
                          <a:pt x="39" y="28"/>
                        </a:lnTo>
                        <a:lnTo>
                          <a:pt x="45" y="23"/>
                        </a:lnTo>
                        <a:lnTo>
                          <a:pt x="51" y="19"/>
                        </a:lnTo>
                        <a:lnTo>
                          <a:pt x="58" y="16"/>
                        </a:lnTo>
                        <a:lnTo>
                          <a:pt x="65" y="14"/>
                        </a:lnTo>
                        <a:lnTo>
                          <a:pt x="73" y="13"/>
                        </a:lnTo>
                        <a:lnTo>
                          <a:pt x="80" y="12"/>
                        </a:lnTo>
                        <a:lnTo>
                          <a:pt x="88" y="10"/>
                        </a:lnTo>
                        <a:lnTo>
                          <a:pt x="88" y="10"/>
                        </a:lnTo>
                        <a:lnTo>
                          <a:pt x="95" y="12"/>
                        </a:lnTo>
                        <a:lnTo>
                          <a:pt x="103" y="13"/>
                        </a:lnTo>
                        <a:lnTo>
                          <a:pt x="110" y="14"/>
                        </a:lnTo>
                        <a:lnTo>
                          <a:pt x="117" y="16"/>
                        </a:lnTo>
                        <a:lnTo>
                          <a:pt x="124" y="19"/>
                        </a:lnTo>
                        <a:lnTo>
                          <a:pt x="131" y="23"/>
                        </a:lnTo>
                        <a:lnTo>
                          <a:pt x="137" y="28"/>
                        </a:lnTo>
                        <a:lnTo>
                          <a:pt x="142" y="32"/>
                        </a:lnTo>
                        <a:lnTo>
                          <a:pt x="146" y="38"/>
                        </a:lnTo>
                        <a:lnTo>
                          <a:pt x="151" y="44"/>
                        </a:lnTo>
                        <a:lnTo>
                          <a:pt x="156" y="50"/>
                        </a:lnTo>
                        <a:lnTo>
                          <a:pt x="159" y="57"/>
                        </a:lnTo>
                        <a:lnTo>
                          <a:pt x="161" y="65"/>
                        </a:lnTo>
                        <a:lnTo>
                          <a:pt x="163" y="71"/>
                        </a:lnTo>
                        <a:lnTo>
                          <a:pt x="164" y="80"/>
                        </a:lnTo>
                        <a:lnTo>
                          <a:pt x="164" y="87"/>
                        </a:lnTo>
                        <a:lnTo>
                          <a:pt x="164" y="87"/>
                        </a:lnTo>
                        <a:lnTo>
                          <a:pt x="164" y="95"/>
                        </a:lnTo>
                        <a:lnTo>
                          <a:pt x="163" y="103"/>
                        </a:lnTo>
                        <a:lnTo>
                          <a:pt x="161" y="110"/>
                        </a:lnTo>
                        <a:lnTo>
                          <a:pt x="159" y="117"/>
                        </a:lnTo>
                        <a:lnTo>
                          <a:pt x="156" y="124"/>
                        </a:lnTo>
                        <a:lnTo>
                          <a:pt x="151" y="130"/>
                        </a:lnTo>
                        <a:lnTo>
                          <a:pt x="146" y="136"/>
                        </a:lnTo>
                        <a:lnTo>
                          <a:pt x="142" y="141"/>
                        </a:lnTo>
                        <a:lnTo>
                          <a:pt x="137" y="146"/>
                        </a:lnTo>
                        <a:lnTo>
                          <a:pt x="131" y="151"/>
                        </a:lnTo>
                        <a:lnTo>
                          <a:pt x="124" y="155"/>
                        </a:lnTo>
                        <a:lnTo>
                          <a:pt x="117" y="158"/>
                        </a:lnTo>
                        <a:lnTo>
                          <a:pt x="110" y="160"/>
                        </a:lnTo>
                        <a:lnTo>
                          <a:pt x="103" y="163"/>
                        </a:lnTo>
                        <a:lnTo>
                          <a:pt x="95" y="164"/>
                        </a:lnTo>
                        <a:lnTo>
                          <a:pt x="88" y="164"/>
                        </a:lnTo>
                        <a:lnTo>
                          <a:pt x="88" y="164"/>
                        </a:lnTo>
                        <a:lnTo>
                          <a:pt x="88" y="164"/>
                        </a:lnTo>
                        <a:close/>
                        <a:moveTo>
                          <a:pt x="88" y="175"/>
                        </a:moveTo>
                        <a:lnTo>
                          <a:pt x="88" y="175"/>
                        </a:lnTo>
                        <a:lnTo>
                          <a:pt x="97" y="175"/>
                        </a:lnTo>
                        <a:lnTo>
                          <a:pt x="105" y="173"/>
                        </a:lnTo>
                        <a:lnTo>
                          <a:pt x="114" y="171"/>
                        </a:lnTo>
                        <a:lnTo>
                          <a:pt x="122" y="169"/>
                        </a:lnTo>
                        <a:lnTo>
                          <a:pt x="130" y="164"/>
                        </a:lnTo>
                        <a:lnTo>
                          <a:pt x="137" y="160"/>
                        </a:lnTo>
                        <a:lnTo>
                          <a:pt x="144" y="155"/>
                        </a:lnTo>
                        <a:lnTo>
                          <a:pt x="150" y="149"/>
                        </a:lnTo>
                        <a:lnTo>
                          <a:pt x="156" y="142"/>
                        </a:lnTo>
                        <a:lnTo>
                          <a:pt x="161" y="136"/>
                        </a:lnTo>
                        <a:lnTo>
                          <a:pt x="165" y="129"/>
                        </a:lnTo>
                        <a:lnTo>
                          <a:pt x="169" y="122"/>
                        </a:lnTo>
                        <a:lnTo>
                          <a:pt x="172" y="114"/>
                        </a:lnTo>
                        <a:lnTo>
                          <a:pt x="174" y="105"/>
                        </a:lnTo>
                        <a:lnTo>
                          <a:pt x="176" y="96"/>
                        </a:lnTo>
                        <a:lnTo>
                          <a:pt x="176" y="87"/>
                        </a:lnTo>
                        <a:lnTo>
                          <a:pt x="176" y="87"/>
                        </a:lnTo>
                        <a:lnTo>
                          <a:pt x="176" y="78"/>
                        </a:lnTo>
                        <a:lnTo>
                          <a:pt x="174" y="68"/>
                        </a:lnTo>
                        <a:lnTo>
                          <a:pt x="172" y="61"/>
                        </a:lnTo>
                        <a:lnTo>
                          <a:pt x="169" y="53"/>
                        </a:lnTo>
                        <a:lnTo>
                          <a:pt x="165" y="46"/>
                        </a:lnTo>
                        <a:lnTo>
                          <a:pt x="161" y="38"/>
                        </a:lnTo>
                        <a:lnTo>
                          <a:pt x="156" y="31"/>
                        </a:lnTo>
                        <a:lnTo>
                          <a:pt x="150" y="25"/>
                        </a:lnTo>
                        <a:lnTo>
                          <a:pt x="144" y="19"/>
                        </a:lnTo>
                        <a:lnTo>
                          <a:pt x="137" y="14"/>
                        </a:lnTo>
                        <a:lnTo>
                          <a:pt x="130" y="10"/>
                        </a:lnTo>
                        <a:lnTo>
                          <a:pt x="122" y="7"/>
                        </a:lnTo>
                        <a:lnTo>
                          <a:pt x="114" y="4"/>
                        </a:lnTo>
                        <a:lnTo>
                          <a:pt x="105" y="1"/>
                        </a:lnTo>
                        <a:lnTo>
                          <a:pt x="97" y="0"/>
                        </a:lnTo>
                        <a:lnTo>
                          <a:pt x="88" y="0"/>
                        </a:lnTo>
                        <a:lnTo>
                          <a:pt x="88" y="0"/>
                        </a:lnTo>
                        <a:lnTo>
                          <a:pt x="78" y="0"/>
                        </a:lnTo>
                        <a:lnTo>
                          <a:pt x="70" y="1"/>
                        </a:lnTo>
                        <a:lnTo>
                          <a:pt x="62" y="4"/>
                        </a:lnTo>
                        <a:lnTo>
                          <a:pt x="54" y="7"/>
                        </a:lnTo>
                        <a:lnTo>
                          <a:pt x="45" y="10"/>
                        </a:lnTo>
                        <a:lnTo>
                          <a:pt x="38" y="14"/>
                        </a:lnTo>
                        <a:lnTo>
                          <a:pt x="31" y="19"/>
                        </a:lnTo>
                        <a:lnTo>
                          <a:pt x="25" y="25"/>
                        </a:lnTo>
                        <a:lnTo>
                          <a:pt x="19" y="31"/>
                        </a:lnTo>
                        <a:lnTo>
                          <a:pt x="15" y="38"/>
                        </a:lnTo>
                        <a:lnTo>
                          <a:pt x="10" y="46"/>
                        </a:lnTo>
                        <a:lnTo>
                          <a:pt x="7" y="53"/>
                        </a:lnTo>
                        <a:lnTo>
                          <a:pt x="3" y="61"/>
                        </a:lnTo>
                        <a:lnTo>
                          <a:pt x="1" y="68"/>
                        </a:lnTo>
                        <a:lnTo>
                          <a:pt x="0" y="78"/>
                        </a:lnTo>
                        <a:lnTo>
                          <a:pt x="0" y="87"/>
                        </a:lnTo>
                        <a:lnTo>
                          <a:pt x="0" y="87"/>
                        </a:lnTo>
                        <a:lnTo>
                          <a:pt x="0" y="96"/>
                        </a:lnTo>
                        <a:lnTo>
                          <a:pt x="1" y="105"/>
                        </a:lnTo>
                        <a:lnTo>
                          <a:pt x="3" y="114"/>
                        </a:lnTo>
                        <a:lnTo>
                          <a:pt x="7" y="122"/>
                        </a:lnTo>
                        <a:lnTo>
                          <a:pt x="10" y="129"/>
                        </a:lnTo>
                        <a:lnTo>
                          <a:pt x="15" y="136"/>
                        </a:lnTo>
                        <a:lnTo>
                          <a:pt x="19" y="142"/>
                        </a:lnTo>
                        <a:lnTo>
                          <a:pt x="25" y="149"/>
                        </a:lnTo>
                        <a:lnTo>
                          <a:pt x="31" y="155"/>
                        </a:lnTo>
                        <a:lnTo>
                          <a:pt x="38" y="160"/>
                        </a:lnTo>
                        <a:lnTo>
                          <a:pt x="45" y="164"/>
                        </a:lnTo>
                        <a:lnTo>
                          <a:pt x="54" y="169"/>
                        </a:lnTo>
                        <a:lnTo>
                          <a:pt x="62" y="171"/>
                        </a:lnTo>
                        <a:lnTo>
                          <a:pt x="70" y="173"/>
                        </a:lnTo>
                        <a:lnTo>
                          <a:pt x="78" y="175"/>
                        </a:lnTo>
                        <a:lnTo>
                          <a:pt x="88" y="175"/>
                        </a:lnTo>
                        <a:lnTo>
                          <a:pt x="88" y="175"/>
                        </a:lnTo>
                        <a:lnTo>
                          <a:pt x="88" y="175"/>
                        </a:lnTo>
                        <a:close/>
                      </a:path>
                    </a:pathLst>
                  </a:custGeom>
                  <a:solidFill>
                    <a:srgbClr val="21BBE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6" name="Freeform 213"/>
                  <p:cNvSpPr>
                    <a:spLocks noEditPoints="1"/>
                  </p:cNvSpPr>
                  <p:nvPr/>
                </p:nvSpPr>
                <p:spPr bwMode="auto">
                  <a:xfrm rot="5400000">
                    <a:off x="10945612" y="442420"/>
                    <a:ext cx="190649" cy="202224"/>
                  </a:xfrm>
                  <a:custGeom>
                    <a:avLst/>
                    <a:gdLst>
                      <a:gd name="T0" fmla="*/ 54 w 174"/>
                      <a:gd name="T1" fmla="*/ 35 h 177"/>
                      <a:gd name="T2" fmla="*/ 72 w 174"/>
                      <a:gd name="T3" fmla="*/ 35 h 177"/>
                      <a:gd name="T4" fmla="*/ 72 w 174"/>
                      <a:gd name="T5" fmla="*/ 54 h 177"/>
                      <a:gd name="T6" fmla="*/ 91 w 174"/>
                      <a:gd name="T7" fmla="*/ 54 h 177"/>
                      <a:gd name="T8" fmla="*/ 91 w 174"/>
                      <a:gd name="T9" fmla="*/ 72 h 177"/>
                      <a:gd name="T10" fmla="*/ 72 w 174"/>
                      <a:gd name="T11" fmla="*/ 72 h 177"/>
                      <a:gd name="T12" fmla="*/ 72 w 174"/>
                      <a:gd name="T13" fmla="*/ 92 h 177"/>
                      <a:gd name="T14" fmla="*/ 54 w 174"/>
                      <a:gd name="T15" fmla="*/ 92 h 177"/>
                      <a:gd name="T16" fmla="*/ 54 w 174"/>
                      <a:gd name="T17" fmla="*/ 72 h 177"/>
                      <a:gd name="T18" fmla="*/ 34 w 174"/>
                      <a:gd name="T19" fmla="*/ 72 h 177"/>
                      <a:gd name="T20" fmla="*/ 34 w 174"/>
                      <a:gd name="T21" fmla="*/ 54 h 177"/>
                      <a:gd name="T22" fmla="*/ 54 w 174"/>
                      <a:gd name="T23" fmla="*/ 54 h 177"/>
                      <a:gd name="T24" fmla="*/ 54 w 174"/>
                      <a:gd name="T25" fmla="*/ 35 h 177"/>
                      <a:gd name="T26" fmla="*/ 63 w 174"/>
                      <a:gd name="T27" fmla="*/ 11 h 177"/>
                      <a:gd name="T28" fmla="*/ 10 w 174"/>
                      <a:gd name="T29" fmla="*/ 63 h 177"/>
                      <a:gd name="T30" fmla="*/ 63 w 174"/>
                      <a:gd name="T31" fmla="*/ 116 h 177"/>
                      <a:gd name="T32" fmla="*/ 115 w 174"/>
                      <a:gd name="T33" fmla="*/ 63 h 177"/>
                      <a:gd name="T34" fmla="*/ 63 w 174"/>
                      <a:gd name="T35" fmla="*/ 11 h 177"/>
                      <a:gd name="T36" fmla="*/ 63 w 174"/>
                      <a:gd name="T37" fmla="*/ 0 h 177"/>
                      <a:gd name="T38" fmla="*/ 126 w 174"/>
                      <a:gd name="T39" fmla="*/ 63 h 177"/>
                      <a:gd name="T40" fmla="*/ 113 w 174"/>
                      <a:gd name="T41" fmla="*/ 101 h 177"/>
                      <a:gd name="T42" fmla="*/ 117 w 174"/>
                      <a:gd name="T43" fmla="*/ 105 h 177"/>
                      <a:gd name="T44" fmla="*/ 125 w 174"/>
                      <a:gd name="T45" fmla="*/ 103 h 177"/>
                      <a:gd name="T46" fmla="*/ 170 w 174"/>
                      <a:gd name="T47" fmla="*/ 148 h 177"/>
                      <a:gd name="T48" fmla="*/ 146 w 174"/>
                      <a:gd name="T49" fmla="*/ 172 h 177"/>
                      <a:gd name="T50" fmla="*/ 100 w 174"/>
                      <a:gd name="T51" fmla="*/ 128 h 177"/>
                      <a:gd name="T52" fmla="*/ 103 w 174"/>
                      <a:gd name="T53" fmla="*/ 119 h 177"/>
                      <a:gd name="T54" fmla="*/ 98 w 174"/>
                      <a:gd name="T55" fmla="*/ 116 h 177"/>
                      <a:gd name="T56" fmla="*/ 63 w 174"/>
                      <a:gd name="T57" fmla="*/ 126 h 177"/>
                      <a:gd name="T58" fmla="*/ 0 w 174"/>
                      <a:gd name="T59" fmla="*/ 63 h 177"/>
                      <a:gd name="T60" fmla="*/ 63 w 174"/>
                      <a:gd name="T61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174" h="177">
                        <a:moveTo>
                          <a:pt x="54" y="35"/>
                        </a:moveTo>
                        <a:cubicBezTo>
                          <a:pt x="72" y="35"/>
                          <a:pt x="72" y="35"/>
                          <a:pt x="72" y="35"/>
                        </a:cubicBezTo>
                        <a:cubicBezTo>
                          <a:pt x="72" y="54"/>
                          <a:pt x="72" y="54"/>
                          <a:pt x="72" y="54"/>
                        </a:cubicBezTo>
                        <a:cubicBezTo>
                          <a:pt x="91" y="54"/>
                          <a:pt x="91" y="54"/>
                          <a:pt x="91" y="54"/>
                        </a:cubicBezTo>
                        <a:cubicBezTo>
                          <a:pt x="91" y="72"/>
                          <a:pt x="91" y="72"/>
                          <a:pt x="91" y="72"/>
                        </a:cubicBezTo>
                        <a:cubicBezTo>
                          <a:pt x="72" y="72"/>
                          <a:pt x="72" y="72"/>
                          <a:pt x="72" y="72"/>
                        </a:cubicBezTo>
                        <a:cubicBezTo>
                          <a:pt x="72" y="92"/>
                          <a:pt x="72" y="92"/>
                          <a:pt x="72" y="92"/>
                        </a:cubicBezTo>
                        <a:cubicBezTo>
                          <a:pt x="54" y="92"/>
                          <a:pt x="54" y="92"/>
                          <a:pt x="54" y="92"/>
                        </a:cubicBezTo>
                        <a:cubicBezTo>
                          <a:pt x="54" y="72"/>
                          <a:pt x="54" y="72"/>
                          <a:pt x="54" y="72"/>
                        </a:cubicBezTo>
                        <a:cubicBezTo>
                          <a:pt x="34" y="72"/>
                          <a:pt x="34" y="72"/>
                          <a:pt x="34" y="72"/>
                        </a:cubicBezTo>
                        <a:cubicBezTo>
                          <a:pt x="34" y="54"/>
                          <a:pt x="34" y="54"/>
                          <a:pt x="34" y="54"/>
                        </a:cubicBezTo>
                        <a:cubicBezTo>
                          <a:pt x="54" y="54"/>
                          <a:pt x="54" y="54"/>
                          <a:pt x="54" y="54"/>
                        </a:cubicBezTo>
                        <a:cubicBezTo>
                          <a:pt x="54" y="35"/>
                          <a:pt x="54" y="35"/>
                          <a:pt x="54" y="35"/>
                        </a:cubicBezTo>
                        <a:close/>
                        <a:moveTo>
                          <a:pt x="63" y="11"/>
                        </a:moveTo>
                        <a:cubicBezTo>
                          <a:pt x="34" y="11"/>
                          <a:pt x="10" y="34"/>
                          <a:pt x="10" y="63"/>
                        </a:cubicBezTo>
                        <a:cubicBezTo>
                          <a:pt x="10" y="92"/>
                          <a:pt x="34" y="116"/>
                          <a:pt x="63" y="116"/>
                        </a:cubicBezTo>
                        <a:cubicBezTo>
                          <a:pt x="92" y="116"/>
                          <a:pt x="115" y="92"/>
                          <a:pt x="115" y="63"/>
                        </a:cubicBezTo>
                        <a:cubicBezTo>
                          <a:pt x="115" y="34"/>
                          <a:pt x="92" y="11"/>
                          <a:pt x="63" y="11"/>
                        </a:cubicBezTo>
                        <a:close/>
                        <a:moveTo>
                          <a:pt x="63" y="0"/>
                        </a:moveTo>
                        <a:cubicBezTo>
                          <a:pt x="98" y="0"/>
                          <a:pt x="126" y="28"/>
                          <a:pt x="126" y="63"/>
                        </a:cubicBezTo>
                        <a:cubicBezTo>
                          <a:pt x="126" y="78"/>
                          <a:pt x="121" y="91"/>
                          <a:pt x="113" y="101"/>
                        </a:cubicBezTo>
                        <a:cubicBezTo>
                          <a:pt x="117" y="105"/>
                          <a:pt x="117" y="105"/>
                          <a:pt x="117" y="105"/>
                        </a:cubicBezTo>
                        <a:cubicBezTo>
                          <a:pt x="125" y="103"/>
                          <a:pt x="125" y="103"/>
                          <a:pt x="125" y="103"/>
                        </a:cubicBezTo>
                        <a:cubicBezTo>
                          <a:pt x="170" y="148"/>
                          <a:pt x="170" y="148"/>
                          <a:pt x="170" y="148"/>
                        </a:cubicBezTo>
                        <a:cubicBezTo>
                          <a:pt x="171" y="155"/>
                          <a:pt x="174" y="177"/>
                          <a:pt x="146" y="172"/>
                        </a:cubicBezTo>
                        <a:cubicBezTo>
                          <a:pt x="100" y="128"/>
                          <a:pt x="100" y="128"/>
                          <a:pt x="100" y="128"/>
                        </a:cubicBezTo>
                        <a:cubicBezTo>
                          <a:pt x="103" y="119"/>
                          <a:pt x="103" y="119"/>
                          <a:pt x="103" y="119"/>
                        </a:cubicBezTo>
                        <a:cubicBezTo>
                          <a:pt x="98" y="116"/>
                          <a:pt x="98" y="116"/>
                          <a:pt x="98" y="116"/>
                        </a:cubicBezTo>
                        <a:cubicBezTo>
                          <a:pt x="88" y="122"/>
                          <a:pt x="76" y="126"/>
                          <a:pt x="63" y="126"/>
                        </a:cubicBezTo>
                        <a:cubicBezTo>
                          <a:pt x="28" y="126"/>
                          <a:pt x="0" y="98"/>
                          <a:pt x="0" y="63"/>
                        </a:cubicBezTo>
                        <a:cubicBezTo>
                          <a:pt x="0" y="28"/>
                          <a:pt x="28" y="0"/>
                          <a:pt x="63" y="0"/>
                        </a:cubicBezTo>
                        <a:close/>
                      </a:path>
                    </a:pathLst>
                  </a:custGeom>
                  <a:solidFill>
                    <a:srgbClr val="5A5A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7" name="Freeform 214"/>
                  <p:cNvSpPr>
                    <a:spLocks noEditPoints="1"/>
                  </p:cNvSpPr>
                  <p:nvPr/>
                </p:nvSpPr>
                <p:spPr bwMode="auto">
                  <a:xfrm>
                    <a:off x="10561566" y="159385"/>
                    <a:ext cx="110605" cy="208261"/>
                  </a:xfrm>
                  <a:custGeom>
                    <a:avLst/>
                    <a:gdLst>
                      <a:gd name="T0" fmla="*/ 43 w 101"/>
                      <a:gd name="T1" fmla="*/ 165 h 183"/>
                      <a:gd name="T2" fmla="*/ 42 w 101"/>
                      <a:gd name="T3" fmla="*/ 166 h 183"/>
                      <a:gd name="T4" fmla="*/ 42 w 101"/>
                      <a:gd name="T5" fmla="*/ 172 h 183"/>
                      <a:gd name="T6" fmla="*/ 43 w 101"/>
                      <a:gd name="T7" fmla="*/ 174 h 183"/>
                      <a:gd name="T8" fmla="*/ 57 w 101"/>
                      <a:gd name="T9" fmla="*/ 174 h 183"/>
                      <a:gd name="T10" fmla="*/ 59 w 101"/>
                      <a:gd name="T11" fmla="*/ 172 h 183"/>
                      <a:gd name="T12" fmla="*/ 59 w 101"/>
                      <a:gd name="T13" fmla="*/ 166 h 183"/>
                      <a:gd name="T14" fmla="*/ 57 w 101"/>
                      <a:gd name="T15" fmla="*/ 165 h 183"/>
                      <a:gd name="T16" fmla="*/ 43 w 101"/>
                      <a:gd name="T17" fmla="*/ 165 h 183"/>
                      <a:gd name="T18" fmla="*/ 7 w 101"/>
                      <a:gd name="T19" fmla="*/ 11 h 183"/>
                      <a:gd name="T20" fmla="*/ 6 w 101"/>
                      <a:gd name="T21" fmla="*/ 12 h 183"/>
                      <a:gd name="T22" fmla="*/ 6 w 101"/>
                      <a:gd name="T23" fmla="*/ 160 h 183"/>
                      <a:gd name="T24" fmla="*/ 7 w 101"/>
                      <a:gd name="T25" fmla="*/ 161 h 183"/>
                      <a:gd name="T26" fmla="*/ 94 w 101"/>
                      <a:gd name="T27" fmla="*/ 161 h 183"/>
                      <a:gd name="T28" fmla="*/ 95 w 101"/>
                      <a:gd name="T29" fmla="*/ 160 h 183"/>
                      <a:gd name="T30" fmla="*/ 95 w 101"/>
                      <a:gd name="T31" fmla="*/ 12 h 183"/>
                      <a:gd name="T32" fmla="*/ 94 w 101"/>
                      <a:gd name="T33" fmla="*/ 11 h 183"/>
                      <a:gd name="T34" fmla="*/ 7 w 101"/>
                      <a:gd name="T35" fmla="*/ 11 h 183"/>
                      <a:gd name="T36" fmla="*/ 43 w 101"/>
                      <a:gd name="T37" fmla="*/ 4 h 183"/>
                      <a:gd name="T38" fmla="*/ 43 w 101"/>
                      <a:gd name="T39" fmla="*/ 5 h 183"/>
                      <a:gd name="T40" fmla="*/ 43 w 101"/>
                      <a:gd name="T41" fmla="*/ 6 h 183"/>
                      <a:gd name="T42" fmla="*/ 43 w 101"/>
                      <a:gd name="T43" fmla="*/ 7 h 183"/>
                      <a:gd name="T44" fmla="*/ 57 w 101"/>
                      <a:gd name="T45" fmla="*/ 7 h 183"/>
                      <a:gd name="T46" fmla="*/ 58 w 101"/>
                      <a:gd name="T47" fmla="*/ 6 h 183"/>
                      <a:gd name="T48" fmla="*/ 58 w 101"/>
                      <a:gd name="T49" fmla="*/ 5 h 183"/>
                      <a:gd name="T50" fmla="*/ 57 w 101"/>
                      <a:gd name="T51" fmla="*/ 4 h 183"/>
                      <a:gd name="T52" fmla="*/ 43 w 101"/>
                      <a:gd name="T53" fmla="*/ 4 h 183"/>
                      <a:gd name="T54" fmla="*/ 81 w 101"/>
                      <a:gd name="T55" fmla="*/ 3 h 183"/>
                      <a:gd name="T56" fmla="*/ 79 w 101"/>
                      <a:gd name="T57" fmla="*/ 5 h 183"/>
                      <a:gd name="T58" fmla="*/ 81 w 101"/>
                      <a:gd name="T59" fmla="*/ 8 h 183"/>
                      <a:gd name="T60" fmla="*/ 84 w 101"/>
                      <a:gd name="T61" fmla="*/ 5 h 183"/>
                      <a:gd name="T62" fmla="*/ 81 w 101"/>
                      <a:gd name="T63" fmla="*/ 3 h 183"/>
                      <a:gd name="T64" fmla="*/ 5 w 101"/>
                      <a:gd name="T65" fmla="*/ 0 h 183"/>
                      <a:gd name="T66" fmla="*/ 95 w 101"/>
                      <a:gd name="T67" fmla="*/ 0 h 183"/>
                      <a:gd name="T68" fmla="*/ 101 w 101"/>
                      <a:gd name="T69" fmla="*/ 5 h 183"/>
                      <a:gd name="T70" fmla="*/ 101 w 101"/>
                      <a:gd name="T71" fmla="*/ 177 h 183"/>
                      <a:gd name="T72" fmla="*/ 95 w 101"/>
                      <a:gd name="T73" fmla="*/ 183 h 183"/>
                      <a:gd name="T74" fmla="*/ 5 w 101"/>
                      <a:gd name="T75" fmla="*/ 183 h 183"/>
                      <a:gd name="T76" fmla="*/ 0 w 101"/>
                      <a:gd name="T77" fmla="*/ 177 h 183"/>
                      <a:gd name="T78" fmla="*/ 0 w 101"/>
                      <a:gd name="T79" fmla="*/ 5 h 183"/>
                      <a:gd name="T80" fmla="*/ 5 w 101"/>
                      <a:gd name="T81" fmla="*/ 0 h 1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</a:cxnLst>
                    <a:rect l="0" t="0" r="r" b="b"/>
                    <a:pathLst>
                      <a:path w="101" h="183">
                        <a:moveTo>
                          <a:pt x="43" y="165"/>
                        </a:moveTo>
                        <a:cubicBezTo>
                          <a:pt x="42" y="165"/>
                          <a:pt x="42" y="166"/>
                          <a:pt x="42" y="166"/>
                        </a:cubicBezTo>
                        <a:cubicBezTo>
                          <a:pt x="42" y="172"/>
                          <a:pt x="42" y="172"/>
                          <a:pt x="42" y="172"/>
                        </a:cubicBezTo>
                        <a:cubicBezTo>
                          <a:pt x="42" y="173"/>
                          <a:pt x="42" y="174"/>
                          <a:pt x="43" y="174"/>
                        </a:cubicBezTo>
                        <a:cubicBezTo>
                          <a:pt x="57" y="174"/>
                          <a:pt x="57" y="174"/>
                          <a:pt x="57" y="174"/>
                        </a:cubicBezTo>
                        <a:cubicBezTo>
                          <a:pt x="58" y="174"/>
                          <a:pt x="59" y="173"/>
                          <a:pt x="59" y="172"/>
                        </a:cubicBezTo>
                        <a:cubicBezTo>
                          <a:pt x="59" y="166"/>
                          <a:pt x="59" y="166"/>
                          <a:pt x="59" y="166"/>
                        </a:cubicBezTo>
                        <a:cubicBezTo>
                          <a:pt x="59" y="166"/>
                          <a:pt x="58" y="165"/>
                          <a:pt x="57" y="165"/>
                        </a:cubicBezTo>
                        <a:lnTo>
                          <a:pt x="43" y="165"/>
                        </a:lnTo>
                        <a:close/>
                        <a:moveTo>
                          <a:pt x="7" y="11"/>
                        </a:moveTo>
                        <a:cubicBezTo>
                          <a:pt x="6" y="11"/>
                          <a:pt x="6" y="11"/>
                          <a:pt x="6" y="12"/>
                        </a:cubicBezTo>
                        <a:cubicBezTo>
                          <a:pt x="6" y="160"/>
                          <a:pt x="6" y="160"/>
                          <a:pt x="6" y="160"/>
                        </a:cubicBezTo>
                        <a:cubicBezTo>
                          <a:pt x="6" y="160"/>
                          <a:pt x="6" y="161"/>
                          <a:pt x="7" y="161"/>
                        </a:cubicBezTo>
                        <a:cubicBezTo>
                          <a:pt x="94" y="161"/>
                          <a:pt x="94" y="161"/>
                          <a:pt x="94" y="161"/>
                        </a:cubicBezTo>
                        <a:cubicBezTo>
                          <a:pt x="94" y="161"/>
                          <a:pt x="95" y="160"/>
                          <a:pt x="95" y="160"/>
                        </a:cubicBezTo>
                        <a:cubicBezTo>
                          <a:pt x="95" y="12"/>
                          <a:pt x="95" y="12"/>
                          <a:pt x="95" y="12"/>
                        </a:cubicBezTo>
                        <a:cubicBezTo>
                          <a:pt x="95" y="11"/>
                          <a:pt x="94" y="11"/>
                          <a:pt x="94" y="11"/>
                        </a:cubicBezTo>
                        <a:lnTo>
                          <a:pt x="7" y="11"/>
                        </a:lnTo>
                        <a:close/>
                        <a:moveTo>
                          <a:pt x="43" y="4"/>
                        </a:moveTo>
                        <a:cubicBezTo>
                          <a:pt x="43" y="4"/>
                          <a:pt x="43" y="5"/>
                          <a:pt x="43" y="5"/>
                        </a:cubicBezTo>
                        <a:cubicBezTo>
                          <a:pt x="43" y="6"/>
                          <a:pt x="43" y="6"/>
                          <a:pt x="43" y="6"/>
                        </a:cubicBezTo>
                        <a:cubicBezTo>
                          <a:pt x="43" y="7"/>
                          <a:pt x="43" y="7"/>
                          <a:pt x="43" y="7"/>
                        </a:cubicBezTo>
                        <a:cubicBezTo>
                          <a:pt x="57" y="7"/>
                          <a:pt x="57" y="7"/>
                          <a:pt x="57" y="7"/>
                        </a:cubicBezTo>
                        <a:cubicBezTo>
                          <a:pt x="57" y="7"/>
                          <a:pt x="58" y="7"/>
                          <a:pt x="58" y="6"/>
                        </a:cubicBezTo>
                        <a:cubicBezTo>
                          <a:pt x="58" y="5"/>
                          <a:pt x="58" y="5"/>
                          <a:pt x="58" y="5"/>
                        </a:cubicBezTo>
                        <a:cubicBezTo>
                          <a:pt x="58" y="5"/>
                          <a:pt x="57" y="4"/>
                          <a:pt x="57" y="4"/>
                        </a:cubicBezTo>
                        <a:lnTo>
                          <a:pt x="43" y="4"/>
                        </a:lnTo>
                        <a:close/>
                        <a:moveTo>
                          <a:pt x="81" y="3"/>
                        </a:moveTo>
                        <a:cubicBezTo>
                          <a:pt x="80" y="3"/>
                          <a:pt x="79" y="4"/>
                          <a:pt x="79" y="5"/>
                        </a:cubicBezTo>
                        <a:cubicBezTo>
                          <a:pt x="79" y="7"/>
                          <a:pt x="80" y="8"/>
                          <a:pt x="81" y="8"/>
                        </a:cubicBezTo>
                        <a:cubicBezTo>
                          <a:pt x="83" y="8"/>
                          <a:pt x="84" y="7"/>
                          <a:pt x="84" y="5"/>
                        </a:cubicBezTo>
                        <a:cubicBezTo>
                          <a:pt x="84" y="4"/>
                          <a:pt x="83" y="3"/>
                          <a:pt x="81" y="3"/>
                        </a:cubicBezTo>
                        <a:close/>
                        <a:moveTo>
                          <a:pt x="5" y="0"/>
                        </a:move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98" y="0"/>
                          <a:pt x="101" y="2"/>
                          <a:pt x="101" y="5"/>
                        </a:cubicBezTo>
                        <a:cubicBezTo>
                          <a:pt x="101" y="177"/>
                          <a:pt x="101" y="177"/>
                          <a:pt x="101" y="177"/>
                        </a:cubicBezTo>
                        <a:cubicBezTo>
                          <a:pt x="101" y="180"/>
                          <a:pt x="98" y="183"/>
                          <a:pt x="95" y="183"/>
                        </a:cubicBezTo>
                        <a:cubicBezTo>
                          <a:pt x="5" y="183"/>
                          <a:pt x="5" y="183"/>
                          <a:pt x="5" y="183"/>
                        </a:cubicBezTo>
                        <a:cubicBezTo>
                          <a:pt x="2" y="183"/>
                          <a:pt x="0" y="180"/>
                          <a:pt x="0" y="177"/>
                        </a:cubicBezTo>
                        <a:cubicBezTo>
                          <a:pt x="0" y="5"/>
                          <a:pt x="0" y="5"/>
                          <a:pt x="0" y="5"/>
                        </a:cubicBezTo>
                        <a:cubicBezTo>
                          <a:pt x="0" y="2"/>
                          <a:pt x="2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F78C1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8" name="Freeform 215"/>
                  <p:cNvSpPr>
                    <a:spLocks noEditPoints="1"/>
                  </p:cNvSpPr>
                  <p:nvPr/>
                </p:nvSpPr>
                <p:spPr bwMode="auto">
                  <a:xfrm>
                    <a:off x="11958300" y="504892"/>
                    <a:ext cx="112061" cy="208261"/>
                  </a:xfrm>
                  <a:custGeom>
                    <a:avLst/>
                    <a:gdLst>
                      <a:gd name="T0" fmla="*/ 51 w 102"/>
                      <a:gd name="T1" fmla="*/ 142 h 183"/>
                      <a:gd name="T2" fmla="*/ 45 w 102"/>
                      <a:gd name="T3" fmla="*/ 148 h 183"/>
                      <a:gd name="T4" fmla="*/ 51 w 102"/>
                      <a:gd name="T5" fmla="*/ 154 h 183"/>
                      <a:gd name="T6" fmla="*/ 57 w 102"/>
                      <a:gd name="T7" fmla="*/ 148 h 183"/>
                      <a:gd name="T8" fmla="*/ 51 w 102"/>
                      <a:gd name="T9" fmla="*/ 142 h 183"/>
                      <a:gd name="T10" fmla="*/ 51 w 102"/>
                      <a:gd name="T11" fmla="*/ 117 h 183"/>
                      <a:gd name="T12" fmla="*/ 40 w 102"/>
                      <a:gd name="T13" fmla="*/ 128 h 183"/>
                      <a:gd name="T14" fmla="*/ 51 w 102"/>
                      <a:gd name="T15" fmla="*/ 139 h 183"/>
                      <a:gd name="T16" fmla="*/ 62 w 102"/>
                      <a:gd name="T17" fmla="*/ 128 h 183"/>
                      <a:gd name="T18" fmla="*/ 51 w 102"/>
                      <a:gd name="T19" fmla="*/ 117 h 183"/>
                      <a:gd name="T20" fmla="*/ 72 w 102"/>
                      <a:gd name="T21" fmla="*/ 52 h 183"/>
                      <a:gd name="T22" fmla="*/ 72 w 102"/>
                      <a:gd name="T23" fmla="*/ 105 h 183"/>
                      <a:gd name="T24" fmla="*/ 78 w 102"/>
                      <a:gd name="T25" fmla="*/ 105 h 183"/>
                      <a:gd name="T26" fmla="*/ 78 w 102"/>
                      <a:gd name="T27" fmla="*/ 52 h 183"/>
                      <a:gd name="T28" fmla="*/ 72 w 102"/>
                      <a:gd name="T29" fmla="*/ 52 h 183"/>
                      <a:gd name="T30" fmla="*/ 56 w 102"/>
                      <a:gd name="T31" fmla="*/ 52 h 183"/>
                      <a:gd name="T32" fmla="*/ 56 w 102"/>
                      <a:gd name="T33" fmla="*/ 105 h 183"/>
                      <a:gd name="T34" fmla="*/ 63 w 102"/>
                      <a:gd name="T35" fmla="*/ 105 h 183"/>
                      <a:gd name="T36" fmla="*/ 63 w 102"/>
                      <a:gd name="T37" fmla="*/ 52 h 183"/>
                      <a:gd name="T38" fmla="*/ 56 w 102"/>
                      <a:gd name="T39" fmla="*/ 52 h 183"/>
                      <a:gd name="T40" fmla="*/ 40 w 102"/>
                      <a:gd name="T41" fmla="*/ 52 h 183"/>
                      <a:gd name="T42" fmla="*/ 40 w 102"/>
                      <a:gd name="T43" fmla="*/ 105 h 183"/>
                      <a:gd name="T44" fmla="*/ 47 w 102"/>
                      <a:gd name="T45" fmla="*/ 105 h 183"/>
                      <a:gd name="T46" fmla="*/ 47 w 102"/>
                      <a:gd name="T47" fmla="*/ 52 h 183"/>
                      <a:gd name="T48" fmla="*/ 40 w 102"/>
                      <a:gd name="T49" fmla="*/ 52 h 183"/>
                      <a:gd name="T50" fmla="*/ 24 w 102"/>
                      <a:gd name="T51" fmla="*/ 52 h 183"/>
                      <a:gd name="T52" fmla="*/ 24 w 102"/>
                      <a:gd name="T53" fmla="*/ 105 h 183"/>
                      <a:gd name="T54" fmla="*/ 31 w 102"/>
                      <a:gd name="T55" fmla="*/ 105 h 183"/>
                      <a:gd name="T56" fmla="*/ 31 w 102"/>
                      <a:gd name="T57" fmla="*/ 52 h 183"/>
                      <a:gd name="T58" fmla="*/ 24 w 102"/>
                      <a:gd name="T59" fmla="*/ 52 h 183"/>
                      <a:gd name="T60" fmla="*/ 13 w 102"/>
                      <a:gd name="T61" fmla="*/ 15 h 183"/>
                      <a:gd name="T62" fmla="*/ 11 w 102"/>
                      <a:gd name="T63" fmla="*/ 17 h 183"/>
                      <a:gd name="T64" fmla="*/ 11 w 102"/>
                      <a:gd name="T65" fmla="*/ 26 h 183"/>
                      <a:gd name="T66" fmla="*/ 13 w 102"/>
                      <a:gd name="T67" fmla="*/ 28 h 183"/>
                      <a:gd name="T68" fmla="*/ 89 w 102"/>
                      <a:gd name="T69" fmla="*/ 28 h 183"/>
                      <a:gd name="T70" fmla="*/ 91 w 102"/>
                      <a:gd name="T71" fmla="*/ 26 h 183"/>
                      <a:gd name="T72" fmla="*/ 91 w 102"/>
                      <a:gd name="T73" fmla="*/ 17 h 183"/>
                      <a:gd name="T74" fmla="*/ 89 w 102"/>
                      <a:gd name="T75" fmla="*/ 15 h 183"/>
                      <a:gd name="T76" fmla="*/ 13 w 102"/>
                      <a:gd name="T77" fmla="*/ 15 h 183"/>
                      <a:gd name="T78" fmla="*/ 5 w 102"/>
                      <a:gd name="T79" fmla="*/ 0 h 183"/>
                      <a:gd name="T80" fmla="*/ 97 w 102"/>
                      <a:gd name="T81" fmla="*/ 0 h 183"/>
                      <a:gd name="T82" fmla="*/ 102 w 102"/>
                      <a:gd name="T83" fmla="*/ 5 h 183"/>
                      <a:gd name="T84" fmla="*/ 102 w 102"/>
                      <a:gd name="T85" fmla="*/ 174 h 183"/>
                      <a:gd name="T86" fmla="*/ 97 w 102"/>
                      <a:gd name="T87" fmla="*/ 180 h 183"/>
                      <a:gd name="T88" fmla="*/ 91 w 102"/>
                      <a:gd name="T89" fmla="*/ 180 h 183"/>
                      <a:gd name="T90" fmla="*/ 91 w 102"/>
                      <a:gd name="T91" fmla="*/ 183 h 183"/>
                      <a:gd name="T92" fmla="*/ 11 w 102"/>
                      <a:gd name="T93" fmla="*/ 183 h 183"/>
                      <a:gd name="T94" fmla="*/ 11 w 102"/>
                      <a:gd name="T95" fmla="*/ 180 h 183"/>
                      <a:gd name="T96" fmla="*/ 5 w 102"/>
                      <a:gd name="T97" fmla="*/ 180 h 183"/>
                      <a:gd name="T98" fmla="*/ 0 w 102"/>
                      <a:gd name="T99" fmla="*/ 174 h 183"/>
                      <a:gd name="T100" fmla="*/ 0 w 102"/>
                      <a:gd name="T101" fmla="*/ 5 h 183"/>
                      <a:gd name="T102" fmla="*/ 5 w 102"/>
                      <a:gd name="T103" fmla="*/ 0 h 1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102" h="183">
                        <a:moveTo>
                          <a:pt x="51" y="142"/>
                        </a:moveTo>
                        <a:cubicBezTo>
                          <a:pt x="48" y="142"/>
                          <a:pt x="45" y="145"/>
                          <a:pt x="45" y="148"/>
                        </a:cubicBezTo>
                        <a:cubicBezTo>
                          <a:pt x="45" y="151"/>
                          <a:pt x="48" y="154"/>
                          <a:pt x="51" y="154"/>
                        </a:cubicBezTo>
                        <a:cubicBezTo>
                          <a:pt x="54" y="154"/>
                          <a:pt x="57" y="151"/>
                          <a:pt x="57" y="148"/>
                        </a:cubicBezTo>
                        <a:cubicBezTo>
                          <a:pt x="57" y="145"/>
                          <a:pt x="54" y="142"/>
                          <a:pt x="51" y="142"/>
                        </a:cubicBezTo>
                        <a:close/>
                        <a:moveTo>
                          <a:pt x="51" y="117"/>
                        </a:moveTo>
                        <a:cubicBezTo>
                          <a:pt x="45" y="117"/>
                          <a:pt x="40" y="122"/>
                          <a:pt x="40" y="128"/>
                        </a:cubicBezTo>
                        <a:cubicBezTo>
                          <a:pt x="40" y="134"/>
                          <a:pt x="45" y="139"/>
                          <a:pt x="51" y="139"/>
                        </a:cubicBezTo>
                        <a:cubicBezTo>
                          <a:pt x="57" y="139"/>
                          <a:pt x="62" y="134"/>
                          <a:pt x="62" y="128"/>
                        </a:cubicBezTo>
                        <a:cubicBezTo>
                          <a:pt x="62" y="122"/>
                          <a:pt x="57" y="117"/>
                          <a:pt x="51" y="117"/>
                        </a:cubicBezTo>
                        <a:close/>
                        <a:moveTo>
                          <a:pt x="72" y="52"/>
                        </a:moveTo>
                        <a:cubicBezTo>
                          <a:pt x="72" y="105"/>
                          <a:pt x="72" y="105"/>
                          <a:pt x="72" y="105"/>
                        </a:cubicBezTo>
                        <a:cubicBezTo>
                          <a:pt x="78" y="105"/>
                          <a:pt x="78" y="105"/>
                          <a:pt x="78" y="105"/>
                        </a:cubicBezTo>
                        <a:cubicBezTo>
                          <a:pt x="78" y="52"/>
                          <a:pt x="78" y="52"/>
                          <a:pt x="78" y="52"/>
                        </a:cubicBezTo>
                        <a:cubicBezTo>
                          <a:pt x="72" y="52"/>
                          <a:pt x="72" y="52"/>
                          <a:pt x="72" y="52"/>
                        </a:cubicBezTo>
                        <a:close/>
                        <a:moveTo>
                          <a:pt x="56" y="52"/>
                        </a:moveTo>
                        <a:cubicBezTo>
                          <a:pt x="56" y="105"/>
                          <a:pt x="56" y="105"/>
                          <a:pt x="56" y="105"/>
                        </a:cubicBezTo>
                        <a:cubicBezTo>
                          <a:pt x="63" y="105"/>
                          <a:pt x="63" y="105"/>
                          <a:pt x="63" y="105"/>
                        </a:cubicBezTo>
                        <a:cubicBezTo>
                          <a:pt x="63" y="52"/>
                          <a:pt x="63" y="52"/>
                          <a:pt x="63" y="52"/>
                        </a:cubicBezTo>
                        <a:cubicBezTo>
                          <a:pt x="56" y="52"/>
                          <a:pt x="56" y="52"/>
                          <a:pt x="56" y="52"/>
                        </a:cubicBezTo>
                        <a:close/>
                        <a:moveTo>
                          <a:pt x="40" y="52"/>
                        </a:moveTo>
                        <a:cubicBezTo>
                          <a:pt x="40" y="105"/>
                          <a:pt x="40" y="105"/>
                          <a:pt x="40" y="105"/>
                        </a:cubicBezTo>
                        <a:cubicBezTo>
                          <a:pt x="47" y="105"/>
                          <a:pt x="47" y="105"/>
                          <a:pt x="47" y="105"/>
                        </a:cubicBezTo>
                        <a:cubicBezTo>
                          <a:pt x="47" y="52"/>
                          <a:pt x="47" y="52"/>
                          <a:pt x="47" y="52"/>
                        </a:cubicBezTo>
                        <a:cubicBezTo>
                          <a:pt x="40" y="52"/>
                          <a:pt x="40" y="52"/>
                          <a:pt x="40" y="52"/>
                        </a:cubicBezTo>
                        <a:close/>
                        <a:moveTo>
                          <a:pt x="24" y="52"/>
                        </a:moveTo>
                        <a:cubicBezTo>
                          <a:pt x="24" y="105"/>
                          <a:pt x="24" y="105"/>
                          <a:pt x="24" y="105"/>
                        </a:cubicBezTo>
                        <a:cubicBezTo>
                          <a:pt x="31" y="105"/>
                          <a:pt x="31" y="105"/>
                          <a:pt x="31" y="105"/>
                        </a:cubicBezTo>
                        <a:cubicBezTo>
                          <a:pt x="31" y="52"/>
                          <a:pt x="31" y="52"/>
                          <a:pt x="31" y="52"/>
                        </a:cubicBezTo>
                        <a:cubicBezTo>
                          <a:pt x="24" y="52"/>
                          <a:pt x="24" y="52"/>
                          <a:pt x="24" y="52"/>
                        </a:cubicBezTo>
                        <a:close/>
                        <a:moveTo>
                          <a:pt x="13" y="15"/>
                        </a:moveTo>
                        <a:cubicBezTo>
                          <a:pt x="12" y="15"/>
                          <a:pt x="11" y="16"/>
                          <a:pt x="11" y="17"/>
                        </a:cubicBezTo>
                        <a:cubicBezTo>
                          <a:pt x="11" y="26"/>
                          <a:pt x="11" y="26"/>
                          <a:pt x="11" y="26"/>
                        </a:cubicBezTo>
                        <a:cubicBezTo>
                          <a:pt x="11" y="27"/>
                          <a:pt x="12" y="28"/>
                          <a:pt x="13" y="28"/>
                        </a:cubicBezTo>
                        <a:cubicBezTo>
                          <a:pt x="89" y="28"/>
                          <a:pt x="89" y="28"/>
                          <a:pt x="89" y="28"/>
                        </a:cubicBezTo>
                        <a:cubicBezTo>
                          <a:pt x="90" y="28"/>
                          <a:pt x="91" y="27"/>
                          <a:pt x="91" y="26"/>
                        </a:cubicBezTo>
                        <a:cubicBezTo>
                          <a:pt x="91" y="17"/>
                          <a:pt x="91" y="17"/>
                          <a:pt x="91" y="17"/>
                        </a:cubicBezTo>
                        <a:cubicBezTo>
                          <a:pt x="91" y="16"/>
                          <a:pt x="90" y="15"/>
                          <a:pt x="89" y="15"/>
                        </a:cubicBezTo>
                        <a:lnTo>
                          <a:pt x="13" y="15"/>
                        </a:lnTo>
                        <a:close/>
                        <a:moveTo>
                          <a:pt x="5" y="0"/>
                        </a:moveTo>
                        <a:cubicBezTo>
                          <a:pt x="97" y="0"/>
                          <a:pt x="97" y="0"/>
                          <a:pt x="97" y="0"/>
                        </a:cubicBezTo>
                        <a:cubicBezTo>
                          <a:pt x="100" y="0"/>
                          <a:pt x="102" y="3"/>
                          <a:pt x="102" y="5"/>
                        </a:cubicBezTo>
                        <a:cubicBezTo>
                          <a:pt x="102" y="174"/>
                          <a:pt x="102" y="174"/>
                          <a:pt x="102" y="174"/>
                        </a:cubicBezTo>
                        <a:cubicBezTo>
                          <a:pt x="102" y="177"/>
                          <a:pt x="100" y="180"/>
                          <a:pt x="97" y="180"/>
                        </a:cubicBezTo>
                        <a:cubicBezTo>
                          <a:pt x="91" y="180"/>
                          <a:pt x="91" y="180"/>
                          <a:pt x="91" y="180"/>
                        </a:cubicBezTo>
                        <a:cubicBezTo>
                          <a:pt x="91" y="183"/>
                          <a:pt x="91" y="183"/>
                          <a:pt x="91" y="183"/>
                        </a:cubicBezTo>
                        <a:cubicBezTo>
                          <a:pt x="11" y="183"/>
                          <a:pt x="11" y="183"/>
                          <a:pt x="11" y="183"/>
                        </a:cubicBezTo>
                        <a:cubicBezTo>
                          <a:pt x="11" y="180"/>
                          <a:pt x="11" y="180"/>
                          <a:pt x="11" y="180"/>
                        </a:cubicBezTo>
                        <a:cubicBezTo>
                          <a:pt x="5" y="180"/>
                          <a:pt x="5" y="180"/>
                          <a:pt x="5" y="180"/>
                        </a:cubicBezTo>
                        <a:cubicBezTo>
                          <a:pt x="2" y="180"/>
                          <a:pt x="0" y="177"/>
                          <a:pt x="0" y="174"/>
                        </a:cubicBezTo>
                        <a:cubicBezTo>
                          <a:pt x="0" y="5"/>
                          <a:pt x="0" y="5"/>
                          <a:pt x="0" y="5"/>
                        </a:cubicBezTo>
                        <a:cubicBezTo>
                          <a:pt x="0" y="3"/>
                          <a:pt x="2" y="0"/>
                          <a:pt x="5" y="0"/>
                        </a:cubicBezTo>
                        <a:close/>
                      </a:path>
                    </a:pathLst>
                  </a:custGeom>
                  <a:solidFill>
                    <a:srgbClr val="F78C1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9" name="Freeform 216"/>
                  <p:cNvSpPr>
                    <a:spLocks noEditPoints="1"/>
                  </p:cNvSpPr>
                  <p:nvPr/>
                </p:nvSpPr>
                <p:spPr bwMode="auto">
                  <a:xfrm flipH="1">
                    <a:off x="11096289" y="1199709"/>
                    <a:ext cx="176096" cy="264099"/>
                  </a:xfrm>
                  <a:custGeom>
                    <a:avLst/>
                    <a:gdLst>
                      <a:gd name="T0" fmla="*/ 112 w 160"/>
                      <a:gd name="T1" fmla="*/ 211 h 232"/>
                      <a:gd name="T2" fmla="*/ 99 w 160"/>
                      <a:gd name="T3" fmla="*/ 202 h 232"/>
                      <a:gd name="T4" fmla="*/ 93 w 160"/>
                      <a:gd name="T5" fmla="*/ 215 h 232"/>
                      <a:gd name="T6" fmla="*/ 110 w 160"/>
                      <a:gd name="T7" fmla="*/ 196 h 232"/>
                      <a:gd name="T8" fmla="*/ 119 w 160"/>
                      <a:gd name="T9" fmla="*/ 202 h 232"/>
                      <a:gd name="T10" fmla="*/ 107 w 160"/>
                      <a:gd name="T11" fmla="*/ 208 h 232"/>
                      <a:gd name="T12" fmla="*/ 108 w 160"/>
                      <a:gd name="T13" fmla="*/ 194 h 232"/>
                      <a:gd name="T14" fmla="*/ 119 w 160"/>
                      <a:gd name="T15" fmla="*/ 198 h 232"/>
                      <a:gd name="T16" fmla="*/ 114 w 160"/>
                      <a:gd name="T17" fmla="*/ 192 h 232"/>
                      <a:gd name="T18" fmla="*/ 105 w 160"/>
                      <a:gd name="T19" fmla="*/ 186 h 232"/>
                      <a:gd name="T20" fmla="*/ 107 w 160"/>
                      <a:gd name="T21" fmla="*/ 192 h 232"/>
                      <a:gd name="T22" fmla="*/ 105 w 160"/>
                      <a:gd name="T23" fmla="*/ 186 h 232"/>
                      <a:gd name="T24" fmla="*/ 114 w 160"/>
                      <a:gd name="T25" fmla="*/ 184 h 232"/>
                      <a:gd name="T26" fmla="*/ 111 w 160"/>
                      <a:gd name="T27" fmla="*/ 189 h 232"/>
                      <a:gd name="T28" fmla="*/ 108 w 160"/>
                      <a:gd name="T29" fmla="*/ 184 h 232"/>
                      <a:gd name="T30" fmla="*/ 112 w 160"/>
                      <a:gd name="T31" fmla="*/ 178 h 232"/>
                      <a:gd name="T32" fmla="*/ 66 w 160"/>
                      <a:gd name="T33" fmla="*/ 79 h 232"/>
                      <a:gd name="T34" fmla="*/ 76 w 160"/>
                      <a:gd name="T35" fmla="*/ 74 h 232"/>
                      <a:gd name="T36" fmla="*/ 82 w 160"/>
                      <a:gd name="T37" fmla="*/ 177 h 232"/>
                      <a:gd name="T38" fmla="*/ 105 w 160"/>
                      <a:gd name="T39" fmla="*/ 180 h 232"/>
                      <a:gd name="T40" fmla="*/ 98 w 160"/>
                      <a:gd name="T41" fmla="*/ 196 h 232"/>
                      <a:gd name="T42" fmla="*/ 95 w 160"/>
                      <a:gd name="T43" fmla="*/ 201 h 232"/>
                      <a:gd name="T44" fmla="*/ 86 w 160"/>
                      <a:gd name="T45" fmla="*/ 216 h 232"/>
                      <a:gd name="T46" fmla="*/ 86 w 160"/>
                      <a:gd name="T47" fmla="*/ 221 h 232"/>
                      <a:gd name="T48" fmla="*/ 86 w 160"/>
                      <a:gd name="T49" fmla="*/ 227 h 232"/>
                      <a:gd name="T50" fmla="*/ 91 w 160"/>
                      <a:gd name="T51" fmla="*/ 222 h 232"/>
                      <a:gd name="T52" fmla="*/ 92 w 160"/>
                      <a:gd name="T53" fmla="*/ 217 h 232"/>
                      <a:gd name="T54" fmla="*/ 111 w 160"/>
                      <a:gd name="T55" fmla="*/ 214 h 232"/>
                      <a:gd name="T56" fmla="*/ 124 w 160"/>
                      <a:gd name="T57" fmla="*/ 221 h 232"/>
                      <a:gd name="T58" fmla="*/ 125 w 160"/>
                      <a:gd name="T59" fmla="*/ 225 h 232"/>
                      <a:gd name="T60" fmla="*/ 123 w 160"/>
                      <a:gd name="T61" fmla="*/ 230 h 232"/>
                      <a:gd name="T62" fmla="*/ 129 w 160"/>
                      <a:gd name="T63" fmla="*/ 231 h 232"/>
                      <a:gd name="T64" fmla="*/ 128 w 160"/>
                      <a:gd name="T65" fmla="*/ 225 h 232"/>
                      <a:gd name="T66" fmla="*/ 127 w 160"/>
                      <a:gd name="T67" fmla="*/ 217 h 232"/>
                      <a:gd name="T68" fmla="*/ 126 w 160"/>
                      <a:gd name="T69" fmla="*/ 201 h 232"/>
                      <a:gd name="T70" fmla="*/ 120 w 160"/>
                      <a:gd name="T71" fmla="*/ 187 h 232"/>
                      <a:gd name="T72" fmla="*/ 117 w 160"/>
                      <a:gd name="T73" fmla="*/ 177 h 232"/>
                      <a:gd name="T74" fmla="*/ 125 w 160"/>
                      <a:gd name="T75" fmla="*/ 173 h 232"/>
                      <a:gd name="T76" fmla="*/ 155 w 160"/>
                      <a:gd name="T77" fmla="*/ 80 h 232"/>
                      <a:gd name="T78" fmla="*/ 66 w 160"/>
                      <a:gd name="T79" fmla="*/ 78 h 232"/>
                      <a:gd name="T80" fmla="*/ 66 w 160"/>
                      <a:gd name="T81" fmla="*/ 43 h 232"/>
                      <a:gd name="T82" fmla="*/ 48 w 160"/>
                      <a:gd name="T83" fmla="*/ 61 h 232"/>
                      <a:gd name="T84" fmla="*/ 66 w 160"/>
                      <a:gd name="T85" fmla="*/ 43 h 232"/>
                      <a:gd name="T86" fmla="*/ 22 w 160"/>
                      <a:gd name="T87" fmla="*/ 58 h 232"/>
                      <a:gd name="T88" fmla="*/ 62 w 160"/>
                      <a:gd name="T89" fmla="*/ 33 h 232"/>
                      <a:gd name="T90" fmla="*/ 54 w 160"/>
                      <a:gd name="T91" fmla="*/ 0 h 232"/>
                      <a:gd name="T92" fmla="*/ 13 w 160"/>
                      <a:gd name="T93" fmla="*/ 49 h 232"/>
                      <a:gd name="T94" fmla="*/ 59 w 160"/>
                      <a:gd name="T95" fmla="*/ 1 h 2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60" h="232">
                        <a:moveTo>
                          <a:pt x="120" y="204"/>
                        </a:moveTo>
                        <a:cubicBezTo>
                          <a:pt x="123" y="218"/>
                          <a:pt x="123" y="218"/>
                          <a:pt x="123" y="218"/>
                        </a:cubicBezTo>
                        <a:cubicBezTo>
                          <a:pt x="112" y="211"/>
                          <a:pt x="112" y="211"/>
                          <a:pt x="112" y="211"/>
                        </a:cubicBezTo>
                        <a:cubicBezTo>
                          <a:pt x="112" y="210"/>
                          <a:pt x="112" y="210"/>
                          <a:pt x="112" y="210"/>
                        </a:cubicBezTo>
                        <a:cubicBezTo>
                          <a:pt x="120" y="204"/>
                          <a:pt x="120" y="204"/>
                          <a:pt x="120" y="204"/>
                        </a:cubicBezTo>
                        <a:close/>
                        <a:moveTo>
                          <a:pt x="99" y="202"/>
                        </a:moveTo>
                        <a:cubicBezTo>
                          <a:pt x="106" y="210"/>
                          <a:pt x="106" y="210"/>
                          <a:pt x="106" y="210"/>
                        </a:cubicBezTo>
                        <a:cubicBezTo>
                          <a:pt x="106" y="210"/>
                          <a:pt x="106" y="210"/>
                          <a:pt x="106" y="210"/>
                        </a:cubicBezTo>
                        <a:cubicBezTo>
                          <a:pt x="93" y="215"/>
                          <a:pt x="93" y="215"/>
                          <a:pt x="93" y="215"/>
                        </a:cubicBezTo>
                        <a:cubicBezTo>
                          <a:pt x="99" y="202"/>
                          <a:pt x="99" y="202"/>
                          <a:pt x="99" y="202"/>
                        </a:cubicBezTo>
                        <a:close/>
                        <a:moveTo>
                          <a:pt x="108" y="194"/>
                        </a:moveTo>
                        <a:cubicBezTo>
                          <a:pt x="108" y="195"/>
                          <a:pt x="109" y="196"/>
                          <a:pt x="110" y="196"/>
                        </a:cubicBezTo>
                        <a:cubicBezTo>
                          <a:pt x="111" y="196"/>
                          <a:pt x="112" y="195"/>
                          <a:pt x="112" y="195"/>
                        </a:cubicBezTo>
                        <a:cubicBezTo>
                          <a:pt x="119" y="202"/>
                          <a:pt x="119" y="202"/>
                          <a:pt x="119" y="202"/>
                        </a:cubicBezTo>
                        <a:cubicBezTo>
                          <a:pt x="119" y="202"/>
                          <a:pt x="119" y="202"/>
                          <a:pt x="119" y="202"/>
                        </a:cubicBezTo>
                        <a:cubicBezTo>
                          <a:pt x="111" y="209"/>
                          <a:pt x="111" y="209"/>
                          <a:pt x="111" y="209"/>
                        </a:cubicBezTo>
                        <a:cubicBezTo>
                          <a:pt x="110" y="208"/>
                          <a:pt x="110" y="208"/>
                          <a:pt x="109" y="208"/>
                        </a:cubicBezTo>
                        <a:cubicBezTo>
                          <a:pt x="108" y="208"/>
                          <a:pt x="108" y="208"/>
                          <a:pt x="107" y="208"/>
                        </a:cubicBezTo>
                        <a:cubicBezTo>
                          <a:pt x="100" y="200"/>
                          <a:pt x="100" y="200"/>
                          <a:pt x="100" y="200"/>
                        </a:cubicBezTo>
                        <a:cubicBezTo>
                          <a:pt x="100" y="200"/>
                          <a:pt x="100" y="200"/>
                          <a:pt x="100" y="200"/>
                        </a:cubicBezTo>
                        <a:lnTo>
                          <a:pt x="108" y="194"/>
                        </a:lnTo>
                        <a:close/>
                        <a:moveTo>
                          <a:pt x="116" y="188"/>
                        </a:moveTo>
                        <a:cubicBezTo>
                          <a:pt x="117" y="188"/>
                          <a:pt x="117" y="188"/>
                          <a:pt x="117" y="188"/>
                        </a:cubicBezTo>
                        <a:cubicBezTo>
                          <a:pt x="119" y="198"/>
                          <a:pt x="119" y="198"/>
                          <a:pt x="119" y="198"/>
                        </a:cubicBezTo>
                        <a:cubicBezTo>
                          <a:pt x="113" y="193"/>
                          <a:pt x="113" y="193"/>
                          <a:pt x="113" y="193"/>
                        </a:cubicBezTo>
                        <a:cubicBezTo>
                          <a:pt x="114" y="193"/>
                          <a:pt x="114" y="193"/>
                          <a:pt x="114" y="193"/>
                        </a:cubicBezTo>
                        <a:cubicBezTo>
                          <a:pt x="114" y="192"/>
                          <a:pt x="114" y="192"/>
                          <a:pt x="114" y="192"/>
                        </a:cubicBezTo>
                        <a:cubicBezTo>
                          <a:pt x="114" y="192"/>
                          <a:pt x="113" y="191"/>
                          <a:pt x="113" y="191"/>
                        </a:cubicBezTo>
                        <a:lnTo>
                          <a:pt x="116" y="188"/>
                        </a:lnTo>
                        <a:close/>
                        <a:moveTo>
                          <a:pt x="105" y="186"/>
                        </a:moveTo>
                        <a:cubicBezTo>
                          <a:pt x="108" y="190"/>
                          <a:pt x="108" y="190"/>
                          <a:pt x="108" y="190"/>
                        </a:cubicBezTo>
                        <a:cubicBezTo>
                          <a:pt x="107" y="191"/>
                          <a:pt x="107" y="191"/>
                          <a:pt x="107" y="192"/>
                        </a:cubicBezTo>
                        <a:cubicBezTo>
                          <a:pt x="107" y="192"/>
                          <a:pt x="107" y="192"/>
                          <a:pt x="107" y="192"/>
                        </a:cubicBezTo>
                        <a:cubicBezTo>
                          <a:pt x="101" y="196"/>
                          <a:pt x="101" y="196"/>
                          <a:pt x="101" y="196"/>
                        </a:cubicBezTo>
                        <a:cubicBezTo>
                          <a:pt x="105" y="187"/>
                          <a:pt x="105" y="187"/>
                          <a:pt x="105" y="187"/>
                        </a:cubicBezTo>
                        <a:cubicBezTo>
                          <a:pt x="105" y="186"/>
                          <a:pt x="105" y="186"/>
                          <a:pt x="105" y="186"/>
                        </a:cubicBezTo>
                        <a:close/>
                        <a:moveTo>
                          <a:pt x="115" y="178"/>
                        </a:moveTo>
                        <a:cubicBezTo>
                          <a:pt x="116" y="182"/>
                          <a:pt x="116" y="182"/>
                          <a:pt x="116" y="182"/>
                        </a:cubicBezTo>
                        <a:cubicBezTo>
                          <a:pt x="115" y="183"/>
                          <a:pt x="115" y="183"/>
                          <a:pt x="114" y="184"/>
                        </a:cubicBezTo>
                        <a:cubicBezTo>
                          <a:pt x="114" y="185"/>
                          <a:pt x="115" y="186"/>
                          <a:pt x="115" y="186"/>
                        </a:cubicBezTo>
                        <a:cubicBezTo>
                          <a:pt x="112" y="189"/>
                          <a:pt x="112" y="189"/>
                          <a:pt x="112" y="189"/>
                        </a:cubicBezTo>
                        <a:cubicBezTo>
                          <a:pt x="111" y="189"/>
                          <a:pt x="111" y="189"/>
                          <a:pt x="111" y="189"/>
                        </a:cubicBezTo>
                        <a:cubicBezTo>
                          <a:pt x="110" y="189"/>
                          <a:pt x="110" y="189"/>
                          <a:pt x="110" y="189"/>
                        </a:cubicBezTo>
                        <a:cubicBezTo>
                          <a:pt x="107" y="185"/>
                          <a:pt x="107" y="185"/>
                          <a:pt x="107" y="185"/>
                        </a:cubicBezTo>
                        <a:cubicBezTo>
                          <a:pt x="108" y="185"/>
                          <a:pt x="108" y="184"/>
                          <a:pt x="108" y="184"/>
                        </a:cubicBezTo>
                        <a:cubicBezTo>
                          <a:pt x="108" y="183"/>
                          <a:pt x="108" y="182"/>
                          <a:pt x="107" y="181"/>
                        </a:cubicBezTo>
                        <a:cubicBezTo>
                          <a:pt x="109" y="177"/>
                          <a:pt x="109" y="177"/>
                          <a:pt x="109" y="177"/>
                        </a:cubicBezTo>
                        <a:cubicBezTo>
                          <a:pt x="110" y="178"/>
                          <a:pt x="111" y="178"/>
                          <a:pt x="112" y="178"/>
                        </a:cubicBezTo>
                        <a:cubicBezTo>
                          <a:pt x="113" y="178"/>
                          <a:pt x="114" y="178"/>
                          <a:pt x="115" y="178"/>
                        </a:cubicBezTo>
                        <a:close/>
                        <a:moveTo>
                          <a:pt x="76" y="74"/>
                        </a:moveTo>
                        <a:cubicBezTo>
                          <a:pt x="74" y="77"/>
                          <a:pt x="71" y="80"/>
                          <a:pt x="66" y="79"/>
                        </a:cubicBezTo>
                        <a:cubicBezTo>
                          <a:pt x="84" y="116"/>
                          <a:pt x="84" y="116"/>
                          <a:pt x="84" y="116"/>
                        </a:cubicBezTo>
                        <a:cubicBezTo>
                          <a:pt x="88" y="114"/>
                          <a:pt x="94" y="110"/>
                          <a:pt x="97" y="108"/>
                        </a:cubicBezTo>
                        <a:cubicBezTo>
                          <a:pt x="91" y="96"/>
                          <a:pt x="83" y="86"/>
                          <a:pt x="76" y="74"/>
                        </a:cubicBezTo>
                        <a:close/>
                        <a:moveTo>
                          <a:pt x="155" y="80"/>
                        </a:moveTo>
                        <a:cubicBezTo>
                          <a:pt x="31" y="148"/>
                          <a:pt x="31" y="148"/>
                          <a:pt x="31" y="148"/>
                        </a:cubicBezTo>
                        <a:cubicBezTo>
                          <a:pt x="42" y="164"/>
                          <a:pt x="60" y="175"/>
                          <a:pt x="82" y="177"/>
                        </a:cubicBezTo>
                        <a:cubicBezTo>
                          <a:pt x="90" y="178"/>
                          <a:pt x="98" y="177"/>
                          <a:pt x="106" y="175"/>
                        </a:cubicBezTo>
                        <a:cubicBezTo>
                          <a:pt x="107" y="176"/>
                          <a:pt x="107" y="176"/>
                          <a:pt x="107" y="176"/>
                        </a:cubicBezTo>
                        <a:cubicBezTo>
                          <a:pt x="105" y="180"/>
                          <a:pt x="105" y="180"/>
                          <a:pt x="105" y="180"/>
                        </a:cubicBezTo>
                        <a:cubicBezTo>
                          <a:pt x="103" y="180"/>
                          <a:pt x="102" y="181"/>
                          <a:pt x="102" y="183"/>
                        </a:cubicBezTo>
                        <a:cubicBezTo>
                          <a:pt x="102" y="184"/>
                          <a:pt x="102" y="185"/>
                          <a:pt x="102" y="186"/>
                        </a:cubicBezTo>
                        <a:cubicBezTo>
                          <a:pt x="98" y="196"/>
                          <a:pt x="98" y="196"/>
                          <a:pt x="98" y="196"/>
                        </a:cubicBezTo>
                        <a:cubicBezTo>
                          <a:pt x="97" y="195"/>
                          <a:pt x="97" y="195"/>
                          <a:pt x="97" y="195"/>
                        </a:cubicBezTo>
                        <a:cubicBezTo>
                          <a:pt x="95" y="195"/>
                          <a:pt x="94" y="197"/>
                          <a:pt x="94" y="198"/>
                        </a:cubicBezTo>
                        <a:cubicBezTo>
                          <a:pt x="94" y="200"/>
                          <a:pt x="94" y="201"/>
                          <a:pt x="95" y="201"/>
                        </a:cubicBezTo>
                        <a:cubicBezTo>
                          <a:pt x="90" y="214"/>
                          <a:pt x="90" y="214"/>
                          <a:pt x="90" y="214"/>
                        </a:cubicBezTo>
                        <a:cubicBezTo>
                          <a:pt x="89" y="213"/>
                          <a:pt x="89" y="213"/>
                          <a:pt x="89" y="213"/>
                        </a:cubicBezTo>
                        <a:cubicBezTo>
                          <a:pt x="87" y="213"/>
                          <a:pt x="86" y="215"/>
                          <a:pt x="86" y="216"/>
                        </a:cubicBezTo>
                        <a:cubicBezTo>
                          <a:pt x="85" y="218"/>
                          <a:pt x="86" y="219"/>
                          <a:pt x="87" y="220"/>
                        </a:cubicBezTo>
                        <a:cubicBezTo>
                          <a:pt x="87" y="221"/>
                          <a:pt x="87" y="221"/>
                          <a:pt x="87" y="221"/>
                        </a:cubicBezTo>
                        <a:cubicBezTo>
                          <a:pt x="86" y="221"/>
                          <a:pt x="86" y="221"/>
                          <a:pt x="86" y="221"/>
                        </a:cubicBezTo>
                        <a:cubicBezTo>
                          <a:pt x="86" y="221"/>
                          <a:pt x="85" y="221"/>
                          <a:pt x="85" y="222"/>
                        </a:cubicBezTo>
                        <a:cubicBezTo>
                          <a:pt x="85" y="226"/>
                          <a:pt x="85" y="226"/>
                          <a:pt x="85" y="226"/>
                        </a:cubicBezTo>
                        <a:cubicBezTo>
                          <a:pt x="85" y="227"/>
                          <a:pt x="85" y="227"/>
                          <a:pt x="86" y="227"/>
                        </a:cubicBezTo>
                        <a:cubicBezTo>
                          <a:pt x="90" y="228"/>
                          <a:pt x="90" y="228"/>
                          <a:pt x="90" y="228"/>
                        </a:cubicBezTo>
                        <a:cubicBezTo>
                          <a:pt x="90" y="228"/>
                          <a:pt x="91" y="227"/>
                          <a:pt x="91" y="227"/>
                        </a:cubicBezTo>
                        <a:cubicBezTo>
                          <a:pt x="91" y="222"/>
                          <a:pt x="91" y="222"/>
                          <a:pt x="91" y="222"/>
                        </a:cubicBezTo>
                        <a:cubicBezTo>
                          <a:pt x="91" y="222"/>
                          <a:pt x="91" y="221"/>
                          <a:pt x="90" y="221"/>
                        </a:cubicBezTo>
                        <a:cubicBezTo>
                          <a:pt x="90" y="221"/>
                          <a:pt x="90" y="221"/>
                          <a:pt x="90" y="221"/>
                        </a:cubicBezTo>
                        <a:cubicBezTo>
                          <a:pt x="92" y="217"/>
                          <a:pt x="92" y="217"/>
                          <a:pt x="92" y="217"/>
                        </a:cubicBezTo>
                        <a:cubicBezTo>
                          <a:pt x="106" y="212"/>
                          <a:pt x="106" y="212"/>
                          <a:pt x="106" y="212"/>
                        </a:cubicBezTo>
                        <a:cubicBezTo>
                          <a:pt x="106" y="214"/>
                          <a:pt x="107" y="214"/>
                          <a:pt x="108" y="214"/>
                        </a:cubicBezTo>
                        <a:cubicBezTo>
                          <a:pt x="109" y="215"/>
                          <a:pt x="110" y="214"/>
                          <a:pt x="111" y="214"/>
                        </a:cubicBezTo>
                        <a:cubicBezTo>
                          <a:pt x="111" y="214"/>
                          <a:pt x="111" y="214"/>
                          <a:pt x="111" y="214"/>
                        </a:cubicBezTo>
                        <a:cubicBezTo>
                          <a:pt x="111" y="213"/>
                          <a:pt x="111" y="213"/>
                          <a:pt x="111" y="213"/>
                        </a:cubicBezTo>
                        <a:cubicBezTo>
                          <a:pt x="124" y="221"/>
                          <a:pt x="124" y="221"/>
                          <a:pt x="124" y="221"/>
                        </a:cubicBezTo>
                        <a:cubicBezTo>
                          <a:pt x="124" y="221"/>
                          <a:pt x="124" y="221"/>
                          <a:pt x="124" y="221"/>
                        </a:cubicBezTo>
                        <a:cubicBezTo>
                          <a:pt x="124" y="221"/>
                          <a:pt x="124" y="221"/>
                          <a:pt x="124" y="222"/>
                        </a:cubicBezTo>
                        <a:cubicBezTo>
                          <a:pt x="125" y="225"/>
                          <a:pt x="125" y="225"/>
                          <a:pt x="125" y="225"/>
                        </a:cubicBezTo>
                        <a:cubicBezTo>
                          <a:pt x="125" y="225"/>
                          <a:pt x="125" y="225"/>
                          <a:pt x="125" y="225"/>
                        </a:cubicBezTo>
                        <a:cubicBezTo>
                          <a:pt x="124" y="225"/>
                          <a:pt x="123" y="225"/>
                          <a:pt x="123" y="226"/>
                        </a:cubicBezTo>
                        <a:cubicBezTo>
                          <a:pt x="123" y="230"/>
                          <a:pt x="123" y="230"/>
                          <a:pt x="123" y="230"/>
                        </a:cubicBezTo>
                        <a:cubicBezTo>
                          <a:pt x="123" y="231"/>
                          <a:pt x="123" y="231"/>
                          <a:pt x="124" y="231"/>
                        </a:cubicBezTo>
                        <a:cubicBezTo>
                          <a:pt x="128" y="231"/>
                          <a:pt x="128" y="231"/>
                          <a:pt x="128" y="231"/>
                        </a:cubicBezTo>
                        <a:cubicBezTo>
                          <a:pt x="128" y="232"/>
                          <a:pt x="129" y="231"/>
                          <a:pt x="129" y="231"/>
                        </a:cubicBezTo>
                        <a:cubicBezTo>
                          <a:pt x="129" y="226"/>
                          <a:pt x="129" y="226"/>
                          <a:pt x="129" y="226"/>
                        </a:cubicBezTo>
                        <a:cubicBezTo>
                          <a:pt x="130" y="226"/>
                          <a:pt x="129" y="225"/>
                          <a:pt x="129" y="225"/>
                        </a:cubicBezTo>
                        <a:cubicBezTo>
                          <a:pt x="128" y="225"/>
                          <a:pt x="128" y="225"/>
                          <a:pt x="128" y="225"/>
                        </a:cubicBezTo>
                        <a:cubicBezTo>
                          <a:pt x="128" y="224"/>
                          <a:pt x="128" y="224"/>
                          <a:pt x="128" y="224"/>
                        </a:cubicBezTo>
                        <a:cubicBezTo>
                          <a:pt x="129" y="223"/>
                          <a:pt x="130" y="222"/>
                          <a:pt x="130" y="221"/>
                        </a:cubicBezTo>
                        <a:cubicBezTo>
                          <a:pt x="130" y="219"/>
                          <a:pt x="129" y="217"/>
                          <a:pt x="127" y="217"/>
                        </a:cubicBezTo>
                        <a:cubicBezTo>
                          <a:pt x="126" y="217"/>
                          <a:pt x="126" y="217"/>
                          <a:pt x="126" y="217"/>
                        </a:cubicBezTo>
                        <a:cubicBezTo>
                          <a:pt x="123" y="204"/>
                          <a:pt x="123" y="204"/>
                          <a:pt x="123" y="204"/>
                        </a:cubicBezTo>
                        <a:cubicBezTo>
                          <a:pt x="125" y="204"/>
                          <a:pt x="125" y="203"/>
                          <a:pt x="126" y="201"/>
                        </a:cubicBezTo>
                        <a:cubicBezTo>
                          <a:pt x="126" y="200"/>
                          <a:pt x="124" y="198"/>
                          <a:pt x="123" y="198"/>
                        </a:cubicBezTo>
                        <a:cubicBezTo>
                          <a:pt x="122" y="198"/>
                          <a:pt x="122" y="198"/>
                          <a:pt x="122" y="198"/>
                        </a:cubicBezTo>
                        <a:cubicBezTo>
                          <a:pt x="120" y="187"/>
                          <a:pt x="120" y="187"/>
                          <a:pt x="120" y="187"/>
                        </a:cubicBezTo>
                        <a:cubicBezTo>
                          <a:pt x="120" y="187"/>
                          <a:pt x="121" y="186"/>
                          <a:pt x="121" y="185"/>
                        </a:cubicBezTo>
                        <a:cubicBezTo>
                          <a:pt x="121" y="183"/>
                          <a:pt x="120" y="182"/>
                          <a:pt x="118" y="182"/>
                        </a:cubicBezTo>
                        <a:cubicBezTo>
                          <a:pt x="117" y="177"/>
                          <a:pt x="117" y="177"/>
                          <a:pt x="117" y="177"/>
                        </a:cubicBezTo>
                        <a:cubicBezTo>
                          <a:pt x="118" y="176"/>
                          <a:pt x="118" y="176"/>
                          <a:pt x="119" y="175"/>
                        </a:cubicBezTo>
                        <a:cubicBezTo>
                          <a:pt x="122" y="175"/>
                          <a:pt x="122" y="175"/>
                          <a:pt x="122" y="175"/>
                        </a:cubicBezTo>
                        <a:cubicBezTo>
                          <a:pt x="123" y="175"/>
                          <a:pt x="125" y="174"/>
                          <a:pt x="125" y="173"/>
                        </a:cubicBezTo>
                        <a:cubicBezTo>
                          <a:pt x="125" y="167"/>
                          <a:pt x="125" y="167"/>
                          <a:pt x="125" y="167"/>
                        </a:cubicBezTo>
                        <a:cubicBezTo>
                          <a:pt x="144" y="155"/>
                          <a:pt x="157" y="136"/>
                          <a:pt x="159" y="113"/>
                        </a:cubicBezTo>
                        <a:cubicBezTo>
                          <a:pt x="160" y="101"/>
                          <a:pt x="159" y="90"/>
                          <a:pt x="155" y="80"/>
                        </a:cubicBezTo>
                        <a:close/>
                        <a:moveTo>
                          <a:pt x="67" y="59"/>
                        </a:moveTo>
                        <a:cubicBezTo>
                          <a:pt x="62" y="59"/>
                          <a:pt x="57" y="63"/>
                          <a:pt x="57" y="68"/>
                        </a:cubicBezTo>
                        <a:cubicBezTo>
                          <a:pt x="56" y="73"/>
                          <a:pt x="60" y="78"/>
                          <a:pt x="66" y="78"/>
                        </a:cubicBezTo>
                        <a:cubicBezTo>
                          <a:pt x="71" y="79"/>
                          <a:pt x="75" y="75"/>
                          <a:pt x="76" y="70"/>
                        </a:cubicBezTo>
                        <a:cubicBezTo>
                          <a:pt x="76" y="64"/>
                          <a:pt x="73" y="60"/>
                          <a:pt x="67" y="59"/>
                        </a:cubicBezTo>
                        <a:close/>
                        <a:moveTo>
                          <a:pt x="66" y="43"/>
                        </a:moveTo>
                        <a:cubicBezTo>
                          <a:pt x="60" y="42"/>
                          <a:pt x="55" y="44"/>
                          <a:pt x="50" y="48"/>
                        </a:cubicBezTo>
                        <a:cubicBezTo>
                          <a:pt x="46" y="51"/>
                          <a:pt x="43" y="56"/>
                          <a:pt x="43" y="62"/>
                        </a:cubicBezTo>
                        <a:cubicBezTo>
                          <a:pt x="48" y="61"/>
                          <a:pt x="48" y="61"/>
                          <a:pt x="48" y="61"/>
                        </a:cubicBezTo>
                        <a:cubicBezTo>
                          <a:pt x="48" y="58"/>
                          <a:pt x="50" y="54"/>
                          <a:pt x="53" y="51"/>
                        </a:cubicBezTo>
                        <a:cubicBezTo>
                          <a:pt x="57" y="49"/>
                          <a:pt x="61" y="47"/>
                          <a:pt x="64" y="48"/>
                        </a:cubicBezTo>
                        <a:lnTo>
                          <a:pt x="66" y="43"/>
                        </a:lnTo>
                        <a:close/>
                        <a:moveTo>
                          <a:pt x="60" y="23"/>
                        </a:moveTo>
                        <a:cubicBezTo>
                          <a:pt x="51" y="23"/>
                          <a:pt x="42" y="26"/>
                          <a:pt x="35" y="32"/>
                        </a:cubicBezTo>
                        <a:cubicBezTo>
                          <a:pt x="28" y="38"/>
                          <a:pt x="23" y="48"/>
                          <a:pt x="22" y="58"/>
                        </a:cubicBezTo>
                        <a:cubicBezTo>
                          <a:pt x="31" y="58"/>
                          <a:pt x="31" y="58"/>
                          <a:pt x="31" y="58"/>
                        </a:cubicBezTo>
                        <a:cubicBezTo>
                          <a:pt x="32" y="51"/>
                          <a:pt x="35" y="44"/>
                          <a:pt x="41" y="39"/>
                        </a:cubicBezTo>
                        <a:cubicBezTo>
                          <a:pt x="47" y="34"/>
                          <a:pt x="55" y="32"/>
                          <a:pt x="62" y="33"/>
                        </a:cubicBezTo>
                        <a:cubicBezTo>
                          <a:pt x="64" y="24"/>
                          <a:pt x="64" y="24"/>
                          <a:pt x="64" y="24"/>
                        </a:cubicBezTo>
                        <a:cubicBezTo>
                          <a:pt x="63" y="24"/>
                          <a:pt x="61" y="24"/>
                          <a:pt x="60" y="23"/>
                        </a:cubicBezTo>
                        <a:close/>
                        <a:moveTo>
                          <a:pt x="54" y="0"/>
                        </a:moveTo>
                        <a:cubicBezTo>
                          <a:pt x="42" y="0"/>
                          <a:pt x="29" y="4"/>
                          <a:pt x="19" y="12"/>
                        </a:cubicBezTo>
                        <a:cubicBezTo>
                          <a:pt x="8" y="22"/>
                          <a:pt x="1" y="35"/>
                          <a:pt x="0" y="49"/>
                        </a:cubicBezTo>
                        <a:cubicBezTo>
                          <a:pt x="13" y="49"/>
                          <a:pt x="13" y="49"/>
                          <a:pt x="13" y="49"/>
                        </a:cubicBezTo>
                        <a:cubicBezTo>
                          <a:pt x="14" y="39"/>
                          <a:pt x="19" y="29"/>
                          <a:pt x="27" y="22"/>
                        </a:cubicBezTo>
                        <a:cubicBezTo>
                          <a:pt x="35" y="15"/>
                          <a:pt x="46" y="12"/>
                          <a:pt x="56" y="14"/>
                        </a:cubicBezTo>
                        <a:cubicBezTo>
                          <a:pt x="59" y="1"/>
                          <a:pt x="59" y="1"/>
                          <a:pt x="59" y="1"/>
                        </a:cubicBezTo>
                        <a:cubicBezTo>
                          <a:pt x="58" y="1"/>
                          <a:pt x="56" y="1"/>
                          <a:pt x="54" y="0"/>
                        </a:cubicBezTo>
                        <a:close/>
                      </a:path>
                    </a:pathLst>
                  </a:custGeom>
                  <a:solidFill>
                    <a:srgbClr val="DA40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0" name="Freeform 217"/>
                  <p:cNvSpPr>
                    <a:spLocks/>
                  </p:cNvSpPr>
                  <p:nvPr/>
                </p:nvSpPr>
                <p:spPr bwMode="auto">
                  <a:xfrm rot="5400000">
                    <a:off x="11267838" y="-133605"/>
                    <a:ext cx="232853" cy="1574030"/>
                  </a:xfrm>
                  <a:custGeom>
                    <a:avLst/>
                    <a:gdLst>
                      <a:gd name="T0" fmla="*/ 0 w 212"/>
                      <a:gd name="T1" fmla="*/ 1384 h 1384"/>
                      <a:gd name="T2" fmla="*/ 0 w 212"/>
                      <a:gd name="T3" fmla="*/ 1350 h 1384"/>
                      <a:gd name="T4" fmla="*/ 106 w 212"/>
                      <a:gd name="T5" fmla="*/ 1350 h 1384"/>
                      <a:gd name="T6" fmla="*/ 160 w 212"/>
                      <a:gd name="T7" fmla="*/ 1331 h 1384"/>
                      <a:gd name="T8" fmla="*/ 173 w 212"/>
                      <a:gd name="T9" fmla="*/ 1245 h 1384"/>
                      <a:gd name="T10" fmla="*/ 173 w 212"/>
                      <a:gd name="T11" fmla="*/ 1243 h 1384"/>
                      <a:gd name="T12" fmla="*/ 173 w 212"/>
                      <a:gd name="T13" fmla="*/ 0 h 1384"/>
                      <a:gd name="T14" fmla="*/ 207 w 212"/>
                      <a:gd name="T15" fmla="*/ 0 h 1384"/>
                      <a:gd name="T16" fmla="*/ 207 w 212"/>
                      <a:gd name="T17" fmla="*/ 1242 h 1384"/>
                      <a:gd name="T18" fmla="*/ 186 w 212"/>
                      <a:gd name="T19" fmla="*/ 1354 h 1384"/>
                      <a:gd name="T20" fmla="*/ 106 w 212"/>
                      <a:gd name="T21" fmla="*/ 1384 h 1384"/>
                      <a:gd name="T22" fmla="*/ 0 w 212"/>
                      <a:gd name="T23" fmla="*/ 1384 h 1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12" h="1384">
                        <a:moveTo>
                          <a:pt x="0" y="1384"/>
                        </a:moveTo>
                        <a:cubicBezTo>
                          <a:pt x="0" y="1350"/>
                          <a:pt x="0" y="1350"/>
                          <a:pt x="0" y="1350"/>
                        </a:cubicBezTo>
                        <a:cubicBezTo>
                          <a:pt x="106" y="1350"/>
                          <a:pt x="106" y="1350"/>
                          <a:pt x="106" y="1350"/>
                        </a:cubicBezTo>
                        <a:cubicBezTo>
                          <a:pt x="132" y="1349"/>
                          <a:pt x="150" y="1343"/>
                          <a:pt x="160" y="1331"/>
                        </a:cubicBezTo>
                        <a:cubicBezTo>
                          <a:pt x="178" y="1312"/>
                          <a:pt x="177" y="1277"/>
                          <a:pt x="173" y="1245"/>
                        </a:cubicBezTo>
                        <a:cubicBezTo>
                          <a:pt x="173" y="1244"/>
                          <a:pt x="173" y="1244"/>
                          <a:pt x="173" y="1243"/>
                        </a:cubicBezTo>
                        <a:cubicBezTo>
                          <a:pt x="173" y="0"/>
                          <a:pt x="173" y="0"/>
                          <a:pt x="173" y="0"/>
                        </a:cubicBezTo>
                        <a:cubicBezTo>
                          <a:pt x="207" y="0"/>
                          <a:pt x="207" y="0"/>
                          <a:pt x="207" y="0"/>
                        </a:cubicBezTo>
                        <a:cubicBezTo>
                          <a:pt x="207" y="1242"/>
                          <a:pt x="207" y="1242"/>
                          <a:pt x="207" y="1242"/>
                        </a:cubicBezTo>
                        <a:cubicBezTo>
                          <a:pt x="211" y="1281"/>
                          <a:pt x="212" y="1325"/>
                          <a:pt x="186" y="1354"/>
                        </a:cubicBezTo>
                        <a:cubicBezTo>
                          <a:pt x="169" y="1373"/>
                          <a:pt x="142" y="1383"/>
                          <a:pt x="106" y="1384"/>
                        </a:cubicBezTo>
                        <a:lnTo>
                          <a:pt x="0" y="1384"/>
                        </a:lnTo>
                        <a:close/>
                      </a:path>
                    </a:pathLst>
                  </a:custGeom>
                  <a:solidFill>
                    <a:srgbClr val="DC5B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1" name="Rectangle 218"/>
                  <p:cNvSpPr>
                    <a:spLocks noChangeArrowheads="1"/>
                  </p:cNvSpPr>
                  <p:nvPr/>
                </p:nvSpPr>
                <p:spPr bwMode="auto">
                  <a:xfrm rot="5400000">
                    <a:off x="10574637" y="446081"/>
                    <a:ext cx="82954" cy="37728"/>
                  </a:xfrm>
                  <a:prstGeom prst="rect">
                    <a:avLst/>
                  </a:prstGeom>
                  <a:solidFill>
                    <a:srgbClr val="DC5B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2" name="Freeform 219"/>
                  <p:cNvSpPr>
                    <a:spLocks/>
                  </p:cNvSpPr>
                  <p:nvPr/>
                </p:nvSpPr>
                <p:spPr bwMode="auto">
                  <a:xfrm rot="5400000">
                    <a:off x="10579003" y="347175"/>
                    <a:ext cx="74222" cy="116203"/>
                  </a:xfrm>
                  <a:custGeom>
                    <a:avLst/>
                    <a:gdLst>
                      <a:gd name="T0" fmla="*/ 51 w 51"/>
                      <a:gd name="T1" fmla="*/ 77 h 77"/>
                      <a:gd name="T2" fmla="*/ 0 w 51"/>
                      <a:gd name="T3" fmla="*/ 38 h 77"/>
                      <a:gd name="T4" fmla="*/ 51 w 51"/>
                      <a:gd name="T5" fmla="*/ 0 h 77"/>
                      <a:gd name="T6" fmla="*/ 51 w 51"/>
                      <a:gd name="T7" fmla="*/ 77 h 77"/>
                      <a:gd name="T8" fmla="*/ 51 w 51"/>
                      <a:gd name="T9" fmla="*/ 77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77">
                        <a:moveTo>
                          <a:pt x="51" y="77"/>
                        </a:moveTo>
                        <a:lnTo>
                          <a:pt x="0" y="38"/>
                        </a:lnTo>
                        <a:lnTo>
                          <a:pt x="51" y="0"/>
                        </a:lnTo>
                        <a:lnTo>
                          <a:pt x="51" y="77"/>
                        </a:lnTo>
                        <a:lnTo>
                          <a:pt x="51" y="77"/>
                        </a:lnTo>
                        <a:close/>
                      </a:path>
                    </a:pathLst>
                  </a:custGeom>
                  <a:solidFill>
                    <a:srgbClr val="DC5B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3" name="Freeform 220"/>
                  <p:cNvSpPr>
                    <a:spLocks/>
                  </p:cNvSpPr>
                  <p:nvPr/>
                </p:nvSpPr>
                <p:spPr bwMode="auto">
                  <a:xfrm rot="5400000">
                    <a:off x="11175950" y="991164"/>
                    <a:ext cx="854280" cy="1136380"/>
                  </a:xfrm>
                  <a:custGeom>
                    <a:avLst/>
                    <a:gdLst>
                      <a:gd name="T0" fmla="*/ 779 w 779"/>
                      <a:gd name="T1" fmla="*/ 999 h 999"/>
                      <a:gd name="T2" fmla="*/ 354 w 779"/>
                      <a:gd name="T3" fmla="*/ 999 h 999"/>
                      <a:gd name="T4" fmla="*/ 63 w 779"/>
                      <a:gd name="T5" fmla="*/ 980 h 999"/>
                      <a:gd name="T6" fmla="*/ 2 w 779"/>
                      <a:gd name="T7" fmla="*/ 874 h 999"/>
                      <a:gd name="T8" fmla="*/ 0 w 779"/>
                      <a:gd name="T9" fmla="*/ 849 h 999"/>
                      <a:gd name="T10" fmla="*/ 0 w 779"/>
                      <a:gd name="T11" fmla="*/ 847 h 999"/>
                      <a:gd name="T12" fmla="*/ 0 w 779"/>
                      <a:gd name="T13" fmla="*/ 0 h 999"/>
                      <a:gd name="T14" fmla="*/ 34 w 779"/>
                      <a:gd name="T15" fmla="*/ 0 h 999"/>
                      <a:gd name="T16" fmla="*/ 34 w 779"/>
                      <a:gd name="T17" fmla="*/ 847 h 999"/>
                      <a:gd name="T18" fmla="*/ 36 w 779"/>
                      <a:gd name="T19" fmla="*/ 871 h 999"/>
                      <a:gd name="T20" fmla="*/ 75 w 779"/>
                      <a:gd name="T21" fmla="*/ 948 h 999"/>
                      <a:gd name="T22" fmla="*/ 354 w 779"/>
                      <a:gd name="T23" fmla="*/ 965 h 999"/>
                      <a:gd name="T24" fmla="*/ 779 w 779"/>
                      <a:gd name="T25" fmla="*/ 965 h 999"/>
                      <a:gd name="T26" fmla="*/ 779 w 779"/>
                      <a:gd name="T27" fmla="*/ 999 h 9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779" h="999">
                        <a:moveTo>
                          <a:pt x="779" y="999"/>
                        </a:moveTo>
                        <a:cubicBezTo>
                          <a:pt x="354" y="999"/>
                          <a:pt x="354" y="999"/>
                          <a:pt x="354" y="999"/>
                        </a:cubicBezTo>
                        <a:cubicBezTo>
                          <a:pt x="189" y="999"/>
                          <a:pt x="108" y="996"/>
                          <a:pt x="63" y="980"/>
                        </a:cubicBezTo>
                        <a:cubicBezTo>
                          <a:pt x="11" y="961"/>
                          <a:pt x="7" y="925"/>
                          <a:pt x="2" y="874"/>
                        </a:cubicBezTo>
                        <a:cubicBezTo>
                          <a:pt x="2" y="866"/>
                          <a:pt x="1" y="858"/>
                          <a:pt x="0" y="849"/>
                        </a:cubicBezTo>
                        <a:cubicBezTo>
                          <a:pt x="0" y="849"/>
                          <a:pt x="0" y="848"/>
                          <a:pt x="0" y="847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4" y="0"/>
                          <a:pt x="34" y="0"/>
                          <a:pt x="34" y="0"/>
                        </a:cubicBezTo>
                        <a:cubicBezTo>
                          <a:pt x="34" y="847"/>
                          <a:pt x="34" y="847"/>
                          <a:pt x="34" y="847"/>
                        </a:cubicBezTo>
                        <a:cubicBezTo>
                          <a:pt x="35" y="855"/>
                          <a:pt x="35" y="863"/>
                          <a:pt x="36" y="871"/>
                        </a:cubicBezTo>
                        <a:cubicBezTo>
                          <a:pt x="41" y="922"/>
                          <a:pt x="44" y="937"/>
                          <a:pt x="75" y="948"/>
                        </a:cubicBezTo>
                        <a:cubicBezTo>
                          <a:pt x="114" y="962"/>
                          <a:pt x="196" y="965"/>
                          <a:pt x="354" y="965"/>
                        </a:cubicBezTo>
                        <a:cubicBezTo>
                          <a:pt x="779" y="965"/>
                          <a:pt x="779" y="965"/>
                          <a:pt x="779" y="965"/>
                        </a:cubicBezTo>
                        <a:lnTo>
                          <a:pt x="779" y="999"/>
                        </a:lnTo>
                        <a:close/>
                      </a:path>
                    </a:pathLst>
                  </a:custGeom>
                  <a:solidFill>
                    <a:srgbClr val="21BBE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24" name="Group 623"/>
                  <p:cNvGrpSpPr/>
                  <p:nvPr/>
                </p:nvGrpSpPr>
                <p:grpSpPr>
                  <a:xfrm rot="16200000">
                    <a:off x="10903605" y="1557171"/>
                    <a:ext cx="239953" cy="221210"/>
                    <a:chOff x="10903605" y="1557171"/>
                    <a:chExt cx="239953" cy="221210"/>
                  </a:xfrm>
                </p:grpSpPr>
                <p:grpSp>
                  <p:nvGrpSpPr>
                    <p:cNvPr id="661" name="Group 660"/>
                    <p:cNvGrpSpPr/>
                    <p:nvPr/>
                  </p:nvGrpSpPr>
                  <p:grpSpPr>
                    <a:xfrm>
                      <a:off x="10903605" y="1557171"/>
                      <a:ext cx="239953" cy="221210"/>
                      <a:chOff x="10903605" y="1557171"/>
                      <a:chExt cx="239953" cy="221210"/>
                    </a:xfrm>
                  </p:grpSpPr>
                  <p:sp>
                    <p:nvSpPr>
                      <p:cNvPr id="665" name="Freeform 221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945423" y="1580246"/>
                        <a:ext cx="221210" cy="175060"/>
                      </a:xfrm>
                      <a:custGeom>
                        <a:avLst/>
                        <a:gdLst>
                          <a:gd name="T0" fmla="*/ 0 w 201"/>
                          <a:gd name="T1" fmla="*/ 25 h 153"/>
                          <a:gd name="T2" fmla="*/ 25 w 201"/>
                          <a:gd name="T3" fmla="*/ 0 h 153"/>
                          <a:gd name="T4" fmla="*/ 175 w 201"/>
                          <a:gd name="T5" fmla="*/ 0 h 153"/>
                          <a:gd name="T6" fmla="*/ 201 w 201"/>
                          <a:gd name="T7" fmla="*/ 25 h 153"/>
                          <a:gd name="T8" fmla="*/ 201 w 201"/>
                          <a:gd name="T9" fmla="*/ 127 h 153"/>
                          <a:gd name="T10" fmla="*/ 175 w 201"/>
                          <a:gd name="T11" fmla="*/ 153 h 153"/>
                          <a:gd name="T12" fmla="*/ 25 w 201"/>
                          <a:gd name="T13" fmla="*/ 153 h 153"/>
                          <a:gd name="T14" fmla="*/ 0 w 201"/>
                          <a:gd name="T15" fmla="*/ 127 h 153"/>
                          <a:gd name="T16" fmla="*/ 0 w 201"/>
                          <a:gd name="T17" fmla="*/ 25 h 15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01" h="153">
                            <a:moveTo>
                              <a:pt x="0" y="25"/>
                            </a:moveTo>
                            <a:cubicBezTo>
                              <a:pt x="0" y="11"/>
                              <a:pt x="11" y="0"/>
                              <a:pt x="25" y="0"/>
                            </a:cubicBezTo>
                            <a:cubicBezTo>
                              <a:pt x="175" y="0"/>
                              <a:pt x="175" y="0"/>
                              <a:pt x="175" y="0"/>
                            </a:cubicBezTo>
                            <a:cubicBezTo>
                              <a:pt x="189" y="0"/>
                              <a:pt x="201" y="11"/>
                              <a:pt x="201" y="25"/>
                            </a:cubicBezTo>
                            <a:cubicBezTo>
                              <a:pt x="201" y="127"/>
                              <a:pt x="201" y="127"/>
                              <a:pt x="201" y="127"/>
                            </a:cubicBezTo>
                            <a:cubicBezTo>
                              <a:pt x="201" y="141"/>
                              <a:pt x="189" y="153"/>
                              <a:pt x="175" y="153"/>
                            </a:cubicBezTo>
                            <a:cubicBezTo>
                              <a:pt x="25" y="153"/>
                              <a:pt x="25" y="153"/>
                              <a:pt x="25" y="153"/>
                            </a:cubicBezTo>
                            <a:cubicBezTo>
                              <a:pt x="11" y="153"/>
                              <a:pt x="0" y="141"/>
                              <a:pt x="0" y="127"/>
                            </a:cubicBezTo>
                            <a:lnTo>
                              <a:pt x="0" y="25"/>
                            </a:lnTo>
                            <a:close/>
                          </a:path>
                        </a:pathLst>
                      </a:custGeom>
                      <a:solidFill>
                        <a:srgbClr val="F78C1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666" name="Freeform 222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897053" y="1604472"/>
                        <a:ext cx="94597" cy="81493"/>
                      </a:xfrm>
                      <a:custGeom>
                        <a:avLst/>
                        <a:gdLst>
                          <a:gd name="T0" fmla="*/ 0 w 65"/>
                          <a:gd name="T1" fmla="*/ 0 h 54"/>
                          <a:gd name="T2" fmla="*/ 13 w 65"/>
                          <a:gd name="T3" fmla="*/ 54 h 54"/>
                          <a:gd name="T4" fmla="*/ 65 w 65"/>
                          <a:gd name="T5" fmla="*/ 0 h 54"/>
                          <a:gd name="T6" fmla="*/ 0 w 65"/>
                          <a:gd name="T7" fmla="*/ 0 h 54"/>
                          <a:gd name="T8" fmla="*/ 0 w 65"/>
                          <a:gd name="T9" fmla="*/ 0 h 5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65" h="54">
                            <a:moveTo>
                              <a:pt x="0" y="0"/>
                            </a:moveTo>
                            <a:lnTo>
                              <a:pt x="13" y="54"/>
                            </a:lnTo>
                            <a:lnTo>
                              <a:pt x="65" y="0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78C1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2" name="Group 661"/>
                    <p:cNvGrpSpPr/>
                    <p:nvPr/>
                  </p:nvGrpSpPr>
                  <p:grpSpPr>
                    <a:xfrm>
                      <a:off x="11065083" y="1592098"/>
                      <a:ext cx="27164" cy="80043"/>
                      <a:chOff x="11065083" y="1592098"/>
                      <a:chExt cx="27164" cy="80043"/>
                    </a:xfrm>
                  </p:grpSpPr>
                  <p:sp>
                    <p:nvSpPr>
                      <p:cNvPr id="663" name="Freeform 224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061928" y="1595253"/>
                        <a:ext cx="33473" cy="27164"/>
                      </a:xfrm>
                      <a:custGeom>
                        <a:avLst/>
                        <a:gdLst>
                          <a:gd name="T0" fmla="*/ 14 w 30"/>
                          <a:gd name="T1" fmla="*/ 25 h 25"/>
                          <a:gd name="T2" fmla="*/ 0 w 30"/>
                          <a:gd name="T3" fmla="*/ 25 h 25"/>
                          <a:gd name="T4" fmla="*/ 0 w 30"/>
                          <a:gd name="T5" fmla="*/ 15 h 25"/>
                          <a:gd name="T6" fmla="*/ 3 w 30"/>
                          <a:gd name="T7" fmla="*/ 6 h 25"/>
                          <a:gd name="T8" fmla="*/ 11 w 30"/>
                          <a:gd name="T9" fmla="*/ 0 h 25"/>
                          <a:gd name="T10" fmla="*/ 14 w 30"/>
                          <a:gd name="T11" fmla="*/ 5 h 25"/>
                          <a:gd name="T12" fmla="*/ 9 w 30"/>
                          <a:gd name="T13" fmla="*/ 9 h 25"/>
                          <a:gd name="T14" fmla="*/ 7 w 30"/>
                          <a:gd name="T15" fmla="*/ 13 h 25"/>
                          <a:gd name="T16" fmla="*/ 14 w 30"/>
                          <a:gd name="T17" fmla="*/ 13 h 25"/>
                          <a:gd name="T18" fmla="*/ 14 w 30"/>
                          <a:gd name="T19" fmla="*/ 25 h 25"/>
                          <a:gd name="T20" fmla="*/ 30 w 30"/>
                          <a:gd name="T21" fmla="*/ 25 h 25"/>
                          <a:gd name="T22" fmla="*/ 16 w 30"/>
                          <a:gd name="T23" fmla="*/ 25 h 25"/>
                          <a:gd name="T24" fmla="*/ 16 w 30"/>
                          <a:gd name="T25" fmla="*/ 15 h 25"/>
                          <a:gd name="T26" fmla="*/ 18 w 30"/>
                          <a:gd name="T27" fmla="*/ 6 h 25"/>
                          <a:gd name="T28" fmla="*/ 27 w 30"/>
                          <a:gd name="T29" fmla="*/ 0 h 25"/>
                          <a:gd name="T30" fmla="*/ 30 w 30"/>
                          <a:gd name="T31" fmla="*/ 5 h 25"/>
                          <a:gd name="T32" fmla="*/ 25 w 30"/>
                          <a:gd name="T33" fmla="*/ 9 h 25"/>
                          <a:gd name="T34" fmla="*/ 23 w 30"/>
                          <a:gd name="T35" fmla="*/ 13 h 25"/>
                          <a:gd name="T36" fmla="*/ 30 w 30"/>
                          <a:gd name="T37" fmla="*/ 13 h 25"/>
                          <a:gd name="T38" fmla="*/ 30 w 30"/>
                          <a:gd name="T39" fmla="*/ 25 h 2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</a:cxnLst>
                        <a:rect l="0" t="0" r="r" b="b"/>
                        <a:pathLst>
                          <a:path w="30" h="25">
                            <a:moveTo>
                              <a:pt x="14" y="25"/>
                            </a:moveTo>
                            <a:cubicBezTo>
                              <a:pt x="0" y="25"/>
                              <a:pt x="0" y="25"/>
                              <a:pt x="0" y="25"/>
                            </a:cubicBezTo>
                            <a:cubicBezTo>
                              <a:pt x="0" y="15"/>
                              <a:pt x="0" y="15"/>
                              <a:pt x="0" y="15"/>
                            </a:cubicBezTo>
                            <a:cubicBezTo>
                              <a:pt x="0" y="11"/>
                              <a:pt x="1" y="8"/>
                              <a:pt x="3" y="6"/>
                            </a:cubicBezTo>
                            <a:cubicBezTo>
                              <a:pt x="4" y="3"/>
                              <a:pt x="7" y="1"/>
                              <a:pt x="11" y="0"/>
                            </a:cubicBezTo>
                            <a:cubicBezTo>
                              <a:pt x="14" y="5"/>
                              <a:pt x="14" y="5"/>
                              <a:pt x="14" y="5"/>
                            </a:cubicBezTo>
                            <a:cubicBezTo>
                              <a:pt x="11" y="6"/>
                              <a:pt x="10" y="7"/>
                              <a:pt x="9" y="9"/>
                            </a:cubicBezTo>
                            <a:cubicBezTo>
                              <a:pt x="8" y="10"/>
                              <a:pt x="7" y="11"/>
                              <a:pt x="7" y="13"/>
                            </a:cubicBezTo>
                            <a:cubicBezTo>
                              <a:pt x="14" y="13"/>
                              <a:pt x="14" y="13"/>
                              <a:pt x="14" y="13"/>
                            </a:cubicBezTo>
                            <a:lnTo>
                              <a:pt x="14" y="25"/>
                            </a:lnTo>
                            <a:close/>
                            <a:moveTo>
                              <a:pt x="30" y="25"/>
                            </a:moveTo>
                            <a:cubicBezTo>
                              <a:pt x="16" y="25"/>
                              <a:pt x="16" y="25"/>
                              <a:pt x="16" y="25"/>
                            </a:cubicBezTo>
                            <a:cubicBezTo>
                              <a:pt x="16" y="15"/>
                              <a:pt x="16" y="15"/>
                              <a:pt x="16" y="15"/>
                            </a:cubicBezTo>
                            <a:cubicBezTo>
                              <a:pt x="16" y="11"/>
                              <a:pt x="17" y="8"/>
                              <a:pt x="18" y="6"/>
                            </a:cubicBezTo>
                            <a:cubicBezTo>
                              <a:pt x="20" y="3"/>
                              <a:pt x="23" y="1"/>
                              <a:pt x="27" y="0"/>
                            </a:cubicBezTo>
                            <a:cubicBezTo>
                              <a:pt x="30" y="5"/>
                              <a:pt x="30" y="5"/>
                              <a:pt x="30" y="5"/>
                            </a:cubicBezTo>
                            <a:cubicBezTo>
                              <a:pt x="27" y="6"/>
                              <a:pt x="26" y="7"/>
                              <a:pt x="25" y="9"/>
                            </a:cubicBezTo>
                            <a:cubicBezTo>
                              <a:pt x="24" y="10"/>
                              <a:pt x="23" y="11"/>
                              <a:pt x="23" y="13"/>
                            </a:cubicBezTo>
                            <a:cubicBezTo>
                              <a:pt x="30" y="13"/>
                              <a:pt x="30" y="13"/>
                              <a:pt x="30" y="13"/>
                            </a:cubicBezTo>
                            <a:lnTo>
                              <a:pt x="30" y="25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664" name="Freeform 225"/>
                      <p:cNvSpPr>
                        <a:spLocks noEditPoints="1"/>
                      </p:cNvSpPr>
                      <p:nvPr/>
                    </p:nvSpPr>
                    <p:spPr bwMode="auto">
                      <a:xfrm rot="5400000">
                        <a:off x="11062656" y="1642551"/>
                        <a:ext cx="32017" cy="27164"/>
                      </a:xfrm>
                      <a:custGeom>
                        <a:avLst/>
                        <a:gdLst>
                          <a:gd name="T0" fmla="*/ 0 w 29"/>
                          <a:gd name="T1" fmla="*/ 0 h 25"/>
                          <a:gd name="T2" fmla="*/ 14 w 29"/>
                          <a:gd name="T3" fmla="*/ 0 h 25"/>
                          <a:gd name="T4" fmla="*/ 14 w 29"/>
                          <a:gd name="T5" fmla="*/ 10 h 25"/>
                          <a:gd name="T6" fmla="*/ 11 w 29"/>
                          <a:gd name="T7" fmla="*/ 19 h 25"/>
                          <a:gd name="T8" fmla="*/ 3 w 29"/>
                          <a:gd name="T9" fmla="*/ 25 h 25"/>
                          <a:gd name="T10" fmla="*/ 0 w 29"/>
                          <a:gd name="T11" fmla="*/ 20 h 25"/>
                          <a:gd name="T12" fmla="*/ 5 w 29"/>
                          <a:gd name="T13" fmla="*/ 16 h 25"/>
                          <a:gd name="T14" fmla="*/ 7 w 29"/>
                          <a:gd name="T15" fmla="*/ 12 h 25"/>
                          <a:gd name="T16" fmla="*/ 0 w 29"/>
                          <a:gd name="T17" fmla="*/ 12 h 25"/>
                          <a:gd name="T18" fmla="*/ 0 w 29"/>
                          <a:gd name="T19" fmla="*/ 0 h 25"/>
                          <a:gd name="T20" fmla="*/ 16 w 29"/>
                          <a:gd name="T21" fmla="*/ 0 h 25"/>
                          <a:gd name="T22" fmla="*/ 29 w 29"/>
                          <a:gd name="T23" fmla="*/ 0 h 25"/>
                          <a:gd name="T24" fmla="*/ 29 w 29"/>
                          <a:gd name="T25" fmla="*/ 10 h 25"/>
                          <a:gd name="T26" fmla="*/ 27 w 29"/>
                          <a:gd name="T27" fmla="*/ 19 h 25"/>
                          <a:gd name="T28" fmla="*/ 19 w 29"/>
                          <a:gd name="T29" fmla="*/ 25 h 25"/>
                          <a:gd name="T30" fmla="*/ 16 w 29"/>
                          <a:gd name="T31" fmla="*/ 20 h 25"/>
                          <a:gd name="T32" fmla="*/ 21 w 29"/>
                          <a:gd name="T33" fmla="*/ 16 h 25"/>
                          <a:gd name="T34" fmla="*/ 22 w 29"/>
                          <a:gd name="T35" fmla="*/ 12 h 25"/>
                          <a:gd name="T36" fmla="*/ 16 w 29"/>
                          <a:gd name="T37" fmla="*/ 12 h 25"/>
                          <a:gd name="T38" fmla="*/ 16 w 29"/>
                          <a:gd name="T39" fmla="*/ 0 h 2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</a:cxnLst>
                        <a:rect l="0" t="0" r="r" b="b"/>
                        <a:pathLst>
                          <a:path w="29" h="25">
                            <a:moveTo>
                              <a:pt x="0" y="0"/>
                            </a:moveTo>
                            <a:cubicBezTo>
                              <a:pt x="14" y="0"/>
                              <a:pt x="14" y="0"/>
                              <a:pt x="14" y="0"/>
                            </a:cubicBezTo>
                            <a:cubicBezTo>
                              <a:pt x="14" y="10"/>
                              <a:pt x="14" y="10"/>
                              <a:pt x="14" y="10"/>
                            </a:cubicBezTo>
                            <a:cubicBezTo>
                              <a:pt x="14" y="14"/>
                              <a:pt x="13" y="17"/>
                              <a:pt x="11" y="19"/>
                            </a:cubicBezTo>
                            <a:cubicBezTo>
                              <a:pt x="10" y="21"/>
                              <a:pt x="7" y="23"/>
                              <a:pt x="3" y="25"/>
                            </a:cubicBezTo>
                            <a:cubicBezTo>
                              <a:pt x="0" y="20"/>
                              <a:pt x="0" y="20"/>
                              <a:pt x="0" y="20"/>
                            </a:cubicBezTo>
                            <a:cubicBezTo>
                              <a:pt x="2" y="18"/>
                              <a:pt x="4" y="17"/>
                              <a:pt x="5" y="16"/>
                            </a:cubicBezTo>
                            <a:cubicBezTo>
                              <a:pt x="6" y="15"/>
                              <a:pt x="6" y="14"/>
                              <a:pt x="7" y="12"/>
                            </a:cubicBezTo>
                            <a:cubicBezTo>
                              <a:pt x="0" y="12"/>
                              <a:pt x="0" y="12"/>
                              <a:pt x="0" y="12"/>
                            </a:cubicBezTo>
                            <a:lnTo>
                              <a:pt x="0" y="0"/>
                            </a:lnTo>
                            <a:close/>
                            <a:moveTo>
                              <a:pt x="16" y="0"/>
                            </a:moveTo>
                            <a:cubicBezTo>
                              <a:pt x="29" y="0"/>
                              <a:pt x="29" y="0"/>
                              <a:pt x="29" y="0"/>
                            </a:cubicBezTo>
                            <a:cubicBezTo>
                              <a:pt x="29" y="10"/>
                              <a:pt x="29" y="10"/>
                              <a:pt x="29" y="10"/>
                            </a:cubicBezTo>
                            <a:cubicBezTo>
                              <a:pt x="29" y="14"/>
                              <a:pt x="29" y="17"/>
                              <a:pt x="27" y="19"/>
                            </a:cubicBezTo>
                            <a:cubicBezTo>
                              <a:pt x="25" y="21"/>
                              <a:pt x="23" y="23"/>
                              <a:pt x="19" y="25"/>
                            </a:cubicBezTo>
                            <a:cubicBezTo>
                              <a:pt x="16" y="20"/>
                              <a:pt x="16" y="20"/>
                              <a:pt x="16" y="20"/>
                            </a:cubicBezTo>
                            <a:cubicBezTo>
                              <a:pt x="18" y="18"/>
                              <a:pt x="20" y="17"/>
                              <a:pt x="21" y="16"/>
                            </a:cubicBezTo>
                            <a:cubicBezTo>
                              <a:pt x="22" y="15"/>
                              <a:pt x="22" y="14"/>
                              <a:pt x="22" y="12"/>
                            </a:cubicBezTo>
                            <a:cubicBezTo>
                              <a:pt x="16" y="12"/>
                              <a:pt x="16" y="12"/>
                              <a:pt x="16" y="12"/>
                            </a:cubicBezTo>
                            <a:lnTo>
                              <a:pt x="16" y="0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sp>
                <p:nvSpPr>
                  <p:cNvPr id="625" name="Freeform 226"/>
                  <p:cNvSpPr>
                    <a:spLocks noEditPoints="1"/>
                  </p:cNvSpPr>
                  <p:nvPr/>
                </p:nvSpPr>
                <p:spPr bwMode="auto">
                  <a:xfrm rot="18900000">
                    <a:off x="11274280" y="1428435"/>
                    <a:ext cx="213934" cy="200715"/>
                  </a:xfrm>
                  <a:custGeom>
                    <a:avLst/>
                    <a:gdLst>
                      <a:gd name="T0" fmla="*/ 113 w 196"/>
                      <a:gd name="T1" fmla="*/ 118 h 177"/>
                      <a:gd name="T2" fmla="*/ 114 w 196"/>
                      <a:gd name="T3" fmla="*/ 126 h 177"/>
                      <a:gd name="T4" fmla="*/ 122 w 196"/>
                      <a:gd name="T5" fmla="*/ 127 h 177"/>
                      <a:gd name="T6" fmla="*/ 124 w 196"/>
                      <a:gd name="T7" fmla="*/ 135 h 177"/>
                      <a:gd name="T8" fmla="*/ 131 w 196"/>
                      <a:gd name="T9" fmla="*/ 135 h 177"/>
                      <a:gd name="T10" fmla="*/ 132 w 196"/>
                      <a:gd name="T11" fmla="*/ 144 h 177"/>
                      <a:gd name="T12" fmla="*/ 141 w 196"/>
                      <a:gd name="T13" fmla="*/ 145 h 177"/>
                      <a:gd name="T14" fmla="*/ 128 w 196"/>
                      <a:gd name="T15" fmla="*/ 166 h 177"/>
                      <a:gd name="T16" fmla="*/ 119 w 196"/>
                      <a:gd name="T17" fmla="*/ 165 h 177"/>
                      <a:gd name="T18" fmla="*/ 111 w 196"/>
                      <a:gd name="T19" fmla="*/ 157 h 177"/>
                      <a:gd name="T20" fmla="*/ 109 w 196"/>
                      <a:gd name="T21" fmla="*/ 149 h 177"/>
                      <a:gd name="T22" fmla="*/ 101 w 196"/>
                      <a:gd name="T23" fmla="*/ 147 h 177"/>
                      <a:gd name="T24" fmla="*/ 93 w 196"/>
                      <a:gd name="T25" fmla="*/ 139 h 177"/>
                      <a:gd name="T26" fmla="*/ 92 w 196"/>
                      <a:gd name="T27" fmla="*/ 130 h 177"/>
                      <a:gd name="T28" fmla="*/ 109 w 196"/>
                      <a:gd name="T29" fmla="*/ 116 h 177"/>
                      <a:gd name="T30" fmla="*/ 172 w 196"/>
                      <a:gd name="T31" fmla="*/ 148 h 177"/>
                      <a:gd name="T32" fmla="*/ 166 w 196"/>
                      <a:gd name="T33" fmla="*/ 172 h 177"/>
                      <a:gd name="T34" fmla="*/ 140 w 196"/>
                      <a:gd name="T35" fmla="*/ 164 h 177"/>
                      <a:gd name="T36" fmla="*/ 139 w 196"/>
                      <a:gd name="T37" fmla="*/ 136 h 177"/>
                      <a:gd name="T38" fmla="*/ 124 w 196"/>
                      <a:gd name="T39" fmla="*/ 120 h 177"/>
                      <a:gd name="T40" fmla="*/ 154 w 196"/>
                      <a:gd name="T41" fmla="*/ 78 h 177"/>
                      <a:gd name="T42" fmla="*/ 182 w 196"/>
                      <a:gd name="T43" fmla="*/ 104 h 177"/>
                      <a:gd name="T44" fmla="*/ 164 w 196"/>
                      <a:gd name="T45" fmla="*/ 130 h 177"/>
                      <a:gd name="T46" fmla="*/ 128 w 196"/>
                      <a:gd name="T47" fmla="*/ 104 h 177"/>
                      <a:gd name="T48" fmla="*/ 128 w 196"/>
                      <a:gd name="T49" fmla="*/ 105 h 177"/>
                      <a:gd name="T50" fmla="*/ 126 w 196"/>
                      <a:gd name="T51" fmla="*/ 110 h 177"/>
                      <a:gd name="T52" fmla="*/ 121 w 196"/>
                      <a:gd name="T53" fmla="*/ 114 h 177"/>
                      <a:gd name="T54" fmla="*/ 117 w 196"/>
                      <a:gd name="T55" fmla="*/ 94 h 177"/>
                      <a:gd name="T56" fmla="*/ 117 w 196"/>
                      <a:gd name="T57" fmla="*/ 93 h 177"/>
                      <a:gd name="T58" fmla="*/ 127 w 196"/>
                      <a:gd name="T59" fmla="*/ 79 h 177"/>
                      <a:gd name="T60" fmla="*/ 167 w 196"/>
                      <a:gd name="T61" fmla="*/ 67 h 177"/>
                      <a:gd name="T62" fmla="*/ 194 w 196"/>
                      <a:gd name="T63" fmla="*/ 91 h 177"/>
                      <a:gd name="T64" fmla="*/ 192 w 196"/>
                      <a:gd name="T65" fmla="*/ 101 h 177"/>
                      <a:gd name="T66" fmla="*/ 161 w 196"/>
                      <a:gd name="T67" fmla="*/ 78 h 177"/>
                      <a:gd name="T68" fmla="*/ 163 w 196"/>
                      <a:gd name="T69" fmla="*/ 68 h 177"/>
                      <a:gd name="T70" fmla="*/ 35 w 196"/>
                      <a:gd name="T71" fmla="*/ 33 h 177"/>
                      <a:gd name="T72" fmla="*/ 35 w 196"/>
                      <a:gd name="T73" fmla="*/ 66 h 177"/>
                      <a:gd name="T74" fmla="*/ 33 w 196"/>
                      <a:gd name="T75" fmla="*/ 33 h 177"/>
                      <a:gd name="T76" fmla="*/ 56 w 196"/>
                      <a:gd name="T77" fmla="*/ 16 h 177"/>
                      <a:gd name="T78" fmla="*/ 56 w 196"/>
                      <a:gd name="T79" fmla="*/ 95 h 177"/>
                      <a:gd name="T80" fmla="*/ 56 w 196"/>
                      <a:gd name="T81" fmla="*/ 16 h 177"/>
                      <a:gd name="T82" fmla="*/ 111 w 196"/>
                      <a:gd name="T83" fmla="*/ 56 h 177"/>
                      <a:gd name="T84" fmla="*/ 106 w 196"/>
                      <a:gd name="T85" fmla="*/ 82 h 177"/>
                      <a:gd name="T86" fmla="*/ 105 w 196"/>
                      <a:gd name="T87" fmla="*/ 110 h 177"/>
                      <a:gd name="T88" fmla="*/ 82 w 196"/>
                      <a:gd name="T89" fmla="*/ 106 h 177"/>
                      <a:gd name="T90" fmla="*/ 56 w 196"/>
                      <a:gd name="T91" fmla="*/ 111 h 177"/>
                      <a:gd name="T92" fmla="*/ 56 w 196"/>
                      <a:gd name="T93" fmla="*/ 0 h 1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196" h="177">
                        <a:moveTo>
                          <a:pt x="109" y="116"/>
                        </a:moveTo>
                        <a:cubicBezTo>
                          <a:pt x="110" y="116"/>
                          <a:pt x="112" y="117"/>
                          <a:pt x="113" y="118"/>
                        </a:cubicBezTo>
                        <a:cubicBezTo>
                          <a:pt x="114" y="118"/>
                          <a:pt x="114" y="118"/>
                          <a:pt x="114" y="118"/>
                        </a:cubicBezTo>
                        <a:cubicBezTo>
                          <a:pt x="116" y="121"/>
                          <a:pt x="116" y="124"/>
                          <a:pt x="114" y="126"/>
                        </a:cubicBezTo>
                        <a:cubicBezTo>
                          <a:pt x="115" y="125"/>
                          <a:pt x="117" y="125"/>
                          <a:pt x="118" y="125"/>
                        </a:cubicBezTo>
                        <a:cubicBezTo>
                          <a:pt x="119" y="125"/>
                          <a:pt x="121" y="125"/>
                          <a:pt x="122" y="127"/>
                        </a:cubicBezTo>
                        <a:cubicBezTo>
                          <a:pt x="123" y="127"/>
                          <a:pt x="123" y="127"/>
                          <a:pt x="123" y="127"/>
                        </a:cubicBezTo>
                        <a:cubicBezTo>
                          <a:pt x="125" y="129"/>
                          <a:pt x="125" y="132"/>
                          <a:pt x="124" y="135"/>
                        </a:cubicBezTo>
                        <a:cubicBezTo>
                          <a:pt x="124" y="134"/>
                          <a:pt x="126" y="134"/>
                          <a:pt x="127" y="134"/>
                        </a:cubicBezTo>
                        <a:cubicBezTo>
                          <a:pt x="128" y="134"/>
                          <a:pt x="130" y="134"/>
                          <a:pt x="131" y="135"/>
                        </a:cubicBezTo>
                        <a:cubicBezTo>
                          <a:pt x="132" y="136"/>
                          <a:pt x="132" y="136"/>
                          <a:pt x="132" y="136"/>
                        </a:cubicBezTo>
                        <a:cubicBezTo>
                          <a:pt x="134" y="138"/>
                          <a:pt x="134" y="142"/>
                          <a:pt x="132" y="144"/>
                        </a:cubicBezTo>
                        <a:cubicBezTo>
                          <a:pt x="134" y="142"/>
                          <a:pt x="138" y="142"/>
                          <a:pt x="140" y="144"/>
                        </a:cubicBezTo>
                        <a:cubicBezTo>
                          <a:pt x="141" y="145"/>
                          <a:pt x="141" y="145"/>
                          <a:pt x="141" y="145"/>
                        </a:cubicBezTo>
                        <a:cubicBezTo>
                          <a:pt x="143" y="147"/>
                          <a:pt x="143" y="151"/>
                          <a:pt x="141" y="153"/>
                        </a:cubicBezTo>
                        <a:cubicBezTo>
                          <a:pt x="128" y="166"/>
                          <a:pt x="128" y="166"/>
                          <a:pt x="128" y="166"/>
                        </a:cubicBezTo>
                        <a:cubicBezTo>
                          <a:pt x="126" y="168"/>
                          <a:pt x="122" y="168"/>
                          <a:pt x="120" y="166"/>
                        </a:cubicBezTo>
                        <a:cubicBezTo>
                          <a:pt x="119" y="165"/>
                          <a:pt x="119" y="165"/>
                          <a:pt x="119" y="165"/>
                        </a:cubicBezTo>
                        <a:cubicBezTo>
                          <a:pt x="117" y="163"/>
                          <a:pt x="117" y="160"/>
                          <a:pt x="119" y="157"/>
                        </a:cubicBezTo>
                        <a:cubicBezTo>
                          <a:pt x="116" y="159"/>
                          <a:pt x="113" y="159"/>
                          <a:pt x="111" y="157"/>
                        </a:cubicBezTo>
                        <a:cubicBezTo>
                          <a:pt x="110" y="156"/>
                          <a:pt x="110" y="156"/>
                          <a:pt x="110" y="156"/>
                        </a:cubicBezTo>
                        <a:cubicBezTo>
                          <a:pt x="108" y="154"/>
                          <a:pt x="108" y="151"/>
                          <a:pt x="109" y="149"/>
                        </a:cubicBezTo>
                        <a:cubicBezTo>
                          <a:pt x="107" y="151"/>
                          <a:pt x="104" y="150"/>
                          <a:pt x="102" y="148"/>
                        </a:cubicBezTo>
                        <a:cubicBezTo>
                          <a:pt x="101" y="147"/>
                          <a:pt x="101" y="147"/>
                          <a:pt x="101" y="147"/>
                        </a:cubicBezTo>
                        <a:cubicBezTo>
                          <a:pt x="99" y="145"/>
                          <a:pt x="99" y="142"/>
                          <a:pt x="101" y="140"/>
                        </a:cubicBezTo>
                        <a:cubicBezTo>
                          <a:pt x="99" y="142"/>
                          <a:pt x="95" y="141"/>
                          <a:pt x="93" y="139"/>
                        </a:cubicBezTo>
                        <a:cubicBezTo>
                          <a:pt x="92" y="139"/>
                          <a:pt x="92" y="139"/>
                          <a:pt x="92" y="139"/>
                        </a:cubicBezTo>
                        <a:cubicBezTo>
                          <a:pt x="90" y="136"/>
                          <a:pt x="90" y="132"/>
                          <a:pt x="92" y="130"/>
                        </a:cubicBezTo>
                        <a:cubicBezTo>
                          <a:pt x="105" y="118"/>
                          <a:pt x="105" y="118"/>
                          <a:pt x="105" y="118"/>
                        </a:cubicBezTo>
                        <a:cubicBezTo>
                          <a:pt x="106" y="117"/>
                          <a:pt x="107" y="116"/>
                          <a:pt x="109" y="116"/>
                        </a:cubicBezTo>
                        <a:close/>
                        <a:moveTo>
                          <a:pt x="134" y="109"/>
                        </a:moveTo>
                        <a:cubicBezTo>
                          <a:pt x="172" y="148"/>
                          <a:pt x="172" y="148"/>
                          <a:pt x="172" y="148"/>
                        </a:cubicBezTo>
                        <a:cubicBezTo>
                          <a:pt x="177" y="153"/>
                          <a:pt x="177" y="160"/>
                          <a:pt x="172" y="165"/>
                        </a:cubicBezTo>
                        <a:cubicBezTo>
                          <a:pt x="166" y="172"/>
                          <a:pt x="166" y="172"/>
                          <a:pt x="166" y="172"/>
                        </a:cubicBezTo>
                        <a:cubicBezTo>
                          <a:pt x="161" y="177"/>
                          <a:pt x="153" y="177"/>
                          <a:pt x="148" y="172"/>
                        </a:cubicBezTo>
                        <a:cubicBezTo>
                          <a:pt x="140" y="164"/>
                          <a:pt x="140" y="164"/>
                          <a:pt x="140" y="164"/>
                        </a:cubicBezTo>
                        <a:cubicBezTo>
                          <a:pt x="147" y="156"/>
                          <a:pt x="147" y="156"/>
                          <a:pt x="147" y="156"/>
                        </a:cubicBezTo>
                        <a:cubicBezTo>
                          <a:pt x="149" y="153"/>
                          <a:pt x="152" y="142"/>
                          <a:pt x="139" y="136"/>
                        </a:cubicBezTo>
                        <a:cubicBezTo>
                          <a:pt x="138" y="133"/>
                          <a:pt x="135" y="128"/>
                          <a:pt x="131" y="127"/>
                        </a:cubicBezTo>
                        <a:cubicBezTo>
                          <a:pt x="130" y="125"/>
                          <a:pt x="128" y="122"/>
                          <a:pt x="124" y="120"/>
                        </a:cubicBezTo>
                        <a:cubicBezTo>
                          <a:pt x="128" y="118"/>
                          <a:pt x="131" y="115"/>
                          <a:pt x="134" y="109"/>
                        </a:cubicBezTo>
                        <a:close/>
                        <a:moveTo>
                          <a:pt x="154" y="78"/>
                        </a:moveTo>
                        <a:cubicBezTo>
                          <a:pt x="156" y="78"/>
                          <a:pt x="158" y="79"/>
                          <a:pt x="160" y="81"/>
                        </a:cubicBezTo>
                        <a:cubicBezTo>
                          <a:pt x="182" y="104"/>
                          <a:pt x="182" y="104"/>
                          <a:pt x="182" y="104"/>
                        </a:cubicBezTo>
                        <a:cubicBezTo>
                          <a:pt x="185" y="106"/>
                          <a:pt x="184" y="109"/>
                          <a:pt x="183" y="111"/>
                        </a:cubicBezTo>
                        <a:cubicBezTo>
                          <a:pt x="164" y="130"/>
                          <a:pt x="164" y="130"/>
                          <a:pt x="164" y="130"/>
                        </a:cubicBezTo>
                        <a:cubicBezTo>
                          <a:pt x="131" y="97"/>
                          <a:pt x="131" y="97"/>
                          <a:pt x="131" y="97"/>
                        </a:cubicBezTo>
                        <a:cubicBezTo>
                          <a:pt x="128" y="104"/>
                          <a:pt x="128" y="104"/>
                          <a:pt x="128" y="104"/>
                        </a:cubicBezTo>
                        <a:cubicBezTo>
                          <a:pt x="128" y="104"/>
                          <a:pt x="128" y="104"/>
                          <a:pt x="128" y="104"/>
                        </a:cubicBezTo>
                        <a:cubicBezTo>
                          <a:pt x="128" y="105"/>
                          <a:pt x="128" y="105"/>
                          <a:pt x="128" y="105"/>
                        </a:cubicBezTo>
                        <a:cubicBezTo>
                          <a:pt x="127" y="107"/>
                          <a:pt x="127" y="109"/>
                          <a:pt x="126" y="110"/>
                        </a:cubicBezTo>
                        <a:cubicBezTo>
                          <a:pt x="126" y="110"/>
                          <a:pt x="126" y="110"/>
                          <a:pt x="126" y="110"/>
                        </a:cubicBezTo>
                        <a:cubicBezTo>
                          <a:pt x="125" y="110"/>
                          <a:pt x="125" y="110"/>
                          <a:pt x="125" y="110"/>
                        </a:cubicBezTo>
                        <a:cubicBezTo>
                          <a:pt x="124" y="112"/>
                          <a:pt x="123" y="113"/>
                          <a:pt x="121" y="114"/>
                        </a:cubicBezTo>
                        <a:cubicBezTo>
                          <a:pt x="113" y="116"/>
                          <a:pt x="111" y="111"/>
                          <a:pt x="112" y="107"/>
                        </a:cubicBezTo>
                        <a:cubicBezTo>
                          <a:pt x="117" y="94"/>
                          <a:pt x="117" y="94"/>
                          <a:pt x="117" y="94"/>
                        </a:cubicBezTo>
                        <a:cubicBezTo>
                          <a:pt x="117" y="93"/>
                          <a:pt x="117" y="93"/>
                          <a:pt x="117" y="93"/>
                        </a:cubicBezTo>
                        <a:cubicBezTo>
                          <a:pt x="117" y="93"/>
                          <a:pt x="117" y="93"/>
                          <a:pt x="117" y="93"/>
                        </a:cubicBezTo>
                        <a:cubicBezTo>
                          <a:pt x="121" y="84"/>
                          <a:pt x="121" y="84"/>
                          <a:pt x="121" y="84"/>
                        </a:cubicBezTo>
                        <a:cubicBezTo>
                          <a:pt x="122" y="82"/>
                          <a:pt x="124" y="80"/>
                          <a:pt x="127" y="79"/>
                        </a:cubicBezTo>
                        <a:lnTo>
                          <a:pt x="154" y="78"/>
                        </a:lnTo>
                        <a:close/>
                        <a:moveTo>
                          <a:pt x="167" y="67"/>
                        </a:moveTo>
                        <a:cubicBezTo>
                          <a:pt x="169" y="67"/>
                          <a:pt x="170" y="67"/>
                          <a:pt x="171" y="68"/>
                        </a:cubicBezTo>
                        <a:cubicBezTo>
                          <a:pt x="194" y="91"/>
                          <a:pt x="194" y="91"/>
                          <a:pt x="194" y="91"/>
                        </a:cubicBezTo>
                        <a:cubicBezTo>
                          <a:pt x="196" y="93"/>
                          <a:pt x="196" y="97"/>
                          <a:pt x="194" y="99"/>
                        </a:cubicBezTo>
                        <a:cubicBezTo>
                          <a:pt x="192" y="101"/>
                          <a:pt x="192" y="101"/>
                          <a:pt x="192" y="101"/>
                        </a:cubicBezTo>
                        <a:cubicBezTo>
                          <a:pt x="190" y="103"/>
                          <a:pt x="186" y="103"/>
                          <a:pt x="184" y="101"/>
                        </a:cubicBezTo>
                        <a:cubicBezTo>
                          <a:pt x="161" y="78"/>
                          <a:pt x="161" y="78"/>
                          <a:pt x="161" y="78"/>
                        </a:cubicBezTo>
                        <a:cubicBezTo>
                          <a:pt x="159" y="76"/>
                          <a:pt x="159" y="73"/>
                          <a:pt x="161" y="70"/>
                        </a:cubicBezTo>
                        <a:cubicBezTo>
                          <a:pt x="163" y="68"/>
                          <a:pt x="163" y="68"/>
                          <a:pt x="163" y="68"/>
                        </a:cubicBezTo>
                        <a:cubicBezTo>
                          <a:pt x="164" y="67"/>
                          <a:pt x="166" y="67"/>
                          <a:pt x="167" y="67"/>
                        </a:cubicBezTo>
                        <a:close/>
                        <a:moveTo>
                          <a:pt x="35" y="33"/>
                        </a:moveTo>
                        <a:cubicBezTo>
                          <a:pt x="39" y="33"/>
                          <a:pt x="39" y="37"/>
                          <a:pt x="39" y="39"/>
                        </a:cubicBezTo>
                        <a:cubicBezTo>
                          <a:pt x="36" y="43"/>
                          <a:pt x="29" y="50"/>
                          <a:pt x="35" y="66"/>
                        </a:cubicBezTo>
                        <a:cubicBezTo>
                          <a:pt x="35" y="69"/>
                          <a:pt x="33" y="72"/>
                          <a:pt x="29" y="70"/>
                        </a:cubicBezTo>
                        <a:cubicBezTo>
                          <a:pt x="19" y="54"/>
                          <a:pt x="29" y="38"/>
                          <a:pt x="33" y="33"/>
                        </a:cubicBezTo>
                        <a:cubicBezTo>
                          <a:pt x="34" y="33"/>
                          <a:pt x="34" y="33"/>
                          <a:pt x="35" y="33"/>
                        </a:cubicBezTo>
                        <a:close/>
                        <a:moveTo>
                          <a:pt x="56" y="16"/>
                        </a:moveTo>
                        <a:cubicBezTo>
                          <a:pt x="34" y="16"/>
                          <a:pt x="16" y="34"/>
                          <a:pt x="16" y="56"/>
                        </a:cubicBezTo>
                        <a:cubicBezTo>
                          <a:pt x="16" y="77"/>
                          <a:pt x="34" y="95"/>
                          <a:pt x="56" y="95"/>
                        </a:cubicBezTo>
                        <a:cubicBezTo>
                          <a:pt x="77" y="95"/>
                          <a:pt x="95" y="77"/>
                          <a:pt x="95" y="56"/>
                        </a:cubicBezTo>
                        <a:cubicBezTo>
                          <a:pt x="95" y="34"/>
                          <a:pt x="77" y="16"/>
                          <a:pt x="56" y="16"/>
                        </a:cubicBezTo>
                        <a:close/>
                        <a:moveTo>
                          <a:pt x="56" y="0"/>
                        </a:moveTo>
                        <a:cubicBezTo>
                          <a:pt x="86" y="0"/>
                          <a:pt x="111" y="25"/>
                          <a:pt x="111" y="56"/>
                        </a:cubicBezTo>
                        <a:cubicBezTo>
                          <a:pt x="111" y="65"/>
                          <a:pt x="109" y="73"/>
                          <a:pt x="105" y="81"/>
                        </a:cubicBezTo>
                        <a:cubicBezTo>
                          <a:pt x="105" y="81"/>
                          <a:pt x="106" y="82"/>
                          <a:pt x="106" y="82"/>
                        </a:cubicBezTo>
                        <a:cubicBezTo>
                          <a:pt x="112" y="88"/>
                          <a:pt x="112" y="88"/>
                          <a:pt x="112" y="88"/>
                        </a:cubicBezTo>
                        <a:cubicBezTo>
                          <a:pt x="109" y="96"/>
                          <a:pt x="104" y="106"/>
                          <a:pt x="105" y="110"/>
                        </a:cubicBezTo>
                        <a:cubicBezTo>
                          <a:pt x="100" y="111"/>
                          <a:pt x="97" y="115"/>
                          <a:pt x="94" y="118"/>
                        </a:cubicBezTo>
                        <a:cubicBezTo>
                          <a:pt x="82" y="106"/>
                          <a:pt x="82" y="106"/>
                          <a:pt x="82" y="106"/>
                        </a:cubicBezTo>
                        <a:cubicBezTo>
                          <a:pt x="81" y="105"/>
                          <a:pt x="81" y="105"/>
                          <a:pt x="81" y="105"/>
                        </a:cubicBezTo>
                        <a:cubicBezTo>
                          <a:pt x="73" y="109"/>
                          <a:pt x="65" y="111"/>
                          <a:pt x="56" y="111"/>
                        </a:cubicBezTo>
                        <a:cubicBezTo>
                          <a:pt x="25" y="111"/>
                          <a:pt x="0" y="86"/>
                          <a:pt x="0" y="56"/>
                        </a:cubicBezTo>
                        <a:cubicBezTo>
                          <a:pt x="0" y="25"/>
                          <a:pt x="25" y="0"/>
                          <a:pt x="56" y="0"/>
                        </a:cubicBezTo>
                        <a:close/>
                      </a:path>
                    </a:pathLst>
                  </a:custGeom>
                  <a:solidFill>
                    <a:srgbClr val="0283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6" name="Freeform 227"/>
                  <p:cNvSpPr>
                    <a:spLocks/>
                  </p:cNvSpPr>
                  <p:nvPr/>
                </p:nvSpPr>
                <p:spPr bwMode="auto">
                  <a:xfrm rot="5400000">
                    <a:off x="11575277" y="352539"/>
                    <a:ext cx="135346" cy="141859"/>
                  </a:xfrm>
                  <a:custGeom>
                    <a:avLst/>
                    <a:gdLst>
                      <a:gd name="T0" fmla="*/ 0 w 93"/>
                      <a:gd name="T1" fmla="*/ 23 h 94"/>
                      <a:gd name="T2" fmla="*/ 46 w 93"/>
                      <a:gd name="T3" fmla="*/ 23 h 94"/>
                      <a:gd name="T4" fmla="*/ 46 w 93"/>
                      <a:gd name="T5" fmla="*/ 0 h 94"/>
                      <a:gd name="T6" fmla="*/ 93 w 93"/>
                      <a:gd name="T7" fmla="*/ 47 h 94"/>
                      <a:gd name="T8" fmla="*/ 46 w 93"/>
                      <a:gd name="T9" fmla="*/ 94 h 94"/>
                      <a:gd name="T10" fmla="*/ 46 w 93"/>
                      <a:gd name="T11" fmla="*/ 71 h 94"/>
                      <a:gd name="T12" fmla="*/ 0 w 93"/>
                      <a:gd name="T13" fmla="*/ 71 h 94"/>
                      <a:gd name="T14" fmla="*/ 0 w 93"/>
                      <a:gd name="T15" fmla="*/ 23 h 94"/>
                      <a:gd name="T16" fmla="*/ 0 w 93"/>
                      <a:gd name="T17" fmla="*/ 23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3" h="94">
                        <a:moveTo>
                          <a:pt x="0" y="23"/>
                        </a:moveTo>
                        <a:lnTo>
                          <a:pt x="46" y="23"/>
                        </a:lnTo>
                        <a:lnTo>
                          <a:pt x="46" y="0"/>
                        </a:lnTo>
                        <a:lnTo>
                          <a:pt x="93" y="47"/>
                        </a:lnTo>
                        <a:lnTo>
                          <a:pt x="46" y="94"/>
                        </a:lnTo>
                        <a:lnTo>
                          <a:pt x="46" y="71"/>
                        </a:lnTo>
                        <a:lnTo>
                          <a:pt x="0" y="71"/>
                        </a:lnTo>
                        <a:lnTo>
                          <a:pt x="0" y="23"/>
                        </a:lnTo>
                        <a:lnTo>
                          <a:pt x="0" y="23"/>
                        </a:lnTo>
                        <a:close/>
                      </a:path>
                    </a:pathLst>
                  </a:custGeom>
                  <a:solidFill>
                    <a:srgbClr val="2272B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7" name="Freeform 228"/>
                  <p:cNvSpPr>
                    <a:spLocks/>
                  </p:cNvSpPr>
                  <p:nvPr/>
                </p:nvSpPr>
                <p:spPr bwMode="auto">
                  <a:xfrm rot="5400000">
                    <a:off x="11081949" y="1032392"/>
                    <a:ext cx="136801" cy="89039"/>
                  </a:xfrm>
                  <a:custGeom>
                    <a:avLst/>
                    <a:gdLst>
                      <a:gd name="T0" fmla="*/ 94 w 94"/>
                      <a:gd name="T1" fmla="*/ 15 h 59"/>
                      <a:gd name="T2" fmla="*/ 30 w 94"/>
                      <a:gd name="T3" fmla="*/ 15 h 59"/>
                      <a:gd name="T4" fmla="*/ 30 w 94"/>
                      <a:gd name="T5" fmla="*/ 0 h 59"/>
                      <a:gd name="T6" fmla="*/ 0 w 94"/>
                      <a:gd name="T7" fmla="*/ 29 h 59"/>
                      <a:gd name="T8" fmla="*/ 30 w 94"/>
                      <a:gd name="T9" fmla="*/ 59 h 59"/>
                      <a:gd name="T10" fmla="*/ 30 w 94"/>
                      <a:gd name="T11" fmla="*/ 44 h 59"/>
                      <a:gd name="T12" fmla="*/ 94 w 94"/>
                      <a:gd name="T13" fmla="*/ 44 h 59"/>
                      <a:gd name="T14" fmla="*/ 94 w 94"/>
                      <a:gd name="T15" fmla="*/ 15 h 59"/>
                      <a:gd name="T16" fmla="*/ 94 w 94"/>
                      <a:gd name="T17" fmla="*/ 15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4" h="59">
                        <a:moveTo>
                          <a:pt x="94" y="15"/>
                        </a:moveTo>
                        <a:lnTo>
                          <a:pt x="30" y="15"/>
                        </a:lnTo>
                        <a:lnTo>
                          <a:pt x="30" y="0"/>
                        </a:lnTo>
                        <a:lnTo>
                          <a:pt x="0" y="29"/>
                        </a:lnTo>
                        <a:lnTo>
                          <a:pt x="30" y="59"/>
                        </a:lnTo>
                        <a:lnTo>
                          <a:pt x="30" y="44"/>
                        </a:lnTo>
                        <a:lnTo>
                          <a:pt x="94" y="44"/>
                        </a:lnTo>
                        <a:lnTo>
                          <a:pt x="94" y="15"/>
                        </a:lnTo>
                        <a:lnTo>
                          <a:pt x="94" y="15"/>
                        </a:lnTo>
                        <a:close/>
                      </a:path>
                    </a:pathLst>
                  </a:custGeom>
                  <a:solidFill>
                    <a:srgbClr val="51515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8" name="Rectangle 229"/>
                  <p:cNvSpPr>
                    <a:spLocks noChangeArrowheads="1"/>
                  </p:cNvSpPr>
                  <p:nvPr/>
                </p:nvSpPr>
                <p:spPr bwMode="auto">
                  <a:xfrm rot="5400000">
                    <a:off x="10574637" y="94138"/>
                    <a:ext cx="82954" cy="37728"/>
                  </a:xfrm>
                  <a:prstGeom prst="rect">
                    <a:avLst/>
                  </a:prstGeom>
                  <a:solidFill>
                    <a:srgbClr val="0283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9" name="Freeform 230"/>
                  <p:cNvSpPr>
                    <a:spLocks/>
                  </p:cNvSpPr>
                  <p:nvPr/>
                </p:nvSpPr>
                <p:spPr bwMode="auto">
                  <a:xfrm rot="5400000">
                    <a:off x="10579003" y="-4768"/>
                    <a:ext cx="74222" cy="116203"/>
                  </a:xfrm>
                  <a:custGeom>
                    <a:avLst/>
                    <a:gdLst>
                      <a:gd name="T0" fmla="*/ 51 w 51"/>
                      <a:gd name="T1" fmla="*/ 77 h 77"/>
                      <a:gd name="T2" fmla="*/ 0 w 51"/>
                      <a:gd name="T3" fmla="*/ 38 h 77"/>
                      <a:gd name="T4" fmla="*/ 51 w 51"/>
                      <a:gd name="T5" fmla="*/ 0 h 77"/>
                      <a:gd name="T6" fmla="*/ 51 w 51"/>
                      <a:gd name="T7" fmla="*/ 77 h 77"/>
                      <a:gd name="T8" fmla="*/ 51 w 51"/>
                      <a:gd name="T9" fmla="*/ 77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1" h="77">
                        <a:moveTo>
                          <a:pt x="51" y="77"/>
                        </a:moveTo>
                        <a:lnTo>
                          <a:pt x="0" y="38"/>
                        </a:lnTo>
                        <a:lnTo>
                          <a:pt x="51" y="0"/>
                        </a:lnTo>
                        <a:lnTo>
                          <a:pt x="51" y="77"/>
                        </a:lnTo>
                        <a:lnTo>
                          <a:pt x="51" y="77"/>
                        </a:lnTo>
                        <a:close/>
                      </a:path>
                    </a:pathLst>
                  </a:custGeom>
                  <a:solidFill>
                    <a:srgbClr val="0283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0" name="Freeform 231"/>
                  <p:cNvSpPr>
                    <a:spLocks noEditPoints="1"/>
                  </p:cNvSpPr>
                  <p:nvPr/>
                </p:nvSpPr>
                <p:spPr bwMode="auto">
                  <a:xfrm rot="5400000">
                    <a:off x="11289644" y="565473"/>
                    <a:ext cx="106240" cy="75457"/>
                  </a:xfrm>
                  <a:custGeom>
                    <a:avLst/>
                    <a:gdLst>
                      <a:gd name="T0" fmla="*/ 41 w 73"/>
                      <a:gd name="T1" fmla="*/ 0 h 50"/>
                      <a:gd name="T2" fmla="*/ 41 w 73"/>
                      <a:gd name="T3" fmla="*/ 50 h 50"/>
                      <a:gd name="T4" fmla="*/ 73 w 73"/>
                      <a:gd name="T5" fmla="*/ 26 h 50"/>
                      <a:gd name="T6" fmla="*/ 41 w 73"/>
                      <a:gd name="T7" fmla="*/ 0 h 50"/>
                      <a:gd name="T8" fmla="*/ 41 w 73"/>
                      <a:gd name="T9" fmla="*/ 0 h 50"/>
                      <a:gd name="T10" fmla="*/ 41 w 73"/>
                      <a:gd name="T11" fmla="*/ 0 h 50"/>
                      <a:gd name="T12" fmla="*/ 32 w 73"/>
                      <a:gd name="T13" fmla="*/ 26 h 50"/>
                      <a:gd name="T14" fmla="*/ 0 w 73"/>
                      <a:gd name="T15" fmla="*/ 50 h 50"/>
                      <a:gd name="T16" fmla="*/ 0 w 73"/>
                      <a:gd name="T17" fmla="*/ 0 h 50"/>
                      <a:gd name="T18" fmla="*/ 32 w 73"/>
                      <a:gd name="T19" fmla="*/ 26 h 50"/>
                      <a:gd name="T20" fmla="*/ 32 w 73"/>
                      <a:gd name="T21" fmla="*/ 26 h 50"/>
                      <a:gd name="T22" fmla="*/ 32 w 73"/>
                      <a:gd name="T23" fmla="*/ 26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73" h="50">
                        <a:moveTo>
                          <a:pt x="41" y="0"/>
                        </a:moveTo>
                        <a:lnTo>
                          <a:pt x="41" y="50"/>
                        </a:lnTo>
                        <a:lnTo>
                          <a:pt x="73" y="26"/>
                        </a:lnTo>
                        <a:lnTo>
                          <a:pt x="41" y="0"/>
                        </a:lnTo>
                        <a:lnTo>
                          <a:pt x="41" y="0"/>
                        </a:lnTo>
                        <a:lnTo>
                          <a:pt x="41" y="0"/>
                        </a:lnTo>
                        <a:close/>
                        <a:moveTo>
                          <a:pt x="32" y="26"/>
                        </a:moveTo>
                        <a:lnTo>
                          <a:pt x="0" y="50"/>
                        </a:lnTo>
                        <a:lnTo>
                          <a:pt x="0" y="0"/>
                        </a:lnTo>
                        <a:lnTo>
                          <a:pt x="32" y="26"/>
                        </a:lnTo>
                        <a:lnTo>
                          <a:pt x="32" y="26"/>
                        </a:lnTo>
                        <a:lnTo>
                          <a:pt x="32" y="26"/>
                        </a:lnTo>
                        <a:close/>
                      </a:path>
                    </a:pathLst>
                  </a:custGeom>
                  <a:solidFill>
                    <a:srgbClr val="DA40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31" name="Group 630"/>
                  <p:cNvGrpSpPr/>
                  <p:nvPr/>
                </p:nvGrpSpPr>
                <p:grpSpPr>
                  <a:xfrm rot="16200000">
                    <a:off x="10598176" y="1571948"/>
                    <a:ext cx="313901" cy="133891"/>
                    <a:chOff x="10648560" y="1439289"/>
                    <a:chExt cx="313901" cy="133891"/>
                  </a:xfrm>
                </p:grpSpPr>
                <p:sp>
                  <p:nvSpPr>
                    <p:cNvPr id="651" name="Freeform 233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847925" y="1485053"/>
                      <a:ext cx="90231" cy="45274"/>
                    </a:xfrm>
                    <a:custGeom>
                      <a:avLst/>
                      <a:gdLst>
                        <a:gd name="T0" fmla="*/ 0 w 83"/>
                        <a:gd name="T1" fmla="*/ 21 h 39"/>
                        <a:gd name="T2" fmla="*/ 0 w 83"/>
                        <a:gd name="T3" fmla="*/ 21 h 39"/>
                        <a:gd name="T4" fmla="*/ 0 w 83"/>
                        <a:gd name="T5" fmla="*/ 21 h 39"/>
                        <a:gd name="T6" fmla="*/ 32 w 83"/>
                        <a:gd name="T7" fmla="*/ 0 h 39"/>
                        <a:gd name="T8" fmla="*/ 42 w 83"/>
                        <a:gd name="T9" fmla="*/ 16 h 39"/>
                        <a:gd name="T10" fmla="*/ 51 w 83"/>
                        <a:gd name="T11" fmla="*/ 0 h 39"/>
                        <a:gd name="T12" fmla="*/ 64 w 83"/>
                        <a:gd name="T13" fmla="*/ 3 h 39"/>
                        <a:gd name="T14" fmla="*/ 83 w 83"/>
                        <a:gd name="T15" fmla="*/ 21 h 39"/>
                        <a:gd name="T16" fmla="*/ 83 w 83"/>
                        <a:gd name="T17" fmla="*/ 21 h 39"/>
                        <a:gd name="T18" fmla="*/ 64 w 83"/>
                        <a:gd name="T19" fmla="*/ 39 h 39"/>
                        <a:gd name="T20" fmla="*/ 19 w 83"/>
                        <a:gd name="T21" fmla="*/ 39 h 39"/>
                        <a:gd name="T22" fmla="*/ 0 w 83"/>
                        <a:gd name="T23" fmla="*/ 21 h 39"/>
                        <a:gd name="T24" fmla="*/ 19 w 83"/>
                        <a:gd name="T25" fmla="*/ 3 h 39"/>
                        <a:gd name="T26" fmla="*/ 32 w 83"/>
                        <a:gd name="T27" fmla="*/ 0 h 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83" h="39">
                          <a:moveTo>
                            <a:pt x="0" y="21"/>
                          </a:moveTo>
                          <a:cubicBezTo>
                            <a:pt x="0" y="21"/>
                            <a:pt x="0" y="21"/>
                            <a:pt x="0" y="21"/>
                          </a:cubicBezTo>
                          <a:cubicBezTo>
                            <a:pt x="0" y="21"/>
                            <a:pt x="0" y="21"/>
                            <a:pt x="0" y="21"/>
                          </a:cubicBezTo>
                          <a:close/>
                          <a:moveTo>
                            <a:pt x="32" y="0"/>
                          </a:moveTo>
                          <a:cubicBezTo>
                            <a:pt x="42" y="16"/>
                            <a:pt x="42" y="16"/>
                            <a:pt x="42" y="16"/>
                          </a:cubicBezTo>
                          <a:cubicBezTo>
                            <a:pt x="51" y="0"/>
                            <a:pt x="51" y="0"/>
                            <a:pt x="51" y="0"/>
                          </a:cubicBezTo>
                          <a:cubicBezTo>
                            <a:pt x="55" y="1"/>
                            <a:pt x="60" y="3"/>
                            <a:pt x="64" y="3"/>
                          </a:cubicBezTo>
                          <a:cubicBezTo>
                            <a:pt x="74" y="3"/>
                            <a:pt x="83" y="11"/>
                            <a:pt x="83" y="21"/>
                          </a:cubicBezTo>
                          <a:cubicBezTo>
                            <a:pt x="83" y="21"/>
                            <a:pt x="83" y="21"/>
                            <a:pt x="83" y="21"/>
                          </a:cubicBezTo>
                          <a:cubicBezTo>
                            <a:pt x="83" y="31"/>
                            <a:pt x="74" y="39"/>
                            <a:pt x="64" y="39"/>
                          </a:cubicBezTo>
                          <a:cubicBezTo>
                            <a:pt x="19" y="39"/>
                            <a:pt x="19" y="39"/>
                            <a:pt x="19" y="39"/>
                          </a:cubicBezTo>
                          <a:cubicBezTo>
                            <a:pt x="9" y="39"/>
                            <a:pt x="0" y="31"/>
                            <a:pt x="0" y="21"/>
                          </a:cubicBezTo>
                          <a:cubicBezTo>
                            <a:pt x="0" y="11"/>
                            <a:pt x="9" y="3"/>
                            <a:pt x="19" y="3"/>
                          </a:cubicBezTo>
                          <a:cubicBezTo>
                            <a:pt x="23" y="3"/>
                            <a:pt x="28" y="1"/>
                            <a:pt x="32" y="0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652" name="Group 651"/>
                    <p:cNvGrpSpPr/>
                    <p:nvPr/>
                  </p:nvGrpSpPr>
                  <p:grpSpPr>
                    <a:xfrm>
                      <a:off x="10648560" y="1439289"/>
                      <a:ext cx="313901" cy="133891"/>
                      <a:chOff x="10648560" y="1439289"/>
                      <a:chExt cx="313901" cy="133891"/>
                    </a:xfrm>
                  </p:grpSpPr>
                  <p:sp>
                    <p:nvSpPr>
                      <p:cNvPr id="653" name="Oval 232"/>
                      <p:cNvSpPr>
                        <a:spLocks noChangeArrowheads="1"/>
                      </p:cNvSpPr>
                      <p:nvPr/>
                    </p:nvSpPr>
                    <p:spPr bwMode="auto">
                      <a:xfrm rot="5400000">
                        <a:off x="10921632" y="1484325"/>
                        <a:ext cx="36384" cy="45274"/>
                      </a:xfrm>
                      <a:prstGeom prst="ellipse">
                        <a:avLst/>
                      </a:pr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654" name="Freeform 234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790256" y="1459397"/>
                        <a:ext cx="72767" cy="96585"/>
                      </a:xfrm>
                      <a:custGeom>
                        <a:avLst/>
                        <a:gdLst>
                          <a:gd name="T0" fmla="*/ 0 w 67"/>
                          <a:gd name="T1" fmla="*/ 0 h 85"/>
                          <a:gd name="T2" fmla="*/ 67 w 67"/>
                          <a:gd name="T3" fmla="*/ 0 h 85"/>
                          <a:gd name="T4" fmla="*/ 67 w 67"/>
                          <a:gd name="T5" fmla="*/ 23 h 85"/>
                          <a:gd name="T6" fmla="*/ 56 w 67"/>
                          <a:gd name="T7" fmla="*/ 47 h 85"/>
                          <a:gd name="T8" fmla="*/ 62 w 67"/>
                          <a:gd name="T9" fmla="*/ 62 h 85"/>
                          <a:gd name="T10" fmla="*/ 67 w 67"/>
                          <a:gd name="T11" fmla="*/ 63 h 85"/>
                          <a:gd name="T12" fmla="*/ 67 w 67"/>
                          <a:gd name="T13" fmla="*/ 71 h 85"/>
                          <a:gd name="T14" fmla="*/ 67 w 67"/>
                          <a:gd name="T15" fmla="*/ 79 h 85"/>
                          <a:gd name="T16" fmla="*/ 67 w 67"/>
                          <a:gd name="T17" fmla="*/ 85 h 85"/>
                          <a:gd name="T18" fmla="*/ 0 w 67"/>
                          <a:gd name="T19" fmla="*/ 85 h 85"/>
                          <a:gd name="T20" fmla="*/ 0 w 67"/>
                          <a:gd name="T21" fmla="*/ 79 h 85"/>
                          <a:gd name="T22" fmla="*/ 0 w 67"/>
                          <a:gd name="T23" fmla="*/ 71 h 85"/>
                          <a:gd name="T24" fmla="*/ 0 w 67"/>
                          <a:gd name="T25" fmla="*/ 63 h 85"/>
                          <a:gd name="T26" fmla="*/ 5 w 67"/>
                          <a:gd name="T27" fmla="*/ 62 h 85"/>
                          <a:gd name="T28" fmla="*/ 11 w 67"/>
                          <a:gd name="T29" fmla="*/ 47 h 85"/>
                          <a:gd name="T30" fmla="*/ 0 w 67"/>
                          <a:gd name="T31" fmla="*/ 23 h 85"/>
                          <a:gd name="T32" fmla="*/ 0 w 67"/>
                          <a:gd name="T33" fmla="*/ 0 h 8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</a:cxnLst>
                        <a:rect l="0" t="0" r="r" b="b"/>
                        <a:pathLst>
                          <a:path w="67" h="85">
                            <a:moveTo>
                              <a:pt x="0" y="0"/>
                            </a:moveTo>
                            <a:cubicBezTo>
                              <a:pt x="67" y="0"/>
                              <a:pt x="67" y="0"/>
                              <a:pt x="67" y="0"/>
                            </a:cubicBezTo>
                            <a:cubicBezTo>
                              <a:pt x="67" y="23"/>
                              <a:pt x="67" y="23"/>
                              <a:pt x="67" y="23"/>
                            </a:cubicBezTo>
                            <a:cubicBezTo>
                              <a:pt x="56" y="47"/>
                              <a:pt x="56" y="47"/>
                              <a:pt x="56" y="47"/>
                            </a:cubicBezTo>
                            <a:cubicBezTo>
                              <a:pt x="54" y="52"/>
                              <a:pt x="56" y="59"/>
                              <a:pt x="62" y="62"/>
                            </a:cubicBezTo>
                            <a:cubicBezTo>
                              <a:pt x="64" y="63"/>
                              <a:pt x="66" y="63"/>
                              <a:pt x="67" y="63"/>
                            </a:cubicBezTo>
                            <a:cubicBezTo>
                              <a:pt x="67" y="71"/>
                              <a:pt x="67" y="71"/>
                              <a:pt x="67" y="71"/>
                            </a:cubicBezTo>
                            <a:cubicBezTo>
                              <a:pt x="67" y="79"/>
                              <a:pt x="67" y="79"/>
                              <a:pt x="67" y="79"/>
                            </a:cubicBezTo>
                            <a:cubicBezTo>
                              <a:pt x="67" y="85"/>
                              <a:pt x="67" y="85"/>
                              <a:pt x="67" y="85"/>
                            </a:cubicBezTo>
                            <a:cubicBezTo>
                              <a:pt x="0" y="85"/>
                              <a:pt x="0" y="85"/>
                              <a:pt x="0" y="85"/>
                            </a:cubicBezTo>
                            <a:cubicBezTo>
                              <a:pt x="0" y="79"/>
                              <a:pt x="0" y="79"/>
                              <a:pt x="0" y="79"/>
                            </a:cubicBezTo>
                            <a:cubicBezTo>
                              <a:pt x="0" y="71"/>
                              <a:pt x="0" y="71"/>
                              <a:pt x="0" y="71"/>
                            </a:cubicBezTo>
                            <a:cubicBezTo>
                              <a:pt x="0" y="63"/>
                              <a:pt x="0" y="63"/>
                              <a:pt x="0" y="63"/>
                            </a:cubicBezTo>
                            <a:cubicBezTo>
                              <a:pt x="1" y="63"/>
                              <a:pt x="3" y="63"/>
                              <a:pt x="5" y="62"/>
                            </a:cubicBezTo>
                            <a:cubicBezTo>
                              <a:pt x="11" y="59"/>
                              <a:pt x="13" y="52"/>
                              <a:pt x="11" y="47"/>
                            </a:cubicBezTo>
                            <a:cubicBezTo>
                              <a:pt x="0" y="23"/>
                              <a:pt x="0" y="23"/>
                              <a:pt x="0" y="23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655" name="Freeform 235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707901" y="1416331"/>
                        <a:ext cx="26196" cy="144877"/>
                      </a:xfrm>
                      <a:custGeom>
                        <a:avLst/>
                        <a:gdLst>
                          <a:gd name="T0" fmla="*/ 0 w 23"/>
                          <a:gd name="T1" fmla="*/ 12 h 127"/>
                          <a:gd name="T2" fmla="*/ 12 w 23"/>
                          <a:gd name="T3" fmla="*/ 0 h 127"/>
                          <a:gd name="T4" fmla="*/ 12 w 23"/>
                          <a:gd name="T5" fmla="*/ 0 h 127"/>
                          <a:gd name="T6" fmla="*/ 23 w 23"/>
                          <a:gd name="T7" fmla="*/ 12 h 127"/>
                          <a:gd name="T8" fmla="*/ 23 w 23"/>
                          <a:gd name="T9" fmla="*/ 115 h 127"/>
                          <a:gd name="T10" fmla="*/ 12 w 23"/>
                          <a:gd name="T11" fmla="*/ 127 h 127"/>
                          <a:gd name="T12" fmla="*/ 12 w 23"/>
                          <a:gd name="T13" fmla="*/ 127 h 127"/>
                          <a:gd name="T14" fmla="*/ 0 w 23"/>
                          <a:gd name="T15" fmla="*/ 115 h 127"/>
                          <a:gd name="T16" fmla="*/ 0 w 23"/>
                          <a:gd name="T17" fmla="*/ 12 h 12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3" h="127">
                            <a:moveTo>
                              <a:pt x="0" y="12"/>
                            </a:moveTo>
                            <a:cubicBezTo>
                              <a:pt x="0" y="6"/>
                              <a:pt x="6" y="0"/>
                              <a:pt x="12" y="0"/>
                            </a:cubicBezTo>
                            <a:cubicBezTo>
                              <a:pt x="12" y="0"/>
                              <a:pt x="12" y="0"/>
                              <a:pt x="12" y="0"/>
                            </a:cubicBezTo>
                            <a:cubicBezTo>
                              <a:pt x="18" y="0"/>
                              <a:pt x="23" y="6"/>
                              <a:pt x="23" y="12"/>
                            </a:cubicBezTo>
                            <a:cubicBezTo>
                              <a:pt x="23" y="115"/>
                              <a:pt x="23" y="115"/>
                              <a:pt x="23" y="115"/>
                            </a:cubicBezTo>
                            <a:cubicBezTo>
                              <a:pt x="23" y="121"/>
                              <a:pt x="18" y="127"/>
                              <a:pt x="12" y="127"/>
                            </a:cubicBezTo>
                            <a:cubicBezTo>
                              <a:pt x="12" y="127"/>
                              <a:pt x="12" y="127"/>
                              <a:pt x="12" y="127"/>
                            </a:cubicBezTo>
                            <a:cubicBezTo>
                              <a:pt x="6" y="127"/>
                              <a:pt x="0" y="121"/>
                              <a:pt x="0" y="115"/>
                            </a:cubicBezTo>
                            <a:lnTo>
                              <a:pt x="0" y="12"/>
                            </a:ln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656" name="Freeform 236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708629" y="1453442"/>
                        <a:ext cx="24741" cy="144877"/>
                      </a:xfrm>
                      <a:custGeom>
                        <a:avLst/>
                        <a:gdLst>
                          <a:gd name="T0" fmla="*/ 0 w 23"/>
                          <a:gd name="T1" fmla="*/ 12 h 127"/>
                          <a:gd name="T2" fmla="*/ 11 w 23"/>
                          <a:gd name="T3" fmla="*/ 0 h 127"/>
                          <a:gd name="T4" fmla="*/ 11 w 23"/>
                          <a:gd name="T5" fmla="*/ 0 h 127"/>
                          <a:gd name="T6" fmla="*/ 23 w 23"/>
                          <a:gd name="T7" fmla="*/ 12 h 127"/>
                          <a:gd name="T8" fmla="*/ 23 w 23"/>
                          <a:gd name="T9" fmla="*/ 115 h 127"/>
                          <a:gd name="T10" fmla="*/ 11 w 23"/>
                          <a:gd name="T11" fmla="*/ 127 h 127"/>
                          <a:gd name="T12" fmla="*/ 11 w 23"/>
                          <a:gd name="T13" fmla="*/ 127 h 127"/>
                          <a:gd name="T14" fmla="*/ 0 w 23"/>
                          <a:gd name="T15" fmla="*/ 115 h 127"/>
                          <a:gd name="T16" fmla="*/ 0 w 23"/>
                          <a:gd name="T17" fmla="*/ 12 h 12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23" h="127">
                            <a:moveTo>
                              <a:pt x="0" y="12"/>
                            </a:moveTo>
                            <a:cubicBezTo>
                              <a:pt x="0" y="6"/>
                              <a:pt x="5" y="0"/>
                              <a:pt x="11" y="0"/>
                            </a:cubicBezTo>
                            <a:cubicBezTo>
                              <a:pt x="11" y="0"/>
                              <a:pt x="11" y="0"/>
                              <a:pt x="11" y="0"/>
                            </a:cubicBezTo>
                            <a:cubicBezTo>
                              <a:pt x="17" y="0"/>
                              <a:pt x="23" y="6"/>
                              <a:pt x="23" y="12"/>
                            </a:cubicBezTo>
                            <a:cubicBezTo>
                              <a:pt x="23" y="115"/>
                              <a:pt x="23" y="115"/>
                              <a:pt x="23" y="115"/>
                            </a:cubicBezTo>
                            <a:cubicBezTo>
                              <a:pt x="23" y="121"/>
                              <a:pt x="17" y="127"/>
                              <a:pt x="11" y="127"/>
                            </a:cubicBezTo>
                            <a:cubicBezTo>
                              <a:pt x="11" y="127"/>
                              <a:pt x="11" y="127"/>
                              <a:pt x="11" y="127"/>
                            </a:cubicBezTo>
                            <a:cubicBezTo>
                              <a:pt x="5" y="127"/>
                              <a:pt x="0" y="121"/>
                              <a:pt x="0" y="115"/>
                            </a:cubicBezTo>
                            <a:lnTo>
                              <a:pt x="0" y="12"/>
                            </a:ln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657" name="Freeform 237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853883" y="1518930"/>
                        <a:ext cx="45116" cy="63384"/>
                      </a:xfrm>
                      <a:custGeom>
                        <a:avLst/>
                        <a:gdLst>
                          <a:gd name="T0" fmla="*/ 3 w 41"/>
                          <a:gd name="T1" fmla="*/ 15 h 56"/>
                          <a:gd name="T2" fmla="*/ 6 w 41"/>
                          <a:gd name="T3" fmla="*/ 2 h 56"/>
                          <a:gd name="T4" fmla="*/ 6 w 41"/>
                          <a:gd name="T5" fmla="*/ 2 h 56"/>
                          <a:gd name="T6" fmla="*/ 19 w 41"/>
                          <a:gd name="T7" fmla="*/ 6 h 56"/>
                          <a:gd name="T8" fmla="*/ 39 w 41"/>
                          <a:gd name="T9" fmla="*/ 40 h 56"/>
                          <a:gd name="T10" fmla="*/ 35 w 41"/>
                          <a:gd name="T11" fmla="*/ 53 h 56"/>
                          <a:gd name="T12" fmla="*/ 35 w 41"/>
                          <a:gd name="T13" fmla="*/ 53 h 56"/>
                          <a:gd name="T14" fmla="*/ 23 w 41"/>
                          <a:gd name="T15" fmla="*/ 49 h 56"/>
                          <a:gd name="T16" fmla="*/ 3 w 41"/>
                          <a:gd name="T17" fmla="*/ 15 h 5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41" h="56">
                            <a:moveTo>
                              <a:pt x="3" y="15"/>
                            </a:moveTo>
                            <a:cubicBezTo>
                              <a:pt x="0" y="11"/>
                              <a:pt x="2" y="5"/>
                              <a:pt x="6" y="2"/>
                            </a:cubicBezTo>
                            <a:cubicBezTo>
                              <a:pt x="6" y="2"/>
                              <a:pt x="6" y="2"/>
                              <a:pt x="6" y="2"/>
                            </a:cubicBezTo>
                            <a:cubicBezTo>
                              <a:pt x="11" y="0"/>
                              <a:pt x="17" y="1"/>
                              <a:pt x="19" y="6"/>
                            </a:cubicBezTo>
                            <a:cubicBezTo>
                              <a:pt x="39" y="40"/>
                              <a:pt x="39" y="40"/>
                              <a:pt x="39" y="40"/>
                            </a:cubicBezTo>
                            <a:cubicBezTo>
                              <a:pt x="41" y="45"/>
                              <a:pt x="40" y="50"/>
                              <a:pt x="35" y="53"/>
                            </a:cubicBezTo>
                            <a:cubicBezTo>
                              <a:pt x="35" y="53"/>
                              <a:pt x="35" y="53"/>
                              <a:pt x="35" y="53"/>
                            </a:cubicBezTo>
                            <a:cubicBezTo>
                              <a:pt x="31" y="56"/>
                              <a:pt x="25" y="54"/>
                              <a:pt x="23" y="49"/>
                            </a:cubicBezTo>
                            <a:lnTo>
                              <a:pt x="3" y="15"/>
                            </a:ln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658" name="Freeform 238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816047" y="1523350"/>
                        <a:ext cx="39294" cy="60365"/>
                      </a:xfrm>
                      <a:custGeom>
                        <a:avLst/>
                        <a:gdLst>
                          <a:gd name="T0" fmla="*/ 19 w 36"/>
                          <a:gd name="T1" fmla="*/ 6 h 54"/>
                          <a:gd name="T2" fmla="*/ 30 w 36"/>
                          <a:gd name="T3" fmla="*/ 2 h 54"/>
                          <a:gd name="T4" fmla="*/ 30 w 36"/>
                          <a:gd name="T5" fmla="*/ 2 h 54"/>
                          <a:gd name="T6" fmla="*/ 34 w 36"/>
                          <a:gd name="T7" fmla="*/ 13 h 54"/>
                          <a:gd name="T8" fmla="*/ 18 w 36"/>
                          <a:gd name="T9" fmla="*/ 48 h 54"/>
                          <a:gd name="T10" fmla="*/ 6 w 36"/>
                          <a:gd name="T11" fmla="*/ 52 h 54"/>
                          <a:gd name="T12" fmla="*/ 6 w 36"/>
                          <a:gd name="T13" fmla="*/ 52 h 54"/>
                          <a:gd name="T14" fmla="*/ 2 w 36"/>
                          <a:gd name="T15" fmla="*/ 41 h 54"/>
                          <a:gd name="T16" fmla="*/ 19 w 36"/>
                          <a:gd name="T17" fmla="*/ 6 h 5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6" h="54">
                            <a:moveTo>
                              <a:pt x="19" y="6"/>
                            </a:moveTo>
                            <a:cubicBezTo>
                              <a:pt x="21" y="1"/>
                              <a:pt x="26" y="0"/>
                              <a:pt x="30" y="2"/>
                            </a:cubicBezTo>
                            <a:cubicBezTo>
                              <a:pt x="30" y="2"/>
                              <a:pt x="30" y="2"/>
                              <a:pt x="30" y="2"/>
                            </a:cubicBezTo>
                            <a:cubicBezTo>
                              <a:pt x="34" y="4"/>
                              <a:pt x="36" y="9"/>
                              <a:pt x="34" y="13"/>
                            </a:cubicBezTo>
                            <a:cubicBezTo>
                              <a:pt x="18" y="48"/>
                              <a:pt x="18" y="48"/>
                              <a:pt x="18" y="48"/>
                            </a:cubicBezTo>
                            <a:cubicBezTo>
                              <a:pt x="16" y="52"/>
                              <a:pt x="11" y="54"/>
                              <a:pt x="6" y="52"/>
                            </a:cubicBezTo>
                            <a:cubicBezTo>
                              <a:pt x="6" y="52"/>
                              <a:pt x="6" y="52"/>
                              <a:pt x="6" y="52"/>
                            </a:cubicBezTo>
                            <a:cubicBezTo>
                              <a:pt x="2" y="50"/>
                              <a:pt x="0" y="45"/>
                              <a:pt x="2" y="41"/>
                            </a:cubicBezTo>
                            <a:lnTo>
                              <a:pt x="19" y="6"/>
                            </a:ln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659" name="Freeform 239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853155" y="1430883"/>
                        <a:ext cx="46571" cy="63384"/>
                      </a:xfrm>
                      <a:custGeom>
                        <a:avLst/>
                        <a:gdLst>
                          <a:gd name="T0" fmla="*/ 39 w 42"/>
                          <a:gd name="T1" fmla="*/ 15 h 56"/>
                          <a:gd name="T2" fmla="*/ 36 w 42"/>
                          <a:gd name="T3" fmla="*/ 2 h 56"/>
                          <a:gd name="T4" fmla="*/ 36 w 42"/>
                          <a:gd name="T5" fmla="*/ 2 h 56"/>
                          <a:gd name="T6" fmla="*/ 23 w 42"/>
                          <a:gd name="T7" fmla="*/ 6 h 56"/>
                          <a:gd name="T8" fmla="*/ 3 w 42"/>
                          <a:gd name="T9" fmla="*/ 40 h 56"/>
                          <a:gd name="T10" fmla="*/ 7 w 42"/>
                          <a:gd name="T11" fmla="*/ 53 h 56"/>
                          <a:gd name="T12" fmla="*/ 7 w 42"/>
                          <a:gd name="T13" fmla="*/ 53 h 56"/>
                          <a:gd name="T14" fmla="*/ 19 w 42"/>
                          <a:gd name="T15" fmla="*/ 49 h 56"/>
                          <a:gd name="T16" fmla="*/ 39 w 42"/>
                          <a:gd name="T17" fmla="*/ 15 h 5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42" h="56">
                            <a:moveTo>
                              <a:pt x="39" y="15"/>
                            </a:moveTo>
                            <a:cubicBezTo>
                              <a:pt x="42" y="11"/>
                              <a:pt x="40" y="5"/>
                              <a:pt x="36" y="2"/>
                            </a:cubicBezTo>
                            <a:cubicBezTo>
                              <a:pt x="36" y="2"/>
                              <a:pt x="36" y="2"/>
                              <a:pt x="36" y="2"/>
                            </a:cubicBezTo>
                            <a:cubicBezTo>
                              <a:pt x="31" y="0"/>
                              <a:pt x="25" y="1"/>
                              <a:pt x="23" y="6"/>
                            </a:cubicBezTo>
                            <a:cubicBezTo>
                              <a:pt x="3" y="40"/>
                              <a:pt x="3" y="40"/>
                              <a:pt x="3" y="40"/>
                            </a:cubicBezTo>
                            <a:cubicBezTo>
                              <a:pt x="0" y="45"/>
                              <a:pt x="2" y="50"/>
                              <a:pt x="7" y="53"/>
                            </a:cubicBezTo>
                            <a:cubicBezTo>
                              <a:pt x="7" y="53"/>
                              <a:pt x="7" y="53"/>
                              <a:pt x="7" y="53"/>
                            </a:cubicBezTo>
                            <a:cubicBezTo>
                              <a:pt x="11" y="56"/>
                              <a:pt x="17" y="54"/>
                              <a:pt x="19" y="49"/>
                            </a:cubicBezTo>
                            <a:lnTo>
                              <a:pt x="39" y="15"/>
                            </a:ln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660" name="Freeform 240"/>
                      <p:cNvSpPr>
                        <a:spLocks/>
                      </p:cNvSpPr>
                      <p:nvPr/>
                    </p:nvSpPr>
                    <p:spPr bwMode="auto">
                      <a:xfrm rot="5400000">
                        <a:off x="10816047" y="1431664"/>
                        <a:ext cx="39294" cy="60365"/>
                      </a:xfrm>
                      <a:custGeom>
                        <a:avLst/>
                        <a:gdLst>
                          <a:gd name="T0" fmla="*/ 17 w 36"/>
                          <a:gd name="T1" fmla="*/ 6 h 54"/>
                          <a:gd name="T2" fmla="*/ 6 w 36"/>
                          <a:gd name="T3" fmla="*/ 2 h 54"/>
                          <a:gd name="T4" fmla="*/ 6 w 36"/>
                          <a:gd name="T5" fmla="*/ 2 h 54"/>
                          <a:gd name="T6" fmla="*/ 2 w 36"/>
                          <a:gd name="T7" fmla="*/ 13 h 54"/>
                          <a:gd name="T8" fmla="*/ 18 w 36"/>
                          <a:gd name="T9" fmla="*/ 48 h 54"/>
                          <a:gd name="T10" fmla="*/ 30 w 36"/>
                          <a:gd name="T11" fmla="*/ 52 h 54"/>
                          <a:gd name="T12" fmla="*/ 30 w 36"/>
                          <a:gd name="T13" fmla="*/ 52 h 54"/>
                          <a:gd name="T14" fmla="*/ 34 w 36"/>
                          <a:gd name="T15" fmla="*/ 41 h 54"/>
                          <a:gd name="T16" fmla="*/ 17 w 36"/>
                          <a:gd name="T17" fmla="*/ 6 h 5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36" h="54">
                            <a:moveTo>
                              <a:pt x="17" y="6"/>
                            </a:moveTo>
                            <a:cubicBezTo>
                              <a:pt x="15" y="1"/>
                              <a:pt x="10" y="0"/>
                              <a:pt x="6" y="2"/>
                            </a:cubicBezTo>
                            <a:cubicBezTo>
                              <a:pt x="6" y="2"/>
                              <a:pt x="6" y="2"/>
                              <a:pt x="6" y="2"/>
                            </a:cubicBezTo>
                            <a:cubicBezTo>
                              <a:pt x="1" y="4"/>
                              <a:pt x="0" y="9"/>
                              <a:pt x="2" y="13"/>
                            </a:cubicBezTo>
                            <a:cubicBezTo>
                              <a:pt x="18" y="48"/>
                              <a:pt x="18" y="48"/>
                              <a:pt x="18" y="48"/>
                            </a:cubicBezTo>
                            <a:cubicBezTo>
                              <a:pt x="20" y="52"/>
                              <a:pt x="25" y="54"/>
                              <a:pt x="30" y="52"/>
                            </a:cubicBezTo>
                            <a:cubicBezTo>
                              <a:pt x="30" y="52"/>
                              <a:pt x="30" y="52"/>
                              <a:pt x="30" y="52"/>
                            </a:cubicBezTo>
                            <a:cubicBezTo>
                              <a:pt x="34" y="50"/>
                              <a:pt x="36" y="45"/>
                              <a:pt x="34" y="41"/>
                            </a:cubicBezTo>
                            <a:lnTo>
                              <a:pt x="17" y="6"/>
                            </a:lnTo>
                            <a:close/>
                          </a:path>
                        </a:pathLst>
                      </a:custGeom>
                      <a:solidFill>
                        <a:srgbClr val="682A7A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108810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505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sp>
                <p:nvSpPr>
                  <p:cNvPr id="632" name="Freeform 241"/>
                  <p:cNvSpPr>
                    <a:spLocks noEditPoints="1"/>
                  </p:cNvSpPr>
                  <p:nvPr/>
                </p:nvSpPr>
                <p:spPr bwMode="auto">
                  <a:xfrm>
                    <a:off x="12000421" y="1707561"/>
                    <a:ext cx="104784" cy="176569"/>
                  </a:xfrm>
                  <a:custGeom>
                    <a:avLst/>
                    <a:gdLst>
                      <a:gd name="T0" fmla="*/ 82 w 95"/>
                      <a:gd name="T1" fmla="*/ 13 h 155"/>
                      <a:gd name="T2" fmla="*/ 49 w 95"/>
                      <a:gd name="T3" fmla="*/ 0 h 155"/>
                      <a:gd name="T4" fmla="*/ 16 w 95"/>
                      <a:gd name="T5" fmla="*/ 13 h 155"/>
                      <a:gd name="T6" fmla="*/ 0 w 95"/>
                      <a:gd name="T7" fmla="*/ 46 h 155"/>
                      <a:gd name="T8" fmla="*/ 8 w 95"/>
                      <a:gd name="T9" fmla="*/ 75 h 155"/>
                      <a:gd name="T10" fmla="*/ 31 w 95"/>
                      <a:gd name="T11" fmla="*/ 106 h 155"/>
                      <a:gd name="T12" fmla="*/ 45 w 95"/>
                      <a:gd name="T13" fmla="*/ 155 h 155"/>
                      <a:gd name="T14" fmla="*/ 53 w 95"/>
                      <a:gd name="T15" fmla="*/ 155 h 155"/>
                      <a:gd name="T16" fmla="*/ 72 w 95"/>
                      <a:gd name="T17" fmla="*/ 95 h 155"/>
                      <a:gd name="T18" fmla="*/ 88 w 95"/>
                      <a:gd name="T19" fmla="*/ 75 h 155"/>
                      <a:gd name="T20" fmla="*/ 95 w 95"/>
                      <a:gd name="T21" fmla="*/ 46 h 155"/>
                      <a:gd name="T22" fmla="*/ 82 w 95"/>
                      <a:gd name="T23" fmla="*/ 13 h 155"/>
                      <a:gd name="T24" fmla="*/ 49 w 95"/>
                      <a:gd name="T25" fmla="*/ 71 h 155"/>
                      <a:gd name="T26" fmla="*/ 25 w 95"/>
                      <a:gd name="T27" fmla="*/ 48 h 155"/>
                      <a:gd name="T28" fmla="*/ 49 w 95"/>
                      <a:gd name="T29" fmla="*/ 27 h 155"/>
                      <a:gd name="T30" fmla="*/ 70 w 95"/>
                      <a:gd name="T31" fmla="*/ 48 h 155"/>
                      <a:gd name="T32" fmla="*/ 49 w 95"/>
                      <a:gd name="T33" fmla="*/ 71 h 1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95" h="155">
                        <a:moveTo>
                          <a:pt x="82" y="13"/>
                        </a:moveTo>
                        <a:cubicBezTo>
                          <a:pt x="72" y="6"/>
                          <a:pt x="60" y="0"/>
                          <a:pt x="49" y="0"/>
                        </a:cubicBezTo>
                        <a:cubicBezTo>
                          <a:pt x="35" y="0"/>
                          <a:pt x="24" y="6"/>
                          <a:pt x="16" y="13"/>
                        </a:cubicBezTo>
                        <a:cubicBezTo>
                          <a:pt x="6" y="23"/>
                          <a:pt x="0" y="35"/>
                          <a:pt x="0" y="46"/>
                        </a:cubicBezTo>
                        <a:cubicBezTo>
                          <a:pt x="0" y="58"/>
                          <a:pt x="4" y="68"/>
                          <a:pt x="8" y="75"/>
                        </a:cubicBezTo>
                        <a:cubicBezTo>
                          <a:pt x="16" y="87"/>
                          <a:pt x="24" y="95"/>
                          <a:pt x="31" y="106"/>
                        </a:cubicBezTo>
                        <a:cubicBezTo>
                          <a:pt x="39" y="118"/>
                          <a:pt x="45" y="132"/>
                          <a:pt x="45" y="155"/>
                        </a:cubicBezTo>
                        <a:cubicBezTo>
                          <a:pt x="53" y="155"/>
                          <a:pt x="53" y="155"/>
                          <a:pt x="53" y="155"/>
                        </a:cubicBezTo>
                        <a:cubicBezTo>
                          <a:pt x="53" y="124"/>
                          <a:pt x="62" y="108"/>
                          <a:pt x="72" y="95"/>
                        </a:cubicBezTo>
                        <a:cubicBezTo>
                          <a:pt x="78" y="89"/>
                          <a:pt x="84" y="83"/>
                          <a:pt x="88" y="75"/>
                        </a:cubicBezTo>
                        <a:cubicBezTo>
                          <a:pt x="93" y="68"/>
                          <a:pt x="95" y="58"/>
                          <a:pt x="95" y="46"/>
                        </a:cubicBezTo>
                        <a:cubicBezTo>
                          <a:pt x="95" y="35"/>
                          <a:pt x="89" y="23"/>
                          <a:pt x="82" y="13"/>
                        </a:cubicBezTo>
                        <a:close/>
                        <a:moveTo>
                          <a:pt x="49" y="71"/>
                        </a:moveTo>
                        <a:cubicBezTo>
                          <a:pt x="35" y="71"/>
                          <a:pt x="25" y="60"/>
                          <a:pt x="25" y="48"/>
                        </a:cubicBezTo>
                        <a:cubicBezTo>
                          <a:pt x="25" y="37"/>
                          <a:pt x="35" y="27"/>
                          <a:pt x="49" y="27"/>
                        </a:cubicBezTo>
                        <a:cubicBezTo>
                          <a:pt x="60" y="27"/>
                          <a:pt x="70" y="37"/>
                          <a:pt x="70" y="48"/>
                        </a:cubicBezTo>
                        <a:cubicBezTo>
                          <a:pt x="70" y="60"/>
                          <a:pt x="60" y="71"/>
                          <a:pt x="49" y="71"/>
                        </a:cubicBezTo>
                        <a:close/>
                      </a:path>
                    </a:pathLst>
                  </a:custGeom>
                  <a:solidFill>
                    <a:srgbClr val="DA40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3" name="Freeform 242"/>
                  <p:cNvSpPr>
                    <a:spLocks noEditPoints="1"/>
                  </p:cNvSpPr>
                  <p:nvPr/>
                </p:nvSpPr>
                <p:spPr bwMode="auto">
                  <a:xfrm rot="5400000">
                    <a:off x="11571961" y="1163023"/>
                    <a:ext cx="71312" cy="149404"/>
                  </a:xfrm>
                  <a:custGeom>
                    <a:avLst/>
                    <a:gdLst>
                      <a:gd name="T0" fmla="*/ 24 w 49"/>
                      <a:gd name="T1" fmla="*/ 82 h 99"/>
                      <a:gd name="T2" fmla="*/ 27 w 49"/>
                      <a:gd name="T3" fmla="*/ 83 h 99"/>
                      <a:gd name="T4" fmla="*/ 29 w 49"/>
                      <a:gd name="T5" fmla="*/ 86 h 99"/>
                      <a:gd name="T6" fmla="*/ 31 w 49"/>
                      <a:gd name="T7" fmla="*/ 89 h 99"/>
                      <a:gd name="T8" fmla="*/ 30 w 49"/>
                      <a:gd name="T9" fmla="*/ 93 h 99"/>
                      <a:gd name="T10" fmla="*/ 28 w 49"/>
                      <a:gd name="T11" fmla="*/ 96 h 99"/>
                      <a:gd name="T12" fmla="*/ 25 w 49"/>
                      <a:gd name="T13" fmla="*/ 98 h 99"/>
                      <a:gd name="T14" fmla="*/ 22 w 49"/>
                      <a:gd name="T15" fmla="*/ 99 h 99"/>
                      <a:gd name="T16" fmla="*/ 18 w 49"/>
                      <a:gd name="T17" fmla="*/ 99 h 99"/>
                      <a:gd name="T18" fmla="*/ 15 w 49"/>
                      <a:gd name="T19" fmla="*/ 97 h 99"/>
                      <a:gd name="T20" fmla="*/ 13 w 49"/>
                      <a:gd name="T21" fmla="*/ 94 h 99"/>
                      <a:gd name="T22" fmla="*/ 11 w 49"/>
                      <a:gd name="T23" fmla="*/ 91 h 99"/>
                      <a:gd name="T24" fmla="*/ 12 w 49"/>
                      <a:gd name="T25" fmla="*/ 88 h 99"/>
                      <a:gd name="T26" fmla="*/ 13 w 49"/>
                      <a:gd name="T27" fmla="*/ 85 h 99"/>
                      <a:gd name="T28" fmla="*/ 16 w 49"/>
                      <a:gd name="T29" fmla="*/ 82 h 99"/>
                      <a:gd name="T30" fmla="*/ 20 w 49"/>
                      <a:gd name="T31" fmla="*/ 82 h 99"/>
                      <a:gd name="T32" fmla="*/ 21 w 49"/>
                      <a:gd name="T33" fmla="*/ 82 h 99"/>
                      <a:gd name="T34" fmla="*/ 26 w 49"/>
                      <a:gd name="T35" fmla="*/ 1 h 99"/>
                      <a:gd name="T36" fmla="*/ 31 w 49"/>
                      <a:gd name="T37" fmla="*/ 2 h 99"/>
                      <a:gd name="T38" fmla="*/ 36 w 49"/>
                      <a:gd name="T39" fmla="*/ 3 h 99"/>
                      <a:gd name="T40" fmla="*/ 41 w 49"/>
                      <a:gd name="T41" fmla="*/ 5 h 99"/>
                      <a:gd name="T42" fmla="*/ 44 w 49"/>
                      <a:gd name="T43" fmla="*/ 8 h 99"/>
                      <a:gd name="T44" fmla="*/ 47 w 49"/>
                      <a:gd name="T45" fmla="*/ 12 h 99"/>
                      <a:gd name="T46" fmla="*/ 48 w 49"/>
                      <a:gd name="T47" fmla="*/ 16 h 99"/>
                      <a:gd name="T48" fmla="*/ 49 w 49"/>
                      <a:gd name="T49" fmla="*/ 21 h 99"/>
                      <a:gd name="T50" fmla="*/ 49 w 49"/>
                      <a:gd name="T51" fmla="*/ 26 h 99"/>
                      <a:gd name="T52" fmla="*/ 47 w 49"/>
                      <a:gd name="T53" fmla="*/ 30 h 99"/>
                      <a:gd name="T54" fmla="*/ 46 w 49"/>
                      <a:gd name="T55" fmla="*/ 34 h 99"/>
                      <a:gd name="T56" fmla="*/ 44 w 49"/>
                      <a:gd name="T57" fmla="*/ 38 h 99"/>
                      <a:gd name="T58" fmla="*/ 38 w 49"/>
                      <a:gd name="T59" fmla="*/ 44 h 99"/>
                      <a:gd name="T60" fmla="*/ 33 w 49"/>
                      <a:gd name="T61" fmla="*/ 49 h 99"/>
                      <a:gd name="T62" fmla="*/ 29 w 49"/>
                      <a:gd name="T63" fmla="*/ 52 h 99"/>
                      <a:gd name="T64" fmla="*/ 28 w 49"/>
                      <a:gd name="T65" fmla="*/ 55 h 99"/>
                      <a:gd name="T66" fmla="*/ 26 w 49"/>
                      <a:gd name="T67" fmla="*/ 57 h 99"/>
                      <a:gd name="T68" fmla="*/ 25 w 49"/>
                      <a:gd name="T69" fmla="*/ 61 h 99"/>
                      <a:gd name="T70" fmla="*/ 25 w 49"/>
                      <a:gd name="T71" fmla="*/ 66 h 99"/>
                      <a:gd name="T72" fmla="*/ 27 w 49"/>
                      <a:gd name="T73" fmla="*/ 70 h 99"/>
                      <a:gd name="T74" fmla="*/ 13 w 49"/>
                      <a:gd name="T75" fmla="*/ 70 h 99"/>
                      <a:gd name="T76" fmla="*/ 13 w 49"/>
                      <a:gd name="T77" fmla="*/ 68 h 99"/>
                      <a:gd name="T78" fmla="*/ 12 w 49"/>
                      <a:gd name="T79" fmla="*/ 64 h 99"/>
                      <a:gd name="T80" fmla="*/ 12 w 49"/>
                      <a:gd name="T81" fmla="*/ 59 h 99"/>
                      <a:gd name="T82" fmla="*/ 13 w 49"/>
                      <a:gd name="T83" fmla="*/ 56 h 99"/>
                      <a:gd name="T84" fmla="*/ 16 w 49"/>
                      <a:gd name="T85" fmla="*/ 51 h 99"/>
                      <a:gd name="T86" fmla="*/ 20 w 49"/>
                      <a:gd name="T87" fmla="*/ 45 h 99"/>
                      <a:gd name="T88" fmla="*/ 25 w 49"/>
                      <a:gd name="T89" fmla="*/ 39 h 99"/>
                      <a:gd name="T90" fmla="*/ 31 w 49"/>
                      <a:gd name="T91" fmla="*/ 34 h 99"/>
                      <a:gd name="T92" fmla="*/ 33 w 49"/>
                      <a:gd name="T93" fmla="*/ 30 h 99"/>
                      <a:gd name="T94" fmla="*/ 34 w 49"/>
                      <a:gd name="T95" fmla="*/ 27 h 99"/>
                      <a:gd name="T96" fmla="*/ 34 w 49"/>
                      <a:gd name="T97" fmla="*/ 24 h 99"/>
                      <a:gd name="T98" fmla="*/ 33 w 49"/>
                      <a:gd name="T99" fmla="*/ 21 h 99"/>
                      <a:gd name="T100" fmla="*/ 32 w 49"/>
                      <a:gd name="T101" fmla="*/ 19 h 99"/>
                      <a:gd name="T102" fmla="*/ 30 w 49"/>
                      <a:gd name="T103" fmla="*/ 17 h 99"/>
                      <a:gd name="T104" fmla="*/ 27 w 49"/>
                      <a:gd name="T105" fmla="*/ 15 h 99"/>
                      <a:gd name="T106" fmla="*/ 22 w 49"/>
                      <a:gd name="T107" fmla="*/ 14 h 99"/>
                      <a:gd name="T108" fmla="*/ 16 w 49"/>
                      <a:gd name="T109" fmla="*/ 14 h 99"/>
                      <a:gd name="T110" fmla="*/ 11 w 49"/>
                      <a:gd name="T111" fmla="*/ 14 h 99"/>
                      <a:gd name="T112" fmla="*/ 7 w 49"/>
                      <a:gd name="T113" fmla="*/ 17 h 99"/>
                      <a:gd name="T114" fmla="*/ 2 w 49"/>
                      <a:gd name="T115" fmla="*/ 20 h 99"/>
                      <a:gd name="T116" fmla="*/ 1 w 49"/>
                      <a:gd name="T117" fmla="*/ 6 h 99"/>
                      <a:gd name="T118" fmla="*/ 7 w 49"/>
                      <a:gd name="T119" fmla="*/ 3 h 99"/>
                      <a:gd name="T120" fmla="*/ 13 w 49"/>
                      <a:gd name="T121" fmla="*/ 2 h 99"/>
                      <a:gd name="T122" fmla="*/ 18 w 49"/>
                      <a:gd name="T123" fmla="*/ 1 h 99"/>
                      <a:gd name="T124" fmla="*/ 22 w 49"/>
                      <a:gd name="T125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49" h="99">
                        <a:moveTo>
                          <a:pt x="21" y="82"/>
                        </a:moveTo>
                        <a:lnTo>
                          <a:pt x="22" y="82"/>
                        </a:lnTo>
                        <a:lnTo>
                          <a:pt x="23" y="82"/>
                        </a:lnTo>
                        <a:lnTo>
                          <a:pt x="24" y="82"/>
                        </a:lnTo>
                        <a:lnTo>
                          <a:pt x="25" y="82"/>
                        </a:lnTo>
                        <a:lnTo>
                          <a:pt x="25" y="82"/>
                        </a:lnTo>
                        <a:lnTo>
                          <a:pt x="26" y="83"/>
                        </a:lnTo>
                        <a:lnTo>
                          <a:pt x="27" y="83"/>
                        </a:lnTo>
                        <a:lnTo>
                          <a:pt x="28" y="84"/>
                        </a:lnTo>
                        <a:lnTo>
                          <a:pt x="28" y="85"/>
                        </a:lnTo>
                        <a:lnTo>
                          <a:pt x="29" y="85"/>
                        </a:lnTo>
                        <a:lnTo>
                          <a:pt x="29" y="86"/>
                        </a:lnTo>
                        <a:lnTo>
                          <a:pt x="30" y="87"/>
                        </a:lnTo>
                        <a:lnTo>
                          <a:pt x="30" y="88"/>
                        </a:lnTo>
                        <a:lnTo>
                          <a:pt x="30" y="88"/>
                        </a:lnTo>
                        <a:lnTo>
                          <a:pt x="31" y="89"/>
                        </a:lnTo>
                        <a:lnTo>
                          <a:pt x="31" y="91"/>
                        </a:lnTo>
                        <a:lnTo>
                          <a:pt x="31" y="91"/>
                        </a:lnTo>
                        <a:lnTo>
                          <a:pt x="30" y="92"/>
                        </a:lnTo>
                        <a:lnTo>
                          <a:pt x="30" y="93"/>
                        </a:lnTo>
                        <a:lnTo>
                          <a:pt x="30" y="94"/>
                        </a:lnTo>
                        <a:lnTo>
                          <a:pt x="29" y="94"/>
                        </a:lnTo>
                        <a:lnTo>
                          <a:pt x="29" y="95"/>
                        </a:lnTo>
                        <a:lnTo>
                          <a:pt x="28" y="96"/>
                        </a:lnTo>
                        <a:lnTo>
                          <a:pt x="28" y="97"/>
                        </a:lnTo>
                        <a:lnTo>
                          <a:pt x="27" y="97"/>
                        </a:lnTo>
                        <a:lnTo>
                          <a:pt x="26" y="97"/>
                        </a:lnTo>
                        <a:lnTo>
                          <a:pt x="25" y="98"/>
                        </a:lnTo>
                        <a:lnTo>
                          <a:pt x="25" y="99"/>
                        </a:lnTo>
                        <a:lnTo>
                          <a:pt x="24" y="99"/>
                        </a:lnTo>
                        <a:lnTo>
                          <a:pt x="23" y="99"/>
                        </a:lnTo>
                        <a:lnTo>
                          <a:pt x="22" y="99"/>
                        </a:lnTo>
                        <a:lnTo>
                          <a:pt x="21" y="99"/>
                        </a:lnTo>
                        <a:lnTo>
                          <a:pt x="20" y="99"/>
                        </a:lnTo>
                        <a:lnTo>
                          <a:pt x="19" y="99"/>
                        </a:lnTo>
                        <a:lnTo>
                          <a:pt x="18" y="99"/>
                        </a:lnTo>
                        <a:lnTo>
                          <a:pt x="17" y="99"/>
                        </a:lnTo>
                        <a:lnTo>
                          <a:pt x="16" y="98"/>
                        </a:lnTo>
                        <a:lnTo>
                          <a:pt x="16" y="97"/>
                        </a:lnTo>
                        <a:lnTo>
                          <a:pt x="15" y="97"/>
                        </a:lnTo>
                        <a:lnTo>
                          <a:pt x="14" y="97"/>
                        </a:lnTo>
                        <a:lnTo>
                          <a:pt x="13" y="96"/>
                        </a:lnTo>
                        <a:lnTo>
                          <a:pt x="13" y="95"/>
                        </a:lnTo>
                        <a:lnTo>
                          <a:pt x="13" y="94"/>
                        </a:lnTo>
                        <a:lnTo>
                          <a:pt x="12" y="94"/>
                        </a:lnTo>
                        <a:lnTo>
                          <a:pt x="12" y="93"/>
                        </a:lnTo>
                        <a:lnTo>
                          <a:pt x="12" y="92"/>
                        </a:lnTo>
                        <a:lnTo>
                          <a:pt x="11" y="91"/>
                        </a:lnTo>
                        <a:lnTo>
                          <a:pt x="11" y="91"/>
                        </a:lnTo>
                        <a:lnTo>
                          <a:pt x="11" y="89"/>
                        </a:lnTo>
                        <a:lnTo>
                          <a:pt x="12" y="88"/>
                        </a:lnTo>
                        <a:lnTo>
                          <a:pt x="12" y="88"/>
                        </a:lnTo>
                        <a:lnTo>
                          <a:pt x="12" y="87"/>
                        </a:lnTo>
                        <a:lnTo>
                          <a:pt x="13" y="86"/>
                        </a:lnTo>
                        <a:lnTo>
                          <a:pt x="13" y="85"/>
                        </a:lnTo>
                        <a:lnTo>
                          <a:pt x="13" y="85"/>
                        </a:lnTo>
                        <a:lnTo>
                          <a:pt x="14" y="84"/>
                        </a:lnTo>
                        <a:lnTo>
                          <a:pt x="15" y="83"/>
                        </a:lnTo>
                        <a:lnTo>
                          <a:pt x="16" y="83"/>
                        </a:lnTo>
                        <a:lnTo>
                          <a:pt x="16" y="82"/>
                        </a:lnTo>
                        <a:lnTo>
                          <a:pt x="17" y="82"/>
                        </a:lnTo>
                        <a:lnTo>
                          <a:pt x="18" y="82"/>
                        </a:lnTo>
                        <a:lnTo>
                          <a:pt x="19" y="82"/>
                        </a:lnTo>
                        <a:lnTo>
                          <a:pt x="20" y="82"/>
                        </a:lnTo>
                        <a:lnTo>
                          <a:pt x="21" y="82"/>
                        </a:lnTo>
                        <a:lnTo>
                          <a:pt x="21" y="82"/>
                        </a:lnTo>
                        <a:lnTo>
                          <a:pt x="21" y="82"/>
                        </a:lnTo>
                        <a:lnTo>
                          <a:pt x="21" y="82"/>
                        </a:lnTo>
                        <a:close/>
                        <a:moveTo>
                          <a:pt x="22" y="0"/>
                        </a:moveTo>
                        <a:lnTo>
                          <a:pt x="24" y="0"/>
                        </a:lnTo>
                        <a:lnTo>
                          <a:pt x="25" y="1"/>
                        </a:lnTo>
                        <a:lnTo>
                          <a:pt x="26" y="1"/>
                        </a:lnTo>
                        <a:lnTo>
                          <a:pt x="28" y="1"/>
                        </a:lnTo>
                        <a:lnTo>
                          <a:pt x="29" y="1"/>
                        </a:lnTo>
                        <a:lnTo>
                          <a:pt x="30" y="1"/>
                        </a:lnTo>
                        <a:lnTo>
                          <a:pt x="31" y="2"/>
                        </a:lnTo>
                        <a:lnTo>
                          <a:pt x="33" y="2"/>
                        </a:lnTo>
                        <a:lnTo>
                          <a:pt x="34" y="2"/>
                        </a:lnTo>
                        <a:lnTo>
                          <a:pt x="35" y="2"/>
                        </a:lnTo>
                        <a:lnTo>
                          <a:pt x="36" y="3"/>
                        </a:lnTo>
                        <a:lnTo>
                          <a:pt x="38" y="4"/>
                        </a:lnTo>
                        <a:lnTo>
                          <a:pt x="38" y="4"/>
                        </a:lnTo>
                        <a:lnTo>
                          <a:pt x="39" y="5"/>
                        </a:lnTo>
                        <a:lnTo>
                          <a:pt x="41" y="5"/>
                        </a:lnTo>
                        <a:lnTo>
                          <a:pt x="41" y="6"/>
                        </a:lnTo>
                        <a:lnTo>
                          <a:pt x="42" y="7"/>
                        </a:lnTo>
                        <a:lnTo>
                          <a:pt x="43" y="8"/>
                        </a:lnTo>
                        <a:lnTo>
                          <a:pt x="44" y="8"/>
                        </a:lnTo>
                        <a:lnTo>
                          <a:pt x="44" y="9"/>
                        </a:lnTo>
                        <a:lnTo>
                          <a:pt x="45" y="10"/>
                        </a:lnTo>
                        <a:lnTo>
                          <a:pt x="46" y="11"/>
                        </a:lnTo>
                        <a:lnTo>
                          <a:pt x="47" y="12"/>
                        </a:lnTo>
                        <a:lnTo>
                          <a:pt x="47" y="13"/>
                        </a:lnTo>
                        <a:lnTo>
                          <a:pt x="47" y="14"/>
                        </a:lnTo>
                        <a:lnTo>
                          <a:pt x="48" y="15"/>
                        </a:lnTo>
                        <a:lnTo>
                          <a:pt x="48" y="16"/>
                        </a:lnTo>
                        <a:lnTo>
                          <a:pt x="48" y="17"/>
                        </a:lnTo>
                        <a:lnTo>
                          <a:pt x="49" y="18"/>
                        </a:lnTo>
                        <a:lnTo>
                          <a:pt x="49" y="20"/>
                        </a:lnTo>
                        <a:lnTo>
                          <a:pt x="49" y="21"/>
                        </a:lnTo>
                        <a:lnTo>
                          <a:pt x="49" y="22"/>
                        </a:lnTo>
                        <a:lnTo>
                          <a:pt x="49" y="23"/>
                        </a:lnTo>
                        <a:lnTo>
                          <a:pt x="49" y="25"/>
                        </a:lnTo>
                        <a:lnTo>
                          <a:pt x="49" y="26"/>
                        </a:lnTo>
                        <a:lnTo>
                          <a:pt x="49" y="27"/>
                        </a:lnTo>
                        <a:lnTo>
                          <a:pt x="48" y="28"/>
                        </a:lnTo>
                        <a:lnTo>
                          <a:pt x="48" y="30"/>
                        </a:lnTo>
                        <a:lnTo>
                          <a:pt x="47" y="30"/>
                        </a:lnTo>
                        <a:lnTo>
                          <a:pt x="47" y="32"/>
                        </a:lnTo>
                        <a:lnTo>
                          <a:pt x="47" y="33"/>
                        </a:lnTo>
                        <a:lnTo>
                          <a:pt x="47" y="33"/>
                        </a:lnTo>
                        <a:lnTo>
                          <a:pt x="46" y="34"/>
                        </a:lnTo>
                        <a:lnTo>
                          <a:pt x="45" y="36"/>
                        </a:lnTo>
                        <a:lnTo>
                          <a:pt x="44" y="36"/>
                        </a:lnTo>
                        <a:lnTo>
                          <a:pt x="44" y="37"/>
                        </a:lnTo>
                        <a:lnTo>
                          <a:pt x="44" y="38"/>
                        </a:lnTo>
                        <a:lnTo>
                          <a:pt x="43" y="39"/>
                        </a:lnTo>
                        <a:lnTo>
                          <a:pt x="41" y="41"/>
                        </a:lnTo>
                        <a:lnTo>
                          <a:pt x="40" y="42"/>
                        </a:lnTo>
                        <a:lnTo>
                          <a:pt x="38" y="44"/>
                        </a:lnTo>
                        <a:lnTo>
                          <a:pt x="37" y="45"/>
                        </a:lnTo>
                        <a:lnTo>
                          <a:pt x="35" y="46"/>
                        </a:lnTo>
                        <a:lnTo>
                          <a:pt x="34" y="48"/>
                        </a:lnTo>
                        <a:lnTo>
                          <a:pt x="33" y="49"/>
                        </a:lnTo>
                        <a:lnTo>
                          <a:pt x="31" y="50"/>
                        </a:lnTo>
                        <a:lnTo>
                          <a:pt x="31" y="51"/>
                        </a:lnTo>
                        <a:lnTo>
                          <a:pt x="30" y="51"/>
                        </a:lnTo>
                        <a:lnTo>
                          <a:pt x="29" y="52"/>
                        </a:lnTo>
                        <a:lnTo>
                          <a:pt x="29" y="53"/>
                        </a:lnTo>
                        <a:lnTo>
                          <a:pt x="28" y="54"/>
                        </a:lnTo>
                        <a:lnTo>
                          <a:pt x="28" y="54"/>
                        </a:lnTo>
                        <a:lnTo>
                          <a:pt x="28" y="55"/>
                        </a:lnTo>
                        <a:lnTo>
                          <a:pt x="27" y="55"/>
                        </a:lnTo>
                        <a:lnTo>
                          <a:pt x="27" y="56"/>
                        </a:lnTo>
                        <a:lnTo>
                          <a:pt x="26" y="57"/>
                        </a:lnTo>
                        <a:lnTo>
                          <a:pt x="26" y="57"/>
                        </a:lnTo>
                        <a:lnTo>
                          <a:pt x="25" y="58"/>
                        </a:lnTo>
                        <a:lnTo>
                          <a:pt x="25" y="59"/>
                        </a:lnTo>
                        <a:lnTo>
                          <a:pt x="25" y="60"/>
                        </a:lnTo>
                        <a:lnTo>
                          <a:pt x="25" y="61"/>
                        </a:lnTo>
                        <a:lnTo>
                          <a:pt x="25" y="62"/>
                        </a:lnTo>
                        <a:lnTo>
                          <a:pt x="25" y="63"/>
                        </a:lnTo>
                        <a:lnTo>
                          <a:pt x="25" y="64"/>
                        </a:lnTo>
                        <a:lnTo>
                          <a:pt x="25" y="66"/>
                        </a:lnTo>
                        <a:lnTo>
                          <a:pt x="26" y="67"/>
                        </a:lnTo>
                        <a:lnTo>
                          <a:pt x="26" y="68"/>
                        </a:lnTo>
                        <a:lnTo>
                          <a:pt x="27" y="69"/>
                        </a:lnTo>
                        <a:lnTo>
                          <a:pt x="27" y="70"/>
                        </a:lnTo>
                        <a:lnTo>
                          <a:pt x="28" y="71"/>
                        </a:lnTo>
                        <a:lnTo>
                          <a:pt x="13" y="71"/>
                        </a:lnTo>
                        <a:lnTo>
                          <a:pt x="13" y="70"/>
                        </a:lnTo>
                        <a:lnTo>
                          <a:pt x="13" y="70"/>
                        </a:lnTo>
                        <a:lnTo>
                          <a:pt x="13" y="69"/>
                        </a:lnTo>
                        <a:lnTo>
                          <a:pt x="13" y="69"/>
                        </a:lnTo>
                        <a:lnTo>
                          <a:pt x="13" y="69"/>
                        </a:lnTo>
                        <a:lnTo>
                          <a:pt x="13" y="68"/>
                        </a:lnTo>
                        <a:lnTo>
                          <a:pt x="13" y="67"/>
                        </a:lnTo>
                        <a:lnTo>
                          <a:pt x="13" y="66"/>
                        </a:lnTo>
                        <a:lnTo>
                          <a:pt x="12" y="65"/>
                        </a:lnTo>
                        <a:lnTo>
                          <a:pt x="12" y="64"/>
                        </a:lnTo>
                        <a:lnTo>
                          <a:pt x="12" y="63"/>
                        </a:lnTo>
                        <a:lnTo>
                          <a:pt x="12" y="61"/>
                        </a:lnTo>
                        <a:lnTo>
                          <a:pt x="12" y="60"/>
                        </a:lnTo>
                        <a:lnTo>
                          <a:pt x="12" y="59"/>
                        </a:lnTo>
                        <a:lnTo>
                          <a:pt x="12" y="58"/>
                        </a:lnTo>
                        <a:lnTo>
                          <a:pt x="13" y="57"/>
                        </a:lnTo>
                        <a:lnTo>
                          <a:pt x="13" y="57"/>
                        </a:lnTo>
                        <a:lnTo>
                          <a:pt x="13" y="56"/>
                        </a:lnTo>
                        <a:lnTo>
                          <a:pt x="13" y="54"/>
                        </a:lnTo>
                        <a:lnTo>
                          <a:pt x="13" y="54"/>
                        </a:lnTo>
                        <a:lnTo>
                          <a:pt x="14" y="52"/>
                        </a:lnTo>
                        <a:lnTo>
                          <a:pt x="16" y="51"/>
                        </a:lnTo>
                        <a:lnTo>
                          <a:pt x="16" y="49"/>
                        </a:lnTo>
                        <a:lnTo>
                          <a:pt x="18" y="48"/>
                        </a:lnTo>
                        <a:lnTo>
                          <a:pt x="19" y="46"/>
                        </a:lnTo>
                        <a:lnTo>
                          <a:pt x="20" y="45"/>
                        </a:lnTo>
                        <a:lnTo>
                          <a:pt x="22" y="43"/>
                        </a:lnTo>
                        <a:lnTo>
                          <a:pt x="23" y="42"/>
                        </a:lnTo>
                        <a:lnTo>
                          <a:pt x="24" y="41"/>
                        </a:lnTo>
                        <a:lnTo>
                          <a:pt x="25" y="39"/>
                        </a:lnTo>
                        <a:lnTo>
                          <a:pt x="27" y="38"/>
                        </a:lnTo>
                        <a:lnTo>
                          <a:pt x="28" y="37"/>
                        </a:lnTo>
                        <a:lnTo>
                          <a:pt x="29" y="36"/>
                        </a:lnTo>
                        <a:lnTo>
                          <a:pt x="31" y="34"/>
                        </a:lnTo>
                        <a:lnTo>
                          <a:pt x="31" y="33"/>
                        </a:lnTo>
                        <a:lnTo>
                          <a:pt x="32" y="32"/>
                        </a:lnTo>
                        <a:lnTo>
                          <a:pt x="33" y="31"/>
                        </a:lnTo>
                        <a:lnTo>
                          <a:pt x="33" y="30"/>
                        </a:lnTo>
                        <a:lnTo>
                          <a:pt x="33" y="30"/>
                        </a:lnTo>
                        <a:lnTo>
                          <a:pt x="34" y="29"/>
                        </a:lnTo>
                        <a:lnTo>
                          <a:pt x="34" y="28"/>
                        </a:lnTo>
                        <a:lnTo>
                          <a:pt x="34" y="27"/>
                        </a:lnTo>
                        <a:lnTo>
                          <a:pt x="34" y="27"/>
                        </a:lnTo>
                        <a:lnTo>
                          <a:pt x="34" y="26"/>
                        </a:lnTo>
                        <a:lnTo>
                          <a:pt x="34" y="25"/>
                        </a:lnTo>
                        <a:lnTo>
                          <a:pt x="34" y="24"/>
                        </a:lnTo>
                        <a:lnTo>
                          <a:pt x="34" y="23"/>
                        </a:lnTo>
                        <a:lnTo>
                          <a:pt x="34" y="23"/>
                        </a:lnTo>
                        <a:lnTo>
                          <a:pt x="34" y="22"/>
                        </a:lnTo>
                        <a:lnTo>
                          <a:pt x="33" y="21"/>
                        </a:lnTo>
                        <a:lnTo>
                          <a:pt x="33" y="20"/>
                        </a:lnTo>
                        <a:lnTo>
                          <a:pt x="33" y="20"/>
                        </a:lnTo>
                        <a:lnTo>
                          <a:pt x="32" y="20"/>
                        </a:lnTo>
                        <a:lnTo>
                          <a:pt x="32" y="19"/>
                        </a:lnTo>
                        <a:lnTo>
                          <a:pt x="31" y="18"/>
                        </a:lnTo>
                        <a:lnTo>
                          <a:pt x="31" y="18"/>
                        </a:lnTo>
                        <a:lnTo>
                          <a:pt x="31" y="17"/>
                        </a:lnTo>
                        <a:lnTo>
                          <a:pt x="30" y="17"/>
                        </a:lnTo>
                        <a:lnTo>
                          <a:pt x="30" y="17"/>
                        </a:lnTo>
                        <a:lnTo>
                          <a:pt x="29" y="17"/>
                        </a:lnTo>
                        <a:lnTo>
                          <a:pt x="28" y="16"/>
                        </a:lnTo>
                        <a:lnTo>
                          <a:pt x="27" y="15"/>
                        </a:lnTo>
                        <a:lnTo>
                          <a:pt x="26" y="14"/>
                        </a:lnTo>
                        <a:lnTo>
                          <a:pt x="25" y="14"/>
                        </a:lnTo>
                        <a:lnTo>
                          <a:pt x="23" y="14"/>
                        </a:lnTo>
                        <a:lnTo>
                          <a:pt x="22" y="14"/>
                        </a:lnTo>
                        <a:lnTo>
                          <a:pt x="20" y="14"/>
                        </a:lnTo>
                        <a:lnTo>
                          <a:pt x="19" y="14"/>
                        </a:lnTo>
                        <a:lnTo>
                          <a:pt x="17" y="14"/>
                        </a:lnTo>
                        <a:lnTo>
                          <a:pt x="16" y="14"/>
                        </a:lnTo>
                        <a:lnTo>
                          <a:pt x="15" y="14"/>
                        </a:lnTo>
                        <a:lnTo>
                          <a:pt x="14" y="14"/>
                        </a:lnTo>
                        <a:lnTo>
                          <a:pt x="13" y="14"/>
                        </a:lnTo>
                        <a:lnTo>
                          <a:pt x="11" y="14"/>
                        </a:lnTo>
                        <a:lnTo>
                          <a:pt x="10" y="15"/>
                        </a:lnTo>
                        <a:lnTo>
                          <a:pt x="9" y="16"/>
                        </a:lnTo>
                        <a:lnTo>
                          <a:pt x="8" y="16"/>
                        </a:lnTo>
                        <a:lnTo>
                          <a:pt x="7" y="17"/>
                        </a:lnTo>
                        <a:lnTo>
                          <a:pt x="5" y="17"/>
                        </a:lnTo>
                        <a:lnTo>
                          <a:pt x="4" y="18"/>
                        </a:lnTo>
                        <a:lnTo>
                          <a:pt x="3" y="19"/>
                        </a:lnTo>
                        <a:lnTo>
                          <a:pt x="2" y="20"/>
                        </a:lnTo>
                        <a:lnTo>
                          <a:pt x="1" y="21"/>
                        </a:lnTo>
                        <a:lnTo>
                          <a:pt x="0" y="22"/>
                        </a:lnTo>
                        <a:lnTo>
                          <a:pt x="0" y="7"/>
                        </a:lnTo>
                        <a:lnTo>
                          <a:pt x="1" y="6"/>
                        </a:lnTo>
                        <a:lnTo>
                          <a:pt x="3" y="5"/>
                        </a:lnTo>
                        <a:lnTo>
                          <a:pt x="4" y="5"/>
                        </a:lnTo>
                        <a:lnTo>
                          <a:pt x="5" y="4"/>
                        </a:lnTo>
                        <a:lnTo>
                          <a:pt x="7" y="3"/>
                        </a:lnTo>
                        <a:lnTo>
                          <a:pt x="8" y="3"/>
                        </a:lnTo>
                        <a:lnTo>
                          <a:pt x="10" y="2"/>
                        </a:lnTo>
                        <a:lnTo>
                          <a:pt x="11" y="2"/>
                        </a:lnTo>
                        <a:lnTo>
                          <a:pt x="13" y="2"/>
                        </a:lnTo>
                        <a:lnTo>
                          <a:pt x="13" y="2"/>
                        </a:lnTo>
                        <a:lnTo>
                          <a:pt x="15" y="1"/>
                        </a:lnTo>
                        <a:lnTo>
                          <a:pt x="16" y="1"/>
                        </a:lnTo>
                        <a:lnTo>
                          <a:pt x="18" y="1"/>
                        </a:lnTo>
                        <a:lnTo>
                          <a:pt x="19" y="1"/>
                        </a:lnTo>
                        <a:lnTo>
                          <a:pt x="21" y="0"/>
                        </a:lnTo>
                        <a:lnTo>
                          <a:pt x="22" y="0"/>
                        </a:lnTo>
                        <a:lnTo>
                          <a:pt x="22" y="0"/>
                        </a:lnTo>
                        <a:lnTo>
                          <a:pt x="22" y="0"/>
                        </a:lnTo>
                        <a:lnTo>
                          <a:pt x="22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4" name="Freeform 243"/>
                  <p:cNvSpPr>
                    <a:spLocks/>
                  </p:cNvSpPr>
                  <p:nvPr/>
                </p:nvSpPr>
                <p:spPr bwMode="auto">
                  <a:xfrm rot="5400000">
                    <a:off x="10645137" y="844463"/>
                    <a:ext cx="18920" cy="18110"/>
                  </a:xfrm>
                  <a:custGeom>
                    <a:avLst/>
                    <a:gdLst>
                      <a:gd name="T0" fmla="*/ 9 w 17"/>
                      <a:gd name="T1" fmla="*/ 16 h 16"/>
                      <a:gd name="T2" fmla="*/ 0 w 17"/>
                      <a:gd name="T3" fmla="*/ 8 h 16"/>
                      <a:gd name="T4" fmla="*/ 8 w 17"/>
                      <a:gd name="T5" fmla="*/ 0 h 16"/>
                      <a:gd name="T6" fmla="*/ 17 w 17"/>
                      <a:gd name="T7" fmla="*/ 8 h 16"/>
                      <a:gd name="T8" fmla="*/ 9 w 17"/>
                      <a:gd name="T9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7" h="16">
                        <a:moveTo>
                          <a:pt x="9" y="16"/>
                        </a:moveTo>
                        <a:cubicBezTo>
                          <a:pt x="5" y="16"/>
                          <a:pt x="1" y="12"/>
                          <a:pt x="0" y="8"/>
                        </a:cubicBezTo>
                        <a:cubicBezTo>
                          <a:pt x="0" y="4"/>
                          <a:pt x="3" y="0"/>
                          <a:pt x="8" y="0"/>
                        </a:cubicBezTo>
                        <a:cubicBezTo>
                          <a:pt x="13" y="0"/>
                          <a:pt x="17" y="3"/>
                          <a:pt x="17" y="8"/>
                        </a:cubicBezTo>
                        <a:cubicBezTo>
                          <a:pt x="17" y="12"/>
                          <a:pt x="14" y="16"/>
                          <a:pt x="9" y="16"/>
                        </a:cubicBezTo>
                        <a:close/>
                      </a:path>
                    </a:pathLst>
                  </a:custGeom>
                  <a:solidFill>
                    <a:srgbClr val="682A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5" name="Freeform 244"/>
                  <p:cNvSpPr>
                    <a:spLocks/>
                  </p:cNvSpPr>
                  <p:nvPr/>
                </p:nvSpPr>
                <p:spPr bwMode="auto">
                  <a:xfrm rot="5400000">
                    <a:off x="10647723" y="843441"/>
                    <a:ext cx="77133" cy="75457"/>
                  </a:xfrm>
                  <a:custGeom>
                    <a:avLst/>
                    <a:gdLst>
                      <a:gd name="T0" fmla="*/ 70 w 70"/>
                      <a:gd name="T1" fmla="*/ 64 h 67"/>
                      <a:gd name="T2" fmla="*/ 37 w 70"/>
                      <a:gd name="T3" fmla="*/ 8 h 67"/>
                      <a:gd name="T4" fmla="*/ 1 w 70"/>
                      <a:gd name="T5" fmla="*/ 1 h 67"/>
                      <a:gd name="T6" fmla="*/ 0 w 70"/>
                      <a:gd name="T7" fmla="*/ 2 h 67"/>
                      <a:gd name="T8" fmla="*/ 0 w 70"/>
                      <a:gd name="T9" fmla="*/ 11 h 67"/>
                      <a:gd name="T10" fmla="*/ 1 w 70"/>
                      <a:gd name="T11" fmla="*/ 12 h 67"/>
                      <a:gd name="T12" fmla="*/ 31 w 70"/>
                      <a:gd name="T13" fmla="*/ 19 h 67"/>
                      <a:gd name="T14" fmla="*/ 59 w 70"/>
                      <a:gd name="T15" fmla="*/ 66 h 67"/>
                      <a:gd name="T16" fmla="*/ 60 w 70"/>
                      <a:gd name="T17" fmla="*/ 67 h 67"/>
                      <a:gd name="T18" fmla="*/ 69 w 70"/>
                      <a:gd name="T19" fmla="*/ 66 h 67"/>
                      <a:gd name="T20" fmla="*/ 70 w 70"/>
                      <a:gd name="T21" fmla="*/ 64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70" h="67">
                        <a:moveTo>
                          <a:pt x="70" y="64"/>
                        </a:moveTo>
                        <a:cubicBezTo>
                          <a:pt x="69" y="33"/>
                          <a:pt x="53" y="16"/>
                          <a:pt x="37" y="8"/>
                        </a:cubicBezTo>
                        <a:cubicBezTo>
                          <a:pt x="21" y="0"/>
                          <a:pt x="5" y="1"/>
                          <a:pt x="1" y="1"/>
                        </a:cubicBezTo>
                        <a:cubicBezTo>
                          <a:pt x="0" y="1"/>
                          <a:pt x="0" y="1"/>
                          <a:pt x="0" y="2"/>
                        </a:cubicBezTo>
                        <a:cubicBezTo>
                          <a:pt x="0" y="3"/>
                          <a:pt x="0" y="10"/>
                          <a:pt x="0" y="11"/>
                        </a:cubicBezTo>
                        <a:cubicBezTo>
                          <a:pt x="0" y="12"/>
                          <a:pt x="0" y="12"/>
                          <a:pt x="1" y="12"/>
                        </a:cubicBezTo>
                        <a:cubicBezTo>
                          <a:pt x="5" y="11"/>
                          <a:pt x="18" y="12"/>
                          <a:pt x="31" y="19"/>
                        </a:cubicBezTo>
                        <a:cubicBezTo>
                          <a:pt x="44" y="26"/>
                          <a:pt x="57" y="41"/>
                          <a:pt x="59" y="66"/>
                        </a:cubicBezTo>
                        <a:cubicBezTo>
                          <a:pt x="59" y="66"/>
                          <a:pt x="59" y="67"/>
                          <a:pt x="60" y="67"/>
                        </a:cubicBezTo>
                        <a:cubicBezTo>
                          <a:pt x="60" y="67"/>
                          <a:pt x="68" y="66"/>
                          <a:pt x="69" y="66"/>
                        </a:cubicBezTo>
                        <a:cubicBezTo>
                          <a:pt x="70" y="66"/>
                          <a:pt x="70" y="66"/>
                          <a:pt x="70" y="64"/>
                        </a:cubicBezTo>
                        <a:close/>
                      </a:path>
                    </a:pathLst>
                  </a:custGeom>
                  <a:solidFill>
                    <a:srgbClr val="682A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6" name="Freeform 245"/>
                  <p:cNvSpPr>
                    <a:spLocks/>
                  </p:cNvSpPr>
                  <p:nvPr/>
                </p:nvSpPr>
                <p:spPr bwMode="auto">
                  <a:xfrm rot="5400000">
                    <a:off x="10644948" y="843198"/>
                    <a:ext cx="49481" cy="48292"/>
                  </a:xfrm>
                  <a:custGeom>
                    <a:avLst/>
                    <a:gdLst>
                      <a:gd name="T0" fmla="*/ 45 w 45"/>
                      <a:gd name="T1" fmla="*/ 40 h 42"/>
                      <a:gd name="T2" fmla="*/ 1 w 45"/>
                      <a:gd name="T3" fmla="*/ 0 h 42"/>
                      <a:gd name="T4" fmla="*/ 0 w 45"/>
                      <a:gd name="T5" fmla="*/ 1 h 42"/>
                      <a:gd name="T6" fmla="*/ 0 w 45"/>
                      <a:gd name="T7" fmla="*/ 10 h 42"/>
                      <a:gd name="T8" fmla="*/ 1 w 45"/>
                      <a:gd name="T9" fmla="*/ 12 h 42"/>
                      <a:gd name="T10" fmla="*/ 32 w 45"/>
                      <a:gd name="T11" fmla="*/ 40 h 42"/>
                      <a:gd name="T12" fmla="*/ 34 w 45"/>
                      <a:gd name="T13" fmla="*/ 42 h 42"/>
                      <a:gd name="T14" fmla="*/ 43 w 45"/>
                      <a:gd name="T15" fmla="*/ 41 h 42"/>
                      <a:gd name="T16" fmla="*/ 45 w 45"/>
                      <a:gd name="T17" fmla="*/ 4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5" h="42">
                        <a:moveTo>
                          <a:pt x="45" y="40"/>
                        </a:moveTo>
                        <a:cubicBezTo>
                          <a:pt x="42" y="9"/>
                          <a:pt x="16" y="0"/>
                          <a:pt x="1" y="0"/>
                        </a:cubicBezTo>
                        <a:cubicBezTo>
                          <a:pt x="0" y="0"/>
                          <a:pt x="0" y="0"/>
                          <a:pt x="0" y="1"/>
                        </a:cubicBezTo>
                        <a:cubicBezTo>
                          <a:pt x="0" y="1"/>
                          <a:pt x="0" y="10"/>
                          <a:pt x="0" y="10"/>
                        </a:cubicBezTo>
                        <a:cubicBezTo>
                          <a:pt x="0" y="11"/>
                          <a:pt x="0" y="12"/>
                          <a:pt x="1" y="12"/>
                        </a:cubicBezTo>
                        <a:cubicBezTo>
                          <a:pt x="9" y="12"/>
                          <a:pt x="29" y="16"/>
                          <a:pt x="32" y="40"/>
                        </a:cubicBezTo>
                        <a:cubicBezTo>
                          <a:pt x="33" y="41"/>
                          <a:pt x="33" y="42"/>
                          <a:pt x="34" y="42"/>
                        </a:cubicBezTo>
                        <a:cubicBezTo>
                          <a:pt x="34" y="42"/>
                          <a:pt x="43" y="41"/>
                          <a:pt x="43" y="41"/>
                        </a:cubicBezTo>
                        <a:cubicBezTo>
                          <a:pt x="44" y="41"/>
                          <a:pt x="45" y="41"/>
                          <a:pt x="45" y="40"/>
                        </a:cubicBezTo>
                        <a:close/>
                      </a:path>
                    </a:pathLst>
                  </a:custGeom>
                  <a:solidFill>
                    <a:srgbClr val="682A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37" name="Group 636"/>
                  <p:cNvGrpSpPr/>
                  <p:nvPr/>
                </p:nvGrpSpPr>
                <p:grpSpPr>
                  <a:xfrm rot="16200000">
                    <a:off x="10518775" y="1654678"/>
                    <a:ext cx="90548" cy="88776"/>
                    <a:chOff x="10518775" y="1654678"/>
                    <a:chExt cx="90548" cy="88776"/>
                  </a:xfrm>
                </p:grpSpPr>
                <p:sp>
                  <p:nvSpPr>
                    <p:cNvPr id="648" name="Freeform 249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19906" y="1656458"/>
                      <a:ext cx="20375" cy="22637"/>
                    </a:xfrm>
                    <a:custGeom>
                      <a:avLst/>
                      <a:gdLst>
                        <a:gd name="T0" fmla="*/ 10 w 19"/>
                        <a:gd name="T1" fmla="*/ 19 h 19"/>
                        <a:gd name="T2" fmla="*/ 0 w 19"/>
                        <a:gd name="T3" fmla="*/ 9 h 19"/>
                        <a:gd name="T4" fmla="*/ 9 w 19"/>
                        <a:gd name="T5" fmla="*/ 0 h 19"/>
                        <a:gd name="T6" fmla="*/ 19 w 19"/>
                        <a:gd name="T7" fmla="*/ 9 h 19"/>
                        <a:gd name="T8" fmla="*/ 10 w 19"/>
                        <a:gd name="T9" fmla="*/ 19 h 1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9" h="19">
                          <a:moveTo>
                            <a:pt x="10" y="19"/>
                          </a:moveTo>
                          <a:cubicBezTo>
                            <a:pt x="5" y="19"/>
                            <a:pt x="0" y="15"/>
                            <a:pt x="0" y="9"/>
                          </a:cubicBezTo>
                          <a:cubicBezTo>
                            <a:pt x="0" y="4"/>
                            <a:pt x="3" y="0"/>
                            <a:pt x="9" y="0"/>
                          </a:cubicBezTo>
                          <a:cubicBezTo>
                            <a:pt x="14" y="0"/>
                            <a:pt x="19" y="4"/>
                            <a:pt x="19" y="9"/>
                          </a:cubicBezTo>
                          <a:cubicBezTo>
                            <a:pt x="19" y="15"/>
                            <a:pt x="15" y="19"/>
                            <a:pt x="10" y="19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49" name="Freeform 250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21925" y="1656056"/>
                      <a:ext cx="88776" cy="86020"/>
                    </a:xfrm>
                    <a:custGeom>
                      <a:avLst/>
                      <a:gdLst>
                        <a:gd name="T0" fmla="*/ 81 w 81"/>
                        <a:gd name="T1" fmla="*/ 73 h 76"/>
                        <a:gd name="T2" fmla="*/ 43 w 81"/>
                        <a:gd name="T3" fmla="*/ 9 h 76"/>
                        <a:gd name="T4" fmla="*/ 1 w 81"/>
                        <a:gd name="T5" fmla="*/ 0 h 76"/>
                        <a:gd name="T6" fmla="*/ 0 w 81"/>
                        <a:gd name="T7" fmla="*/ 2 h 76"/>
                        <a:gd name="T8" fmla="*/ 0 w 81"/>
                        <a:gd name="T9" fmla="*/ 11 h 76"/>
                        <a:gd name="T10" fmla="*/ 1 w 81"/>
                        <a:gd name="T11" fmla="*/ 13 h 76"/>
                        <a:gd name="T12" fmla="*/ 36 w 81"/>
                        <a:gd name="T13" fmla="*/ 21 h 76"/>
                        <a:gd name="T14" fmla="*/ 68 w 81"/>
                        <a:gd name="T15" fmla="*/ 75 h 76"/>
                        <a:gd name="T16" fmla="*/ 69 w 81"/>
                        <a:gd name="T17" fmla="*/ 76 h 76"/>
                        <a:gd name="T18" fmla="*/ 80 w 81"/>
                        <a:gd name="T19" fmla="*/ 75 h 76"/>
                        <a:gd name="T20" fmla="*/ 81 w 81"/>
                        <a:gd name="T21" fmla="*/ 73 h 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81" h="76">
                          <a:moveTo>
                            <a:pt x="81" y="73"/>
                          </a:moveTo>
                          <a:cubicBezTo>
                            <a:pt x="80" y="38"/>
                            <a:pt x="61" y="18"/>
                            <a:pt x="43" y="9"/>
                          </a:cubicBezTo>
                          <a:cubicBezTo>
                            <a:pt x="24" y="0"/>
                            <a:pt x="6" y="0"/>
                            <a:pt x="1" y="0"/>
                          </a:cubicBezTo>
                          <a:cubicBezTo>
                            <a:pt x="1" y="0"/>
                            <a:pt x="0" y="1"/>
                            <a:pt x="0" y="2"/>
                          </a:cubicBezTo>
                          <a:cubicBezTo>
                            <a:pt x="0" y="2"/>
                            <a:pt x="0" y="11"/>
                            <a:pt x="0" y="11"/>
                          </a:cubicBezTo>
                          <a:cubicBezTo>
                            <a:pt x="0" y="13"/>
                            <a:pt x="0" y="13"/>
                            <a:pt x="1" y="13"/>
                          </a:cubicBezTo>
                          <a:cubicBezTo>
                            <a:pt x="6" y="12"/>
                            <a:pt x="21" y="13"/>
                            <a:pt x="36" y="21"/>
                          </a:cubicBezTo>
                          <a:cubicBezTo>
                            <a:pt x="52" y="30"/>
                            <a:pt x="67" y="46"/>
                            <a:pt x="68" y="75"/>
                          </a:cubicBezTo>
                          <a:cubicBezTo>
                            <a:pt x="68" y="76"/>
                            <a:pt x="68" y="76"/>
                            <a:pt x="69" y="76"/>
                          </a:cubicBezTo>
                          <a:cubicBezTo>
                            <a:pt x="70" y="76"/>
                            <a:pt x="79" y="75"/>
                            <a:pt x="80" y="75"/>
                          </a:cubicBezTo>
                          <a:cubicBezTo>
                            <a:pt x="81" y="75"/>
                            <a:pt x="81" y="75"/>
                            <a:pt x="81" y="73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50" name="Freeform 251"/>
                    <p:cNvSpPr>
                      <a:spLocks/>
                    </p:cNvSpPr>
                    <p:nvPr/>
                  </p:nvSpPr>
                  <p:spPr bwMode="auto">
                    <a:xfrm rot="5400000">
                      <a:off x="10518315" y="1655139"/>
                      <a:ext cx="56758" cy="55838"/>
                    </a:xfrm>
                    <a:custGeom>
                      <a:avLst/>
                      <a:gdLst>
                        <a:gd name="T0" fmla="*/ 52 w 52"/>
                        <a:gd name="T1" fmla="*/ 46 h 49"/>
                        <a:gd name="T2" fmla="*/ 1 w 52"/>
                        <a:gd name="T3" fmla="*/ 0 h 49"/>
                        <a:gd name="T4" fmla="*/ 0 w 52"/>
                        <a:gd name="T5" fmla="*/ 1 h 49"/>
                        <a:gd name="T6" fmla="*/ 0 w 52"/>
                        <a:gd name="T7" fmla="*/ 12 h 49"/>
                        <a:gd name="T8" fmla="*/ 1 w 52"/>
                        <a:gd name="T9" fmla="*/ 14 h 49"/>
                        <a:gd name="T10" fmla="*/ 38 w 52"/>
                        <a:gd name="T11" fmla="*/ 47 h 49"/>
                        <a:gd name="T12" fmla="*/ 40 w 52"/>
                        <a:gd name="T13" fmla="*/ 49 h 49"/>
                        <a:gd name="T14" fmla="*/ 50 w 52"/>
                        <a:gd name="T15" fmla="*/ 48 h 49"/>
                        <a:gd name="T16" fmla="*/ 52 w 52"/>
                        <a:gd name="T17" fmla="*/ 46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52" h="49">
                          <a:moveTo>
                            <a:pt x="52" y="46"/>
                          </a:moveTo>
                          <a:cubicBezTo>
                            <a:pt x="49" y="10"/>
                            <a:pt x="18" y="0"/>
                            <a:pt x="1" y="0"/>
                          </a:cubicBezTo>
                          <a:cubicBezTo>
                            <a:pt x="0" y="0"/>
                            <a:pt x="0" y="0"/>
                            <a:pt x="0" y="1"/>
                          </a:cubicBezTo>
                          <a:cubicBezTo>
                            <a:pt x="0" y="2"/>
                            <a:pt x="0" y="11"/>
                            <a:pt x="0" y="12"/>
                          </a:cubicBezTo>
                          <a:cubicBezTo>
                            <a:pt x="0" y="13"/>
                            <a:pt x="0" y="14"/>
                            <a:pt x="1" y="14"/>
                          </a:cubicBezTo>
                          <a:cubicBezTo>
                            <a:pt x="10" y="14"/>
                            <a:pt x="34" y="19"/>
                            <a:pt x="38" y="47"/>
                          </a:cubicBezTo>
                          <a:cubicBezTo>
                            <a:pt x="38" y="48"/>
                            <a:pt x="38" y="49"/>
                            <a:pt x="40" y="49"/>
                          </a:cubicBezTo>
                          <a:cubicBezTo>
                            <a:pt x="40" y="49"/>
                            <a:pt x="50" y="48"/>
                            <a:pt x="50" y="48"/>
                          </a:cubicBezTo>
                          <a:cubicBezTo>
                            <a:pt x="52" y="48"/>
                            <a:pt x="52" y="47"/>
                            <a:pt x="52" y="46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638" name="Freeform 252"/>
                  <p:cNvSpPr>
                    <a:spLocks/>
                  </p:cNvSpPr>
                  <p:nvPr/>
                </p:nvSpPr>
                <p:spPr bwMode="auto">
                  <a:xfrm rot="5400000">
                    <a:off x="11863849" y="1222685"/>
                    <a:ext cx="217066" cy="368231"/>
                  </a:xfrm>
                  <a:custGeom>
                    <a:avLst/>
                    <a:gdLst>
                      <a:gd name="T0" fmla="*/ 340 w 340"/>
                      <a:gd name="T1" fmla="*/ 2 h 200"/>
                      <a:gd name="T2" fmla="*/ 340 w 340"/>
                      <a:gd name="T3" fmla="*/ 200 h 200"/>
                      <a:gd name="T4" fmla="*/ 1 w 340"/>
                      <a:gd name="T5" fmla="*/ 200 h 200"/>
                      <a:gd name="T6" fmla="*/ 0 w 340"/>
                      <a:gd name="T7" fmla="*/ 0 h 200"/>
                      <a:gd name="T8" fmla="*/ 340 w 340"/>
                      <a:gd name="T9" fmla="*/ 2 h 200"/>
                      <a:gd name="T10" fmla="*/ 340 w 340"/>
                      <a:gd name="T11" fmla="*/ 2 h 2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40" h="200">
                        <a:moveTo>
                          <a:pt x="340" y="2"/>
                        </a:moveTo>
                        <a:cubicBezTo>
                          <a:pt x="340" y="200"/>
                          <a:pt x="340" y="200"/>
                          <a:pt x="340" y="200"/>
                        </a:cubicBezTo>
                        <a:cubicBezTo>
                          <a:pt x="1" y="200"/>
                          <a:pt x="1" y="200"/>
                          <a:pt x="1" y="200"/>
                        </a:cubicBezTo>
                        <a:cubicBezTo>
                          <a:pt x="1" y="134"/>
                          <a:pt x="0" y="0"/>
                          <a:pt x="0" y="0"/>
                        </a:cubicBezTo>
                        <a:cubicBezTo>
                          <a:pt x="340" y="2"/>
                          <a:pt x="340" y="2"/>
                          <a:pt x="340" y="2"/>
                        </a:cubicBezTo>
                        <a:cubicBezTo>
                          <a:pt x="340" y="2"/>
                          <a:pt x="340" y="2"/>
                          <a:pt x="340" y="2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39" name="Group 638"/>
                  <p:cNvGrpSpPr/>
                  <p:nvPr/>
                </p:nvGrpSpPr>
                <p:grpSpPr>
                  <a:xfrm rot="16200000">
                    <a:off x="11860368" y="1212586"/>
                    <a:ext cx="241462" cy="385663"/>
                    <a:chOff x="11866434" y="1203525"/>
                    <a:chExt cx="241462" cy="385663"/>
                  </a:xfrm>
                </p:grpSpPr>
                <p:sp>
                  <p:nvSpPr>
                    <p:cNvPr id="645" name="Freeform 253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794333" y="1275626"/>
                      <a:ext cx="385663" cy="241462"/>
                    </a:xfrm>
                    <a:custGeom>
                      <a:avLst/>
                      <a:gdLst>
                        <a:gd name="T0" fmla="*/ 346 w 352"/>
                        <a:gd name="T1" fmla="*/ 212 h 212"/>
                        <a:gd name="T2" fmla="*/ 7 w 352"/>
                        <a:gd name="T3" fmla="*/ 212 h 212"/>
                        <a:gd name="T4" fmla="*/ 1 w 352"/>
                        <a:gd name="T5" fmla="*/ 206 h 212"/>
                        <a:gd name="T6" fmla="*/ 0 w 352"/>
                        <a:gd name="T7" fmla="*/ 6 h 212"/>
                        <a:gd name="T8" fmla="*/ 2 w 352"/>
                        <a:gd name="T9" fmla="*/ 2 h 212"/>
                        <a:gd name="T10" fmla="*/ 6 w 352"/>
                        <a:gd name="T11" fmla="*/ 0 h 212"/>
                        <a:gd name="T12" fmla="*/ 6 w 352"/>
                        <a:gd name="T13" fmla="*/ 0 h 212"/>
                        <a:gd name="T14" fmla="*/ 346 w 352"/>
                        <a:gd name="T15" fmla="*/ 2 h 212"/>
                        <a:gd name="T16" fmla="*/ 352 w 352"/>
                        <a:gd name="T17" fmla="*/ 8 h 212"/>
                        <a:gd name="T18" fmla="*/ 352 w 352"/>
                        <a:gd name="T19" fmla="*/ 206 h 212"/>
                        <a:gd name="T20" fmla="*/ 346 w 352"/>
                        <a:gd name="T21" fmla="*/ 212 h 212"/>
                        <a:gd name="T22" fmla="*/ 13 w 352"/>
                        <a:gd name="T23" fmla="*/ 200 h 212"/>
                        <a:gd name="T24" fmla="*/ 340 w 352"/>
                        <a:gd name="T25" fmla="*/ 200 h 212"/>
                        <a:gd name="T26" fmla="*/ 340 w 352"/>
                        <a:gd name="T27" fmla="*/ 14 h 212"/>
                        <a:gd name="T28" fmla="*/ 12 w 352"/>
                        <a:gd name="T29" fmla="*/ 12 h 212"/>
                        <a:gd name="T30" fmla="*/ 13 w 352"/>
                        <a:gd name="T31" fmla="*/ 200 h 2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</a:cxnLst>
                      <a:rect l="0" t="0" r="r" b="b"/>
                      <a:pathLst>
                        <a:path w="352" h="212">
                          <a:moveTo>
                            <a:pt x="346" y="212"/>
                          </a:moveTo>
                          <a:cubicBezTo>
                            <a:pt x="7" y="212"/>
                            <a:pt x="7" y="212"/>
                            <a:pt x="7" y="212"/>
                          </a:cubicBezTo>
                          <a:cubicBezTo>
                            <a:pt x="4" y="212"/>
                            <a:pt x="1" y="209"/>
                            <a:pt x="1" y="206"/>
                          </a:cubicBezTo>
                          <a:cubicBezTo>
                            <a:pt x="1" y="141"/>
                            <a:pt x="0" y="7"/>
                            <a:pt x="0" y="6"/>
                          </a:cubicBezTo>
                          <a:cubicBezTo>
                            <a:pt x="0" y="4"/>
                            <a:pt x="1" y="3"/>
                            <a:pt x="2" y="2"/>
                          </a:cubicBezTo>
                          <a:cubicBezTo>
                            <a:pt x="3" y="1"/>
                            <a:pt x="5" y="0"/>
                            <a:pt x="6" y="0"/>
                          </a:cubicBezTo>
                          <a:cubicBezTo>
                            <a:pt x="6" y="0"/>
                            <a:pt x="6" y="0"/>
                            <a:pt x="6" y="0"/>
                          </a:cubicBezTo>
                          <a:cubicBezTo>
                            <a:pt x="346" y="2"/>
                            <a:pt x="346" y="2"/>
                            <a:pt x="346" y="2"/>
                          </a:cubicBezTo>
                          <a:cubicBezTo>
                            <a:pt x="349" y="2"/>
                            <a:pt x="352" y="5"/>
                            <a:pt x="352" y="8"/>
                          </a:cubicBezTo>
                          <a:cubicBezTo>
                            <a:pt x="352" y="206"/>
                            <a:pt x="352" y="206"/>
                            <a:pt x="352" y="206"/>
                          </a:cubicBezTo>
                          <a:cubicBezTo>
                            <a:pt x="352" y="209"/>
                            <a:pt x="349" y="212"/>
                            <a:pt x="346" y="212"/>
                          </a:cubicBezTo>
                          <a:close/>
                          <a:moveTo>
                            <a:pt x="13" y="200"/>
                          </a:moveTo>
                          <a:cubicBezTo>
                            <a:pt x="340" y="200"/>
                            <a:pt x="340" y="200"/>
                            <a:pt x="340" y="200"/>
                          </a:cubicBezTo>
                          <a:cubicBezTo>
                            <a:pt x="340" y="14"/>
                            <a:pt x="340" y="14"/>
                            <a:pt x="340" y="14"/>
                          </a:cubicBezTo>
                          <a:cubicBezTo>
                            <a:pt x="12" y="12"/>
                            <a:pt x="12" y="12"/>
                            <a:pt x="12" y="12"/>
                          </a:cubicBezTo>
                          <a:cubicBezTo>
                            <a:pt x="12" y="38"/>
                            <a:pt x="13" y="142"/>
                            <a:pt x="13" y="200"/>
                          </a:cubicBez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46" name="Freeform 254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895210" y="1352244"/>
                      <a:ext cx="209568" cy="188642"/>
                    </a:xfrm>
                    <a:custGeom>
                      <a:avLst/>
                      <a:gdLst>
                        <a:gd name="T0" fmla="*/ 157 w 192"/>
                        <a:gd name="T1" fmla="*/ 26 h 165"/>
                        <a:gd name="T2" fmla="*/ 139 w 192"/>
                        <a:gd name="T3" fmla="*/ 31 h 165"/>
                        <a:gd name="T4" fmla="*/ 90 w 192"/>
                        <a:gd name="T5" fmla="*/ 0 h 165"/>
                        <a:gd name="T6" fmla="*/ 38 w 192"/>
                        <a:gd name="T7" fmla="*/ 43 h 165"/>
                        <a:gd name="T8" fmla="*/ 27 w 192"/>
                        <a:gd name="T9" fmla="*/ 40 h 165"/>
                        <a:gd name="T10" fmla="*/ 0 w 192"/>
                        <a:gd name="T11" fmla="*/ 68 h 165"/>
                        <a:gd name="T12" fmla="*/ 27 w 192"/>
                        <a:gd name="T13" fmla="*/ 95 h 165"/>
                        <a:gd name="T14" fmla="*/ 157 w 192"/>
                        <a:gd name="T15" fmla="*/ 95 h 165"/>
                        <a:gd name="T16" fmla="*/ 192 w 192"/>
                        <a:gd name="T17" fmla="*/ 61 h 165"/>
                        <a:gd name="T18" fmla="*/ 157 w 192"/>
                        <a:gd name="T19" fmla="*/ 26 h 165"/>
                        <a:gd name="T20" fmla="*/ 125 w 192"/>
                        <a:gd name="T21" fmla="*/ 105 h 165"/>
                        <a:gd name="T22" fmla="*/ 115 w 192"/>
                        <a:gd name="T23" fmla="*/ 105 h 165"/>
                        <a:gd name="T24" fmla="*/ 115 w 192"/>
                        <a:gd name="T25" fmla="*/ 137 h 165"/>
                        <a:gd name="T26" fmla="*/ 96 w 192"/>
                        <a:gd name="T27" fmla="*/ 152 h 165"/>
                        <a:gd name="T28" fmla="*/ 77 w 192"/>
                        <a:gd name="T29" fmla="*/ 137 h 165"/>
                        <a:gd name="T30" fmla="*/ 77 w 192"/>
                        <a:gd name="T31" fmla="*/ 105 h 165"/>
                        <a:gd name="T32" fmla="*/ 67 w 192"/>
                        <a:gd name="T33" fmla="*/ 105 h 165"/>
                        <a:gd name="T34" fmla="*/ 67 w 192"/>
                        <a:gd name="T35" fmla="*/ 131 h 165"/>
                        <a:gd name="T36" fmla="*/ 52 w 192"/>
                        <a:gd name="T37" fmla="*/ 131 h 165"/>
                        <a:gd name="T38" fmla="*/ 96 w 192"/>
                        <a:gd name="T39" fmla="*/ 165 h 165"/>
                        <a:gd name="T40" fmla="*/ 139 w 192"/>
                        <a:gd name="T41" fmla="*/ 131 h 165"/>
                        <a:gd name="T42" fmla="*/ 125 w 192"/>
                        <a:gd name="T43" fmla="*/ 131 h 165"/>
                        <a:gd name="T44" fmla="*/ 125 w 192"/>
                        <a:gd name="T45" fmla="*/ 105 h 165"/>
                        <a:gd name="T46" fmla="*/ 125 w 192"/>
                        <a:gd name="T47" fmla="*/ 105 h 1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192" h="165">
                          <a:moveTo>
                            <a:pt x="157" y="26"/>
                          </a:moveTo>
                          <a:cubicBezTo>
                            <a:pt x="150" y="26"/>
                            <a:pt x="144" y="28"/>
                            <a:pt x="139" y="31"/>
                          </a:cubicBezTo>
                          <a:cubicBezTo>
                            <a:pt x="130" y="13"/>
                            <a:pt x="112" y="0"/>
                            <a:pt x="90" y="0"/>
                          </a:cubicBezTo>
                          <a:cubicBezTo>
                            <a:pt x="65" y="0"/>
                            <a:pt x="43" y="18"/>
                            <a:pt x="38" y="43"/>
                          </a:cubicBezTo>
                          <a:cubicBezTo>
                            <a:pt x="35" y="41"/>
                            <a:pt x="31" y="40"/>
                            <a:pt x="27" y="40"/>
                          </a:cubicBezTo>
                          <a:cubicBezTo>
                            <a:pt x="12" y="40"/>
                            <a:pt x="0" y="53"/>
                            <a:pt x="0" y="68"/>
                          </a:cubicBezTo>
                          <a:cubicBezTo>
                            <a:pt x="0" y="83"/>
                            <a:pt x="12" y="95"/>
                            <a:pt x="27" y="95"/>
                          </a:cubicBezTo>
                          <a:cubicBezTo>
                            <a:pt x="157" y="95"/>
                            <a:pt x="157" y="95"/>
                            <a:pt x="157" y="95"/>
                          </a:cubicBezTo>
                          <a:cubicBezTo>
                            <a:pt x="176" y="95"/>
                            <a:pt x="192" y="80"/>
                            <a:pt x="192" y="61"/>
                          </a:cubicBezTo>
                          <a:cubicBezTo>
                            <a:pt x="192" y="42"/>
                            <a:pt x="176" y="26"/>
                            <a:pt x="157" y="26"/>
                          </a:cubicBezTo>
                          <a:close/>
                          <a:moveTo>
                            <a:pt x="125" y="105"/>
                          </a:moveTo>
                          <a:cubicBezTo>
                            <a:pt x="115" y="105"/>
                            <a:pt x="115" y="105"/>
                            <a:pt x="115" y="105"/>
                          </a:cubicBezTo>
                          <a:cubicBezTo>
                            <a:pt x="115" y="137"/>
                            <a:pt x="115" y="137"/>
                            <a:pt x="115" y="137"/>
                          </a:cubicBezTo>
                          <a:cubicBezTo>
                            <a:pt x="96" y="152"/>
                            <a:pt x="96" y="152"/>
                            <a:pt x="96" y="152"/>
                          </a:cubicBezTo>
                          <a:cubicBezTo>
                            <a:pt x="77" y="137"/>
                            <a:pt x="77" y="137"/>
                            <a:pt x="77" y="137"/>
                          </a:cubicBezTo>
                          <a:cubicBezTo>
                            <a:pt x="77" y="105"/>
                            <a:pt x="77" y="105"/>
                            <a:pt x="77" y="105"/>
                          </a:cubicBezTo>
                          <a:cubicBezTo>
                            <a:pt x="67" y="105"/>
                            <a:pt x="67" y="105"/>
                            <a:pt x="67" y="105"/>
                          </a:cubicBezTo>
                          <a:cubicBezTo>
                            <a:pt x="67" y="131"/>
                            <a:pt x="67" y="131"/>
                            <a:pt x="67" y="131"/>
                          </a:cubicBezTo>
                          <a:cubicBezTo>
                            <a:pt x="52" y="131"/>
                            <a:pt x="52" y="131"/>
                            <a:pt x="52" y="131"/>
                          </a:cubicBezTo>
                          <a:cubicBezTo>
                            <a:pt x="96" y="165"/>
                            <a:pt x="96" y="165"/>
                            <a:pt x="96" y="165"/>
                          </a:cubicBezTo>
                          <a:cubicBezTo>
                            <a:pt x="139" y="131"/>
                            <a:pt x="139" y="131"/>
                            <a:pt x="139" y="131"/>
                          </a:cubicBezTo>
                          <a:cubicBezTo>
                            <a:pt x="125" y="131"/>
                            <a:pt x="125" y="131"/>
                            <a:pt x="125" y="131"/>
                          </a:cubicBezTo>
                          <a:cubicBezTo>
                            <a:pt x="125" y="105"/>
                            <a:pt x="125" y="105"/>
                            <a:pt x="125" y="105"/>
                          </a:cubicBezTo>
                          <a:cubicBezTo>
                            <a:pt x="125" y="105"/>
                            <a:pt x="125" y="105"/>
                            <a:pt x="125" y="105"/>
                          </a:cubicBezTo>
                          <a:close/>
                        </a:path>
                      </a:pathLst>
                    </a:custGeom>
                    <a:solidFill>
                      <a:srgbClr val="DA402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47" name="Freeform 255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1896345" y="1249129"/>
                      <a:ext cx="107695" cy="95075"/>
                    </a:xfrm>
                    <a:custGeom>
                      <a:avLst/>
                      <a:gdLst>
                        <a:gd name="T0" fmla="*/ 95 w 98"/>
                        <a:gd name="T1" fmla="*/ 0 h 83"/>
                        <a:gd name="T2" fmla="*/ 3 w 98"/>
                        <a:gd name="T3" fmla="*/ 0 h 83"/>
                        <a:gd name="T4" fmla="*/ 0 w 98"/>
                        <a:gd name="T5" fmla="*/ 3 h 83"/>
                        <a:gd name="T6" fmla="*/ 0 w 98"/>
                        <a:gd name="T7" fmla="*/ 69 h 83"/>
                        <a:gd name="T8" fmla="*/ 3 w 98"/>
                        <a:gd name="T9" fmla="*/ 72 h 83"/>
                        <a:gd name="T10" fmla="*/ 33 w 98"/>
                        <a:gd name="T11" fmla="*/ 72 h 83"/>
                        <a:gd name="T12" fmla="*/ 33 w 98"/>
                        <a:gd name="T13" fmla="*/ 77 h 83"/>
                        <a:gd name="T14" fmla="*/ 27 w 98"/>
                        <a:gd name="T15" fmla="*/ 83 h 83"/>
                        <a:gd name="T16" fmla="*/ 73 w 98"/>
                        <a:gd name="T17" fmla="*/ 83 h 83"/>
                        <a:gd name="T18" fmla="*/ 67 w 98"/>
                        <a:gd name="T19" fmla="*/ 77 h 83"/>
                        <a:gd name="T20" fmla="*/ 67 w 98"/>
                        <a:gd name="T21" fmla="*/ 72 h 83"/>
                        <a:gd name="T22" fmla="*/ 95 w 98"/>
                        <a:gd name="T23" fmla="*/ 72 h 83"/>
                        <a:gd name="T24" fmla="*/ 98 w 98"/>
                        <a:gd name="T25" fmla="*/ 69 h 83"/>
                        <a:gd name="T26" fmla="*/ 98 w 98"/>
                        <a:gd name="T27" fmla="*/ 3 h 83"/>
                        <a:gd name="T28" fmla="*/ 95 w 98"/>
                        <a:gd name="T29" fmla="*/ 0 h 83"/>
                        <a:gd name="T30" fmla="*/ 93 w 98"/>
                        <a:gd name="T31" fmla="*/ 64 h 83"/>
                        <a:gd name="T32" fmla="*/ 90 w 98"/>
                        <a:gd name="T33" fmla="*/ 67 h 83"/>
                        <a:gd name="T34" fmla="*/ 8 w 98"/>
                        <a:gd name="T35" fmla="*/ 67 h 83"/>
                        <a:gd name="T36" fmla="*/ 6 w 98"/>
                        <a:gd name="T37" fmla="*/ 64 h 83"/>
                        <a:gd name="T38" fmla="*/ 6 w 98"/>
                        <a:gd name="T39" fmla="*/ 8 h 83"/>
                        <a:gd name="T40" fmla="*/ 8 w 98"/>
                        <a:gd name="T41" fmla="*/ 5 h 83"/>
                        <a:gd name="T42" fmla="*/ 90 w 98"/>
                        <a:gd name="T43" fmla="*/ 5 h 83"/>
                        <a:gd name="T44" fmla="*/ 93 w 98"/>
                        <a:gd name="T45" fmla="*/ 8 h 83"/>
                        <a:gd name="T46" fmla="*/ 93 w 98"/>
                        <a:gd name="T47" fmla="*/ 64 h 83"/>
                        <a:gd name="T48" fmla="*/ 93 w 98"/>
                        <a:gd name="T49" fmla="*/ 64 h 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98" h="83">
                          <a:moveTo>
                            <a:pt x="95" y="0"/>
                          </a:moveTo>
                          <a:cubicBezTo>
                            <a:pt x="3" y="0"/>
                            <a:pt x="3" y="0"/>
                            <a:pt x="3" y="0"/>
                          </a:cubicBezTo>
                          <a:cubicBezTo>
                            <a:pt x="1" y="0"/>
                            <a:pt x="0" y="1"/>
                            <a:pt x="0" y="3"/>
                          </a:cubicBezTo>
                          <a:cubicBezTo>
                            <a:pt x="0" y="69"/>
                            <a:pt x="0" y="69"/>
                            <a:pt x="0" y="69"/>
                          </a:cubicBezTo>
                          <a:cubicBezTo>
                            <a:pt x="0" y="71"/>
                            <a:pt x="1" y="72"/>
                            <a:pt x="3" y="72"/>
                          </a:cubicBezTo>
                          <a:cubicBezTo>
                            <a:pt x="33" y="72"/>
                            <a:pt x="33" y="72"/>
                            <a:pt x="33" y="72"/>
                          </a:cubicBezTo>
                          <a:cubicBezTo>
                            <a:pt x="33" y="77"/>
                            <a:pt x="33" y="77"/>
                            <a:pt x="33" y="77"/>
                          </a:cubicBezTo>
                          <a:cubicBezTo>
                            <a:pt x="27" y="83"/>
                            <a:pt x="27" y="83"/>
                            <a:pt x="27" y="83"/>
                          </a:cubicBezTo>
                          <a:cubicBezTo>
                            <a:pt x="73" y="83"/>
                            <a:pt x="73" y="83"/>
                            <a:pt x="73" y="83"/>
                          </a:cubicBezTo>
                          <a:cubicBezTo>
                            <a:pt x="67" y="77"/>
                            <a:pt x="67" y="77"/>
                            <a:pt x="67" y="77"/>
                          </a:cubicBezTo>
                          <a:cubicBezTo>
                            <a:pt x="67" y="72"/>
                            <a:pt x="67" y="72"/>
                            <a:pt x="67" y="72"/>
                          </a:cubicBezTo>
                          <a:cubicBezTo>
                            <a:pt x="95" y="72"/>
                            <a:pt x="95" y="72"/>
                            <a:pt x="95" y="72"/>
                          </a:cubicBezTo>
                          <a:cubicBezTo>
                            <a:pt x="97" y="72"/>
                            <a:pt x="98" y="71"/>
                            <a:pt x="98" y="69"/>
                          </a:cubicBezTo>
                          <a:cubicBezTo>
                            <a:pt x="98" y="3"/>
                            <a:pt x="98" y="3"/>
                            <a:pt x="98" y="3"/>
                          </a:cubicBezTo>
                          <a:cubicBezTo>
                            <a:pt x="98" y="1"/>
                            <a:pt x="97" y="0"/>
                            <a:pt x="95" y="0"/>
                          </a:cubicBezTo>
                          <a:close/>
                          <a:moveTo>
                            <a:pt x="93" y="64"/>
                          </a:moveTo>
                          <a:cubicBezTo>
                            <a:pt x="93" y="66"/>
                            <a:pt x="91" y="67"/>
                            <a:pt x="90" y="67"/>
                          </a:cubicBezTo>
                          <a:cubicBezTo>
                            <a:pt x="8" y="67"/>
                            <a:pt x="8" y="67"/>
                            <a:pt x="8" y="67"/>
                          </a:cubicBezTo>
                          <a:cubicBezTo>
                            <a:pt x="7" y="67"/>
                            <a:pt x="6" y="66"/>
                            <a:pt x="6" y="64"/>
                          </a:cubicBezTo>
                          <a:cubicBezTo>
                            <a:pt x="6" y="8"/>
                            <a:pt x="6" y="8"/>
                            <a:pt x="6" y="8"/>
                          </a:cubicBezTo>
                          <a:cubicBezTo>
                            <a:pt x="6" y="6"/>
                            <a:pt x="7" y="5"/>
                            <a:pt x="8" y="5"/>
                          </a:cubicBezTo>
                          <a:cubicBezTo>
                            <a:pt x="90" y="5"/>
                            <a:pt x="90" y="5"/>
                            <a:pt x="90" y="5"/>
                          </a:cubicBezTo>
                          <a:cubicBezTo>
                            <a:pt x="91" y="5"/>
                            <a:pt x="93" y="6"/>
                            <a:pt x="93" y="8"/>
                          </a:cubicBezTo>
                          <a:cubicBezTo>
                            <a:pt x="93" y="64"/>
                            <a:pt x="93" y="64"/>
                            <a:pt x="93" y="64"/>
                          </a:cubicBezTo>
                          <a:cubicBezTo>
                            <a:pt x="93" y="64"/>
                            <a:pt x="93" y="64"/>
                            <a:pt x="93" y="64"/>
                          </a:cubicBezTo>
                          <a:close/>
                        </a:path>
                      </a:pathLst>
                    </a:custGeom>
                    <a:solidFill>
                      <a:srgbClr val="682A7A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640" name="Freeform 256"/>
                  <p:cNvSpPr>
                    <a:spLocks/>
                  </p:cNvSpPr>
                  <p:nvPr/>
                </p:nvSpPr>
                <p:spPr bwMode="auto">
                  <a:xfrm rot="5400000">
                    <a:off x="11859127" y="1846436"/>
                    <a:ext cx="135346" cy="141859"/>
                  </a:xfrm>
                  <a:custGeom>
                    <a:avLst/>
                    <a:gdLst>
                      <a:gd name="T0" fmla="*/ 93 w 93"/>
                      <a:gd name="T1" fmla="*/ 23 h 94"/>
                      <a:gd name="T2" fmla="*/ 46 w 93"/>
                      <a:gd name="T3" fmla="*/ 23 h 94"/>
                      <a:gd name="T4" fmla="*/ 46 w 93"/>
                      <a:gd name="T5" fmla="*/ 0 h 94"/>
                      <a:gd name="T6" fmla="*/ 0 w 93"/>
                      <a:gd name="T7" fmla="*/ 47 h 94"/>
                      <a:gd name="T8" fmla="*/ 46 w 93"/>
                      <a:gd name="T9" fmla="*/ 94 h 94"/>
                      <a:gd name="T10" fmla="*/ 46 w 93"/>
                      <a:gd name="T11" fmla="*/ 70 h 94"/>
                      <a:gd name="T12" fmla="*/ 93 w 93"/>
                      <a:gd name="T13" fmla="*/ 70 h 94"/>
                      <a:gd name="T14" fmla="*/ 93 w 93"/>
                      <a:gd name="T15" fmla="*/ 23 h 94"/>
                      <a:gd name="T16" fmla="*/ 93 w 93"/>
                      <a:gd name="T17" fmla="*/ 23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3" h="94">
                        <a:moveTo>
                          <a:pt x="93" y="23"/>
                        </a:moveTo>
                        <a:lnTo>
                          <a:pt x="46" y="23"/>
                        </a:lnTo>
                        <a:lnTo>
                          <a:pt x="46" y="0"/>
                        </a:lnTo>
                        <a:lnTo>
                          <a:pt x="0" y="47"/>
                        </a:lnTo>
                        <a:lnTo>
                          <a:pt x="46" y="94"/>
                        </a:lnTo>
                        <a:lnTo>
                          <a:pt x="46" y="70"/>
                        </a:lnTo>
                        <a:lnTo>
                          <a:pt x="93" y="70"/>
                        </a:lnTo>
                        <a:lnTo>
                          <a:pt x="93" y="23"/>
                        </a:lnTo>
                        <a:lnTo>
                          <a:pt x="93" y="23"/>
                        </a:lnTo>
                        <a:close/>
                      </a:path>
                    </a:pathLst>
                  </a:custGeom>
                  <a:solidFill>
                    <a:srgbClr val="51515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641" name="Group 640"/>
                  <p:cNvGrpSpPr/>
                  <p:nvPr/>
                </p:nvGrpSpPr>
                <p:grpSpPr>
                  <a:xfrm rot="16200000">
                    <a:off x="10847771" y="1945572"/>
                    <a:ext cx="239952" cy="64035"/>
                    <a:chOff x="10769293" y="1881709"/>
                    <a:chExt cx="239952" cy="64035"/>
                  </a:xfrm>
                </p:grpSpPr>
                <p:sp>
                  <p:nvSpPr>
                    <p:cNvPr id="643" name="Freeform 257"/>
                    <p:cNvSpPr>
                      <a:spLocks noEditPoints="1"/>
                    </p:cNvSpPr>
                    <p:nvPr/>
                  </p:nvSpPr>
                  <p:spPr bwMode="auto">
                    <a:xfrm rot="5400000">
                      <a:off x="10857251" y="1793751"/>
                      <a:ext cx="64035" cy="239952"/>
                    </a:xfrm>
                    <a:custGeom>
                      <a:avLst/>
                      <a:gdLst>
                        <a:gd name="T0" fmla="*/ 49 w 58"/>
                        <a:gd name="T1" fmla="*/ 0 h 211"/>
                        <a:gd name="T2" fmla="*/ 9 w 58"/>
                        <a:gd name="T3" fmla="*/ 0 h 211"/>
                        <a:gd name="T4" fmla="*/ 0 w 58"/>
                        <a:gd name="T5" fmla="*/ 9 h 211"/>
                        <a:gd name="T6" fmla="*/ 0 w 58"/>
                        <a:gd name="T7" fmla="*/ 202 h 211"/>
                        <a:gd name="T8" fmla="*/ 9 w 58"/>
                        <a:gd name="T9" fmla="*/ 211 h 211"/>
                        <a:gd name="T10" fmla="*/ 49 w 58"/>
                        <a:gd name="T11" fmla="*/ 211 h 211"/>
                        <a:gd name="T12" fmla="*/ 58 w 58"/>
                        <a:gd name="T13" fmla="*/ 202 h 211"/>
                        <a:gd name="T14" fmla="*/ 58 w 58"/>
                        <a:gd name="T15" fmla="*/ 9 h 211"/>
                        <a:gd name="T16" fmla="*/ 49 w 58"/>
                        <a:gd name="T17" fmla="*/ 0 h 211"/>
                        <a:gd name="T18" fmla="*/ 13 w 58"/>
                        <a:gd name="T19" fmla="*/ 19 h 211"/>
                        <a:gd name="T20" fmla="*/ 19 w 58"/>
                        <a:gd name="T21" fmla="*/ 14 h 211"/>
                        <a:gd name="T22" fmla="*/ 39 w 58"/>
                        <a:gd name="T23" fmla="*/ 14 h 211"/>
                        <a:gd name="T24" fmla="*/ 44 w 58"/>
                        <a:gd name="T25" fmla="*/ 19 h 211"/>
                        <a:gd name="T26" fmla="*/ 44 w 58"/>
                        <a:gd name="T27" fmla="*/ 142 h 211"/>
                        <a:gd name="T28" fmla="*/ 39 w 58"/>
                        <a:gd name="T29" fmla="*/ 147 h 211"/>
                        <a:gd name="T30" fmla="*/ 19 w 58"/>
                        <a:gd name="T31" fmla="*/ 147 h 211"/>
                        <a:gd name="T32" fmla="*/ 13 w 58"/>
                        <a:gd name="T33" fmla="*/ 142 h 211"/>
                        <a:gd name="T34" fmla="*/ 13 w 58"/>
                        <a:gd name="T35" fmla="*/ 19 h 211"/>
                        <a:gd name="T36" fmla="*/ 13 w 58"/>
                        <a:gd name="T37" fmla="*/ 19 h 211"/>
                        <a:gd name="T38" fmla="*/ 29 w 58"/>
                        <a:gd name="T39" fmla="*/ 199 h 211"/>
                        <a:gd name="T40" fmla="*/ 13 w 58"/>
                        <a:gd name="T41" fmla="*/ 184 h 211"/>
                        <a:gd name="T42" fmla="*/ 29 w 58"/>
                        <a:gd name="T43" fmla="*/ 168 h 211"/>
                        <a:gd name="T44" fmla="*/ 44 w 58"/>
                        <a:gd name="T45" fmla="*/ 184 h 211"/>
                        <a:gd name="T46" fmla="*/ 29 w 58"/>
                        <a:gd name="T47" fmla="*/ 199 h 2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</a:cxnLst>
                      <a:rect l="0" t="0" r="r" b="b"/>
                      <a:pathLst>
                        <a:path w="58" h="211">
                          <a:moveTo>
                            <a:pt x="49" y="0"/>
                          </a:moveTo>
                          <a:cubicBezTo>
                            <a:pt x="9" y="0"/>
                            <a:pt x="9" y="0"/>
                            <a:pt x="9" y="0"/>
                          </a:cubicBezTo>
                          <a:cubicBezTo>
                            <a:pt x="4" y="0"/>
                            <a:pt x="0" y="4"/>
                            <a:pt x="0" y="9"/>
                          </a:cubicBezTo>
                          <a:cubicBezTo>
                            <a:pt x="0" y="202"/>
                            <a:pt x="0" y="202"/>
                            <a:pt x="0" y="202"/>
                          </a:cubicBezTo>
                          <a:cubicBezTo>
                            <a:pt x="0" y="207"/>
                            <a:pt x="4" y="211"/>
                            <a:pt x="9" y="211"/>
                          </a:cubicBezTo>
                          <a:cubicBezTo>
                            <a:pt x="49" y="211"/>
                            <a:pt x="49" y="211"/>
                            <a:pt x="49" y="211"/>
                          </a:cubicBezTo>
                          <a:cubicBezTo>
                            <a:pt x="54" y="211"/>
                            <a:pt x="58" y="207"/>
                            <a:pt x="58" y="202"/>
                          </a:cubicBezTo>
                          <a:cubicBezTo>
                            <a:pt x="58" y="9"/>
                            <a:pt x="58" y="9"/>
                            <a:pt x="58" y="9"/>
                          </a:cubicBezTo>
                          <a:cubicBezTo>
                            <a:pt x="58" y="4"/>
                            <a:pt x="54" y="0"/>
                            <a:pt x="49" y="0"/>
                          </a:cubicBezTo>
                          <a:close/>
                          <a:moveTo>
                            <a:pt x="13" y="19"/>
                          </a:moveTo>
                          <a:cubicBezTo>
                            <a:pt x="13" y="17"/>
                            <a:pt x="16" y="14"/>
                            <a:pt x="19" y="14"/>
                          </a:cubicBezTo>
                          <a:cubicBezTo>
                            <a:pt x="39" y="14"/>
                            <a:pt x="39" y="14"/>
                            <a:pt x="39" y="14"/>
                          </a:cubicBezTo>
                          <a:cubicBezTo>
                            <a:pt x="42" y="14"/>
                            <a:pt x="44" y="17"/>
                            <a:pt x="44" y="19"/>
                          </a:cubicBezTo>
                          <a:cubicBezTo>
                            <a:pt x="44" y="142"/>
                            <a:pt x="44" y="142"/>
                            <a:pt x="44" y="142"/>
                          </a:cubicBezTo>
                          <a:cubicBezTo>
                            <a:pt x="44" y="145"/>
                            <a:pt x="42" y="147"/>
                            <a:pt x="39" y="147"/>
                          </a:cubicBezTo>
                          <a:cubicBezTo>
                            <a:pt x="19" y="147"/>
                            <a:pt x="19" y="147"/>
                            <a:pt x="19" y="147"/>
                          </a:cubicBezTo>
                          <a:cubicBezTo>
                            <a:pt x="16" y="147"/>
                            <a:pt x="13" y="145"/>
                            <a:pt x="13" y="142"/>
                          </a:cubicBezTo>
                          <a:cubicBezTo>
                            <a:pt x="13" y="19"/>
                            <a:pt x="13" y="19"/>
                            <a:pt x="13" y="19"/>
                          </a:cubicBezTo>
                          <a:cubicBezTo>
                            <a:pt x="13" y="19"/>
                            <a:pt x="13" y="19"/>
                            <a:pt x="13" y="19"/>
                          </a:cubicBezTo>
                          <a:close/>
                          <a:moveTo>
                            <a:pt x="29" y="199"/>
                          </a:moveTo>
                          <a:cubicBezTo>
                            <a:pt x="20" y="199"/>
                            <a:pt x="13" y="192"/>
                            <a:pt x="13" y="184"/>
                          </a:cubicBezTo>
                          <a:cubicBezTo>
                            <a:pt x="13" y="175"/>
                            <a:pt x="20" y="168"/>
                            <a:pt x="29" y="168"/>
                          </a:cubicBezTo>
                          <a:cubicBezTo>
                            <a:pt x="37" y="168"/>
                            <a:pt x="44" y="175"/>
                            <a:pt x="44" y="184"/>
                          </a:cubicBezTo>
                          <a:cubicBezTo>
                            <a:pt x="44" y="192"/>
                            <a:pt x="37" y="199"/>
                            <a:pt x="29" y="199"/>
                          </a:cubicBezTo>
                          <a:close/>
                        </a:path>
                      </a:pathLst>
                    </a:cu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44" name="Oval 258"/>
                    <p:cNvSpPr>
                      <a:spLocks noChangeArrowheads="1"/>
                    </p:cNvSpPr>
                    <p:nvPr/>
                  </p:nvSpPr>
                  <p:spPr bwMode="auto">
                    <a:xfrm rot="5400000">
                      <a:off x="10792251" y="1904672"/>
                      <a:ext cx="17464" cy="18110"/>
                    </a:xfrm>
                    <a:prstGeom prst="ellipse">
                      <a:avLst/>
                    </a:prstGeom>
                    <a:solidFill>
                      <a:srgbClr val="2272B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642" name="Freeform 259"/>
                  <p:cNvSpPr>
                    <a:spLocks/>
                  </p:cNvSpPr>
                  <p:nvPr/>
                </p:nvSpPr>
                <p:spPr bwMode="auto">
                  <a:xfrm>
                    <a:off x="10332565" y="1583717"/>
                    <a:ext cx="116985" cy="105399"/>
                  </a:xfrm>
                  <a:custGeom>
                    <a:avLst/>
                    <a:gdLst>
                      <a:gd name="T0" fmla="*/ 66 w 80"/>
                      <a:gd name="T1" fmla="*/ 0 h 70"/>
                      <a:gd name="T2" fmla="*/ 80 w 80"/>
                      <a:gd name="T3" fmla="*/ 14 h 70"/>
                      <a:gd name="T4" fmla="*/ 66 w 80"/>
                      <a:gd name="T5" fmla="*/ 28 h 70"/>
                      <a:gd name="T6" fmla="*/ 53 w 80"/>
                      <a:gd name="T7" fmla="*/ 19 h 70"/>
                      <a:gd name="T8" fmla="*/ 53 w 80"/>
                      <a:gd name="T9" fmla="*/ 18 h 70"/>
                      <a:gd name="T10" fmla="*/ 28 w 80"/>
                      <a:gd name="T11" fmla="*/ 28 h 70"/>
                      <a:gd name="T12" fmla="*/ 28 w 80"/>
                      <a:gd name="T13" fmla="*/ 29 h 70"/>
                      <a:gd name="T14" fmla="*/ 26 w 80"/>
                      <a:gd name="T15" fmla="*/ 34 h 70"/>
                      <a:gd name="T16" fmla="*/ 51 w 80"/>
                      <a:gd name="T17" fmla="*/ 49 h 70"/>
                      <a:gd name="T18" fmla="*/ 53 w 80"/>
                      <a:gd name="T19" fmla="*/ 46 h 70"/>
                      <a:gd name="T20" fmla="*/ 63 w 80"/>
                      <a:gd name="T21" fmla="*/ 42 h 70"/>
                      <a:gd name="T22" fmla="*/ 77 w 80"/>
                      <a:gd name="T23" fmla="*/ 56 h 70"/>
                      <a:gd name="T24" fmla="*/ 63 w 80"/>
                      <a:gd name="T25" fmla="*/ 70 h 70"/>
                      <a:gd name="T26" fmla="*/ 49 w 80"/>
                      <a:gd name="T27" fmla="*/ 56 h 70"/>
                      <a:gd name="T28" fmla="*/ 49 w 80"/>
                      <a:gd name="T29" fmla="*/ 55 h 70"/>
                      <a:gd name="T30" fmla="*/ 23 w 80"/>
                      <a:gd name="T31" fmla="*/ 40 h 70"/>
                      <a:gd name="T32" fmla="*/ 20 w 80"/>
                      <a:gd name="T33" fmla="*/ 42 h 70"/>
                      <a:gd name="T34" fmla="*/ 14 w 80"/>
                      <a:gd name="T35" fmla="*/ 43 h 70"/>
                      <a:gd name="T36" fmla="*/ 0 w 80"/>
                      <a:gd name="T37" fmla="*/ 29 h 70"/>
                      <a:gd name="T38" fmla="*/ 14 w 80"/>
                      <a:gd name="T39" fmla="*/ 15 h 70"/>
                      <a:gd name="T40" fmla="*/ 24 w 80"/>
                      <a:gd name="T41" fmla="*/ 19 h 70"/>
                      <a:gd name="T42" fmla="*/ 26 w 80"/>
                      <a:gd name="T43" fmla="*/ 21 h 70"/>
                      <a:gd name="T44" fmla="*/ 52 w 80"/>
                      <a:gd name="T45" fmla="*/ 12 h 70"/>
                      <a:gd name="T46" fmla="*/ 53 w 80"/>
                      <a:gd name="T47" fmla="*/ 8 h 70"/>
                      <a:gd name="T48" fmla="*/ 66 w 80"/>
                      <a:gd name="T49" fmla="*/ 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80" h="70">
                        <a:moveTo>
                          <a:pt x="66" y="0"/>
                        </a:moveTo>
                        <a:cubicBezTo>
                          <a:pt x="73" y="0"/>
                          <a:pt x="80" y="6"/>
                          <a:pt x="80" y="14"/>
                        </a:cubicBezTo>
                        <a:cubicBezTo>
                          <a:pt x="80" y="22"/>
                          <a:pt x="73" y="28"/>
                          <a:pt x="66" y="28"/>
                        </a:cubicBezTo>
                        <a:cubicBezTo>
                          <a:pt x="60" y="28"/>
                          <a:pt x="55" y="24"/>
                          <a:pt x="53" y="19"/>
                        </a:cubicBezTo>
                        <a:cubicBezTo>
                          <a:pt x="53" y="18"/>
                          <a:pt x="53" y="18"/>
                          <a:pt x="53" y="18"/>
                        </a:cubicBezTo>
                        <a:cubicBezTo>
                          <a:pt x="28" y="28"/>
                          <a:pt x="28" y="28"/>
                          <a:pt x="28" y="28"/>
                        </a:cubicBezTo>
                        <a:cubicBezTo>
                          <a:pt x="28" y="29"/>
                          <a:pt x="28" y="29"/>
                          <a:pt x="28" y="29"/>
                        </a:cubicBezTo>
                        <a:cubicBezTo>
                          <a:pt x="26" y="34"/>
                          <a:pt x="26" y="34"/>
                          <a:pt x="26" y="34"/>
                        </a:cubicBezTo>
                        <a:cubicBezTo>
                          <a:pt x="51" y="49"/>
                          <a:pt x="51" y="49"/>
                          <a:pt x="51" y="49"/>
                        </a:cubicBezTo>
                        <a:cubicBezTo>
                          <a:pt x="53" y="46"/>
                          <a:pt x="53" y="46"/>
                          <a:pt x="53" y="46"/>
                        </a:cubicBezTo>
                        <a:cubicBezTo>
                          <a:pt x="55" y="44"/>
                          <a:pt x="59" y="42"/>
                          <a:pt x="63" y="42"/>
                        </a:cubicBezTo>
                        <a:cubicBezTo>
                          <a:pt x="70" y="42"/>
                          <a:pt x="77" y="48"/>
                          <a:pt x="77" y="56"/>
                        </a:cubicBezTo>
                        <a:cubicBezTo>
                          <a:pt x="77" y="64"/>
                          <a:pt x="70" y="70"/>
                          <a:pt x="63" y="70"/>
                        </a:cubicBezTo>
                        <a:cubicBezTo>
                          <a:pt x="55" y="70"/>
                          <a:pt x="49" y="64"/>
                          <a:pt x="49" y="56"/>
                        </a:cubicBezTo>
                        <a:cubicBezTo>
                          <a:pt x="49" y="55"/>
                          <a:pt x="49" y="55"/>
                          <a:pt x="49" y="55"/>
                        </a:cubicBezTo>
                        <a:cubicBezTo>
                          <a:pt x="23" y="40"/>
                          <a:pt x="23" y="40"/>
                          <a:pt x="23" y="40"/>
                        </a:cubicBezTo>
                        <a:cubicBezTo>
                          <a:pt x="20" y="42"/>
                          <a:pt x="20" y="42"/>
                          <a:pt x="20" y="42"/>
                        </a:cubicBezTo>
                        <a:cubicBezTo>
                          <a:pt x="18" y="43"/>
                          <a:pt x="16" y="43"/>
                          <a:pt x="14" y="43"/>
                        </a:cubicBezTo>
                        <a:cubicBezTo>
                          <a:pt x="6" y="43"/>
                          <a:pt x="0" y="37"/>
                          <a:pt x="0" y="29"/>
                        </a:cubicBezTo>
                        <a:cubicBezTo>
                          <a:pt x="0" y="21"/>
                          <a:pt x="6" y="15"/>
                          <a:pt x="14" y="15"/>
                        </a:cubicBezTo>
                        <a:cubicBezTo>
                          <a:pt x="18" y="15"/>
                          <a:pt x="22" y="17"/>
                          <a:pt x="24" y="19"/>
                        </a:cubicBezTo>
                        <a:cubicBezTo>
                          <a:pt x="26" y="21"/>
                          <a:pt x="26" y="21"/>
                          <a:pt x="26" y="21"/>
                        </a:cubicBezTo>
                        <a:cubicBezTo>
                          <a:pt x="52" y="12"/>
                          <a:pt x="52" y="12"/>
                          <a:pt x="52" y="12"/>
                        </a:cubicBezTo>
                        <a:cubicBezTo>
                          <a:pt x="53" y="8"/>
                          <a:pt x="53" y="8"/>
                          <a:pt x="53" y="8"/>
                        </a:cubicBezTo>
                        <a:cubicBezTo>
                          <a:pt x="55" y="3"/>
                          <a:pt x="60" y="0"/>
                          <a:pt x="66" y="0"/>
                        </a:cubicBezTo>
                        <a:close/>
                      </a:path>
                    </a:pathLst>
                  </a:custGeom>
                  <a:solidFill>
                    <a:srgbClr val="DA40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483" name="Group 482"/>
              <p:cNvGrpSpPr/>
              <p:nvPr/>
            </p:nvGrpSpPr>
            <p:grpSpPr>
              <a:xfrm>
                <a:off x="10017033" y="6992917"/>
                <a:ext cx="1025875" cy="1000728"/>
                <a:chOff x="10273510" y="1738684"/>
                <a:chExt cx="841531" cy="820902"/>
              </a:xfrm>
            </p:grpSpPr>
            <p:sp>
              <p:nvSpPr>
                <p:cNvPr id="568" name="Rectangle 567"/>
                <p:cNvSpPr/>
                <p:nvPr/>
              </p:nvSpPr>
              <p:spPr>
                <a:xfrm>
                  <a:off x="10273510" y="1738684"/>
                  <a:ext cx="841531" cy="820902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569" name="Group 568"/>
                <p:cNvGrpSpPr/>
                <p:nvPr/>
              </p:nvGrpSpPr>
              <p:grpSpPr>
                <a:xfrm>
                  <a:off x="10473163" y="1834016"/>
                  <a:ext cx="411479" cy="660682"/>
                  <a:chOff x="10938474" y="2288230"/>
                  <a:chExt cx="582611" cy="911640"/>
                </a:xfrm>
              </p:grpSpPr>
              <p:grpSp>
                <p:nvGrpSpPr>
                  <p:cNvPr id="570" name="Group 569"/>
                  <p:cNvGrpSpPr/>
                  <p:nvPr/>
                </p:nvGrpSpPr>
                <p:grpSpPr>
                  <a:xfrm>
                    <a:off x="10938474" y="2401502"/>
                    <a:ext cx="466188" cy="798368"/>
                    <a:chOff x="10366130" y="4006415"/>
                    <a:chExt cx="466188" cy="798368"/>
                  </a:xfrm>
                </p:grpSpPr>
                <p:sp>
                  <p:nvSpPr>
                    <p:cNvPr id="586" name="Freeform 161"/>
                    <p:cNvSpPr>
                      <a:spLocks/>
                    </p:cNvSpPr>
                    <p:nvPr/>
                  </p:nvSpPr>
                  <p:spPr bwMode="auto">
                    <a:xfrm>
                      <a:off x="10366130" y="4006415"/>
                      <a:ext cx="466188" cy="798368"/>
                    </a:xfrm>
                    <a:custGeom>
                      <a:avLst/>
                      <a:gdLst>
                        <a:gd name="T0" fmla="*/ 243 w 243"/>
                        <a:gd name="T1" fmla="*/ 400 h 416"/>
                        <a:gd name="T2" fmla="*/ 227 w 243"/>
                        <a:gd name="T3" fmla="*/ 416 h 416"/>
                        <a:gd name="T4" fmla="*/ 15 w 243"/>
                        <a:gd name="T5" fmla="*/ 416 h 416"/>
                        <a:gd name="T6" fmla="*/ 0 w 243"/>
                        <a:gd name="T7" fmla="*/ 400 h 416"/>
                        <a:gd name="T8" fmla="*/ 0 w 243"/>
                        <a:gd name="T9" fmla="*/ 15 h 416"/>
                        <a:gd name="T10" fmla="*/ 15 w 243"/>
                        <a:gd name="T11" fmla="*/ 0 h 416"/>
                        <a:gd name="T12" fmla="*/ 227 w 243"/>
                        <a:gd name="T13" fmla="*/ 0 h 416"/>
                        <a:gd name="T14" fmla="*/ 243 w 243"/>
                        <a:gd name="T15" fmla="*/ 15 h 416"/>
                        <a:gd name="T16" fmla="*/ 243 w 243"/>
                        <a:gd name="T17" fmla="*/ 400 h 4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43" h="416">
                          <a:moveTo>
                            <a:pt x="243" y="400"/>
                          </a:moveTo>
                          <a:cubicBezTo>
                            <a:pt x="243" y="409"/>
                            <a:pt x="236" y="416"/>
                            <a:pt x="227" y="416"/>
                          </a:cubicBezTo>
                          <a:cubicBezTo>
                            <a:pt x="15" y="416"/>
                            <a:pt x="15" y="416"/>
                            <a:pt x="15" y="416"/>
                          </a:cubicBezTo>
                          <a:cubicBezTo>
                            <a:pt x="7" y="416"/>
                            <a:pt x="0" y="409"/>
                            <a:pt x="0" y="400"/>
                          </a:cubicBezTo>
                          <a:cubicBezTo>
                            <a:pt x="0" y="15"/>
                            <a:pt x="0" y="15"/>
                            <a:pt x="0" y="15"/>
                          </a:cubicBezTo>
                          <a:cubicBezTo>
                            <a:pt x="0" y="7"/>
                            <a:pt x="7" y="0"/>
                            <a:pt x="15" y="0"/>
                          </a:cubicBezTo>
                          <a:cubicBezTo>
                            <a:pt x="227" y="0"/>
                            <a:pt x="227" y="0"/>
                            <a:pt x="227" y="0"/>
                          </a:cubicBezTo>
                          <a:cubicBezTo>
                            <a:pt x="236" y="0"/>
                            <a:pt x="243" y="7"/>
                            <a:pt x="243" y="15"/>
                          </a:cubicBezTo>
                          <a:lnTo>
                            <a:pt x="243" y="400"/>
                          </a:lnTo>
                          <a:close/>
                        </a:path>
                      </a:pathLst>
                    </a:custGeom>
                    <a:solidFill>
                      <a:srgbClr val="50505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87" name="Rectangle 16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410800" y="4051085"/>
                      <a:ext cx="376037" cy="628623"/>
                    </a:xfrm>
                    <a:prstGeom prst="rect">
                      <a:avLst/>
                    </a:prstGeom>
                    <a:solidFill>
                      <a:srgbClr val="F5F5F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88" name="Rectangle 16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448972" y="4125805"/>
                      <a:ext cx="301317" cy="301317"/>
                    </a:xfrm>
                    <a:prstGeom prst="rect">
                      <a:avLst/>
                    </a:pr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89" name="Rectangle 16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448972" y="4447426"/>
                      <a:ext cx="86091" cy="86903"/>
                    </a:xfrm>
                    <a:prstGeom prst="rect">
                      <a:avLst/>
                    </a:pr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90" name="Rectangle 16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556179" y="4447426"/>
                      <a:ext cx="86091" cy="86903"/>
                    </a:xfrm>
                    <a:prstGeom prst="rect">
                      <a:avLst/>
                    </a:pr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91" name="Rectangle 16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663386" y="4447426"/>
                      <a:ext cx="86903" cy="86903"/>
                    </a:xfrm>
                    <a:prstGeom prst="rect">
                      <a:avLst/>
                    </a:pr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92" name="Rectangle 16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448972" y="4555445"/>
                      <a:ext cx="301317" cy="86091"/>
                    </a:xfrm>
                    <a:prstGeom prst="rect">
                      <a:avLst/>
                    </a:prstGeom>
                    <a:solidFill>
                      <a:srgbClr val="0072C6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571" name="Group 570"/>
                  <p:cNvGrpSpPr/>
                  <p:nvPr/>
                </p:nvGrpSpPr>
                <p:grpSpPr>
                  <a:xfrm>
                    <a:off x="11037277" y="2288230"/>
                    <a:ext cx="483808" cy="828670"/>
                    <a:chOff x="10375876" y="3286828"/>
                    <a:chExt cx="393093" cy="673293"/>
                  </a:xfrm>
                </p:grpSpPr>
                <p:sp>
                  <p:nvSpPr>
                    <p:cNvPr id="572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10375876" y="3286828"/>
                      <a:ext cx="393093" cy="673293"/>
                    </a:xfrm>
                    <a:custGeom>
                      <a:avLst/>
                      <a:gdLst>
                        <a:gd name="T0" fmla="*/ 205 w 205"/>
                        <a:gd name="T1" fmla="*/ 116 h 351"/>
                        <a:gd name="T2" fmla="*/ 205 w 205"/>
                        <a:gd name="T3" fmla="*/ 13 h 351"/>
                        <a:gd name="T4" fmla="*/ 191 w 205"/>
                        <a:gd name="T5" fmla="*/ 0 h 351"/>
                        <a:gd name="T6" fmla="*/ 13 w 205"/>
                        <a:gd name="T7" fmla="*/ 0 h 351"/>
                        <a:gd name="T8" fmla="*/ 0 w 205"/>
                        <a:gd name="T9" fmla="*/ 13 h 351"/>
                        <a:gd name="T10" fmla="*/ 0 w 205"/>
                        <a:gd name="T11" fmla="*/ 338 h 351"/>
                        <a:gd name="T12" fmla="*/ 13 w 205"/>
                        <a:gd name="T13" fmla="*/ 351 h 351"/>
                        <a:gd name="T14" fmla="*/ 191 w 205"/>
                        <a:gd name="T15" fmla="*/ 351 h 351"/>
                        <a:gd name="T16" fmla="*/ 205 w 205"/>
                        <a:gd name="T17" fmla="*/ 338 h 351"/>
                        <a:gd name="T18" fmla="*/ 205 w 205"/>
                        <a:gd name="T19" fmla="*/ 187 h 351"/>
                        <a:gd name="T20" fmla="*/ 205 w 205"/>
                        <a:gd name="T21" fmla="*/ 116 h 3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205" h="351">
                          <a:moveTo>
                            <a:pt x="205" y="116"/>
                          </a:moveTo>
                          <a:cubicBezTo>
                            <a:pt x="205" y="13"/>
                            <a:pt x="205" y="13"/>
                            <a:pt x="205" y="13"/>
                          </a:cubicBezTo>
                          <a:cubicBezTo>
                            <a:pt x="205" y="6"/>
                            <a:pt x="199" y="0"/>
                            <a:pt x="191" y="0"/>
                          </a:cubicBezTo>
                          <a:cubicBezTo>
                            <a:pt x="13" y="0"/>
                            <a:pt x="13" y="0"/>
                            <a:pt x="13" y="0"/>
                          </a:cubicBezTo>
                          <a:cubicBezTo>
                            <a:pt x="6" y="0"/>
                            <a:pt x="0" y="6"/>
                            <a:pt x="0" y="13"/>
                          </a:cubicBezTo>
                          <a:cubicBezTo>
                            <a:pt x="0" y="338"/>
                            <a:pt x="0" y="338"/>
                            <a:pt x="0" y="338"/>
                          </a:cubicBezTo>
                          <a:cubicBezTo>
                            <a:pt x="0" y="345"/>
                            <a:pt x="6" y="351"/>
                            <a:pt x="13" y="351"/>
                          </a:cubicBezTo>
                          <a:cubicBezTo>
                            <a:pt x="191" y="351"/>
                            <a:pt x="191" y="351"/>
                            <a:pt x="191" y="351"/>
                          </a:cubicBezTo>
                          <a:cubicBezTo>
                            <a:pt x="199" y="351"/>
                            <a:pt x="205" y="345"/>
                            <a:pt x="205" y="338"/>
                          </a:cubicBezTo>
                          <a:cubicBezTo>
                            <a:pt x="205" y="187"/>
                            <a:pt x="205" y="187"/>
                            <a:pt x="205" y="187"/>
                          </a:cubicBezTo>
                          <a:lnTo>
                            <a:pt x="205" y="116"/>
                          </a:lnTo>
                          <a:close/>
                        </a:path>
                      </a:pathLst>
                    </a:custGeom>
                    <a:solidFill>
                      <a:srgbClr val="D2D2D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73" name="Rectangle 16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412424" y="3325813"/>
                      <a:ext cx="318373" cy="529538"/>
                    </a:xfrm>
                    <a:prstGeom prst="rect">
                      <a:avLst/>
                    </a:prstGeom>
                    <a:solidFill>
                      <a:srgbClr val="F5F5F5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74" name="Rectangle 16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444911" y="3389162"/>
                      <a:ext cx="163247" cy="162435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75" name="Rectangle 17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625214" y="3479314"/>
                      <a:ext cx="73096" cy="72284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76" name="Rectangle 17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625214" y="3389162"/>
                      <a:ext cx="73096" cy="72284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77" name="Rectangle 17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625214" y="3659617"/>
                      <a:ext cx="73096" cy="74720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78" name="Rectangle 17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535062" y="3659617"/>
                      <a:ext cx="73096" cy="74720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79" name="Rectangle 17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444911" y="3659617"/>
                      <a:ext cx="73096" cy="74720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80" name="Rectangle 17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444911" y="3569465"/>
                      <a:ext cx="73096" cy="72284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81" name="Rectangle 17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535062" y="3569465"/>
                      <a:ext cx="73096" cy="72284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82" name="Rectangle 17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625214" y="3569465"/>
                      <a:ext cx="73096" cy="72284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83" name="Rectangle 17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625214" y="3751392"/>
                      <a:ext cx="73096" cy="73096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84" name="Rectangle 17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535062" y="3751392"/>
                      <a:ext cx="73096" cy="73096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85" name="Rectangle 18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0444911" y="3751392"/>
                      <a:ext cx="73096" cy="73096"/>
                    </a:xfrm>
                    <a:prstGeom prst="rect">
                      <a:avLst/>
                    </a:prstGeom>
                    <a:solidFill>
                      <a:srgbClr val="FF8C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10881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0505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grpSp>
            <p:nvGrpSpPr>
              <p:cNvPr id="484" name="Group 483"/>
              <p:cNvGrpSpPr/>
              <p:nvPr/>
            </p:nvGrpSpPr>
            <p:grpSpPr>
              <a:xfrm>
                <a:off x="11062069" y="6992916"/>
                <a:ext cx="1018140" cy="1001688"/>
                <a:chOff x="11146629" y="1737897"/>
                <a:chExt cx="835186" cy="821690"/>
              </a:xfrm>
            </p:grpSpPr>
            <p:sp>
              <p:nvSpPr>
                <p:cNvPr id="564" name="Rectangle 563"/>
                <p:cNvSpPr/>
                <p:nvPr/>
              </p:nvSpPr>
              <p:spPr>
                <a:xfrm>
                  <a:off x="11146629" y="1737897"/>
                  <a:ext cx="835186" cy="821690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565" name="Group 564"/>
                <p:cNvGrpSpPr/>
                <p:nvPr/>
              </p:nvGrpSpPr>
              <p:grpSpPr>
                <a:xfrm>
                  <a:off x="11328302" y="1917902"/>
                  <a:ext cx="498726" cy="465946"/>
                  <a:chOff x="10131652" y="3979813"/>
                  <a:chExt cx="796500" cy="725203"/>
                </a:xfrm>
              </p:grpSpPr>
              <p:sp>
                <p:nvSpPr>
                  <p:cNvPr id="566" name="Freeform 19"/>
                  <p:cNvSpPr>
                    <a:spLocks/>
                  </p:cNvSpPr>
                  <p:nvPr/>
                </p:nvSpPr>
                <p:spPr bwMode="auto">
                  <a:xfrm>
                    <a:off x="10131652" y="3979813"/>
                    <a:ext cx="562235" cy="368713"/>
                  </a:xfrm>
                  <a:custGeom>
                    <a:avLst/>
                    <a:gdLst>
                      <a:gd name="T0" fmla="*/ 165 w 197"/>
                      <a:gd name="T1" fmla="*/ 56 h 129"/>
                      <a:gd name="T2" fmla="*/ 165 w 197"/>
                      <a:gd name="T3" fmla="*/ 54 h 129"/>
                      <a:gd name="T4" fmla="*/ 111 w 197"/>
                      <a:gd name="T5" fmla="*/ 0 h 129"/>
                      <a:gd name="T6" fmla="*/ 66 w 197"/>
                      <a:gd name="T7" fmla="*/ 24 h 129"/>
                      <a:gd name="T8" fmla="*/ 51 w 197"/>
                      <a:gd name="T9" fmla="*/ 20 h 129"/>
                      <a:gd name="T10" fmla="*/ 34 w 197"/>
                      <a:gd name="T11" fmla="*/ 25 h 129"/>
                      <a:gd name="T12" fmla="*/ 20 w 197"/>
                      <a:gd name="T13" fmla="*/ 50 h 129"/>
                      <a:gd name="T14" fmla="*/ 0 w 197"/>
                      <a:gd name="T15" fmla="*/ 86 h 129"/>
                      <a:gd name="T16" fmla="*/ 38 w 197"/>
                      <a:gd name="T17" fmla="*/ 129 h 129"/>
                      <a:gd name="T18" fmla="*/ 43 w 197"/>
                      <a:gd name="T19" fmla="*/ 129 h 129"/>
                      <a:gd name="T20" fmla="*/ 47 w 197"/>
                      <a:gd name="T21" fmla="*/ 129 h 129"/>
                      <a:gd name="T22" fmla="*/ 136 w 197"/>
                      <a:gd name="T23" fmla="*/ 129 h 129"/>
                      <a:gd name="T24" fmla="*/ 138 w 197"/>
                      <a:gd name="T25" fmla="*/ 129 h 129"/>
                      <a:gd name="T26" fmla="*/ 140 w 197"/>
                      <a:gd name="T27" fmla="*/ 129 h 129"/>
                      <a:gd name="T28" fmla="*/ 146 w 197"/>
                      <a:gd name="T29" fmla="*/ 129 h 129"/>
                      <a:gd name="T30" fmla="*/ 160 w 197"/>
                      <a:gd name="T31" fmla="*/ 129 h 129"/>
                      <a:gd name="T32" fmla="*/ 197 w 197"/>
                      <a:gd name="T33" fmla="*/ 92 h 129"/>
                      <a:gd name="T34" fmla="*/ 165 w 197"/>
                      <a:gd name="T35" fmla="*/ 56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97" h="129">
                        <a:moveTo>
                          <a:pt x="165" y="56"/>
                        </a:moveTo>
                        <a:cubicBezTo>
                          <a:pt x="165" y="56"/>
                          <a:pt x="165" y="54"/>
                          <a:pt x="165" y="54"/>
                        </a:cubicBezTo>
                        <a:cubicBezTo>
                          <a:pt x="165" y="24"/>
                          <a:pt x="141" y="0"/>
                          <a:pt x="111" y="0"/>
                        </a:cubicBezTo>
                        <a:cubicBezTo>
                          <a:pt x="92" y="0"/>
                          <a:pt x="76" y="9"/>
                          <a:pt x="66" y="24"/>
                        </a:cubicBezTo>
                        <a:cubicBezTo>
                          <a:pt x="62" y="21"/>
                          <a:pt x="57" y="20"/>
                          <a:pt x="51" y="20"/>
                        </a:cubicBezTo>
                        <a:cubicBezTo>
                          <a:pt x="45" y="20"/>
                          <a:pt x="39" y="22"/>
                          <a:pt x="34" y="25"/>
                        </a:cubicBezTo>
                        <a:cubicBezTo>
                          <a:pt x="25" y="31"/>
                          <a:pt x="20" y="40"/>
                          <a:pt x="20" y="50"/>
                        </a:cubicBezTo>
                        <a:cubicBezTo>
                          <a:pt x="8" y="58"/>
                          <a:pt x="0" y="71"/>
                          <a:pt x="0" y="86"/>
                        </a:cubicBezTo>
                        <a:cubicBezTo>
                          <a:pt x="0" y="108"/>
                          <a:pt x="17" y="126"/>
                          <a:pt x="38" y="129"/>
                        </a:cubicBezTo>
                        <a:cubicBezTo>
                          <a:pt x="40" y="129"/>
                          <a:pt x="41" y="129"/>
                          <a:pt x="43" y="129"/>
                        </a:cubicBezTo>
                        <a:cubicBezTo>
                          <a:pt x="44" y="129"/>
                          <a:pt x="46" y="129"/>
                          <a:pt x="47" y="129"/>
                        </a:cubicBezTo>
                        <a:cubicBezTo>
                          <a:pt x="67" y="129"/>
                          <a:pt x="114" y="129"/>
                          <a:pt x="136" y="129"/>
                        </a:cubicBezTo>
                        <a:cubicBezTo>
                          <a:pt x="136" y="129"/>
                          <a:pt x="137" y="129"/>
                          <a:pt x="138" y="129"/>
                        </a:cubicBezTo>
                        <a:cubicBezTo>
                          <a:pt x="140" y="129"/>
                          <a:pt x="140" y="129"/>
                          <a:pt x="140" y="129"/>
                        </a:cubicBezTo>
                        <a:cubicBezTo>
                          <a:pt x="141" y="129"/>
                          <a:pt x="144" y="129"/>
                          <a:pt x="146" y="129"/>
                        </a:cubicBezTo>
                        <a:cubicBezTo>
                          <a:pt x="160" y="129"/>
                          <a:pt x="160" y="129"/>
                          <a:pt x="160" y="129"/>
                        </a:cubicBezTo>
                        <a:cubicBezTo>
                          <a:pt x="181" y="129"/>
                          <a:pt x="197" y="112"/>
                          <a:pt x="197" y="92"/>
                        </a:cubicBezTo>
                        <a:cubicBezTo>
                          <a:pt x="197" y="74"/>
                          <a:pt x="183" y="59"/>
                          <a:pt x="165" y="56"/>
                        </a:cubicBezTo>
                        <a:close/>
                      </a:path>
                    </a:pathLst>
                  </a:custGeom>
                  <a:solidFill>
                    <a:srgbClr val="FF8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7" name="Freeform 20"/>
                  <p:cNvSpPr>
                    <a:spLocks/>
                  </p:cNvSpPr>
                  <p:nvPr/>
                </p:nvSpPr>
                <p:spPr bwMode="auto">
                  <a:xfrm>
                    <a:off x="10170357" y="4205930"/>
                    <a:ext cx="757795" cy="499086"/>
                  </a:xfrm>
                  <a:custGeom>
                    <a:avLst/>
                    <a:gdLst>
                      <a:gd name="T0" fmla="*/ 223 w 266"/>
                      <a:gd name="T1" fmla="*/ 77 h 175"/>
                      <a:gd name="T2" fmla="*/ 223 w 266"/>
                      <a:gd name="T3" fmla="*/ 74 h 175"/>
                      <a:gd name="T4" fmla="*/ 150 w 266"/>
                      <a:gd name="T5" fmla="*/ 0 h 175"/>
                      <a:gd name="T6" fmla="*/ 89 w 266"/>
                      <a:gd name="T7" fmla="*/ 33 h 175"/>
                      <a:gd name="T8" fmla="*/ 69 w 266"/>
                      <a:gd name="T9" fmla="*/ 28 h 175"/>
                      <a:gd name="T10" fmla="*/ 45 w 266"/>
                      <a:gd name="T11" fmla="*/ 35 h 175"/>
                      <a:gd name="T12" fmla="*/ 26 w 266"/>
                      <a:gd name="T13" fmla="*/ 69 h 175"/>
                      <a:gd name="T14" fmla="*/ 0 w 266"/>
                      <a:gd name="T15" fmla="*/ 118 h 175"/>
                      <a:gd name="T16" fmla="*/ 51 w 266"/>
                      <a:gd name="T17" fmla="*/ 175 h 175"/>
                      <a:gd name="T18" fmla="*/ 57 w 266"/>
                      <a:gd name="T19" fmla="*/ 175 h 175"/>
                      <a:gd name="T20" fmla="*/ 63 w 266"/>
                      <a:gd name="T21" fmla="*/ 175 h 175"/>
                      <a:gd name="T22" fmla="*/ 183 w 266"/>
                      <a:gd name="T23" fmla="*/ 175 h 175"/>
                      <a:gd name="T24" fmla="*/ 185 w 266"/>
                      <a:gd name="T25" fmla="*/ 175 h 175"/>
                      <a:gd name="T26" fmla="*/ 188 w 266"/>
                      <a:gd name="T27" fmla="*/ 175 h 175"/>
                      <a:gd name="T28" fmla="*/ 197 w 266"/>
                      <a:gd name="T29" fmla="*/ 175 h 175"/>
                      <a:gd name="T30" fmla="*/ 216 w 266"/>
                      <a:gd name="T31" fmla="*/ 175 h 175"/>
                      <a:gd name="T32" fmla="*/ 266 w 266"/>
                      <a:gd name="T33" fmla="*/ 126 h 175"/>
                      <a:gd name="T34" fmla="*/ 223 w 266"/>
                      <a:gd name="T35" fmla="*/ 77 h 1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266" h="175">
                        <a:moveTo>
                          <a:pt x="223" y="77"/>
                        </a:moveTo>
                        <a:cubicBezTo>
                          <a:pt x="223" y="76"/>
                          <a:pt x="223" y="75"/>
                          <a:pt x="223" y="74"/>
                        </a:cubicBezTo>
                        <a:cubicBezTo>
                          <a:pt x="223" y="33"/>
                          <a:pt x="190" y="0"/>
                          <a:pt x="150" y="0"/>
                        </a:cubicBezTo>
                        <a:cubicBezTo>
                          <a:pt x="124" y="0"/>
                          <a:pt x="102" y="14"/>
                          <a:pt x="89" y="33"/>
                        </a:cubicBezTo>
                        <a:cubicBezTo>
                          <a:pt x="83" y="30"/>
                          <a:pt x="76" y="28"/>
                          <a:pt x="69" y="28"/>
                        </a:cubicBezTo>
                        <a:cubicBezTo>
                          <a:pt x="60" y="28"/>
                          <a:pt x="52" y="30"/>
                          <a:pt x="45" y="35"/>
                        </a:cubicBezTo>
                        <a:cubicBezTo>
                          <a:pt x="34" y="42"/>
                          <a:pt x="27" y="55"/>
                          <a:pt x="26" y="69"/>
                        </a:cubicBezTo>
                        <a:cubicBezTo>
                          <a:pt x="11" y="80"/>
                          <a:pt x="0" y="98"/>
                          <a:pt x="0" y="118"/>
                        </a:cubicBezTo>
                        <a:cubicBezTo>
                          <a:pt x="0" y="147"/>
                          <a:pt x="22" y="172"/>
                          <a:pt x="51" y="175"/>
                        </a:cubicBezTo>
                        <a:cubicBezTo>
                          <a:pt x="53" y="175"/>
                          <a:pt x="56" y="175"/>
                          <a:pt x="57" y="175"/>
                        </a:cubicBezTo>
                        <a:cubicBezTo>
                          <a:pt x="59" y="175"/>
                          <a:pt x="61" y="175"/>
                          <a:pt x="63" y="175"/>
                        </a:cubicBezTo>
                        <a:cubicBezTo>
                          <a:pt x="90" y="175"/>
                          <a:pt x="153" y="175"/>
                          <a:pt x="183" y="175"/>
                        </a:cubicBezTo>
                        <a:cubicBezTo>
                          <a:pt x="184" y="175"/>
                          <a:pt x="185" y="175"/>
                          <a:pt x="185" y="175"/>
                        </a:cubicBezTo>
                        <a:cubicBezTo>
                          <a:pt x="188" y="175"/>
                          <a:pt x="188" y="175"/>
                          <a:pt x="188" y="175"/>
                        </a:cubicBezTo>
                        <a:cubicBezTo>
                          <a:pt x="190" y="175"/>
                          <a:pt x="194" y="175"/>
                          <a:pt x="197" y="175"/>
                        </a:cubicBezTo>
                        <a:cubicBezTo>
                          <a:pt x="216" y="175"/>
                          <a:pt x="216" y="175"/>
                          <a:pt x="216" y="175"/>
                        </a:cubicBezTo>
                        <a:cubicBezTo>
                          <a:pt x="244" y="175"/>
                          <a:pt x="266" y="153"/>
                          <a:pt x="266" y="126"/>
                        </a:cubicBezTo>
                        <a:cubicBezTo>
                          <a:pt x="266" y="101"/>
                          <a:pt x="247" y="81"/>
                          <a:pt x="223" y="77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485" name="Group 484"/>
              <p:cNvGrpSpPr/>
              <p:nvPr/>
            </p:nvGrpSpPr>
            <p:grpSpPr>
              <a:xfrm>
                <a:off x="10017034" y="8017582"/>
                <a:ext cx="1025875" cy="1001688"/>
                <a:chOff x="10279856" y="2776122"/>
                <a:chExt cx="841531" cy="821690"/>
              </a:xfrm>
            </p:grpSpPr>
            <p:sp>
              <p:nvSpPr>
                <p:cNvPr id="517" name="Rectangle 516"/>
                <p:cNvSpPr/>
                <p:nvPr/>
              </p:nvSpPr>
              <p:spPr>
                <a:xfrm>
                  <a:off x="10279856" y="2776122"/>
                  <a:ext cx="841531" cy="821690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518" name="Group 517"/>
                <p:cNvGrpSpPr/>
                <p:nvPr/>
              </p:nvGrpSpPr>
              <p:grpSpPr>
                <a:xfrm>
                  <a:off x="10408537" y="2871654"/>
                  <a:ext cx="548040" cy="630626"/>
                  <a:chOff x="7085032" y="5479932"/>
                  <a:chExt cx="661604" cy="741921"/>
                </a:xfrm>
              </p:grpSpPr>
              <p:sp>
                <p:nvSpPr>
                  <p:cNvPr id="519" name="Rectangle 696"/>
                  <p:cNvSpPr>
                    <a:spLocks noChangeArrowheads="1"/>
                  </p:cNvSpPr>
                  <p:nvPr/>
                </p:nvSpPr>
                <p:spPr bwMode="auto">
                  <a:xfrm>
                    <a:off x="7583494" y="5626007"/>
                    <a:ext cx="98889" cy="59233"/>
                  </a:xfrm>
                  <a:prstGeom prst="rect">
                    <a:avLst/>
                  </a:pr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0" name="Freeform 697"/>
                  <p:cNvSpPr>
                    <a:spLocks/>
                  </p:cNvSpPr>
                  <p:nvPr/>
                </p:nvSpPr>
                <p:spPr bwMode="auto">
                  <a:xfrm>
                    <a:off x="7572451" y="5567778"/>
                    <a:ext cx="119470" cy="26103"/>
                  </a:xfrm>
                  <a:custGeom>
                    <a:avLst/>
                    <a:gdLst>
                      <a:gd name="T0" fmla="*/ 97 w 97"/>
                      <a:gd name="T1" fmla="*/ 16 h 21"/>
                      <a:gd name="T2" fmla="*/ 92 w 97"/>
                      <a:gd name="T3" fmla="*/ 21 h 21"/>
                      <a:gd name="T4" fmla="*/ 5 w 97"/>
                      <a:gd name="T5" fmla="*/ 21 h 21"/>
                      <a:gd name="T6" fmla="*/ 0 w 97"/>
                      <a:gd name="T7" fmla="*/ 16 h 21"/>
                      <a:gd name="T8" fmla="*/ 0 w 97"/>
                      <a:gd name="T9" fmla="*/ 5 h 21"/>
                      <a:gd name="T10" fmla="*/ 5 w 97"/>
                      <a:gd name="T11" fmla="*/ 0 h 21"/>
                      <a:gd name="T12" fmla="*/ 92 w 97"/>
                      <a:gd name="T13" fmla="*/ 0 h 21"/>
                      <a:gd name="T14" fmla="*/ 97 w 97"/>
                      <a:gd name="T15" fmla="*/ 5 h 21"/>
                      <a:gd name="T16" fmla="*/ 97 w 97"/>
                      <a:gd name="T17" fmla="*/ 16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7" h="21">
                        <a:moveTo>
                          <a:pt x="97" y="16"/>
                        </a:moveTo>
                        <a:cubicBezTo>
                          <a:pt x="97" y="18"/>
                          <a:pt x="95" y="21"/>
                          <a:pt x="92" y="21"/>
                        </a:cubicBezTo>
                        <a:cubicBezTo>
                          <a:pt x="5" y="21"/>
                          <a:pt x="5" y="21"/>
                          <a:pt x="5" y="21"/>
                        </a:cubicBezTo>
                        <a:cubicBezTo>
                          <a:pt x="2" y="21"/>
                          <a:pt x="0" y="18"/>
                          <a:pt x="0" y="16"/>
                        </a:cubicBezTo>
                        <a:cubicBezTo>
                          <a:pt x="0" y="5"/>
                          <a:pt x="0" y="5"/>
                          <a:pt x="0" y="5"/>
                        </a:cubicBezTo>
                        <a:cubicBezTo>
                          <a:pt x="0" y="2"/>
                          <a:pt x="2" y="0"/>
                          <a:pt x="5" y="0"/>
                        </a:cubicBezTo>
                        <a:cubicBezTo>
                          <a:pt x="92" y="0"/>
                          <a:pt x="92" y="0"/>
                          <a:pt x="92" y="0"/>
                        </a:cubicBezTo>
                        <a:cubicBezTo>
                          <a:pt x="95" y="0"/>
                          <a:pt x="97" y="2"/>
                          <a:pt x="97" y="5"/>
                        </a:cubicBezTo>
                        <a:lnTo>
                          <a:pt x="97" y="16"/>
                        </a:lnTo>
                        <a:close/>
                      </a:path>
                    </a:pathLst>
                  </a:custGeom>
                  <a:solidFill>
                    <a:srgbClr val="C69B7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1" name="Rectangle 698"/>
                  <p:cNvSpPr>
                    <a:spLocks noChangeArrowheads="1"/>
                  </p:cNvSpPr>
                  <p:nvPr/>
                </p:nvSpPr>
                <p:spPr bwMode="auto">
                  <a:xfrm>
                    <a:off x="7570945" y="5661647"/>
                    <a:ext cx="120976" cy="53209"/>
                  </a:xfrm>
                  <a:prstGeom prst="rect">
                    <a:avLst/>
                  </a:prstGeom>
                  <a:solidFill>
                    <a:srgbClr val="E2BE9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2" name="Rectangle 699"/>
                  <p:cNvSpPr>
                    <a:spLocks noChangeArrowheads="1"/>
                  </p:cNvSpPr>
                  <p:nvPr/>
                </p:nvSpPr>
                <p:spPr bwMode="auto">
                  <a:xfrm>
                    <a:off x="7565925" y="5899082"/>
                    <a:ext cx="132522" cy="43672"/>
                  </a:xfrm>
                  <a:prstGeom prst="rect">
                    <a:avLst/>
                  </a:prstGeom>
                  <a:solidFill>
                    <a:srgbClr val="213C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3" name="Rectangle 700"/>
                  <p:cNvSpPr>
                    <a:spLocks noChangeArrowheads="1"/>
                  </p:cNvSpPr>
                  <p:nvPr/>
                </p:nvSpPr>
                <p:spPr bwMode="auto">
                  <a:xfrm>
                    <a:off x="7565925" y="5899082"/>
                    <a:ext cx="34637" cy="286127"/>
                  </a:xfrm>
                  <a:prstGeom prst="rect">
                    <a:avLst/>
                  </a:prstGeom>
                  <a:solidFill>
                    <a:srgbClr val="213C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4" name="Freeform 701"/>
                  <p:cNvSpPr>
                    <a:spLocks/>
                  </p:cNvSpPr>
                  <p:nvPr/>
                </p:nvSpPr>
                <p:spPr bwMode="auto">
                  <a:xfrm>
                    <a:off x="7521751" y="6181193"/>
                    <a:ext cx="78810" cy="40660"/>
                  </a:xfrm>
                  <a:custGeom>
                    <a:avLst/>
                    <a:gdLst>
                      <a:gd name="T0" fmla="*/ 36 w 64"/>
                      <a:gd name="T1" fmla="*/ 0 h 33"/>
                      <a:gd name="T2" fmla="*/ 0 w 64"/>
                      <a:gd name="T3" fmla="*/ 33 h 33"/>
                      <a:gd name="T4" fmla="*/ 36 w 64"/>
                      <a:gd name="T5" fmla="*/ 33 h 33"/>
                      <a:gd name="T6" fmla="*/ 64 w 64"/>
                      <a:gd name="T7" fmla="*/ 33 h 33"/>
                      <a:gd name="T8" fmla="*/ 64 w 64"/>
                      <a:gd name="T9" fmla="*/ 0 h 33"/>
                      <a:gd name="T10" fmla="*/ 36 w 64"/>
                      <a:gd name="T11" fmla="*/ 0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64" h="33">
                        <a:moveTo>
                          <a:pt x="36" y="0"/>
                        </a:moveTo>
                        <a:cubicBezTo>
                          <a:pt x="17" y="0"/>
                          <a:pt x="1" y="14"/>
                          <a:pt x="0" y="33"/>
                        </a:cubicBezTo>
                        <a:cubicBezTo>
                          <a:pt x="36" y="33"/>
                          <a:pt x="36" y="33"/>
                          <a:pt x="36" y="33"/>
                        </a:cubicBezTo>
                        <a:cubicBezTo>
                          <a:pt x="64" y="33"/>
                          <a:pt x="64" y="33"/>
                          <a:pt x="64" y="33"/>
                        </a:cubicBezTo>
                        <a:cubicBezTo>
                          <a:pt x="64" y="0"/>
                          <a:pt x="64" y="0"/>
                          <a:pt x="64" y="0"/>
                        </a:cubicBezTo>
                        <a:lnTo>
                          <a:pt x="36" y="0"/>
                        </a:lnTo>
                        <a:close/>
                      </a:path>
                    </a:pathLst>
                  </a:custGeom>
                  <a:solidFill>
                    <a:srgbClr val="26272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5" name="Rectangle 702"/>
                  <p:cNvSpPr>
                    <a:spLocks noChangeArrowheads="1"/>
                  </p:cNvSpPr>
                  <p:nvPr/>
                </p:nvSpPr>
                <p:spPr bwMode="auto">
                  <a:xfrm>
                    <a:off x="7663810" y="5899082"/>
                    <a:ext cx="34637" cy="286127"/>
                  </a:xfrm>
                  <a:prstGeom prst="rect">
                    <a:avLst/>
                  </a:prstGeom>
                  <a:solidFill>
                    <a:srgbClr val="213C4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6" name="Freeform 703"/>
                  <p:cNvSpPr>
                    <a:spLocks/>
                  </p:cNvSpPr>
                  <p:nvPr/>
                </p:nvSpPr>
                <p:spPr bwMode="auto">
                  <a:xfrm>
                    <a:off x="7619135" y="6181193"/>
                    <a:ext cx="79312" cy="40660"/>
                  </a:xfrm>
                  <a:custGeom>
                    <a:avLst/>
                    <a:gdLst>
                      <a:gd name="T0" fmla="*/ 36 w 64"/>
                      <a:gd name="T1" fmla="*/ 0 h 33"/>
                      <a:gd name="T2" fmla="*/ 0 w 64"/>
                      <a:gd name="T3" fmla="*/ 33 h 33"/>
                      <a:gd name="T4" fmla="*/ 36 w 64"/>
                      <a:gd name="T5" fmla="*/ 33 h 33"/>
                      <a:gd name="T6" fmla="*/ 64 w 64"/>
                      <a:gd name="T7" fmla="*/ 33 h 33"/>
                      <a:gd name="T8" fmla="*/ 64 w 64"/>
                      <a:gd name="T9" fmla="*/ 0 h 33"/>
                      <a:gd name="T10" fmla="*/ 36 w 64"/>
                      <a:gd name="T11" fmla="*/ 0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64" h="33">
                        <a:moveTo>
                          <a:pt x="36" y="0"/>
                        </a:moveTo>
                        <a:cubicBezTo>
                          <a:pt x="17" y="0"/>
                          <a:pt x="2" y="14"/>
                          <a:pt x="0" y="33"/>
                        </a:cubicBezTo>
                        <a:cubicBezTo>
                          <a:pt x="36" y="33"/>
                          <a:pt x="36" y="33"/>
                          <a:pt x="36" y="33"/>
                        </a:cubicBezTo>
                        <a:cubicBezTo>
                          <a:pt x="64" y="33"/>
                          <a:pt x="64" y="33"/>
                          <a:pt x="64" y="33"/>
                        </a:cubicBezTo>
                        <a:cubicBezTo>
                          <a:pt x="64" y="0"/>
                          <a:pt x="64" y="0"/>
                          <a:pt x="64" y="0"/>
                        </a:cubicBezTo>
                        <a:lnTo>
                          <a:pt x="36" y="0"/>
                        </a:lnTo>
                        <a:close/>
                      </a:path>
                    </a:pathLst>
                  </a:custGeom>
                  <a:solidFill>
                    <a:srgbClr val="26272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7" name="Rectangle 704"/>
                  <p:cNvSpPr>
                    <a:spLocks noChangeArrowheads="1"/>
                  </p:cNvSpPr>
                  <p:nvPr/>
                </p:nvSpPr>
                <p:spPr bwMode="auto">
                  <a:xfrm>
                    <a:off x="7704471" y="5750999"/>
                    <a:ext cx="36142" cy="211332"/>
                  </a:xfrm>
                  <a:prstGeom prst="rect">
                    <a:avLst/>
                  </a:prstGeom>
                  <a:solidFill>
                    <a:srgbClr val="E2BE9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8" name="Freeform 705"/>
                  <p:cNvSpPr>
                    <a:spLocks/>
                  </p:cNvSpPr>
                  <p:nvPr/>
                </p:nvSpPr>
                <p:spPr bwMode="auto">
                  <a:xfrm>
                    <a:off x="7704471" y="5926691"/>
                    <a:ext cx="36142" cy="71281"/>
                  </a:xfrm>
                  <a:custGeom>
                    <a:avLst/>
                    <a:gdLst>
                      <a:gd name="T0" fmla="*/ 0 w 29"/>
                      <a:gd name="T1" fmla="*/ 0 h 58"/>
                      <a:gd name="T2" fmla="*/ 0 w 29"/>
                      <a:gd name="T3" fmla="*/ 58 h 58"/>
                      <a:gd name="T4" fmla="*/ 29 w 29"/>
                      <a:gd name="T5" fmla="*/ 29 h 58"/>
                      <a:gd name="T6" fmla="*/ 0 w 29"/>
                      <a:gd name="T7" fmla="*/ 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9" h="58">
                        <a:moveTo>
                          <a:pt x="0" y="0"/>
                        </a:moveTo>
                        <a:cubicBezTo>
                          <a:pt x="0" y="58"/>
                          <a:pt x="0" y="58"/>
                          <a:pt x="0" y="58"/>
                        </a:cubicBezTo>
                        <a:cubicBezTo>
                          <a:pt x="16" y="58"/>
                          <a:pt x="29" y="45"/>
                          <a:pt x="29" y="29"/>
                        </a:cubicBezTo>
                        <a:cubicBezTo>
                          <a:pt x="29" y="13"/>
                          <a:pt x="16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E2BE9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9" name="Rectangle 706"/>
                  <p:cNvSpPr>
                    <a:spLocks noChangeArrowheads="1"/>
                  </p:cNvSpPr>
                  <p:nvPr/>
                </p:nvSpPr>
                <p:spPr bwMode="auto">
                  <a:xfrm>
                    <a:off x="7523759" y="5750999"/>
                    <a:ext cx="36142" cy="211332"/>
                  </a:xfrm>
                  <a:prstGeom prst="rect">
                    <a:avLst/>
                  </a:prstGeom>
                  <a:solidFill>
                    <a:srgbClr val="E2BE9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0" name="Freeform 707"/>
                  <p:cNvSpPr>
                    <a:spLocks/>
                  </p:cNvSpPr>
                  <p:nvPr/>
                </p:nvSpPr>
                <p:spPr bwMode="auto">
                  <a:xfrm>
                    <a:off x="7523759" y="5926691"/>
                    <a:ext cx="36142" cy="71281"/>
                  </a:xfrm>
                  <a:custGeom>
                    <a:avLst/>
                    <a:gdLst>
                      <a:gd name="T0" fmla="*/ 29 w 29"/>
                      <a:gd name="T1" fmla="*/ 0 h 58"/>
                      <a:gd name="T2" fmla="*/ 29 w 29"/>
                      <a:gd name="T3" fmla="*/ 58 h 58"/>
                      <a:gd name="T4" fmla="*/ 0 w 29"/>
                      <a:gd name="T5" fmla="*/ 29 h 58"/>
                      <a:gd name="T6" fmla="*/ 29 w 29"/>
                      <a:gd name="T7" fmla="*/ 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9" h="58">
                        <a:moveTo>
                          <a:pt x="29" y="0"/>
                        </a:moveTo>
                        <a:cubicBezTo>
                          <a:pt x="29" y="58"/>
                          <a:pt x="29" y="58"/>
                          <a:pt x="29" y="58"/>
                        </a:cubicBezTo>
                        <a:cubicBezTo>
                          <a:pt x="13" y="58"/>
                          <a:pt x="0" y="45"/>
                          <a:pt x="0" y="29"/>
                        </a:cubicBezTo>
                        <a:cubicBezTo>
                          <a:pt x="0" y="13"/>
                          <a:pt x="13" y="0"/>
                          <a:pt x="29" y="0"/>
                        </a:cubicBezTo>
                        <a:close/>
                      </a:path>
                    </a:pathLst>
                  </a:custGeom>
                  <a:solidFill>
                    <a:srgbClr val="E2BE9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1" name="Freeform 708"/>
                  <p:cNvSpPr>
                    <a:spLocks/>
                  </p:cNvSpPr>
                  <p:nvPr/>
                </p:nvSpPr>
                <p:spPr bwMode="auto">
                  <a:xfrm>
                    <a:off x="7610601" y="5613458"/>
                    <a:ext cx="42166" cy="69273"/>
                  </a:xfrm>
                  <a:custGeom>
                    <a:avLst/>
                    <a:gdLst>
                      <a:gd name="T0" fmla="*/ 42 w 84"/>
                      <a:gd name="T1" fmla="*/ 138 h 138"/>
                      <a:gd name="T2" fmla="*/ 0 w 84"/>
                      <a:gd name="T3" fmla="*/ 96 h 138"/>
                      <a:gd name="T4" fmla="*/ 0 w 84"/>
                      <a:gd name="T5" fmla="*/ 0 h 138"/>
                      <a:gd name="T6" fmla="*/ 84 w 84"/>
                      <a:gd name="T7" fmla="*/ 0 h 138"/>
                      <a:gd name="T8" fmla="*/ 84 w 84"/>
                      <a:gd name="T9" fmla="*/ 96 h 138"/>
                      <a:gd name="T10" fmla="*/ 42 w 84"/>
                      <a:gd name="T11" fmla="*/ 138 h 1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84" h="138">
                        <a:moveTo>
                          <a:pt x="42" y="138"/>
                        </a:moveTo>
                        <a:lnTo>
                          <a:pt x="0" y="96"/>
                        </a:lnTo>
                        <a:lnTo>
                          <a:pt x="0" y="0"/>
                        </a:lnTo>
                        <a:lnTo>
                          <a:pt x="84" y="0"/>
                        </a:lnTo>
                        <a:lnTo>
                          <a:pt x="84" y="96"/>
                        </a:lnTo>
                        <a:lnTo>
                          <a:pt x="42" y="138"/>
                        </a:lnTo>
                        <a:close/>
                      </a:path>
                    </a:pathLst>
                  </a:custGeom>
                  <a:solidFill>
                    <a:srgbClr val="E2BE9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2" name="Freeform 709"/>
                  <p:cNvSpPr>
                    <a:spLocks/>
                  </p:cNvSpPr>
                  <p:nvPr/>
                </p:nvSpPr>
                <p:spPr bwMode="auto">
                  <a:xfrm>
                    <a:off x="7610601" y="5613458"/>
                    <a:ext cx="42166" cy="36142"/>
                  </a:xfrm>
                  <a:custGeom>
                    <a:avLst/>
                    <a:gdLst>
                      <a:gd name="T0" fmla="*/ 0 w 34"/>
                      <a:gd name="T1" fmla="*/ 27 h 29"/>
                      <a:gd name="T2" fmla="*/ 17 w 34"/>
                      <a:gd name="T3" fmla="*/ 29 h 29"/>
                      <a:gd name="T4" fmla="*/ 34 w 34"/>
                      <a:gd name="T5" fmla="*/ 27 h 29"/>
                      <a:gd name="T6" fmla="*/ 34 w 34"/>
                      <a:gd name="T7" fmla="*/ 0 h 29"/>
                      <a:gd name="T8" fmla="*/ 0 w 34"/>
                      <a:gd name="T9" fmla="*/ 0 h 29"/>
                      <a:gd name="T10" fmla="*/ 0 w 34"/>
                      <a:gd name="T11" fmla="*/ 27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4" h="29">
                        <a:moveTo>
                          <a:pt x="0" y="27"/>
                        </a:moveTo>
                        <a:cubicBezTo>
                          <a:pt x="6" y="28"/>
                          <a:pt x="11" y="29"/>
                          <a:pt x="17" y="29"/>
                        </a:cubicBezTo>
                        <a:cubicBezTo>
                          <a:pt x="23" y="29"/>
                          <a:pt x="29" y="28"/>
                          <a:pt x="34" y="27"/>
                        </a:cubicBezTo>
                        <a:cubicBezTo>
                          <a:pt x="34" y="0"/>
                          <a:pt x="34" y="0"/>
                          <a:pt x="34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lnTo>
                          <a:pt x="0" y="27"/>
                        </a:lnTo>
                        <a:close/>
                      </a:path>
                    </a:pathLst>
                  </a:custGeom>
                  <a:solidFill>
                    <a:srgbClr val="C69B7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3" name="Freeform 710"/>
                  <p:cNvSpPr>
                    <a:spLocks/>
                  </p:cNvSpPr>
                  <p:nvPr/>
                </p:nvSpPr>
                <p:spPr bwMode="auto">
                  <a:xfrm>
                    <a:off x="7581988" y="5501015"/>
                    <a:ext cx="100395" cy="67767"/>
                  </a:xfrm>
                  <a:custGeom>
                    <a:avLst/>
                    <a:gdLst>
                      <a:gd name="T0" fmla="*/ 40 w 81"/>
                      <a:gd name="T1" fmla="*/ 0 h 55"/>
                      <a:gd name="T2" fmla="*/ 0 w 81"/>
                      <a:gd name="T3" fmla="*/ 40 h 55"/>
                      <a:gd name="T4" fmla="*/ 0 w 81"/>
                      <a:gd name="T5" fmla="*/ 55 h 55"/>
                      <a:gd name="T6" fmla="*/ 81 w 81"/>
                      <a:gd name="T7" fmla="*/ 55 h 55"/>
                      <a:gd name="T8" fmla="*/ 81 w 81"/>
                      <a:gd name="T9" fmla="*/ 40 h 55"/>
                      <a:gd name="T10" fmla="*/ 40 w 81"/>
                      <a:gd name="T11" fmla="*/ 0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81" h="55">
                        <a:moveTo>
                          <a:pt x="40" y="0"/>
                        </a:moveTo>
                        <a:cubicBezTo>
                          <a:pt x="18" y="0"/>
                          <a:pt x="0" y="18"/>
                          <a:pt x="0" y="40"/>
                        </a:cubicBezTo>
                        <a:cubicBezTo>
                          <a:pt x="0" y="55"/>
                          <a:pt x="0" y="55"/>
                          <a:pt x="0" y="55"/>
                        </a:cubicBezTo>
                        <a:cubicBezTo>
                          <a:pt x="81" y="55"/>
                          <a:pt x="81" y="55"/>
                          <a:pt x="81" y="55"/>
                        </a:cubicBezTo>
                        <a:cubicBezTo>
                          <a:pt x="81" y="40"/>
                          <a:pt x="81" y="40"/>
                          <a:pt x="81" y="40"/>
                        </a:cubicBezTo>
                        <a:cubicBezTo>
                          <a:pt x="81" y="18"/>
                          <a:pt x="63" y="0"/>
                          <a:pt x="40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4" name="Freeform 711"/>
                  <p:cNvSpPr>
                    <a:spLocks/>
                  </p:cNvSpPr>
                  <p:nvPr/>
                </p:nvSpPr>
                <p:spPr bwMode="auto">
                  <a:xfrm>
                    <a:off x="7583494" y="5548201"/>
                    <a:ext cx="98889" cy="93870"/>
                  </a:xfrm>
                  <a:custGeom>
                    <a:avLst/>
                    <a:gdLst>
                      <a:gd name="T0" fmla="*/ 0 w 80"/>
                      <a:gd name="T1" fmla="*/ 0 h 76"/>
                      <a:gd name="T2" fmla="*/ 0 w 80"/>
                      <a:gd name="T3" fmla="*/ 63 h 76"/>
                      <a:gd name="T4" fmla="*/ 0 w 80"/>
                      <a:gd name="T5" fmla="*/ 63 h 76"/>
                      <a:gd name="T6" fmla="*/ 39 w 80"/>
                      <a:gd name="T7" fmla="*/ 76 h 76"/>
                      <a:gd name="T8" fmla="*/ 79 w 80"/>
                      <a:gd name="T9" fmla="*/ 63 h 76"/>
                      <a:gd name="T10" fmla="*/ 80 w 80"/>
                      <a:gd name="T11" fmla="*/ 63 h 76"/>
                      <a:gd name="T12" fmla="*/ 80 w 80"/>
                      <a:gd name="T13" fmla="*/ 0 h 76"/>
                      <a:gd name="T14" fmla="*/ 0 w 80"/>
                      <a:gd name="T15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76">
                        <a:moveTo>
                          <a:pt x="0" y="0"/>
                        </a:moveTo>
                        <a:cubicBezTo>
                          <a:pt x="0" y="63"/>
                          <a:pt x="0" y="63"/>
                          <a:pt x="0" y="63"/>
                        </a:cubicBezTo>
                        <a:cubicBezTo>
                          <a:pt x="0" y="63"/>
                          <a:pt x="0" y="63"/>
                          <a:pt x="0" y="63"/>
                        </a:cubicBezTo>
                        <a:cubicBezTo>
                          <a:pt x="11" y="71"/>
                          <a:pt x="24" y="76"/>
                          <a:pt x="39" y="76"/>
                        </a:cubicBezTo>
                        <a:cubicBezTo>
                          <a:pt x="54" y="76"/>
                          <a:pt x="68" y="71"/>
                          <a:pt x="79" y="63"/>
                        </a:cubicBezTo>
                        <a:cubicBezTo>
                          <a:pt x="80" y="63"/>
                          <a:pt x="80" y="63"/>
                          <a:pt x="80" y="63"/>
                        </a:cubicBezTo>
                        <a:cubicBezTo>
                          <a:pt x="80" y="0"/>
                          <a:pt x="80" y="0"/>
                          <a:pt x="8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2BE9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5" name="Freeform 712"/>
                  <p:cNvSpPr>
                    <a:spLocks/>
                  </p:cNvSpPr>
                  <p:nvPr/>
                </p:nvSpPr>
                <p:spPr bwMode="auto">
                  <a:xfrm>
                    <a:off x="7583494" y="5501015"/>
                    <a:ext cx="69273" cy="74292"/>
                  </a:xfrm>
                  <a:custGeom>
                    <a:avLst/>
                    <a:gdLst>
                      <a:gd name="T0" fmla="*/ 56 w 56"/>
                      <a:gd name="T1" fmla="*/ 4 h 60"/>
                      <a:gd name="T2" fmla="*/ 40 w 56"/>
                      <a:gd name="T3" fmla="*/ 0 h 60"/>
                      <a:gd name="T4" fmla="*/ 0 w 56"/>
                      <a:gd name="T5" fmla="*/ 40 h 60"/>
                      <a:gd name="T6" fmla="*/ 0 w 56"/>
                      <a:gd name="T7" fmla="*/ 60 h 60"/>
                      <a:gd name="T8" fmla="*/ 56 w 56"/>
                      <a:gd name="T9" fmla="*/ 4 h 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6" h="60">
                        <a:moveTo>
                          <a:pt x="56" y="4"/>
                        </a:moveTo>
                        <a:cubicBezTo>
                          <a:pt x="51" y="2"/>
                          <a:pt x="46" y="0"/>
                          <a:pt x="40" y="0"/>
                        </a:cubicBezTo>
                        <a:cubicBezTo>
                          <a:pt x="18" y="0"/>
                          <a:pt x="0" y="18"/>
                          <a:pt x="0" y="40"/>
                        </a:cubicBezTo>
                        <a:cubicBezTo>
                          <a:pt x="0" y="60"/>
                          <a:pt x="0" y="60"/>
                          <a:pt x="0" y="60"/>
                        </a:cubicBezTo>
                        <a:cubicBezTo>
                          <a:pt x="29" y="57"/>
                          <a:pt x="53" y="33"/>
                          <a:pt x="56" y="4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6" name="Freeform 713"/>
                  <p:cNvSpPr>
                    <a:spLocks/>
                  </p:cNvSpPr>
                  <p:nvPr/>
                </p:nvSpPr>
                <p:spPr bwMode="auto">
                  <a:xfrm>
                    <a:off x="7517735" y="5661647"/>
                    <a:ext cx="228901" cy="265043"/>
                  </a:xfrm>
                  <a:custGeom>
                    <a:avLst/>
                    <a:gdLst>
                      <a:gd name="T0" fmla="*/ 185 w 185"/>
                      <a:gd name="T1" fmla="*/ 72 h 214"/>
                      <a:gd name="T2" fmla="*/ 185 w 185"/>
                      <a:gd name="T3" fmla="*/ 39 h 214"/>
                      <a:gd name="T4" fmla="*/ 146 w 185"/>
                      <a:gd name="T5" fmla="*/ 0 h 214"/>
                      <a:gd name="T6" fmla="*/ 142 w 185"/>
                      <a:gd name="T7" fmla="*/ 0 h 214"/>
                      <a:gd name="T8" fmla="*/ 92 w 185"/>
                      <a:gd name="T9" fmla="*/ 34 h 214"/>
                      <a:gd name="T10" fmla="*/ 43 w 185"/>
                      <a:gd name="T11" fmla="*/ 0 h 214"/>
                      <a:gd name="T12" fmla="*/ 39 w 185"/>
                      <a:gd name="T13" fmla="*/ 0 h 214"/>
                      <a:gd name="T14" fmla="*/ 0 w 185"/>
                      <a:gd name="T15" fmla="*/ 39 h 214"/>
                      <a:gd name="T16" fmla="*/ 0 w 185"/>
                      <a:gd name="T17" fmla="*/ 72 h 214"/>
                      <a:gd name="T18" fmla="*/ 0 w 185"/>
                      <a:gd name="T19" fmla="*/ 214 h 214"/>
                      <a:gd name="T20" fmla="*/ 34 w 185"/>
                      <a:gd name="T21" fmla="*/ 214 h 214"/>
                      <a:gd name="T22" fmla="*/ 34 w 185"/>
                      <a:gd name="T23" fmla="*/ 72 h 214"/>
                      <a:gd name="T24" fmla="*/ 39 w 185"/>
                      <a:gd name="T25" fmla="*/ 72 h 214"/>
                      <a:gd name="T26" fmla="*/ 39 w 185"/>
                      <a:gd name="T27" fmla="*/ 192 h 214"/>
                      <a:gd name="T28" fmla="*/ 146 w 185"/>
                      <a:gd name="T29" fmla="*/ 192 h 214"/>
                      <a:gd name="T30" fmla="*/ 146 w 185"/>
                      <a:gd name="T31" fmla="*/ 72 h 214"/>
                      <a:gd name="T32" fmla="*/ 151 w 185"/>
                      <a:gd name="T33" fmla="*/ 72 h 214"/>
                      <a:gd name="T34" fmla="*/ 151 w 185"/>
                      <a:gd name="T35" fmla="*/ 214 h 214"/>
                      <a:gd name="T36" fmla="*/ 185 w 185"/>
                      <a:gd name="T37" fmla="*/ 214 h 214"/>
                      <a:gd name="T38" fmla="*/ 185 w 185"/>
                      <a:gd name="T39" fmla="*/ 72 h 2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185" h="214">
                        <a:moveTo>
                          <a:pt x="185" y="72"/>
                        </a:moveTo>
                        <a:cubicBezTo>
                          <a:pt x="185" y="39"/>
                          <a:pt x="185" y="39"/>
                          <a:pt x="185" y="39"/>
                        </a:cubicBezTo>
                        <a:cubicBezTo>
                          <a:pt x="185" y="18"/>
                          <a:pt x="167" y="0"/>
                          <a:pt x="146" y="0"/>
                        </a:cubicBezTo>
                        <a:cubicBezTo>
                          <a:pt x="142" y="0"/>
                          <a:pt x="142" y="0"/>
                          <a:pt x="142" y="0"/>
                        </a:cubicBezTo>
                        <a:cubicBezTo>
                          <a:pt x="134" y="20"/>
                          <a:pt x="115" y="34"/>
                          <a:pt x="92" y="34"/>
                        </a:cubicBezTo>
                        <a:cubicBezTo>
                          <a:pt x="70" y="34"/>
                          <a:pt x="51" y="20"/>
                          <a:pt x="43" y="0"/>
                        </a:cubicBezTo>
                        <a:cubicBezTo>
                          <a:pt x="39" y="0"/>
                          <a:pt x="39" y="0"/>
                          <a:pt x="39" y="0"/>
                        </a:cubicBezTo>
                        <a:cubicBezTo>
                          <a:pt x="17" y="0"/>
                          <a:pt x="0" y="18"/>
                          <a:pt x="0" y="39"/>
                        </a:cubicBezTo>
                        <a:cubicBezTo>
                          <a:pt x="0" y="72"/>
                          <a:pt x="0" y="72"/>
                          <a:pt x="0" y="72"/>
                        </a:cubicBezTo>
                        <a:cubicBezTo>
                          <a:pt x="0" y="214"/>
                          <a:pt x="0" y="214"/>
                          <a:pt x="0" y="214"/>
                        </a:cubicBezTo>
                        <a:cubicBezTo>
                          <a:pt x="34" y="214"/>
                          <a:pt x="34" y="214"/>
                          <a:pt x="34" y="214"/>
                        </a:cubicBezTo>
                        <a:cubicBezTo>
                          <a:pt x="34" y="72"/>
                          <a:pt x="34" y="72"/>
                          <a:pt x="34" y="72"/>
                        </a:cubicBezTo>
                        <a:cubicBezTo>
                          <a:pt x="39" y="72"/>
                          <a:pt x="39" y="72"/>
                          <a:pt x="39" y="72"/>
                        </a:cubicBezTo>
                        <a:cubicBezTo>
                          <a:pt x="39" y="192"/>
                          <a:pt x="39" y="192"/>
                          <a:pt x="39" y="192"/>
                        </a:cubicBezTo>
                        <a:cubicBezTo>
                          <a:pt x="146" y="192"/>
                          <a:pt x="146" y="192"/>
                          <a:pt x="146" y="192"/>
                        </a:cubicBezTo>
                        <a:cubicBezTo>
                          <a:pt x="146" y="72"/>
                          <a:pt x="146" y="72"/>
                          <a:pt x="146" y="72"/>
                        </a:cubicBezTo>
                        <a:cubicBezTo>
                          <a:pt x="151" y="72"/>
                          <a:pt x="151" y="72"/>
                          <a:pt x="151" y="72"/>
                        </a:cubicBezTo>
                        <a:cubicBezTo>
                          <a:pt x="151" y="214"/>
                          <a:pt x="151" y="214"/>
                          <a:pt x="151" y="214"/>
                        </a:cubicBezTo>
                        <a:cubicBezTo>
                          <a:pt x="185" y="214"/>
                          <a:pt x="185" y="214"/>
                          <a:pt x="185" y="214"/>
                        </a:cubicBezTo>
                        <a:cubicBezTo>
                          <a:pt x="185" y="72"/>
                          <a:pt x="185" y="72"/>
                          <a:pt x="185" y="72"/>
                        </a:cubicBezTo>
                        <a:close/>
                      </a:path>
                    </a:pathLst>
                  </a:cu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7" name="Freeform 726"/>
                  <p:cNvSpPr>
                    <a:spLocks/>
                  </p:cNvSpPr>
                  <p:nvPr/>
                </p:nvSpPr>
                <p:spPr bwMode="auto">
                  <a:xfrm>
                    <a:off x="7569941" y="5594884"/>
                    <a:ext cx="17067" cy="16063"/>
                  </a:xfrm>
                  <a:custGeom>
                    <a:avLst/>
                    <a:gdLst>
                      <a:gd name="T0" fmla="*/ 17 w 34"/>
                      <a:gd name="T1" fmla="*/ 0 h 32"/>
                      <a:gd name="T2" fmla="*/ 22 w 34"/>
                      <a:gd name="T3" fmla="*/ 10 h 32"/>
                      <a:gd name="T4" fmla="*/ 34 w 34"/>
                      <a:gd name="T5" fmla="*/ 12 h 32"/>
                      <a:gd name="T6" fmla="*/ 27 w 34"/>
                      <a:gd name="T7" fmla="*/ 22 h 32"/>
                      <a:gd name="T8" fmla="*/ 27 w 34"/>
                      <a:gd name="T9" fmla="*/ 32 h 32"/>
                      <a:gd name="T10" fmla="*/ 17 w 34"/>
                      <a:gd name="T11" fmla="*/ 27 h 32"/>
                      <a:gd name="T12" fmla="*/ 7 w 34"/>
                      <a:gd name="T13" fmla="*/ 32 h 32"/>
                      <a:gd name="T14" fmla="*/ 7 w 34"/>
                      <a:gd name="T15" fmla="*/ 22 h 32"/>
                      <a:gd name="T16" fmla="*/ 0 w 34"/>
                      <a:gd name="T17" fmla="*/ 12 h 32"/>
                      <a:gd name="T18" fmla="*/ 12 w 34"/>
                      <a:gd name="T19" fmla="*/ 10 h 32"/>
                      <a:gd name="T20" fmla="*/ 17 w 34"/>
                      <a:gd name="T21" fmla="*/ 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4" h="32">
                        <a:moveTo>
                          <a:pt x="17" y="0"/>
                        </a:moveTo>
                        <a:lnTo>
                          <a:pt x="22" y="10"/>
                        </a:lnTo>
                        <a:lnTo>
                          <a:pt x="34" y="12"/>
                        </a:lnTo>
                        <a:lnTo>
                          <a:pt x="27" y="22"/>
                        </a:lnTo>
                        <a:lnTo>
                          <a:pt x="27" y="32"/>
                        </a:lnTo>
                        <a:lnTo>
                          <a:pt x="17" y="27"/>
                        </a:lnTo>
                        <a:lnTo>
                          <a:pt x="7" y="32"/>
                        </a:lnTo>
                        <a:lnTo>
                          <a:pt x="7" y="22"/>
                        </a:lnTo>
                        <a:lnTo>
                          <a:pt x="0" y="12"/>
                        </a:lnTo>
                        <a:lnTo>
                          <a:pt x="12" y="10"/>
                        </a:ln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FF8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8" name="Oval 727"/>
                  <p:cNvSpPr>
                    <a:spLocks noChangeArrowheads="1"/>
                  </p:cNvSpPr>
                  <p:nvPr/>
                </p:nvSpPr>
                <p:spPr bwMode="auto">
                  <a:xfrm>
                    <a:off x="7595542" y="5581331"/>
                    <a:ext cx="9036" cy="8534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9" name="Oval 728"/>
                  <p:cNvSpPr>
                    <a:spLocks noChangeArrowheads="1"/>
                  </p:cNvSpPr>
                  <p:nvPr/>
                </p:nvSpPr>
                <p:spPr bwMode="auto">
                  <a:xfrm>
                    <a:off x="7659795" y="5581331"/>
                    <a:ext cx="9036" cy="8534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0" name="Freeform 729"/>
                  <p:cNvSpPr>
                    <a:spLocks/>
                  </p:cNvSpPr>
                  <p:nvPr/>
                </p:nvSpPr>
                <p:spPr bwMode="auto">
                  <a:xfrm>
                    <a:off x="7624154" y="5602414"/>
                    <a:ext cx="15059" cy="5020"/>
                  </a:xfrm>
                  <a:custGeom>
                    <a:avLst/>
                    <a:gdLst>
                      <a:gd name="T0" fmla="*/ 0 w 12"/>
                      <a:gd name="T1" fmla="*/ 0 h 4"/>
                      <a:gd name="T2" fmla="*/ 6 w 12"/>
                      <a:gd name="T3" fmla="*/ 4 h 4"/>
                      <a:gd name="T4" fmla="*/ 12 w 12"/>
                      <a:gd name="T5" fmla="*/ 0 h 4"/>
                      <a:gd name="T6" fmla="*/ 0 w 12"/>
                      <a:gd name="T7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2" h="4">
                        <a:moveTo>
                          <a:pt x="0" y="0"/>
                        </a:moveTo>
                        <a:cubicBezTo>
                          <a:pt x="1" y="3"/>
                          <a:pt x="3" y="4"/>
                          <a:pt x="6" y="4"/>
                        </a:cubicBezTo>
                        <a:cubicBezTo>
                          <a:pt x="9" y="4"/>
                          <a:pt x="11" y="3"/>
                          <a:pt x="1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C69B7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1" name="Freeform 730"/>
                  <p:cNvSpPr>
                    <a:spLocks/>
                  </p:cNvSpPr>
                  <p:nvPr/>
                </p:nvSpPr>
                <p:spPr bwMode="auto">
                  <a:xfrm>
                    <a:off x="7616625" y="5615967"/>
                    <a:ext cx="29617" cy="6024"/>
                  </a:xfrm>
                  <a:custGeom>
                    <a:avLst/>
                    <a:gdLst>
                      <a:gd name="T0" fmla="*/ 0 w 24"/>
                      <a:gd name="T1" fmla="*/ 0 h 5"/>
                      <a:gd name="T2" fmla="*/ 12 w 24"/>
                      <a:gd name="T3" fmla="*/ 5 h 5"/>
                      <a:gd name="T4" fmla="*/ 24 w 24"/>
                      <a:gd name="T5" fmla="*/ 0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4" h="5">
                        <a:moveTo>
                          <a:pt x="0" y="0"/>
                        </a:moveTo>
                        <a:cubicBezTo>
                          <a:pt x="3" y="3"/>
                          <a:pt x="7" y="5"/>
                          <a:pt x="12" y="5"/>
                        </a:cubicBezTo>
                        <a:cubicBezTo>
                          <a:pt x="17" y="5"/>
                          <a:pt x="21" y="3"/>
                          <a:pt x="24" y="0"/>
                        </a:cubicBezTo>
                      </a:path>
                    </a:pathLst>
                  </a:custGeom>
                  <a:noFill/>
                  <a:ln w="14288" cap="rnd">
                    <a:solidFill>
                      <a:srgbClr val="DD590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2" name="Freeform 731"/>
                  <p:cNvSpPr>
                    <a:spLocks/>
                  </p:cNvSpPr>
                  <p:nvPr/>
                </p:nvSpPr>
                <p:spPr bwMode="auto">
                  <a:xfrm>
                    <a:off x="7139245" y="5551714"/>
                    <a:ext cx="121478" cy="24597"/>
                  </a:xfrm>
                  <a:custGeom>
                    <a:avLst/>
                    <a:gdLst>
                      <a:gd name="T0" fmla="*/ 0 w 98"/>
                      <a:gd name="T1" fmla="*/ 15 h 20"/>
                      <a:gd name="T2" fmla="*/ 5 w 98"/>
                      <a:gd name="T3" fmla="*/ 20 h 20"/>
                      <a:gd name="T4" fmla="*/ 93 w 98"/>
                      <a:gd name="T5" fmla="*/ 20 h 20"/>
                      <a:gd name="T6" fmla="*/ 98 w 98"/>
                      <a:gd name="T7" fmla="*/ 15 h 20"/>
                      <a:gd name="T8" fmla="*/ 98 w 98"/>
                      <a:gd name="T9" fmla="*/ 4 h 20"/>
                      <a:gd name="T10" fmla="*/ 93 w 98"/>
                      <a:gd name="T11" fmla="*/ 0 h 20"/>
                      <a:gd name="T12" fmla="*/ 5 w 98"/>
                      <a:gd name="T13" fmla="*/ 0 h 20"/>
                      <a:gd name="T14" fmla="*/ 0 w 98"/>
                      <a:gd name="T15" fmla="*/ 4 h 20"/>
                      <a:gd name="T16" fmla="*/ 0 w 98"/>
                      <a:gd name="T17" fmla="*/ 15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8" h="20">
                        <a:moveTo>
                          <a:pt x="0" y="15"/>
                        </a:moveTo>
                        <a:cubicBezTo>
                          <a:pt x="0" y="18"/>
                          <a:pt x="2" y="20"/>
                          <a:pt x="5" y="20"/>
                        </a:cubicBezTo>
                        <a:cubicBezTo>
                          <a:pt x="93" y="20"/>
                          <a:pt x="93" y="20"/>
                          <a:pt x="93" y="20"/>
                        </a:cubicBezTo>
                        <a:cubicBezTo>
                          <a:pt x="96" y="20"/>
                          <a:pt x="98" y="18"/>
                          <a:pt x="98" y="15"/>
                        </a:cubicBezTo>
                        <a:cubicBezTo>
                          <a:pt x="98" y="4"/>
                          <a:pt x="98" y="4"/>
                          <a:pt x="98" y="4"/>
                        </a:cubicBezTo>
                        <a:cubicBezTo>
                          <a:pt x="98" y="2"/>
                          <a:pt x="96" y="0"/>
                          <a:pt x="93" y="0"/>
                        </a:cubicBezTo>
                        <a:cubicBezTo>
                          <a:pt x="5" y="0"/>
                          <a:pt x="5" y="0"/>
                          <a:pt x="5" y="0"/>
                        </a:cubicBezTo>
                        <a:cubicBezTo>
                          <a:pt x="2" y="0"/>
                          <a:pt x="0" y="2"/>
                          <a:pt x="0" y="4"/>
                        </a:cubicBezTo>
                        <a:lnTo>
                          <a:pt x="0" y="15"/>
                        </a:lnTo>
                        <a:close/>
                      </a:path>
                    </a:pathLst>
                  </a:custGeom>
                  <a:solidFill>
                    <a:srgbClr val="4937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3" name="Freeform 732"/>
                  <p:cNvSpPr>
                    <a:spLocks/>
                  </p:cNvSpPr>
                  <p:nvPr/>
                </p:nvSpPr>
                <p:spPr bwMode="auto">
                  <a:xfrm>
                    <a:off x="7232111" y="6168644"/>
                    <a:ext cx="79312" cy="41162"/>
                  </a:xfrm>
                  <a:custGeom>
                    <a:avLst/>
                    <a:gdLst>
                      <a:gd name="T0" fmla="*/ 28 w 64"/>
                      <a:gd name="T1" fmla="*/ 0 h 33"/>
                      <a:gd name="T2" fmla="*/ 64 w 64"/>
                      <a:gd name="T3" fmla="*/ 33 h 33"/>
                      <a:gd name="T4" fmla="*/ 28 w 64"/>
                      <a:gd name="T5" fmla="*/ 33 h 33"/>
                      <a:gd name="T6" fmla="*/ 0 w 64"/>
                      <a:gd name="T7" fmla="*/ 33 h 33"/>
                      <a:gd name="T8" fmla="*/ 0 w 64"/>
                      <a:gd name="T9" fmla="*/ 0 h 33"/>
                      <a:gd name="T10" fmla="*/ 28 w 64"/>
                      <a:gd name="T11" fmla="*/ 0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64" h="33">
                        <a:moveTo>
                          <a:pt x="28" y="0"/>
                        </a:moveTo>
                        <a:cubicBezTo>
                          <a:pt x="47" y="0"/>
                          <a:pt x="63" y="14"/>
                          <a:pt x="64" y="33"/>
                        </a:cubicBezTo>
                        <a:cubicBezTo>
                          <a:pt x="28" y="33"/>
                          <a:pt x="28" y="33"/>
                          <a:pt x="28" y="33"/>
                        </a:cubicBezTo>
                        <a:cubicBezTo>
                          <a:pt x="0" y="33"/>
                          <a:pt x="0" y="33"/>
                          <a:pt x="0" y="33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lnTo>
                          <a:pt x="28" y="0"/>
                        </a:lnTo>
                        <a:close/>
                      </a:path>
                    </a:pathLst>
                  </a:custGeom>
                  <a:solidFill>
                    <a:srgbClr val="563F2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4" name="Freeform 733"/>
                  <p:cNvSpPr>
                    <a:spLocks/>
                  </p:cNvSpPr>
                  <p:nvPr/>
                </p:nvSpPr>
                <p:spPr bwMode="auto">
                  <a:xfrm>
                    <a:off x="7133222" y="5884525"/>
                    <a:ext cx="133526" cy="288134"/>
                  </a:xfrm>
                  <a:custGeom>
                    <a:avLst/>
                    <a:gdLst>
                      <a:gd name="T0" fmla="*/ 0 w 266"/>
                      <a:gd name="T1" fmla="*/ 0 h 574"/>
                      <a:gd name="T2" fmla="*/ 0 w 266"/>
                      <a:gd name="T3" fmla="*/ 0 h 574"/>
                      <a:gd name="T4" fmla="*/ 69 w 266"/>
                      <a:gd name="T5" fmla="*/ 0 h 574"/>
                      <a:gd name="T6" fmla="*/ 197 w 266"/>
                      <a:gd name="T7" fmla="*/ 0 h 574"/>
                      <a:gd name="T8" fmla="*/ 266 w 266"/>
                      <a:gd name="T9" fmla="*/ 0 h 574"/>
                      <a:gd name="T10" fmla="*/ 266 w 266"/>
                      <a:gd name="T11" fmla="*/ 86 h 574"/>
                      <a:gd name="T12" fmla="*/ 266 w 266"/>
                      <a:gd name="T13" fmla="*/ 574 h 574"/>
                      <a:gd name="T14" fmla="*/ 197 w 266"/>
                      <a:gd name="T15" fmla="*/ 574 h 574"/>
                      <a:gd name="T16" fmla="*/ 197 w 266"/>
                      <a:gd name="T17" fmla="*/ 86 h 574"/>
                      <a:gd name="T18" fmla="*/ 69 w 266"/>
                      <a:gd name="T19" fmla="*/ 86 h 574"/>
                      <a:gd name="T20" fmla="*/ 69 w 266"/>
                      <a:gd name="T21" fmla="*/ 574 h 574"/>
                      <a:gd name="T22" fmla="*/ 0 w 266"/>
                      <a:gd name="T23" fmla="*/ 574 h 574"/>
                      <a:gd name="T24" fmla="*/ 0 w 266"/>
                      <a:gd name="T25" fmla="*/ 86 h 574"/>
                      <a:gd name="T26" fmla="*/ 0 w 266"/>
                      <a:gd name="T27" fmla="*/ 86 h 574"/>
                      <a:gd name="T28" fmla="*/ 0 w 266"/>
                      <a:gd name="T29" fmla="*/ 0 h 5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266" h="574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69" y="0"/>
                        </a:lnTo>
                        <a:lnTo>
                          <a:pt x="197" y="0"/>
                        </a:lnTo>
                        <a:lnTo>
                          <a:pt x="266" y="0"/>
                        </a:lnTo>
                        <a:lnTo>
                          <a:pt x="266" y="86"/>
                        </a:lnTo>
                        <a:lnTo>
                          <a:pt x="266" y="574"/>
                        </a:lnTo>
                        <a:lnTo>
                          <a:pt x="197" y="574"/>
                        </a:lnTo>
                        <a:lnTo>
                          <a:pt x="197" y="86"/>
                        </a:lnTo>
                        <a:lnTo>
                          <a:pt x="69" y="86"/>
                        </a:lnTo>
                        <a:lnTo>
                          <a:pt x="69" y="574"/>
                        </a:lnTo>
                        <a:lnTo>
                          <a:pt x="0" y="574"/>
                        </a:lnTo>
                        <a:lnTo>
                          <a:pt x="0" y="86"/>
                        </a:lnTo>
                        <a:lnTo>
                          <a:pt x="0" y="8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188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5" name="Freeform 734"/>
                  <p:cNvSpPr>
                    <a:spLocks/>
                  </p:cNvSpPr>
                  <p:nvPr/>
                </p:nvSpPr>
                <p:spPr bwMode="auto">
                  <a:xfrm>
                    <a:off x="7133222" y="6168644"/>
                    <a:ext cx="79312" cy="41162"/>
                  </a:xfrm>
                  <a:custGeom>
                    <a:avLst/>
                    <a:gdLst>
                      <a:gd name="T0" fmla="*/ 28 w 64"/>
                      <a:gd name="T1" fmla="*/ 0 h 33"/>
                      <a:gd name="T2" fmla="*/ 64 w 64"/>
                      <a:gd name="T3" fmla="*/ 33 h 33"/>
                      <a:gd name="T4" fmla="*/ 28 w 64"/>
                      <a:gd name="T5" fmla="*/ 33 h 33"/>
                      <a:gd name="T6" fmla="*/ 0 w 64"/>
                      <a:gd name="T7" fmla="*/ 33 h 33"/>
                      <a:gd name="T8" fmla="*/ 0 w 64"/>
                      <a:gd name="T9" fmla="*/ 0 h 33"/>
                      <a:gd name="T10" fmla="*/ 28 w 64"/>
                      <a:gd name="T11" fmla="*/ 0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64" h="33">
                        <a:moveTo>
                          <a:pt x="28" y="0"/>
                        </a:moveTo>
                        <a:cubicBezTo>
                          <a:pt x="47" y="0"/>
                          <a:pt x="63" y="14"/>
                          <a:pt x="64" y="33"/>
                        </a:cubicBezTo>
                        <a:cubicBezTo>
                          <a:pt x="28" y="33"/>
                          <a:pt x="28" y="33"/>
                          <a:pt x="28" y="33"/>
                        </a:cubicBezTo>
                        <a:cubicBezTo>
                          <a:pt x="0" y="33"/>
                          <a:pt x="0" y="33"/>
                          <a:pt x="0" y="33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lnTo>
                          <a:pt x="28" y="0"/>
                        </a:lnTo>
                        <a:close/>
                      </a:path>
                    </a:pathLst>
                  </a:custGeom>
                  <a:solidFill>
                    <a:srgbClr val="563F2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6" name="Freeform 735"/>
                  <p:cNvSpPr>
                    <a:spLocks/>
                  </p:cNvSpPr>
                  <p:nvPr/>
                </p:nvSpPr>
                <p:spPr bwMode="auto">
                  <a:xfrm>
                    <a:off x="7085032" y="5645584"/>
                    <a:ext cx="229905" cy="238941"/>
                  </a:xfrm>
                  <a:custGeom>
                    <a:avLst/>
                    <a:gdLst>
                      <a:gd name="T0" fmla="*/ 39 w 186"/>
                      <a:gd name="T1" fmla="*/ 0 h 193"/>
                      <a:gd name="T2" fmla="*/ 147 w 186"/>
                      <a:gd name="T3" fmla="*/ 0 h 193"/>
                      <a:gd name="T4" fmla="*/ 186 w 186"/>
                      <a:gd name="T5" fmla="*/ 39 h 193"/>
                      <a:gd name="T6" fmla="*/ 186 w 186"/>
                      <a:gd name="T7" fmla="*/ 73 h 193"/>
                      <a:gd name="T8" fmla="*/ 147 w 186"/>
                      <a:gd name="T9" fmla="*/ 73 h 193"/>
                      <a:gd name="T10" fmla="*/ 147 w 186"/>
                      <a:gd name="T11" fmla="*/ 193 h 193"/>
                      <a:gd name="T12" fmla="*/ 39 w 186"/>
                      <a:gd name="T13" fmla="*/ 193 h 193"/>
                      <a:gd name="T14" fmla="*/ 39 w 186"/>
                      <a:gd name="T15" fmla="*/ 73 h 193"/>
                      <a:gd name="T16" fmla="*/ 0 w 186"/>
                      <a:gd name="T17" fmla="*/ 73 h 193"/>
                      <a:gd name="T18" fmla="*/ 0 w 186"/>
                      <a:gd name="T19" fmla="*/ 39 h 193"/>
                      <a:gd name="T20" fmla="*/ 39 w 186"/>
                      <a:gd name="T21" fmla="*/ 0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86" h="193">
                        <a:moveTo>
                          <a:pt x="39" y="0"/>
                        </a:moveTo>
                        <a:cubicBezTo>
                          <a:pt x="147" y="0"/>
                          <a:pt x="147" y="0"/>
                          <a:pt x="147" y="0"/>
                        </a:cubicBezTo>
                        <a:cubicBezTo>
                          <a:pt x="169" y="0"/>
                          <a:pt x="186" y="17"/>
                          <a:pt x="186" y="39"/>
                        </a:cubicBezTo>
                        <a:cubicBezTo>
                          <a:pt x="186" y="73"/>
                          <a:pt x="186" y="73"/>
                          <a:pt x="186" y="73"/>
                        </a:cubicBezTo>
                        <a:cubicBezTo>
                          <a:pt x="147" y="73"/>
                          <a:pt x="147" y="73"/>
                          <a:pt x="147" y="73"/>
                        </a:cubicBezTo>
                        <a:cubicBezTo>
                          <a:pt x="147" y="193"/>
                          <a:pt x="147" y="193"/>
                          <a:pt x="147" y="193"/>
                        </a:cubicBezTo>
                        <a:cubicBezTo>
                          <a:pt x="39" y="193"/>
                          <a:pt x="39" y="193"/>
                          <a:pt x="39" y="193"/>
                        </a:cubicBezTo>
                        <a:cubicBezTo>
                          <a:pt x="39" y="73"/>
                          <a:pt x="39" y="73"/>
                          <a:pt x="39" y="73"/>
                        </a:cubicBezTo>
                        <a:cubicBezTo>
                          <a:pt x="0" y="73"/>
                          <a:pt x="0" y="73"/>
                          <a:pt x="0" y="73"/>
                        </a:cubicBezTo>
                        <a:cubicBezTo>
                          <a:pt x="0" y="39"/>
                          <a:pt x="0" y="39"/>
                          <a:pt x="0" y="39"/>
                        </a:cubicBezTo>
                        <a:cubicBezTo>
                          <a:pt x="0" y="17"/>
                          <a:pt x="17" y="0"/>
                          <a:pt x="39" y="0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7" name="Freeform 736"/>
                  <p:cNvSpPr>
                    <a:spLocks/>
                  </p:cNvSpPr>
                  <p:nvPr/>
                </p:nvSpPr>
                <p:spPr bwMode="auto">
                  <a:xfrm>
                    <a:off x="7272771" y="5735940"/>
                    <a:ext cx="81822" cy="122482"/>
                  </a:xfrm>
                  <a:custGeom>
                    <a:avLst/>
                    <a:gdLst>
                      <a:gd name="T0" fmla="*/ 25 w 66"/>
                      <a:gd name="T1" fmla="*/ 99 h 99"/>
                      <a:gd name="T2" fmla="*/ 66 w 66"/>
                      <a:gd name="T3" fmla="*/ 99 h 99"/>
                      <a:gd name="T4" fmla="*/ 66 w 66"/>
                      <a:gd name="T5" fmla="*/ 70 h 99"/>
                      <a:gd name="T6" fmla="*/ 29 w 66"/>
                      <a:gd name="T7" fmla="*/ 70 h 99"/>
                      <a:gd name="T8" fmla="*/ 29 w 66"/>
                      <a:gd name="T9" fmla="*/ 0 h 99"/>
                      <a:gd name="T10" fmla="*/ 0 w 66"/>
                      <a:gd name="T11" fmla="*/ 0 h 99"/>
                      <a:gd name="T12" fmla="*/ 0 w 66"/>
                      <a:gd name="T13" fmla="*/ 74 h 99"/>
                      <a:gd name="T14" fmla="*/ 25 w 66"/>
                      <a:gd name="T15" fmla="*/ 99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6" h="99">
                        <a:moveTo>
                          <a:pt x="25" y="99"/>
                        </a:moveTo>
                        <a:cubicBezTo>
                          <a:pt x="66" y="99"/>
                          <a:pt x="66" y="99"/>
                          <a:pt x="66" y="99"/>
                        </a:cubicBezTo>
                        <a:cubicBezTo>
                          <a:pt x="66" y="70"/>
                          <a:pt x="66" y="70"/>
                          <a:pt x="66" y="70"/>
                        </a:cubicBezTo>
                        <a:cubicBezTo>
                          <a:pt x="29" y="70"/>
                          <a:pt x="29" y="70"/>
                          <a:pt x="29" y="70"/>
                        </a:cubicBezTo>
                        <a:cubicBezTo>
                          <a:pt x="29" y="0"/>
                          <a:pt x="29" y="0"/>
                          <a:pt x="29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74"/>
                          <a:pt x="0" y="74"/>
                          <a:pt x="0" y="74"/>
                        </a:cubicBezTo>
                        <a:cubicBezTo>
                          <a:pt x="0" y="88"/>
                          <a:pt x="11" y="99"/>
                          <a:pt x="25" y="99"/>
                        </a:cubicBezTo>
                        <a:close/>
                      </a:path>
                    </a:pathLst>
                  </a:custGeom>
                  <a:solidFill>
                    <a:srgbClr val="6D563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8" name="Rectangle 737"/>
                  <p:cNvSpPr>
                    <a:spLocks noChangeArrowheads="1"/>
                  </p:cNvSpPr>
                  <p:nvPr/>
                </p:nvSpPr>
                <p:spPr bwMode="auto">
                  <a:xfrm>
                    <a:off x="7091056" y="5735940"/>
                    <a:ext cx="36142" cy="212838"/>
                  </a:xfrm>
                  <a:prstGeom prst="rect">
                    <a:avLst/>
                  </a:prstGeom>
                  <a:solidFill>
                    <a:srgbClr val="6D563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9" name="Freeform 738"/>
                  <p:cNvSpPr>
                    <a:spLocks/>
                  </p:cNvSpPr>
                  <p:nvPr/>
                </p:nvSpPr>
                <p:spPr bwMode="auto">
                  <a:xfrm>
                    <a:off x="7090052" y="5912636"/>
                    <a:ext cx="37146" cy="71783"/>
                  </a:xfrm>
                  <a:custGeom>
                    <a:avLst/>
                    <a:gdLst>
                      <a:gd name="T0" fmla="*/ 30 w 30"/>
                      <a:gd name="T1" fmla="*/ 0 h 58"/>
                      <a:gd name="T2" fmla="*/ 30 w 30"/>
                      <a:gd name="T3" fmla="*/ 58 h 58"/>
                      <a:gd name="T4" fmla="*/ 0 w 30"/>
                      <a:gd name="T5" fmla="*/ 29 h 58"/>
                      <a:gd name="T6" fmla="*/ 30 w 30"/>
                      <a:gd name="T7" fmla="*/ 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0" h="58">
                        <a:moveTo>
                          <a:pt x="30" y="0"/>
                        </a:moveTo>
                        <a:cubicBezTo>
                          <a:pt x="30" y="58"/>
                          <a:pt x="30" y="58"/>
                          <a:pt x="30" y="58"/>
                        </a:cubicBezTo>
                        <a:cubicBezTo>
                          <a:pt x="14" y="58"/>
                          <a:pt x="0" y="45"/>
                          <a:pt x="0" y="29"/>
                        </a:cubicBezTo>
                        <a:cubicBezTo>
                          <a:pt x="0" y="13"/>
                          <a:pt x="14" y="0"/>
                          <a:pt x="30" y="0"/>
                        </a:cubicBezTo>
                        <a:close/>
                      </a:path>
                    </a:pathLst>
                  </a:custGeom>
                  <a:solidFill>
                    <a:srgbClr val="6D563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0" name="Freeform 739"/>
                  <p:cNvSpPr>
                    <a:spLocks/>
                  </p:cNvSpPr>
                  <p:nvPr/>
                </p:nvSpPr>
                <p:spPr bwMode="auto">
                  <a:xfrm>
                    <a:off x="7318451" y="5822782"/>
                    <a:ext cx="73289" cy="35640"/>
                  </a:xfrm>
                  <a:custGeom>
                    <a:avLst/>
                    <a:gdLst>
                      <a:gd name="T0" fmla="*/ 0 w 59"/>
                      <a:gd name="T1" fmla="*/ 0 h 29"/>
                      <a:gd name="T2" fmla="*/ 59 w 59"/>
                      <a:gd name="T3" fmla="*/ 0 h 29"/>
                      <a:gd name="T4" fmla="*/ 29 w 59"/>
                      <a:gd name="T5" fmla="*/ 29 h 29"/>
                      <a:gd name="T6" fmla="*/ 0 w 59"/>
                      <a:gd name="T7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59" h="29">
                        <a:moveTo>
                          <a:pt x="0" y="0"/>
                        </a:moveTo>
                        <a:cubicBezTo>
                          <a:pt x="59" y="0"/>
                          <a:pt x="59" y="0"/>
                          <a:pt x="59" y="0"/>
                        </a:cubicBezTo>
                        <a:cubicBezTo>
                          <a:pt x="59" y="16"/>
                          <a:pt x="45" y="29"/>
                          <a:pt x="29" y="29"/>
                        </a:cubicBezTo>
                        <a:cubicBezTo>
                          <a:pt x="13" y="29"/>
                          <a:pt x="0" y="16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6D563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1" name="Rectangle 740"/>
                  <p:cNvSpPr>
                    <a:spLocks noChangeArrowheads="1"/>
                  </p:cNvSpPr>
                  <p:nvPr/>
                </p:nvSpPr>
                <p:spPr bwMode="auto">
                  <a:xfrm>
                    <a:off x="7288834" y="5805213"/>
                    <a:ext cx="158624" cy="17569"/>
                  </a:xfrm>
                  <a:prstGeom prst="rect">
                    <a:avLst/>
                  </a:prstGeom>
                  <a:solidFill>
                    <a:srgbClr val="505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2" name="Freeform 741"/>
                  <p:cNvSpPr>
                    <a:spLocks/>
                  </p:cNvSpPr>
                  <p:nvPr/>
                </p:nvSpPr>
                <p:spPr bwMode="auto">
                  <a:xfrm>
                    <a:off x="7324977" y="5724896"/>
                    <a:ext cx="165652" cy="80316"/>
                  </a:xfrm>
                  <a:custGeom>
                    <a:avLst/>
                    <a:gdLst>
                      <a:gd name="T0" fmla="*/ 86 w 330"/>
                      <a:gd name="T1" fmla="*/ 0 h 160"/>
                      <a:gd name="T2" fmla="*/ 330 w 330"/>
                      <a:gd name="T3" fmla="*/ 0 h 160"/>
                      <a:gd name="T4" fmla="*/ 244 w 330"/>
                      <a:gd name="T5" fmla="*/ 160 h 160"/>
                      <a:gd name="T6" fmla="*/ 0 w 330"/>
                      <a:gd name="T7" fmla="*/ 160 h 160"/>
                      <a:gd name="T8" fmla="*/ 86 w 330"/>
                      <a:gd name="T9" fmla="*/ 0 h 1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0" h="160">
                        <a:moveTo>
                          <a:pt x="86" y="0"/>
                        </a:moveTo>
                        <a:lnTo>
                          <a:pt x="330" y="0"/>
                        </a:lnTo>
                        <a:lnTo>
                          <a:pt x="244" y="160"/>
                        </a:lnTo>
                        <a:lnTo>
                          <a:pt x="0" y="160"/>
                        </a:lnTo>
                        <a:lnTo>
                          <a:pt x="86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3" name="Rectangle 742"/>
                  <p:cNvSpPr>
                    <a:spLocks noChangeArrowheads="1"/>
                  </p:cNvSpPr>
                  <p:nvPr/>
                </p:nvSpPr>
                <p:spPr bwMode="auto">
                  <a:xfrm>
                    <a:off x="7288834" y="5805213"/>
                    <a:ext cx="36142" cy="17569"/>
                  </a:xfrm>
                  <a:prstGeom prst="rect">
                    <a:avLst/>
                  </a:pr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4" name="Freeform 743"/>
                  <p:cNvSpPr>
                    <a:spLocks/>
                  </p:cNvSpPr>
                  <p:nvPr/>
                </p:nvSpPr>
                <p:spPr bwMode="auto">
                  <a:xfrm>
                    <a:off x="7178901" y="5596391"/>
                    <a:ext cx="42166" cy="70277"/>
                  </a:xfrm>
                  <a:custGeom>
                    <a:avLst/>
                    <a:gdLst>
                      <a:gd name="T0" fmla="*/ 42 w 84"/>
                      <a:gd name="T1" fmla="*/ 140 h 140"/>
                      <a:gd name="T2" fmla="*/ 84 w 84"/>
                      <a:gd name="T3" fmla="*/ 98 h 140"/>
                      <a:gd name="T4" fmla="*/ 84 w 84"/>
                      <a:gd name="T5" fmla="*/ 0 h 140"/>
                      <a:gd name="T6" fmla="*/ 0 w 84"/>
                      <a:gd name="T7" fmla="*/ 0 h 140"/>
                      <a:gd name="T8" fmla="*/ 0 w 84"/>
                      <a:gd name="T9" fmla="*/ 98 h 140"/>
                      <a:gd name="T10" fmla="*/ 42 w 84"/>
                      <a:gd name="T11" fmla="*/ 140 h 1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84" h="140">
                        <a:moveTo>
                          <a:pt x="42" y="140"/>
                        </a:moveTo>
                        <a:lnTo>
                          <a:pt x="84" y="98"/>
                        </a:lnTo>
                        <a:lnTo>
                          <a:pt x="84" y="0"/>
                        </a:lnTo>
                        <a:lnTo>
                          <a:pt x="0" y="0"/>
                        </a:lnTo>
                        <a:lnTo>
                          <a:pt x="0" y="98"/>
                        </a:lnTo>
                        <a:lnTo>
                          <a:pt x="42" y="140"/>
                        </a:lnTo>
                        <a:close/>
                      </a:path>
                    </a:pathLst>
                  </a:custGeom>
                  <a:solidFill>
                    <a:srgbClr val="6D563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5" name="Freeform 744"/>
                  <p:cNvSpPr>
                    <a:spLocks/>
                  </p:cNvSpPr>
                  <p:nvPr/>
                </p:nvSpPr>
                <p:spPr bwMode="auto">
                  <a:xfrm>
                    <a:off x="7178901" y="5596391"/>
                    <a:ext cx="42166" cy="37146"/>
                  </a:xfrm>
                  <a:custGeom>
                    <a:avLst/>
                    <a:gdLst>
                      <a:gd name="T0" fmla="*/ 34 w 34"/>
                      <a:gd name="T1" fmla="*/ 28 h 30"/>
                      <a:gd name="T2" fmla="*/ 17 w 34"/>
                      <a:gd name="T3" fmla="*/ 30 h 30"/>
                      <a:gd name="T4" fmla="*/ 0 w 34"/>
                      <a:gd name="T5" fmla="*/ 28 h 30"/>
                      <a:gd name="T6" fmla="*/ 0 w 34"/>
                      <a:gd name="T7" fmla="*/ 0 h 30"/>
                      <a:gd name="T8" fmla="*/ 34 w 34"/>
                      <a:gd name="T9" fmla="*/ 0 h 30"/>
                      <a:gd name="T10" fmla="*/ 34 w 34"/>
                      <a:gd name="T11" fmla="*/ 28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4" h="30">
                        <a:moveTo>
                          <a:pt x="34" y="28"/>
                        </a:moveTo>
                        <a:cubicBezTo>
                          <a:pt x="29" y="29"/>
                          <a:pt x="23" y="30"/>
                          <a:pt x="17" y="30"/>
                        </a:cubicBezTo>
                        <a:cubicBezTo>
                          <a:pt x="11" y="30"/>
                          <a:pt x="5" y="29"/>
                          <a:pt x="0" y="28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34" y="0"/>
                          <a:pt x="34" y="0"/>
                          <a:pt x="34" y="0"/>
                        </a:cubicBezTo>
                        <a:lnTo>
                          <a:pt x="34" y="28"/>
                        </a:lnTo>
                        <a:close/>
                      </a:path>
                    </a:pathLst>
                  </a:custGeom>
                  <a:solidFill>
                    <a:srgbClr val="4937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6" name="Freeform 745"/>
                  <p:cNvSpPr>
                    <a:spLocks/>
                  </p:cNvSpPr>
                  <p:nvPr/>
                </p:nvSpPr>
                <p:spPr bwMode="auto">
                  <a:xfrm>
                    <a:off x="7150289" y="5479932"/>
                    <a:ext cx="99391" cy="68269"/>
                  </a:xfrm>
                  <a:custGeom>
                    <a:avLst/>
                    <a:gdLst>
                      <a:gd name="T0" fmla="*/ 40 w 80"/>
                      <a:gd name="T1" fmla="*/ 0 h 55"/>
                      <a:gd name="T2" fmla="*/ 80 w 80"/>
                      <a:gd name="T3" fmla="*/ 40 h 55"/>
                      <a:gd name="T4" fmla="*/ 80 w 80"/>
                      <a:gd name="T5" fmla="*/ 55 h 55"/>
                      <a:gd name="T6" fmla="*/ 0 w 80"/>
                      <a:gd name="T7" fmla="*/ 55 h 55"/>
                      <a:gd name="T8" fmla="*/ 0 w 80"/>
                      <a:gd name="T9" fmla="*/ 40 h 55"/>
                      <a:gd name="T10" fmla="*/ 40 w 80"/>
                      <a:gd name="T11" fmla="*/ 0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80" h="55">
                        <a:moveTo>
                          <a:pt x="40" y="0"/>
                        </a:moveTo>
                        <a:cubicBezTo>
                          <a:pt x="62" y="0"/>
                          <a:pt x="80" y="18"/>
                          <a:pt x="80" y="40"/>
                        </a:cubicBezTo>
                        <a:cubicBezTo>
                          <a:pt x="80" y="55"/>
                          <a:pt x="80" y="55"/>
                          <a:pt x="80" y="55"/>
                        </a:cubicBezTo>
                        <a:cubicBezTo>
                          <a:pt x="0" y="55"/>
                          <a:pt x="0" y="55"/>
                          <a:pt x="0" y="55"/>
                        </a:cubicBezTo>
                        <a:cubicBezTo>
                          <a:pt x="0" y="40"/>
                          <a:pt x="0" y="40"/>
                          <a:pt x="0" y="40"/>
                        </a:cubicBezTo>
                        <a:cubicBezTo>
                          <a:pt x="0" y="18"/>
                          <a:pt x="18" y="0"/>
                          <a:pt x="40" y="0"/>
                        </a:cubicBez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7" name="Freeform 746"/>
                  <p:cNvSpPr>
                    <a:spLocks/>
                  </p:cNvSpPr>
                  <p:nvPr/>
                </p:nvSpPr>
                <p:spPr bwMode="auto">
                  <a:xfrm>
                    <a:off x="7150289" y="5530631"/>
                    <a:ext cx="99391" cy="93870"/>
                  </a:xfrm>
                  <a:custGeom>
                    <a:avLst/>
                    <a:gdLst>
                      <a:gd name="T0" fmla="*/ 80 w 80"/>
                      <a:gd name="T1" fmla="*/ 0 h 76"/>
                      <a:gd name="T2" fmla="*/ 80 w 80"/>
                      <a:gd name="T3" fmla="*/ 63 h 76"/>
                      <a:gd name="T4" fmla="*/ 80 w 80"/>
                      <a:gd name="T5" fmla="*/ 63 h 76"/>
                      <a:gd name="T6" fmla="*/ 40 w 80"/>
                      <a:gd name="T7" fmla="*/ 76 h 76"/>
                      <a:gd name="T8" fmla="*/ 0 w 80"/>
                      <a:gd name="T9" fmla="*/ 63 h 76"/>
                      <a:gd name="T10" fmla="*/ 0 w 80"/>
                      <a:gd name="T11" fmla="*/ 63 h 76"/>
                      <a:gd name="T12" fmla="*/ 0 w 80"/>
                      <a:gd name="T13" fmla="*/ 0 h 76"/>
                      <a:gd name="T14" fmla="*/ 80 w 80"/>
                      <a:gd name="T15" fmla="*/ 0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0" h="76">
                        <a:moveTo>
                          <a:pt x="80" y="0"/>
                        </a:moveTo>
                        <a:cubicBezTo>
                          <a:pt x="80" y="63"/>
                          <a:pt x="80" y="63"/>
                          <a:pt x="80" y="63"/>
                        </a:cubicBezTo>
                        <a:cubicBezTo>
                          <a:pt x="80" y="63"/>
                          <a:pt x="80" y="63"/>
                          <a:pt x="80" y="63"/>
                        </a:cubicBezTo>
                        <a:cubicBezTo>
                          <a:pt x="69" y="71"/>
                          <a:pt x="55" y="76"/>
                          <a:pt x="40" y="76"/>
                        </a:cubicBezTo>
                        <a:cubicBezTo>
                          <a:pt x="25" y="76"/>
                          <a:pt x="11" y="71"/>
                          <a:pt x="0" y="63"/>
                        </a:cubicBezTo>
                        <a:cubicBezTo>
                          <a:pt x="0" y="63"/>
                          <a:pt x="0" y="63"/>
                          <a:pt x="0" y="63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lnTo>
                          <a:pt x="80" y="0"/>
                        </a:lnTo>
                        <a:close/>
                      </a:path>
                    </a:pathLst>
                  </a:custGeom>
                  <a:solidFill>
                    <a:srgbClr val="6D563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8" name="Rectangle 747"/>
                  <p:cNvSpPr>
                    <a:spLocks noChangeArrowheads="1"/>
                  </p:cNvSpPr>
                  <p:nvPr/>
                </p:nvSpPr>
                <p:spPr bwMode="auto">
                  <a:xfrm>
                    <a:off x="7091056" y="5735940"/>
                    <a:ext cx="36142" cy="10040"/>
                  </a:xfrm>
                  <a:prstGeom prst="rect">
                    <a:avLst/>
                  </a:prstGeom>
                  <a:solidFill>
                    <a:srgbClr val="4937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9" name="Rectangle 748"/>
                  <p:cNvSpPr>
                    <a:spLocks noChangeArrowheads="1"/>
                  </p:cNvSpPr>
                  <p:nvPr/>
                </p:nvSpPr>
                <p:spPr bwMode="auto">
                  <a:xfrm>
                    <a:off x="7272771" y="5735940"/>
                    <a:ext cx="36142" cy="10040"/>
                  </a:xfrm>
                  <a:prstGeom prst="rect">
                    <a:avLst/>
                  </a:prstGeom>
                  <a:solidFill>
                    <a:srgbClr val="4937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0" name="Oval 749"/>
                  <p:cNvSpPr>
                    <a:spLocks noChangeArrowheads="1"/>
                  </p:cNvSpPr>
                  <p:nvPr/>
                </p:nvSpPr>
                <p:spPr bwMode="auto">
                  <a:xfrm>
                    <a:off x="7164344" y="5561754"/>
                    <a:ext cx="8534" cy="8534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1" name="Oval 750"/>
                  <p:cNvSpPr>
                    <a:spLocks noChangeArrowheads="1"/>
                  </p:cNvSpPr>
                  <p:nvPr/>
                </p:nvSpPr>
                <p:spPr bwMode="auto">
                  <a:xfrm>
                    <a:off x="7228597" y="5561754"/>
                    <a:ext cx="8534" cy="8534"/>
                  </a:xfrm>
                  <a:prstGeom prst="ellipse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2" name="Freeform 751"/>
                  <p:cNvSpPr>
                    <a:spLocks/>
                  </p:cNvSpPr>
                  <p:nvPr/>
                </p:nvSpPr>
                <p:spPr bwMode="auto">
                  <a:xfrm>
                    <a:off x="7178901" y="5596391"/>
                    <a:ext cx="42166" cy="16063"/>
                  </a:xfrm>
                  <a:custGeom>
                    <a:avLst/>
                    <a:gdLst>
                      <a:gd name="T0" fmla="*/ 0 w 34"/>
                      <a:gd name="T1" fmla="*/ 0 h 13"/>
                      <a:gd name="T2" fmla="*/ 17 w 34"/>
                      <a:gd name="T3" fmla="*/ 13 h 13"/>
                      <a:gd name="T4" fmla="*/ 34 w 34"/>
                      <a:gd name="T5" fmla="*/ 0 h 13"/>
                      <a:gd name="T6" fmla="*/ 0 w 34"/>
                      <a:gd name="T7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4" h="13">
                        <a:moveTo>
                          <a:pt x="0" y="0"/>
                        </a:moveTo>
                        <a:cubicBezTo>
                          <a:pt x="2" y="7"/>
                          <a:pt x="9" y="13"/>
                          <a:pt x="17" y="13"/>
                        </a:cubicBezTo>
                        <a:cubicBezTo>
                          <a:pt x="25" y="13"/>
                          <a:pt x="31" y="7"/>
                          <a:pt x="34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3" name="Freeform 752"/>
                  <p:cNvSpPr>
                    <a:spLocks/>
                  </p:cNvSpPr>
                  <p:nvPr/>
                </p:nvSpPr>
                <p:spPr bwMode="auto">
                  <a:xfrm>
                    <a:off x="7192455" y="5582837"/>
                    <a:ext cx="15059" cy="4518"/>
                  </a:xfrm>
                  <a:custGeom>
                    <a:avLst/>
                    <a:gdLst>
                      <a:gd name="T0" fmla="*/ 0 w 12"/>
                      <a:gd name="T1" fmla="*/ 0 h 4"/>
                      <a:gd name="T2" fmla="*/ 6 w 12"/>
                      <a:gd name="T3" fmla="*/ 4 h 4"/>
                      <a:gd name="T4" fmla="*/ 12 w 12"/>
                      <a:gd name="T5" fmla="*/ 0 h 4"/>
                      <a:gd name="T6" fmla="*/ 0 w 12"/>
                      <a:gd name="T7" fmla="*/ 0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2" h="4">
                        <a:moveTo>
                          <a:pt x="0" y="0"/>
                        </a:moveTo>
                        <a:cubicBezTo>
                          <a:pt x="1" y="3"/>
                          <a:pt x="3" y="4"/>
                          <a:pt x="6" y="4"/>
                        </a:cubicBezTo>
                        <a:cubicBezTo>
                          <a:pt x="9" y="4"/>
                          <a:pt x="11" y="3"/>
                          <a:pt x="12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9372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486" name="Group 485"/>
              <p:cNvGrpSpPr/>
              <p:nvPr/>
            </p:nvGrpSpPr>
            <p:grpSpPr>
              <a:xfrm>
                <a:off x="11062064" y="8017581"/>
                <a:ext cx="1018143" cy="997902"/>
                <a:chOff x="11137107" y="2776123"/>
                <a:chExt cx="835189" cy="827511"/>
              </a:xfrm>
            </p:grpSpPr>
            <p:sp>
              <p:nvSpPr>
                <p:cNvPr id="487" name="Rectangle 486"/>
                <p:cNvSpPr/>
                <p:nvPr/>
              </p:nvSpPr>
              <p:spPr>
                <a:xfrm>
                  <a:off x="11137110" y="2776123"/>
                  <a:ext cx="835186" cy="821690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r" defTabSz="108810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488" name="Group 487"/>
                <p:cNvGrpSpPr/>
                <p:nvPr/>
              </p:nvGrpSpPr>
              <p:grpSpPr>
                <a:xfrm>
                  <a:off x="11137107" y="3264427"/>
                  <a:ext cx="824193" cy="339207"/>
                  <a:chOff x="10027990" y="4738729"/>
                  <a:chExt cx="2162197" cy="867217"/>
                </a:xfrm>
              </p:grpSpPr>
              <p:sp>
                <p:nvSpPr>
                  <p:cNvPr id="489" name="Freeform 5"/>
                  <p:cNvSpPr>
                    <a:spLocks/>
                  </p:cNvSpPr>
                  <p:nvPr/>
                </p:nvSpPr>
                <p:spPr bwMode="auto">
                  <a:xfrm>
                    <a:off x="10428779" y="5276639"/>
                    <a:ext cx="30471" cy="119535"/>
                  </a:xfrm>
                  <a:custGeom>
                    <a:avLst/>
                    <a:gdLst>
                      <a:gd name="T0" fmla="*/ 26 w 26"/>
                      <a:gd name="T1" fmla="*/ 102 h 102"/>
                      <a:gd name="T2" fmla="*/ 26 w 26"/>
                      <a:gd name="T3" fmla="*/ 102 h 102"/>
                      <a:gd name="T4" fmla="*/ 0 w 26"/>
                      <a:gd name="T5" fmla="*/ 102 h 102"/>
                      <a:gd name="T6" fmla="*/ 0 w 26"/>
                      <a:gd name="T7" fmla="*/ 0 h 102"/>
                      <a:gd name="T8" fmla="*/ 26 w 26"/>
                      <a:gd name="T9" fmla="*/ 0 h 102"/>
                      <a:gd name="T10" fmla="*/ 26 w 26"/>
                      <a:gd name="T11" fmla="*/ 102 h 102"/>
                      <a:gd name="T12" fmla="*/ 26 w 26"/>
                      <a:gd name="T13" fmla="*/ 102 h 102"/>
                      <a:gd name="T14" fmla="*/ 26 w 26"/>
                      <a:gd name="T15" fmla="*/ 102 h 1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6" h="102">
                        <a:moveTo>
                          <a:pt x="26" y="102"/>
                        </a:moveTo>
                        <a:lnTo>
                          <a:pt x="26" y="102"/>
                        </a:lnTo>
                        <a:lnTo>
                          <a:pt x="0" y="102"/>
                        </a:lnTo>
                        <a:lnTo>
                          <a:pt x="0" y="0"/>
                        </a:lnTo>
                        <a:lnTo>
                          <a:pt x="26" y="0"/>
                        </a:lnTo>
                        <a:lnTo>
                          <a:pt x="26" y="102"/>
                        </a:lnTo>
                        <a:lnTo>
                          <a:pt x="26" y="102"/>
                        </a:lnTo>
                        <a:lnTo>
                          <a:pt x="26" y="102"/>
                        </a:lnTo>
                        <a:close/>
                      </a:path>
                    </a:pathLst>
                  </a:custGeom>
                  <a:solidFill>
                    <a:srgbClr val="96969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0" name="Freeform 6"/>
                  <p:cNvSpPr>
                    <a:spLocks/>
                  </p:cNvSpPr>
                  <p:nvPr/>
                </p:nvSpPr>
                <p:spPr bwMode="auto">
                  <a:xfrm>
                    <a:off x="10363152" y="5171166"/>
                    <a:ext cx="158209" cy="159380"/>
                  </a:xfrm>
                  <a:custGeom>
                    <a:avLst/>
                    <a:gdLst>
                      <a:gd name="T0" fmla="*/ 97 w 97"/>
                      <a:gd name="T1" fmla="*/ 49 h 97"/>
                      <a:gd name="T2" fmla="*/ 97 w 97"/>
                      <a:gd name="T3" fmla="*/ 49 h 97"/>
                      <a:gd name="T4" fmla="*/ 49 w 97"/>
                      <a:gd name="T5" fmla="*/ 97 h 97"/>
                      <a:gd name="T6" fmla="*/ 0 w 97"/>
                      <a:gd name="T7" fmla="*/ 49 h 97"/>
                      <a:gd name="T8" fmla="*/ 49 w 97"/>
                      <a:gd name="T9" fmla="*/ 0 h 97"/>
                      <a:gd name="T10" fmla="*/ 97 w 97"/>
                      <a:gd name="T11" fmla="*/ 49 h 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97" h="97">
                        <a:moveTo>
                          <a:pt x="97" y="49"/>
                        </a:moveTo>
                        <a:cubicBezTo>
                          <a:pt x="97" y="49"/>
                          <a:pt x="97" y="49"/>
                          <a:pt x="97" y="49"/>
                        </a:cubicBezTo>
                        <a:cubicBezTo>
                          <a:pt x="97" y="75"/>
                          <a:pt x="75" y="97"/>
                          <a:pt x="49" y="97"/>
                        </a:cubicBezTo>
                        <a:cubicBezTo>
                          <a:pt x="22" y="97"/>
                          <a:pt x="0" y="75"/>
                          <a:pt x="0" y="49"/>
                        </a:cubicBezTo>
                        <a:cubicBezTo>
                          <a:pt x="0" y="22"/>
                          <a:pt x="22" y="0"/>
                          <a:pt x="49" y="0"/>
                        </a:cubicBezTo>
                        <a:cubicBezTo>
                          <a:pt x="75" y="0"/>
                          <a:pt x="97" y="22"/>
                          <a:pt x="97" y="49"/>
                        </a:cubicBezTo>
                        <a:close/>
                      </a:path>
                    </a:pathLst>
                  </a:custGeom>
                  <a:solidFill>
                    <a:srgbClr val="7FBA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1" name="Freeform 7"/>
                  <p:cNvSpPr>
                    <a:spLocks/>
                  </p:cNvSpPr>
                  <p:nvPr/>
                </p:nvSpPr>
                <p:spPr bwMode="auto">
                  <a:xfrm>
                    <a:off x="10384248" y="5089132"/>
                    <a:ext cx="116018" cy="117191"/>
                  </a:xfrm>
                  <a:custGeom>
                    <a:avLst/>
                    <a:gdLst>
                      <a:gd name="T0" fmla="*/ 71 w 71"/>
                      <a:gd name="T1" fmla="*/ 36 h 71"/>
                      <a:gd name="T2" fmla="*/ 71 w 71"/>
                      <a:gd name="T3" fmla="*/ 36 h 71"/>
                      <a:gd name="T4" fmla="*/ 36 w 71"/>
                      <a:gd name="T5" fmla="*/ 71 h 71"/>
                      <a:gd name="T6" fmla="*/ 0 w 71"/>
                      <a:gd name="T7" fmla="*/ 36 h 71"/>
                      <a:gd name="T8" fmla="*/ 36 w 71"/>
                      <a:gd name="T9" fmla="*/ 0 h 71"/>
                      <a:gd name="T10" fmla="*/ 71 w 71"/>
                      <a:gd name="T11" fmla="*/ 36 h 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1" h="71">
                        <a:moveTo>
                          <a:pt x="71" y="36"/>
                        </a:moveTo>
                        <a:cubicBezTo>
                          <a:pt x="71" y="36"/>
                          <a:pt x="71" y="36"/>
                          <a:pt x="71" y="36"/>
                        </a:cubicBezTo>
                        <a:cubicBezTo>
                          <a:pt x="71" y="55"/>
                          <a:pt x="55" y="71"/>
                          <a:pt x="36" y="71"/>
                        </a:cubicBezTo>
                        <a:cubicBezTo>
                          <a:pt x="16" y="71"/>
                          <a:pt x="0" y="55"/>
                          <a:pt x="0" y="36"/>
                        </a:cubicBezTo>
                        <a:cubicBezTo>
                          <a:pt x="0" y="16"/>
                          <a:pt x="16" y="0"/>
                          <a:pt x="36" y="0"/>
                        </a:cubicBezTo>
                        <a:cubicBezTo>
                          <a:pt x="55" y="0"/>
                          <a:pt x="71" y="16"/>
                          <a:pt x="71" y="36"/>
                        </a:cubicBezTo>
                        <a:close/>
                      </a:path>
                    </a:pathLst>
                  </a:custGeom>
                  <a:solidFill>
                    <a:srgbClr val="7FBA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2" name="Freeform 8"/>
                  <p:cNvSpPr>
                    <a:spLocks/>
                  </p:cNvSpPr>
                  <p:nvPr/>
                </p:nvSpPr>
                <p:spPr bwMode="auto">
                  <a:xfrm>
                    <a:off x="10027990" y="5378595"/>
                    <a:ext cx="1093390" cy="227351"/>
                  </a:xfrm>
                  <a:custGeom>
                    <a:avLst/>
                    <a:gdLst>
                      <a:gd name="T0" fmla="*/ 413 w 667"/>
                      <a:gd name="T1" fmla="*/ 7 h 139"/>
                      <a:gd name="T2" fmla="*/ 413 w 667"/>
                      <a:gd name="T3" fmla="*/ 7 h 139"/>
                      <a:gd name="T4" fmla="*/ 405 w 667"/>
                      <a:gd name="T5" fmla="*/ 6 h 139"/>
                      <a:gd name="T6" fmla="*/ 392 w 667"/>
                      <a:gd name="T7" fmla="*/ 22 h 139"/>
                      <a:gd name="T8" fmla="*/ 357 w 667"/>
                      <a:gd name="T9" fmla="*/ 38 h 139"/>
                      <a:gd name="T10" fmla="*/ 330 w 667"/>
                      <a:gd name="T11" fmla="*/ 23 h 139"/>
                      <a:gd name="T12" fmla="*/ 330 w 667"/>
                      <a:gd name="T13" fmla="*/ 0 h 139"/>
                      <a:gd name="T14" fmla="*/ 0 w 667"/>
                      <a:gd name="T15" fmla="*/ 139 h 139"/>
                      <a:gd name="T16" fmla="*/ 236 w 667"/>
                      <a:gd name="T17" fmla="*/ 139 h 139"/>
                      <a:gd name="T18" fmla="*/ 667 w 667"/>
                      <a:gd name="T19" fmla="*/ 139 h 139"/>
                      <a:gd name="T20" fmla="*/ 413 w 667"/>
                      <a:gd name="T21" fmla="*/ 7 h 1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667" h="139">
                        <a:moveTo>
                          <a:pt x="413" y="7"/>
                        </a:moveTo>
                        <a:cubicBezTo>
                          <a:pt x="413" y="7"/>
                          <a:pt x="413" y="7"/>
                          <a:pt x="413" y="7"/>
                        </a:cubicBezTo>
                        <a:cubicBezTo>
                          <a:pt x="410" y="6"/>
                          <a:pt x="408" y="6"/>
                          <a:pt x="405" y="6"/>
                        </a:cubicBezTo>
                        <a:cubicBezTo>
                          <a:pt x="401" y="12"/>
                          <a:pt x="396" y="18"/>
                          <a:pt x="392" y="22"/>
                        </a:cubicBezTo>
                        <a:cubicBezTo>
                          <a:pt x="381" y="33"/>
                          <a:pt x="371" y="38"/>
                          <a:pt x="357" y="38"/>
                        </a:cubicBezTo>
                        <a:cubicBezTo>
                          <a:pt x="344" y="38"/>
                          <a:pt x="334" y="33"/>
                          <a:pt x="330" y="23"/>
                        </a:cubicBezTo>
                        <a:cubicBezTo>
                          <a:pt x="327" y="17"/>
                          <a:pt x="327" y="9"/>
                          <a:pt x="330" y="0"/>
                        </a:cubicBezTo>
                        <a:cubicBezTo>
                          <a:pt x="210" y="1"/>
                          <a:pt x="92" y="47"/>
                          <a:pt x="0" y="139"/>
                        </a:cubicBezTo>
                        <a:cubicBezTo>
                          <a:pt x="236" y="139"/>
                          <a:pt x="236" y="139"/>
                          <a:pt x="236" y="139"/>
                        </a:cubicBezTo>
                        <a:cubicBezTo>
                          <a:pt x="667" y="139"/>
                          <a:pt x="667" y="139"/>
                          <a:pt x="667" y="139"/>
                        </a:cubicBezTo>
                        <a:cubicBezTo>
                          <a:pt x="595" y="66"/>
                          <a:pt x="506" y="23"/>
                          <a:pt x="413" y="7"/>
                        </a:cubicBezTo>
                        <a:close/>
                      </a:path>
                    </a:pathLst>
                  </a:custGeom>
                  <a:solidFill>
                    <a:srgbClr val="79A5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3" name="Freeform 9"/>
                  <p:cNvSpPr>
                    <a:spLocks/>
                  </p:cNvSpPr>
                  <p:nvPr/>
                </p:nvSpPr>
                <p:spPr bwMode="auto">
                  <a:xfrm>
                    <a:off x="10594022" y="5379768"/>
                    <a:ext cx="69141" cy="36331"/>
                  </a:xfrm>
                  <a:custGeom>
                    <a:avLst/>
                    <a:gdLst>
                      <a:gd name="T0" fmla="*/ 16 w 42"/>
                      <a:gd name="T1" fmla="*/ 22 h 22"/>
                      <a:gd name="T2" fmla="*/ 16 w 42"/>
                      <a:gd name="T3" fmla="*/ 22 h 22"/>
                      <a:gd name="T4" fmla="*/ 42 w 42"/>
                      <a:gd name="T5" fmla="*/ 2 h 22"/>
                      <a:gd name="T6" fmla="*/ 5 w 42"/>
                      <a:gd name="T7" fmla="*/ 0 h 22"/>
                      <a:gd name="T8" fmla="*/ 16 w 42"/>
                      <a:gd name="T9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2" h="22">
                        <a:moveTo>
                          <a:pt x="16" y="22"/>
                        </a:moveTo>
                        <a:cubicBezTo>
                          <a:pt x="16" y="22"/>
                          <a:pt x="16" y="22"/>
                          <a:pt x="16" y="22"/>
                        </a:cubicBezTo>
                        <a:cubicBezTo>
                          <a:pt x="26" y="22"/>
                          <a:pt x="32" y="15"/>
                          <a:pt x="42" y="2"/>
                        </a:cubicBezTo>
                        <a:cubicBezTo>
                          <a:pt x="30" y="1"/>
                          <a:pt x="18" y="0"/>
                          <a:pt x="5" y="0"/>
                        </a:cubicBezTo>
                        <a:cubicBezTo>
                          <a:pt x="0" y="14"/>
                          <a:pt x="7" y="22"/>
                          <a:pt x="16" y="22"/>
                        </a:cubicBezTo>
                        <a:close/>
                      </a:path>
                    </a:pathLst>
                  </a:custGeom>
                  <a:solidFill>
                    <a:srgbClr val="79A5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4" name="Freeform 10"/>
                  <p:cNvSpPr>
                    <a:spLocks/>
                  </p:cNvSpPr>
                  <p:nvPr/>
                </p:nvSpPr>
                <p:spPr bwMode="auto">
                  <a:xfrm>
                    <a:off x="10564725" y="5378595"/>
                    <a:ext cx="127738" cy="62111"/>
                  </a:xfrm>
                  <a:custGeom>
                    <a:avLst/>
                    <a:gdLst>
                      <a:gd name="T0" fmla="*/ 3 w 78"/>
                      <a:gd name="T1" fmla="*/ 23 h 38"/>
                      <a:gd name="T2" fmla="*/ 3 w 78"/>
                      <a:gd name="T3" fmla="*/ 23 h 38"/>
                      <a:gd name="T4" fmla="*/ 30 w 78"/>
                      <a:gd name="T5" fmla="*/ 38 h 38"/>
                      <a:gd name="T6" fmla="*/ 65 w 78"/>
                      <a:gd name="T7" fmla="*/ 22 h 38"/>
                      <a:gd name="T8" fmla="*/ 78 w 78"/>
                      <a:gd name="T9" fmla="*/ 6 h 38"/>
                      <a:gd name="T10" fmla="*/ 60 w 78"/>
                      <a:gd name="T11" fmla="*/ 3 h 38"/>
                      <a:gd name="T12" fmla="*/ 34 w 78"/>
                      <a:gd name="T13" fmla="*/ 23 h 38"/>
                      <a:gd name="T14" fmla="*/ 23 w 78"/>
                      <a:gd name="T15" fmla="*/ 1 h 38"/>
                      <a:gd name="T16" fmla="*/ 3 w 78"/>
                      <a:gd name="T17" fmla="*/ 0 h 38"/>
                      <a:gd name="T18" fmla="*/ 3 w 78"/>
                      <a:gd name="T19" fmla="*/ 23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8" h="38">
                        <a:moveTo>
                          <a:pt x="3" y="23"/>
                        </a:moveTo>
                        <a:cubicBezTo>
                          <a:pt x="3" y="23"/>
                          <a:pt x="3" y="23"/>
                          <a:pt x="3" y="23"/>
                        </a:cubicBezTo>
                        <a:cubicBezTo>
                          <a:pt x="7" y="33"/>
                          <a:pt x="17" y="38"/>
                          <a:pt x="30" y="38"/>
                        </a:cubicBezTo>
                        <a:cubicBezTo>
                          <a:pt x="44" y="38"/>
                          <a:pt x="54" y="33"/>
                          <a:pt x="65" y="22"/>
                        </a:cubicBezTo>
                        <a:cubicBezTo>
                          <a:pt x="69" y="18"/>
                          <a:pt x="74" y="12"/>
                          <a:pt x="78" y="6"/>
                        </a:cubicBezTo>
                        <a:cubicBezTo>
                          <a:pt x="72" y="5"/>
                          <a:pt x="66" y="4"/>
                          <a:pt x="60" y="3"/>
                        </a:cubicBezTo>
                        <a:cubicBezTo>
                          <a:pt x="50" y="16"/>
                          <a:pt x="44" y="23"/>
                          <a:pt x="34" y="23"/>
                        </a:cubicBezTo>
                        <a:cubicBezTo>
                          <a:pt x="25" y="23"/>
                          <a:pt x="18" y="15"/>
                          <a:pt x="23" y="1"/>
                        </a:cubicBezTo>
                        <a:cubicBezTo>
                          <a:pt x="16" y="0"/>
                          <a:pt x="10" y="0"/>
                          <a:pt x="3" y="0"/>
                        </a:cubicBezTo>
                        <a:cubicBezTo>
                          <a:pt x="0" y="9"/>
                          <a:pt x="0" y="17"/>
                          <a:pt x="3" y="23"/>
                        </a:cubicBezTo>
                        <a:close/>
                      </a:path>
                    </a:pathLst>
                  </a:custGeom>
                  <a:solidFill>
                    <a:srgbClr val="6E8C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5" name="Freeform 11"/>
                  <p:cNvSpPr>
                    <a:spLocks noEditPoints="1"/>
                  </p:cNvSpPr>
                  <p:nvPr/>
                </p:nvSpPr>
                <p:spPr bwMode="auto">
                  <a:xfrm>
                    <a:off x="10543630" y="5222732"/>
                    <a:ext cx="144145" cy="215633"/>
                  </a:xfrm>
                  <a:custGeom>
                    <a:avLst/>
                    <a:gdLst>
                      <a:gd name="T0" fmla="*/ 44 w 88"/>
                      <a:gd name="T1" fmla="*/ 16 h 132"/>
                      <a:gd name="T2" fmla="*/ 44 w 88"/>
                      <a:gd name="T3" fmla="*/ 16 h 132"/>
                      <a:gd name="T4" fmla="*/ 21 w 88"/>
                      <a:gd name="T5" fmla="*/ 67 h 132"/>
                      <a:gd name="T6" fmla="*/ 44 w 88"/>
                      <a:gd name="T7" fmla="*/ 116 h 132"/>
                      <a:gd name="T8" fmla="*/ 66 w 88"/>
                      <a:gd name="T9" fmla="*/ 67 h 132"/>
                      <a:gd name="T10" fmla="*/ 44 w 88"/>
                      <a:gd name="T11" fmla="*/ 16 h 132"/>
                      <a:gd name="T12" fmla="*/ 42 w 88"/>
                      <a:gd name="T13" fmla="*/ 132 h 132"/>
                      <a:gd name="T14" fmla="*/ 42 w 88"/>
                      <a:gd name="T15" fmla="*/ 132 h 132"/>
                      <a:gd name="T16" fmla="*/ 11 w 88"/>
                      <a:gd name="T17" fmla="*/ 116 h 132"/>
                      <a:gd name="T18" fmla="*/ 0 w 88"/>
                      <a:gd name="T19" fmla="*/ 68 h 132"/>
                      <a:gd name="T20" fmla="*/ 11 w 88"/>
                      <a:gd name="T21" fmla="*/ 17 h 132"/>
                      <a:gd name="T22" fmla="*/ 45 w 88"/>
                      <a:gd name="T23" fmla="*/ 0 h 132"/>
                      <a:gd name="T24" fmla="*/ 88 w 88"/>
                      <a:gd name="T25" fmla="*/ 65 h 132"/>
                      <a:gd name="T26" fmla="*/ 76 w 88"/>
                      <a:gd name="T27" fmla="*/ 115 h 132"/>
                      <a:gd name="T28" fmla="*/ 42 w 88"/>
                      <a:gd name="T29" fmla="*/ 132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8" h="132">
                        <a:moveTo>
                          <a:pt x="44" y="16"/>
                        </a:moveTo>
                        <a:cubicBezTo>
                          <a:pt x="44" y="16"/>
                          <a:pt x="44" y="16"/>
                          <a:pt x="44" y="16"/>
                        </a:cubicBezTo>
                        <a:cubicBezTo>
                          <a:pt x="29" y="16"/>
                          <a:pt x="21" y="33"/>
                          <a:pt x="21" y="67"/>
                        </a:cubicBezTo>
                        <a:cubicBezTo>
                          <a:pt x="21" y="100"/>
                          <a:pt x="29" y="116"/>
                          <a:pt x="44" y="116"/>
                        </a:cubicBezTo>
                        <a:cubicBezTo>
                          <a:pt x="59" y="116"/>
                          <a:pt x="66" y="99"/>
                          <a:pt x="66" y="67"/>
                        </a:cubicBezTo>
                        <a:cubicBezTo>
                          <a:pt x="66" y="33"/>
                          <a:pt x="59" y="16"/>
                          <a:pt x="44" y="16"/>
                        </a:cubicBezTo>
                        <a:close/>
                        <a:moveTo>
                          <a:pt x="42" y="132"/>
                        </a:moveTo>
                        <a:cubicBezTo>
                          <a:pt x="42" y="132"/>
                          <a:pt x="42" y="132"/>
                          <a:pt x="42" y="132"/>
                        </a:cubicBezTo>
                        <a:cubicBezTo>
                          <a:pt x="29" y="132"/>
                          <a:pt x="18" y="127"/>
                          <a:pt x="11" y="116"/>
                        </a:cubicBezTo>
                        <a:cubicBezTo>
                          <a:pt x="3" y="105"/>
                          <a:pt x="0" y="89"/>
                          <a:pt x="0" y="68"/>
                        </a:cubicBezTo>
                        <a:cubicBezTo>
                          <a:pt x="0" y="46"/>
                          <a:pt x="4" y="29"/>
                          <a:pt x="11" y="17"/>
                        </a:cubicBezTo>
                        <a:cubicBezTo>
                          <a:pt x="19" y="5"/>
                          <a:pt x="31" y="0"/>
                          <a:pt x="45" y="0"/>
                        </a:cubicBezTo>
                        <a:cubicBezTo>
                          <a:pt x="73" y="0"/>
                          <a:pt x="88" y="21"/>
                          <a:pt x="88" y="65"/>
                        </a:cubicBezTo>
                        <a:cubicBezTo>
                          <a:pt x="88" y="87"/>
                          <a:pt x="84" y="104"/>
                          <a:pt x="76" y="115"/>
                        </a:cubicBezTo>
                        <a:cubicBezTo>
                          <a:pt x="68" y="126"/>
                          <a:pt x="57" y="132"/>
                          <a:pt x="42" y="132"/>
                        </a:cubicBezTo>
                        <a:close/>
                      </a:path>
                    </a:pathLst>
                  </a:custGeom>
                  <a:solidFill>
                    <a:srgbClr val="4423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6" name="Freeform 12"/>
                  <p:cNvSpPr>
                    <a:spLocks/>
                  </p:cNvSpPr>
                  <p:nvPr/>
                </p:nvSpPr>
                <p:spPr bwMode="auto">
                  <a:xfrm>
                    <a:off x="10701837" y="5223902"/>
                    <a:ext cx="76173" cy="209771"/>
                  </a:xfrm>
                  <a:custGeom>
                    <a:avLst/>
                    <a:gdLst>
                      <a:gd name="T0" fmla="*/ 46 w 46"/>
                      <a:gd name="T1" fmla="*/ 0 h 128"/>
                      <a:gd name="T2" fmla="*/ 46 w 46"/>
                      <a:gd name="T3" fmla="*/ 0 h 128"/>
                      <a:gd name="T4" fmla="*/ 46 w 46"/>
                      <a:gd name="T5" fmla="*/ 128 h 128"/>
                      <a:gd name="T6" fmla="*/ 26 w 46"/>
                      <a:gd name="T7" fmla="*/ 128 h 128"/>
                      <a:gd name="T8" fmla="*/ 26 w 46"/>
                      <a:gd name="T9" fmla="*/ 25 h 128"/>
                      <a:gd name="T10" fmla="*/ 14 w 46"/>
                      <a:gd name="T11" fmla="*/ 32 h 128"/>
                      <a:gd name="T12" fmla="*/ 0 w 46"/>
                      <a:gd name="T13" fmla="*/ 36 h 128"/>
                      <a:gd name="T14" fmla="*/ 0 w 46"/>
                      <a:gd name="T15" fmla="*/ 19 h 128"/>
                      <a:gd name="T16" fmla="*/ 9 w 46"/>
                      <a:gd name="T17" fmla="*/ 16 h 128"/>
                      <a:gd name="T18" fmla="*/ 19 w 46"/>
                      <a:gd name="T19" fmla="*/ 11 h 128"/>
                      <a:gd name="T20" fmla="*/ 28 w 46"/>
                      <a:gd name="T21" fmla="*/ 6 h 128"/>
                      <a:gd name="T22" fmla="*/ 38 w 46"/>
                      <a:gd name="T23" fmla="*/ 0 h 128"/>
                      <a:gd name="T24" fmla="*/ 46 w 46"/>
                      <a:gd name="T25" fmla="*/ 0 h 128"/>
                      <a:gd name="T26" fmla="*/ 46 w 46"/>
                      <a:gd name="T27" fmla="*/ 0 h 1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6" h="128">
                        <a:moveTo>
                          <a:pt x="46" y="0"/>
                        </a:moveTo>
                        <a:cubicBezTo>
                          <a:pt x="46" y="0"/>
                          <a:pt x="46" y="0"/>
                          <a:pt x="46" y="0"/>
                        </a:cubicBezTo>
                        <a:cubicBezTo>
                          <a:pt x="46" y="128"/>
                          <a:pt x="46" y="128"/>
                          <a:pt x="46" y="128"/>
                        </a:cubicBezTo>
                        <a:cubicBezTo>
                          <a:pt x="26" y="128"/>
                          <a:pt x="26" y="128"/>
                          <a:pt x="26" y="128"/>
                        </a:cubicBezTo>
                        <a:cubicBezTo>
                          <a:pt x="26" y="25"/>
                          <a:pt x="26" y="25"/>
                          <a:pt x="26" y="25"/>
                        </a:cubicBezTo>
                        <a:cubicBezTo>
                          <a:pt x="22" y="28"/>
                          <a:pt x="18" y="30"/>
                          <a:pt x="14" y="32"/>
                        </a:cubicBezTo>
                        <a:cubicBezTo>
                          <a:pt x="10" y="33"/>
                          <a:pt x="5" y="35"/>
                          <a:pt x="0" y="36"/>
                        </a:cubicBezTo>
                        <a:cubicBezTo>
                          <a:pt x="0" y="19"/>
                          <a:pt x="0" y="19"/>
                          <a:pt x="0" y="19"/>
                        </a:cubicBezTo>
                        <a:cubicBezTo>
                          <a:pt x="3" y="18"/>
                          <a:pt x="6" y="17"/>
                          <a:pt x="9" y="16"/>
                        </a:cubicBezTo>
                        <a:cubicBezTo>
                          <a:pt x="12" y="14"/>
                          <a:pt x="16" y="13"/>
                          <a:pt x="19" y="11"/>
                        </a:cubicBezTo>
                        <a:cubicBezTo>
                          <a:pt x="22" y="10"/>
                          <a:pt x="25" y="8"/>
                          <a:pt x="28" y="6"/>
                        </a:cubicBezTo>
                        <a:cubicBezTo>
                          <a:pt x="31" y="5"/>
                          <a:pt x="34" y="2"/>
                          <a:pt x="38" y="0"/>
                        </a:cubicBezTo>
                        <a:cubicBezTo>
                          <a:pt x="46" y="0"/>
                          <a:pt x="46" y="0"/>
                          <a:pt x="46" y="0"/>
                        </a:cubicBezTo>
                        <a:cubicBezTo>
                          <a:pt x="46" y="0"/>
                          <a:pt x="46" y="0"/>
                          <a:pt x="46" y="0"/>
                        </a:cubicBezTo>
                        <a:close/>
                      </a:path>
                    </a:pathLst>
                  </a:custGeom>
                  <a:solidFill>
                    <a:srgbClr val="4423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7" name="Freeform 13"/>
                  <p:cNvSpPr>
                    <a:spLocks noEditPoints="1"/>
                  </p:cNvSpPr>
                  <p:nvPr/>
                </p:nvSpPr>
                <p:spPr bwMode="auto">
                  <a:xfrm>
                    <a:off x="10811997" y="5222732"/>
                    <a:ext cx="142973" cy="215633"/>
                  </a:xfrm>
                  <a:custGeom>
                    <a:avLst/>
                    <a:gdLst>
                      <a:gd name="T0" fmla="*/ 44 w 87"/>
                      <a:gd name="T1" fmla="*/ 16 h 132"/>
                      <a:gd name="T2" fmla="*/ 44 w 87"/>
                      <a:gd name="T3" fmla="*/ 16 h 132"/>
                      <a:gd name="T4" fmla="*/ 21 w 87"/>
                      <a:gd name="T5" fmla="*/ 67 h 132"/>
                      <a:gd name="T6" fmla="*/ 44 w 87"/>
                      <a:gd name="T7" fmla="*/ 116 h 132"/>
                      <a:gd name="T8" fmla="*/ 66 w 87"/>
                      <a:gd name="T9" fmla="*/ 67 h 132"/>
                      <a:gd name="T10" fmla="*/ 44 w 87"/>
                      <a:gd name="T11" fmla="*/ 16 h 132"/>
                      <a:gd name="T12" fmla="*/ 42 w 87"/>
                      <a:gd name="T13" fmla="*/ 132 h 132"/>
                      <a:gd name="T14" fmla="*/ 42 w 87"/>
                      <a:gd name="T15" fmla="*/ 132 h 132"/>
                      <a:gd name="T16" fmla="*/ 11 w 87"/>
                      <a:gd name="T17" fmla="*/ 116 h 132"/>
                      <a:gd name="T18" fmla="*/ 0 w 87"/>
                      <a:gd name="T19" fmla="*/ 68 h 132"/>
                      <a:gd name="T20" fmla="*/ 11 w 87"/>
                      <a:gd name="T21" fmla="*/ 17 h 132"/>
                      <a:gd name="T22" fmla="*/ 45 w 87"/>
                      <a:gd name="T23" fmla="*/ 0 h 132"/>
                      <a:gd name="T24" fmla="*/ 87 w 87"/>
                      <a:gd name="T25" fmla="*/ 65 h 132"/>
                      <a:gd name="T26" fmla="*/ 75 w 87"/>
                      <a:gd name="T27" fmla="*/ 115 h 132"/>
                      <a:gd name="T28" fmla="*/ 42 w 87"/>
                      <a:gd name="T29" fmla="*/ 132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7" h="132">
                        <a:moveTo>
                          <a:pt x="44" y="16"/>
                        </a:moveTo>
                        <a:cubicBezTo>
                          <a:pt x="44" y="16"/>
                          <a:pt x="44" y="16"/>
                          <a:pt x="44" y="16"/>
                        </a:cubicBezTo>
                        <a:cubicBezTo>
                          <a:pt x="29" y="16"/>
                          <a:pt x="21" y="33"/>
                          <a:pt x="21" y="67"/>
                        </a:cubicBezTo>
                        <a:cubicBezTo>
                          <a:pt x="21" y="100"/>
                          <a:pt x="28" y="116"/>
                          <a:pt x="44" y="116"/>
                        </a:cubicBezTo>
                        <a:cubicBezTo>
                          <a:pt x="59" y="116"/>
                          <a:pt x="66" y="99"/>
                          <a:pt x="66" y="67"/>
                        </a:cubicBezTo>
                        <a:cubicBezTo>
                          <a:pt x="66" y="33"/>
                          <a:pt x="59" y="16"/>
                          <a:pt x="44" y="16"/>
                        </a:cubicBezTo>
                        <a:close/>
                        <a:moveTo>
                          <a:pt x="42" y="132"/>
                        </a:moveTo>
                        <a:cubicBezTo>
                          <a:pt x="42" y="132"/>
                          <a:pt x="42" y="132"/>
                          <a:pt x="42" y="132"/>
                        </a:cubicBezTo>
                        <a:cubicBezTo>
                          <a:pt x="29" y="132"/>
                          <a:pt x="18" y="127"/>
                          <a:pt x="11" y="116"/>
                        </a:cubicBezTo>
                        <a:cubicBezTo>
                          <a:pt x="3" y="105"/>
                          <a:pt x="0" y="89"/>
                          <a:pt x="0" y="68"/>
                        </a:cubicBezTo>
                        <a:cubicBezTo>
                          <a:pt x="0" y="46"/>
                          <a:pt x="3" y="29"/>
                          <a:pt x="11" y="17"/>
                        </a:cubicBezTo>
                        <a:cubicBezTo>
                          <a:pt x="19" y="5"/>
                          <a:pt x="30" y="0"/>
                          <a:pt x="45" y="0"/>
                        </a:cubicBezTo>
                        <a:cubicBezTo>
                          <a:pt x="73" y="0"/>
                          <a:pt x="87" y="21"/>
                          <a:pt x="87" y="65"/>
                        </a:cubicBezTo>
                        <a:cubicBezTo>
                          <a:pt x="87" y="87"/>
                          <a:pt x="83" y="104"/>
                          <a:pt x="75" y="115"/>
                        </a:cubicBezTo>
                        <a:cubicBezTo>
                          <a:pt x="67" y="126"/>
                          <a:pt x="56" y="132"/>
                          <a:pt x="42" y="132"/>
                        </a:cubicBezTo>
                        <a:close/>
                      </a:path>
                    </a:pathLst>
                  </a:custGeom>
                  <a:solidFill>
                    <a:srgbClr val="4423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8" name="Freeform 14"/>
                  <p:cNvSpPr>
                    <a:spLocks noEditPoints="1"/>
                  </p:cNvSpPr>
                  <p:nvPr/>
                </p:nvSpPr>
                <p:spPr bwMode="auto">
                  <a:xfrm>
                    <a:off x="10977235" y="5222732"/>
                    <a:ext cx="144145" cy="215633"/>
                  </a:xfrm>
                  <a:custGeom>
                    <a:avLst/>
                    <a:gdLst>
                      <a:gd name="T0" fmla="*/ 45 w 88"/>
                      <a:gd name="T1" fmla="*/ 16 h 132"/>
                      <a:gd name="T2" fmla="*/ 45 w 88"/>
                      <a:gd name="T3" fmla="*/ 16 h 132"/>
                      <a:gd name="T4" fmla="*/ 22 w 88"/>
                      <a:gd name="T5" fmla="*/ 67 h 132"/>
                      <a:gd name="T6" fmla="*/ 45 w 88"/>
                      <a:gd name="T7" fmla="*/ 116 h 132"/>
                      <a:gd name="T8" fmla="*/ 67 w 88"/>
                      <a:gd name="T9" fmla="*/ 67 h 132"/>
                      <a:gd name="T10" fmla="*/ 45 w 88"/>
                      <a:gd name="T11" fmla="*/ 16 h 132"/>
                      <a:gd name="T12" fmla="*/ 43 w 88"/>
                      <a:gd name="T13" fmla="*/ 132 h 132"/>
                      <a:gd name="T14" fmla="*/ 43 w 88"/>
                      <a:gd name="T15" fmla="*/ 132 h 132"/>
                      <a:gd name="T16" fmla="*/ 12 w 88"/>
                      <a:gd name="T17" fmla="*/ 116 h 132"/>
                      <a:gd name="T18" fmla="*/ 0 w 88"/>
                      <a:gd name="T19" fmla="*/ 68 h 132"/>
                      <a:gd name="T20" fmla="*/ 12 w 88"/>
                      <a:gd name="T21" fmla="*/ 17 h 132"/>
                      <a:gd name="T22" fmla="*/ 46 w 88"/>
                      <a:gd name="T23" fmla="*/ 0 h 132"/>
                      <a:gd name="T24" fmla="*/ 88 w 88"/>
                      <a:gd name="T25" fmla="*/ 65 h 132"/>
                      <a:gd name="T26" fmla="*/ 76 w 88"/>
                      <a:gd name="T27" fmla="*/ 115 h 132"/>
                      <a:gd name="T28" fmla="*/ 43 w 88"/>
                      <a:gd name="T29" fmla="*/ 132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8" h="132">
                        <a:moveTo>
                          <a:pt x="45" y="16"/>
                        </a:moveTo>
                        <a:cubicBezTo>
                          <a:pt x="45" y="16"/>
                          <a:pt x="45" y="16"/>
                          <a:pt x="45" y="16"/>
                        </a:cubicBezTo>
                        <a:cubicBezTo>
                          <a:pt x="29" y="16"/>
                          <a:pt x="22" y="33"/>
                          <a:pt x="22" y="67"/>
                        </a:cubicBezTo>
                        <a:cubicBezTo>
                          <a:pt x="22" y="100"/>
                          <a:pt x="29" y="116"/>
                          <a:pt x="45" y="116"/>
                        </a:cubicBezTo>
                        <a:cubicBezTo>
                          <a:pt x="60" y="116"/>
                          <a:pt x="67" y="99"/>
                          <a:pt x="67" y="67"/>
                        </a:cubicBezTo>
                        <a:cubicBezTo>
                          <a:pt x="67" y="33"/>
                          <a:pt x="60" y="16"/>
                          <a:pt x="45" y="16"/>
                        </a:cubicBezTo>
                        <a:close/>
                        <a:moveTo>
                          <a:pt x="43" y="132"/>
                        </a:moveTo>
                        <a:cubicBezTo>
                          <a:pt x="43" y="132"/>
                          <a:pt x="43" y="132"/>
                          <a:pt x="43" y="132"/>
                        </a:cubicBezTo>
                        <a:cubicBezTo>
                          <a:pt x="29" y="132"/>
                          <a:pt x="19" y="127"/>
                          <a:pt x="12" y="116"/>
                        </a:cubicBezTo>
                        <a:cubicBezTo>
                          <a:pt x="4" y="105"/>
                          <a:pt x="0" y="89"/>
                          <a:pt x="0" y="68"/>
                        </a:cubicBezTo>
                        <a:cubicBezTo>
                          <a:pt x="0" y="46"/>
                          <a:pt x="4" y="29"/>
                          <a:pt x="12" y="17"/>
                        </a:cubicBezTo>
                        <a:cubicBezTo>
                          <a:pt x="20" y="5"/>
                          <a:pt x="31" y="0"/>
                          <a:pt x="46" y="0"/>
                        </a:cubicBezTo>
                        <a:cubicBezTo>
                          <a:pt x="74" y="0"/>
                          <a:pt x="88" y="21"/>
                          <a:pt x="88" y="65"/>
                        </a:cubicBezTo>
                        <a:cubicBezTo>
                          <a:pt x="88" y="87"/>
                          <a:pt x="84" y="104"/>
                          <a:pt x="76" y="115"/>
                        </a:cubicBezTo>
                        <a:cubicBezTo>
                          <a:pt x="68" y="126"/>
                          <a:pt x="57" y="132"/>
                          <a:pt x="43" y="132"/>
                        </a:cubicBezTo>
                        <a:close/>
                      </a:path>
                    </a:pathLst>
                  </a:custGeom>
                  <a:solidFill>
                    <a:srgbClr val="4423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99" name="Freeform 15"/>
                  <p:cNvSpPr>
                    <a:spLocks noEditPoints="1"/>
                  </p:cNvSpPr>
                  <p:nvPr/>
                </p:nvSpPr>
                <p:spPr bwMode="auto">
                  <a:xfrm>
                    <a:off x="11154193" y="5222732"/>
                    <a:ext cx="144145" cy="215633"/>
                  </a:xfrm>
                  <a:custGeom>
                    <a:avLst/>
                    <a:gdLst>
                      <a:gd name="T0" fmla="*/ 45 w 88"/>
                      <a:gd name="T1" fmla="*/ 16 h 132"/>
                      <a:gd name="T2" fmla="*/ 45 w 88"/>
                      <a:gd name="T3" fmla="*/ 16 h 132"/>
                      <a:gd name="T4" fmla="*/ 21 w 88"/>
                      <a:gd name="T5" fmla="*/ 67 h 132"/>
                      <a:gd name="T6" fmla="*/ 44 w 88"/>
                      <a:gd name="T7" fmla="*/ 116 h 132"/>
                      <a:gd name="T8" fmla="*/ 67 w 88"/>
                      <a:gd name="T9" fmla="*/ 67 h 132"/>
                      <a:gd name="T10" fmla="*/ 45 w 88"/>
                      <a:gd name="T11" fmla="*/ 16 h 132"/>
                      <a:gd name="T12" fmla="*/ 43 w 88"/>
                      <a:gd name="T13" fmla="*/ 132 h 132"/>
                      <a:gd name="T14" fmla="*/ 43 w 88"/>
                      <a:gd name="T15" fmla="*/ 132 h 132"/>
                      <a:gd name="T16" fmla="*/ 11 w 88"/>
                      <a:gd name="T17" fmla="*/ 116 h 132"/>
                      <a:gd name="T18" fmla="*/ 0 w 88"/>
                      <a:gd name="T19" fmla="*/ 68 h 132"/>
                      <a:gd name="T20" fmla="*/ 12 w 88"/>
                      <a:gd name="T21" fmla="*/ 17 h 132"/>
                      <a:gd name="T22" fmla="*/ 46 w 88"/>
                      <a:gd name="T23" fmla="*/ 0 h 132"/>
                      <a:gd name="T24" fmla="*/ 88 w 88"/>
                      <a:gd name="T25" fmla="*/ 65 h 132"/>
                      <a:gd name="T26" fmla="*/ 76 w 88"/>
                      <a:gd name="T27" fmla="*/ 115 h 132"/>
                      <a:gd name="T28" fmla="*/ 43 w 88"/>
                      <a:gd name="T29" fmla="*/ 132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88" h="132">
                        <a:moveTo>
                          <a:pt x="45" y="16"/>
                        </a:moveTo>
                        <a:cubicBezTo>
                          <a:pt x="45" y="16"/>
                          <a:pt x="45" y="16"/>
                          <a:pt x="45" y="16"/>
                        </a:cubicBezTo>
                        <a:cubicBezTo>
                          <a:pt x="29" y="16"/>
                          <a:pt x="21" y="33"/>
                          <a:pt x="21" y="67"/>
                        </a:cubicBezTo>
                        <a:cubicBezTo>
                          <a:pt x="21" y="100"/>
                          <a:pt x="29" y="116"/>
                          <a:pt x="44" y="116"/>
                        </a:cubicBezTo>
                        <a:cubicBezTo>
                          <a:pt x="59" y="116"/>
                          <a:pt x="67" y="99"/>
                          <a:pt x="67" y="67"/>
                        </a:cubicBezTo>
                        <a:cubicBezTo>
                          <a:pt x="67" y="33"/>
                          <a:pt x="59" y="16"/>
                          <a:pt x="45" y="16"/>
                        </a:cubicBezTo>
                        <a:close/>
                        <a:moveTo>
                          <a:pt x="43" y="132"/>
                        </a:moveTo>
                        <a:cubicBezTo>
                          <a:pt x="43" y="132"/>
                          <a:pt x="43" y="132"/>
                          <a:pt x="43" y="132"/>
                        </a:cubicBezTo>
                        <a:cubicBezTo>
                          <a:pt x="29" y="132"/>
                          <a:pt x="19" y="127"/>
                          <a:pt x="11" y="116"/>
                        </a:cubicBezTo>
                        <a:cubicBezTo>
                          <a:pt x="4" y="105"/>
                          <a:pt x="0" y="89"/>
                          <a:pt x="0" y="68"/>
                        </a:cubicBezTo>
                        <a:cubicBezTo>
                          <a:pt x="0" y="46"/>
                          <a:pt x="4" y="29"/>
                          <a:pt x="12" y="17"/>
                        </a:cubicBezTo>
                        <a:cubicBezTo>
                          <a:pt x="20" y="5"/>
                          <a:pt x="31" y="0"/>
                          <a:pt x="46" y="0"/>
                        </a:cubicBezTo>
                        <a:cubicBezTo>
                          <a:pt x="74" y="0"/>
                          <a:pt x="88" y="21"/>
                          <a:pt x="88" y="65"/>
                        </a:cubicBezTo>
                        <a:cubicBezTo>
                          <a:pt x="88" y="87"/>
                          <a:pt x="84" y="104"/>
                          <a:pt x="76" y="115"/>
                        </a:cubicBezTo>
                        <a:cubicBezTo>
                          <a:pt x="68" y="126"/>
                          <a:pt x="57" y="132"/>
                          <a:pt x="43" y="132"/>
                        </a:cubicBezTo>
                        <a:close/>
                      </a:path>
                    </a:pathLst>
                  </a:custGeom>
                  <a:solidFill>
                    <a:srgbClr val="4423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0" name="Freeform 16"/>
                  <p:cNvSpPr>
                    <a:spLocks/>
                  </p:cNvSpPr>
                  <p:nvPr/>
                </p:nvSpPr>
                <p:spPr bwMode="auto">
                  <a:xfrm>
                    <a:off x="11465921" y="5312968"/>
                    <a:ext cx="724239" cy="292978"/>
                  </a:xfrm>
                  <a:custGeom>
                    <a:avLst/>
                    <a:gdLst>
                      <a:gd name="T0" fmla="*/ 0 w 442"/>
                      <a:gd name="T1" fmla="*/ 179 h 179"/>
                      <a:gd name="T2" fmla="*/ 0 w 442"/>
                      <a:gd name="T3" fmla="*/ 179 h 179"/>
                      <a:gd name="T4" fmla="*/ 290 w 442"/>
                      <a:gd name="T5" fmla="*/ 179 h 179"/>
                      <a:gd name="T6" fmla="*/ 442 w 442"/>
                      <a:gd name="T7" fmla="*/ 179 h 179"/>
                      <a:gd name="T8" fmla="*/ 442 w 442"/>
                      <a:gd name="T9" fmla="*/ 9 h 179"/>
                      <a:gd name="T10" fmla="*/ 0 w 442"/>
                      <a:gd name="T11" fmla="*/ 179 h 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42" h="179">
                        <a:moveTo>
                          <a:pt x="0" y="179"/>
                        </a:moveTo>
                        <a:cubicBezTo>
                          <a:pt x="0" y="179"/>
                          <a:pt x="0" y="179"/>
                          <a:pt x="0" y="179"/>
                        </a:cubicBezTo>
                        <a:cubicBezTo>
                          <a:pt x="290" y="179"/>
                          <a:pt x="290" y="179"/>
                          <a:pt x="290" y="179"/>
                        </a:cubicBezTo>
                        <a:cubicBezTo>
                          <a:pt x="442" y="179"/>
                          <a:pt x="442" y="179"/>
                          <a:pt x="442" y="179"/>
                        </a:cubicBezTo>
                        <a:cubicBezTo>
                          <a:pt x="442" y="9"/>
                          <a:pt x="442" y="9"/>
                          <a:pt x="442" y="9"/>
                        </a:cubicBezTo>
                        <a:cubicBezTo>
                          <a:pt x="283" y="0"/>
                          <a:pt x="122" y="57"/>
                          <a:pt x="0" y="179"/>
                        </a:cubicBezTo>
                        <a:close/>
                      </a:path>
                    </a:pathLst>
                  </a:custGeom>
                  <a:solidFill>
                    <a:srgbClr val="79A5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1" name="Freeform 17"/>
                  <p:cNvSpPr>
                    <a:spLocks/>
                  </p:cNvSpPr>
                  <p:nvPr/>
                </p:nvSpPr>
                <p:spPr bwMode="auto">
                  <a:xfrm>
                    <a:off x="11297167" y="4746935"/>
                    <a:ext cx="229694" cy="631661"/>
                  </a:xfrm>
                  <a:custGeom>
                    <a:avLst/>
                    <a:gdLst>
                      <a:gd name="T0" fmla="*/ 140 w 140"/>
                      <a:gd name="T1" fmla="*/ 0 h 385"/>
                      <a:gd name="T2" fmla="*/ 140 w 140"/>
                      <a:gd name="T3" fmla="*/ 0 h 385"/>
                      <a:gd name="T4" fmla="*/ 140 w 140"/>
                      <a:gd name="T5" fmla="*/ 385 h 385"/>
                      <a:gd name="T6" fmla="*/ 79 w 140"/>
                      <a:gd name="T7" fmla="*/ 385 h 385"/>
                      <a:gd name="T8" fmla="*/ 79 w 140"/>
                      <a:gd name="T9" fmla="*/ 74 h 385"/>
                      <a:gd name="T10" fmla="*/ 43 w 140"/>
                      <a:gd name="T11" fmla="*/ 95 h 385"/>
                      <a:gd name="T12" fmla="*/ 0 w 140"/>
                      <a:gd name="T13" fmla="*/ 109 h 385"/>
                      <a:gd name="T14" fmla="*/ 0 w 140"/>
                      <a:gd name="T15" fmla="*/ 57 h 385"/>
                      <a:gd name="T16" fmla="*/ 29 w 140"/>
                      <a:gd name="T17" fmla="*/ 47 h 385"/>
                      <a:gd name="T18" fmla="*/ 57 w 140"/>
                      <a:gd name="T19" fmla="*/ 34 h 385"/>
                      <a:gd name="T20" fmla="*/ 85 w 140"/>
                      <a:gd name="T21" fmla="*/ 19 h 385"/>
                      <a:gd name="T22" fmla="*/ 114 w 140"/>
                      <a:gd name="T23" fmla="*/ 0 h 385"/>
                      <a:gd name="T24" fmla="*/ 140 w 140"/>
                      <a:gd name="T25" fmla="*/ 0 h 385"/>
                      <a:gd name="T26" fmla="*/ 140 w 140"/>
                      <a:gd name="T27" fmla="*/ 0 h 3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40" h="385">
                        <a:moveTo>
                          <a:pt x="140" y="0"/>
                        </a:moveTo>
                        <a:cubicBezTo>
                          <a:pt x="140" y="0"/>
                          <a:pt x="140" y="0"/>
                          <a:pt x="140" y="0"/>
                        </a:cubicBezTo>
                        <a:cubicBezTo>
                          <a:pt x="140" y="385"/>
                          <a:pt x="140" y="385"/>
                          <a:pt x="140" y="385"/>
                        </a:cubicBezTo>
                        <a:cubicBezTo>
                          <a:pt x="79" y="385"/>
                          <a:pt x="79" y="385"/>
                          <a:pt x="79" y="385"/>
                        </a:cubicBezTo>
                        <a:cubicBezTo>
                          <a:pt x="79" y="74"/>
                          <a:pt x="79" y="74"/>
                          <a:pt x="79" y="74"/>
                        </a:cubicBezTo>
                        <a:cubicBezTo>
                          <a:pt x="68" y="82"/>
                          <a:pt x="56" y="89"/>
                          <a:pt x="43" y="95"/>
                        </a:cubicBezTo>
                        <a:cubicBezTo>
                          <a:pt x="31" y="100"/>
                          <a:pt x="16" y="105"/>
                          <a:pt x="0" y="109"/>
                        </a:cubicBezTo>
                        <a:cubicBezTo>
                          <a:pt x="0" y="57"/>
                          <a:pt x="0" y="57"/>
                          <a:pt x="0" y="57"/>
                        </a:cubicBezTo>
                        <a:cubicBezTo>
                          <a:pt x="10" y="54"/>
                          <a:pt x="20" y="50"/>
                          <a:pt x="29" y="47"/>
                        </a:cubicBezTo>
                        <a:cubicBezTo>
                          <a:pt x="39" y="43"/>
                          <a:pt x="48" y="39"/>
                          <a:pt x="57" y="34"/>
                        </a:cubicBezTo>
                        <a:cubicBezTo>
                          <a:pt x="67" y="30"/>
                          <a:pt x="76" y="25"/>
                          <a:pt x="85" y="19"/>
                        </a:cubicBezTo>
                        <a:cubicBezTo>
                          <a:pt x="95" y="13"/>
                          <a:pt x="104" y="7"/>
                          <a:pt x="114" y="0"/>
                        </a:cubicBezTo>
                        <a:cubicBezTo>
                          <a:pt x="140" y="0"/>
                          <a:pt x="140" y="0"/>
                          <a:pt x="140" y="0"/>
                        </a:cubicBezTo>
                        <a:cubicBezTo>
                          <a:pt x="140" y="0"/>
                          <a:pt x="140" y="0"/>
                          <a:pt x="140" y="0"/>
                        </a:cubicBezTo>
                        <a:close/>
                      </a:path>
                    </a:pathLst>
                  </a:cu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2" name="Freeform 18"/>
                  <p:cNvSpPr>
                    <a:spLocks noEditPoints="1"/>
                  </p:cNvSpPr>
                  <p:nvPr/>
                </p:nvSpPr>
                <p:spPr bwMode="auto">
                  <a:xfrm>
                    <a:off x="11587798" y="4738729"/>
                    <a:ext cx="448840" cy="678537"/>
                  </a:xfrm>
                  <a:custGeom>
                    <a:avLst/>
                    <a:gdLst>
                      <a:gd name="T0" fmla="*/ 139 w 274"/>
                      <a:gd name="T1" fmla="*/ 52 h 414"/>
                      <a:gd name="T2" fmla="*/ 139 w 274"/>
                      <a:gd name="T3" fmla="*/ 52 h 414"/>
                      <a:gd name="T4" fmla="*/ 66 w 274"/>
                      <a:gd name="T5" fmla="*/ 212 h 414"/>
                      <a:gd name="T6" fmla="*/ 137 w 274"/>
                      <a:gd name="T7" fmla="*/ 363 h 414"/>
                      <a:gd name="T8" fmla="*/ 208 w 274"/>
                      <a:gd name="T9" fmla="*/ 210 h 414"/>
                      <a:gd name="T10" fmla="*/ 139 w 274"/>
                      <a:gd name="T11" fmla="*/ 52 h 414"/>
                      <a:gd name="T12" fmla="*/ 132 w 274"/>
                      <a:gd name="T13" fmla="*/ 414 h 414"/>
                      <a:gd name="T14" fmla="*/ 132 w 274"/>
                      <a:gd name="T15" fmla="*/ 414 h 414"/>
                      <a:gd name="T16" fmla="*/ 35 w 274"/>
                      <a:gd name="T17" fmla="*/ 363 h 414"/>
                      <a:gd name="T18" fmla="*/ 0 w 274"/>
                      <a:gd name="T19" fmla="*/ 215 h 414"/>
                      <a:gd name="T20" fmla="*/ 36 w 274"/>
                      <a:gd name="T21" fmla="*/ 55 h 414"/>
                      <a:gd name="T22" fmla="*/ 142 w 274"/>
                      <a:gd name="T23" fmla="*/ 0 h 414"/>
                      <a:gd name="T24" fmla="*/ 274 w 274"/>
                      <a:gd name="T25" fmla="*/ 205 h 414"/>
                      <a:gd name="T26" fmla="*/ 237 w 274"/>
                      <a:gd name="T27" fmla="*/ 361 h 414"/>
                      <a:gd name="T28" fmla="*/ 132 w 274"/>
                      <a:gd name="T29" fmla="*/ 414 h 4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274" h="414">
                        <a:moveTo>
                          <a:pt x="139" y="52"/>
                        </a:moveTo>
                        <a:cubicBezTo>
                          <a:pt x="139" y="52"/>
                          <a:pt x="139" y="52"/>
                          <a:pt x="139" y="52"/>
                        </a:cubicBezTo>
                        <a:cubicBezTo>
                          <a:pt x="90" y="52"/>
                          <a:pt x="66" y="105"/>
                          <a:pt x="66" y="212"/>
                        </a:cubicBezTo>
                        <a:cubicBezTo>
                          <a:pt x="66" y="313"/>
                          <a:pt x="90" y="363"/>
                          <a:pt x="137" y="363"/>
                        </a:cubicBezTo>
                        <a:cubicBezTo>
                          <a:pt x="184" y="363"/>
                          <a:pt x="208" y="312"/>
                          <a:pt x="208" y="210"/>
                        </a:cubicBezTo>
                        <a:cubicBezTo>
                          <a:pt x="208" y="104"/>
                          <a:pt x="185" y="52"/>
                          <a:pt x="139" y="52"/>
                        </a:cubicBezTo>
                        <a:close/>
                        <a:moveTo>
                          <a:pt x="132" y="414"/>
                        </a:moveTo>
                        <a:cubicBezTo>
                          <a:pt x="132" y="414"/>
                          <a:pt x="132" y="414"/>
                          <a:pt x="132" y="414"/>
                        </a:cubicBezTo>
                        <a:cubicBezTo>
                          <a:pt x="91" y="414"/>
                          <a:pt x="58" y="397"/>
                          <a:pt x="35" y="363"/>
                        </a:cubicBezTo>
                        <a:cubicBezTo>
                          <a:pt x="11" y="329"/>
                          <a:pt x="0" y="280"/>
                          <a:pt x="0" y="215"/>
                        </a:cubicBezTo>
                        <a:cubicBezTo>
                          <a:pt x="0" y="144"/>
                          <a:pt x="12" y="91"/>
                          <a:pt x="36" y="55"/>
                        </a:cubicBezTo>
                        <a:cubicBezTo>
                          <a:pt x="61" y="18"/>
                          <a:pt x="96" y="0"/>
                          <a:pt x="142" y="0"/>
                        </a:cubicBezTo>
                        <a:cubicBezTo>
                          <a:pt x="230" y="0"/>
                          <a:pt x="274" y="68"/>
                          <a:pt x="274" y="205"/>
                        </a:cubicBezTo>
                        <a:cubicBezTo>
                          <a:pt x="274" y="273"/>
                          <a:pt x="262" y="325"/>
                          <a:pt x="237" y="361"/>
                        </a:cubicBezTo>
                        <a:cubicBezTo>
                          <a:pt x="212" y="396"/>
                          <a:pt x="177" y="414"/>
                          <a:pt x="132" y="414"/>
                        </a:cubicBezTo>
                        <a:close/>
                      </a:path>
                    </a:pathLst>
                  </a:cu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3" name="Freeform 19"/>
                  <p:cNvSpPr>
                    <a:spLocks/>
                  </p:cNvSpPr>
                  <p:nvPr/>
                </p:nvSpPr>
                <p:spPr bwMode="auto">
                  <a:xfrm>
                    <a:off x="10529564" y="5119601"/>
                    <a:ext cx="1660593" cy="486343"/>
                  </a:xfrm>
                  <a:custGeom>
                    <a:avLst/>
                    <a:gdLst>
                      <a:gd name="T0" fmla="*/ 0 w 1013"/>
                      <a:gd name="T1" fmla="*/ 297 h 297"/>
                      <a:gd name="T2" fmla="*/ 0 w 1013"/>
                      <a:gd name="T3" fmla="*/ 297 h 297"/>
                      <a:gd name="T4" fmla="*/ 1013 w 1013"/>
                      <a:gd name="T5" fmla="*/ 297 h 297"/>
                      <a:gd name="T6" fmla="*/ 1013 w 1013"/>
                      <a:gd name="T7" fmla="*/ 239 h 297"/>
                      <a:gd name="T8" fmla="*/ 0 w 1013"/>
                      <a:gd name="T9" fmla="*/ 297 h 2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13" h="297">
                        <a:moveTo>
                          <a:pt x="0" y="297"/>
                        </a:moveTo>
                        <a:cubicBezTo>
                          <a:pt x="0" y="297"/>
                          <a:pt x="0" y="297"/>
                          <a:pt x="0" y="297"/>
                        </a:cubicBezTo>
                        <a:cubicBezTo>
                          <a:pt x="1013" y="297"/>
                          <a:pt x="1013" y="297"/>
                          <a:pt x="1013" y="297"/>
                        </a:cubicBezTo>
                        <a:cubicBezTo>
                          <a:pt x="1013" y="239"/>
                          <a:pt x="1013" y="239"/>
                          <a:pt x="1013" y="239"/>
                        </a:cubicBezTo>
                        <a:cubicBezTo>
                          <a:pt x="714" y="0"/>
                          <a:pt x="277" y="19"/>
                          <a:pt x="0" y="297"/>
                        </a:cubicBezTo>
                        <a:close/>
                      </a:path>
                    </a:pathLst>
                  </a:custGeom>
                  <a:solidFill>
                    <a:srgbClr val="7FBA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4" name="Freeform 20"/>
                  <p:cNvSpPr>
                    <a:spLocks/>
                  </p:cNvSpPr>
                  <p:nvPr/>
                </p:nvSpPr>
                <p:spPr bwMode="auto">
                  <a:xfrm>
                    <a:off x="11013563" y="5252027"/>
                    <a:ext cx="213287" cy="260164"/>
                  </a:xfrm>
                  <a:custGeom>
                    <a:avLst/>
                    <a:gdLst>
                      <a:gd name="T0" fmla="*/ 43 w 130"/>
                      <a:gd name="T1" fmla="*/ 159 h 159"/>
                      <a:gd name="T2" fmla="*/ 43 w 130"/>
                      <a:gd name="T3" fmla="*/ 159 h 159"/>
                      <a:gd name="T4" fmla="*/ 130 w 130"/>
                      <a:gd name="T5" fmla="*/ 0 h 159"/>
                      <a:gd name="T6" fmla="*/ 77 w 130"/>
                      <a:gd name="T7" fmla="*/ 10 h 159"/>
                      <a:gd name="T8" fmla="*/ 0 w 130"/>
                      <a:gd name="T9" fmla="*/ 159 h 159"/>
                      <a:gd name="T10" fmla="*/ 43 w 130"/>
                      <a:gd name="T11" fmla="*/ 159 h 159"/>
                      <a:gd name="T12" fmla="*/ 43 w 130"/>
                      <a:gd name="T13" fmla="*/ 159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0" h="159">
                        <a:moveTo>
                          <a:pt x="43" y="159"/>
                        </a:moveTo>
                        <a:cubicBezTo>
                          <a:pt x="43" y="159"/>
                          <a:pt x="43" y="159"/>
                          <a:pt x="43" y="159"/>
                        </a:cubicBezTo>
                        <a:cubicBezTo>
                          <a:pt x="48" y="109"/>
                          <a:pt x="77" y="51"/>
                          <a:pt x="130" y="0"/>
                        </a:cubicBezTo>
                        <a:cubicBezTo>
                          <a:pt x="112" y="3"/>
                          <a:pt x="95" y="6"/>
                          <a:pt x="77" y="10"/>
                        </a:cubicBezTo>
                        <a:cubicBezTo>
                          <a:pt x="31" y="59"/>
                          <a:pt x="5" y="113"/>
                          <a:pt x="0" y="159"/>
                        </a:cubicBezTo>
                        <a:cubicBezTo>
                          <a:pt x="43" y="159"/>
                          <a:pt x="43" y="159"/>
                          <a:pt x="43" y="159"/>
                        </a:cubicBezTo>
                        <a:cubicBezTo>
                          <a:pt x="43" y="159"/>
                          <a:pt x="43" y="159"/>
                          <a:pt x="43" y="159"/>
                        </a:cubicBezTo>
                        <a:close/>
                      </a:path>
                    </a:pathLst>
                  </a:custGeom>
                  <a:solidFill>
                    <a:srgbClr val="79A5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5" name="Freeform 21"/>
                  <p:cNvSpPr>
                    <a:spLocks/>
                  </p:cNvSpPr>
                  <p:nvPr/>
                </p:nvSpPr>
                <p:spPr bwMode="auto">
                  <a:xfrm>
                    <a:off x="11700301" y="5261403"/>
                    <a:ext cx="64456" cy="24610"/>
                  </a:xfrm>
                  <a:custGeom>
                    <a:avLst/>
                    <a:gdLst>
                      <a:gd name="T0" fmla="*/ 39 w 39"/>
                      <a:gd name="T1" fmla="*/ 10 h 15"/>
                      <a:gd name="T2" fmla="*/ 39 w 39"/>
                      <a:gd name="T3" fmla="*/ 10 h 15"/>
                      <a:gd name="T4" fmla="*/ 6 w 39"/>
                      <a:gd name="T5" fmla="*/ 0 h 15"/>
                      <a:gd name="T6" fmla="*/ 0 w 39"/>
                      <a:gd name="T7" fmla="*/ 6 h 15"/>
                      <a:gd name="T8" fmla="*/ 35 w 39"/>
                      <a:gd name="T9" fmla="*/ 15 h 15"/>
                      <a:gd name="T10" fmla="*/ 39 w 39"/>
                      <a:gd name="T11" fmla="*/ 10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9" h="15">
                        <a:moveTo>
                          <a:pt x="39" y="10"/>
                        </a:moveTo>
                        <a:cubicBezTo>
                          <a:pt x="39" y="10"/>
                          <a:pt x="39" y="10"/>
                          <a:pt x="39" y="10"/>
                        </a:cubicBezTo>
                        <a:cubicBezTo>
                          <a:pt x="28" y="6"/>
                          <a:pt x="17" y="3"/>
                          <a:pt x="6" y="0"/>
                        </a:cubicBezTo>
                        <a:cubicBezTo>
                          <a:pt x="4" y="2"/>
                          <a:pt x="2" y="4"/>
                          <a:pt x="0" y="6"/>
                        </a:cubicBezTo>
                        <a:cubicBezTo>
                          <a:pt x="11" y="9"/>
                          <a:pt x="23" y="12"/>
                          <a:pt x="35" y="15"/>
                        </a:cubicBezTo>
                        <a:cubicBezTo>
                          <a:pt x="36" y="13"/>
                          <a:pt x="38" y="12"/>
                          <a:pt x="39" y="10"/>
                        </a:cubicBezTo>
                        <a:close/>
                      </a:path>
                    </a:pathLst>
                  </a:custGeom>
                  <a:solidFill>
                    <a:srgbClr val="79A5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6" name="Freeform 22"/>
                  <p:cNvSpPr>
                    <a:spLocks/>
                  </p:cNvSpPr>
                  <p:nvPr/>
                </p:nvSpPr>
                <p:spPr bwMode="auto">
                  <a:xfrm>
                    <a:off x="11576079" y="5271948"/>
                    <a:ext cx="181645" cy="240243"/>
                  </a:xfrm>
                  <a:custGeom>
                    <a:avLst/>
                    <a:gdLst>
                      <a:gd name="T0" fmla="*/ 43 w 111"/>
                      <a:gd name="T1" fmla="*/ 147 h 147"/>
                      <a:gd name="T2" fmla="*/ 43 w 111"/>
                      <a:gd name="T3" fmla="*/ 147 h 147"/>
                      <a:gd name="T4" fmla="*/ 111 w 111"/>
                      <a:gd name="T5" fmla="*/ 9 h 147"/>
                      <a:gd name="T6" fmla="*/ 76 w 111"/>
                      <a:gd name="T7" fmla="*/ 0 h 147"/>
                      <a:gd name="T8" fmla="*/ 0 w 111"/>
                      <a:gd name="T9" fmla="*/ 147 h 147"/>
                      <a:gd name="T10" fmla="*/ 43 w 111"/>
                      <a:gd name="T11" fmla="*/ 147 h 147"/>
                      <a:gd name="T12" fmla="*/ 43 w 111"/>
                      <a:gd name="T13" fmla="*/ 147 h 1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11" h="147">
                        <a:moveTo>
                          <a:pt x="43" y="147"/>
                        </a:move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48" y="104"/>
                          <a:pt x="70" y="55"/>
                          <a:pt x="111" y="9"/>
                        </a:cubicBezTo>
                        <a:cubicBezTo>
                          <a:pt x="99" y="6"/>
                          <a:pt x="87" y="3"/>
                          <a:pt x="76" y="0"/>
                        </a:cubicBezTo>
                        <a:cubicBezTo>
                          <a:pt x="31" y="48"/>
                          <a:pt x="5" y="101"/>
                          <a:pt x="0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ubicBezTo>
                          <a:pt x="43" y="147"/>
                          <a:pt x="43" y="147"/>
                          <a:pt x="43" y="147"/>
                        </a:cubicBezTo>
                        <a:close/>
                      </a:path>
                    </a:pathLst>
                  </a:custGeom>
                  <a:solidFill>
                    <a:srgbClr val="79A5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7" name="Freeform 23"/>
                  <p:cNvSpPr>
                    <a:spLocks/>
                  </p:cNvSpPr>
                  <p:nvPr/>
                </p:nvSpPr>
                <p:spPr bwMode="auto">
                  <a:xfrm>
                    <a:off x="11182317" y="5239137"/>
                    <a:ext cx="414856" cy="283603"/>
                  </a:xfrm>
                  <a:custGeom>
                    <a:avLst/>
                    <a:gdLst>
                      <a:gd name="T0" fmla="*/ 40 w 253"/>
                      <a:gd name="T1" fmla="*/ 38 h 173"/>
                      <a:gd name="T2" fmla="*/ 40 w 253"/>
                      <a:gd name="T3" fmla="*/ 38 h 173"/>
                      <a:gd name="T4" fmla="*/ 9 w 253"/>
                      <a:gd name="T5" fmla="*/ 140 h 173"/>
                      <a:gd name="T6" fmla="*/ 70 w 253"/>
                      <a:gd name="T7" fmla="*/ 173 h 173"/>
                      <a:gd name="T8" fmla="*/ 146 w 253"/>
                      <a:gd name="T9" fmla="*/ 138 h 173"/>
                      <a:gd name="T10" fmla="*/ 232 w 253"/>
                      <a:gd name="T11" fmla="*/ 31 h 173"/>
                      <a:gd name="T12" fmla="*/ 253 w 253"/>
                      <a:gd name="T13" fmla="*/ 8 h 173"/>
                      <a:gd name="T14" fmla="*/ 213 w 253"/>
                      <a:gd name="T15" fmla="*/ 3 h 173"/>
                      <a:gd name="T16" fmla="*/ 184 w 253"/>
                      <a:gd name="T17" fmla="*/ 34 h 173"/>
                      <a:gd name="T18" fmla="*/ 79 w 253"/>
                      <a:gd name="T19" fmla="*/ 140 h 173"/>
                      <a:gd name="T20" fmla="*/ 87 w 253"/>
                      <a:gd name="T21" fmla="*/ 36 h 173"/>
                      <a:gd name="T22" fmla="*/ 123 w 253"/>
                      <a:gd name="T23" fmla="*/ 0 h 173"/>
                      <a:gd name="T24" fmla="*/ 76 w 253"/>
                      <a:gd name="T25" fmla="*/ 3 h 173"/>
                      <a:gd name="T26" fmla="*/ 40 w 253"/>
                      <a:gd name="T27" fmla="*/ 38 h 1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53" h="173">
                        <a:moveTo>
                          <a:pt x="40" y="38"/>
                        </a:moveTo>
                        <a:cubicBezTo>
                          <a:pt x="40" y="38"/>
                          <a:pt x="40" y="38"/>
                          <a:pt x="40" y="38"/>
                        </a:cubicBezTo>
                        <a:cubicBezTo>
                          <a:pt x="4" y="82"/>
                          <a:pt x="0" y="117"/>
                          <a:pt x="9" y="140"/>
                        </a:cubicBezTo>
                        <a:cubicBezTo>
                          <a:pt x="19" y="163"/>
                          <a:pt x="42" y="173"/>
                          <a:pt x="70" y="173"/>
                        </a:cubicBezTo>
                        <a:cubicBezTo>
                          <a:pt x="100" y="173"/>
                          <a:pt x="123" y="162"/>
                          <a:pt x="146" y="138"/>
                        </a:cubicBezTo>
                        <a:cubicBezTo>
                          <a:pt x="170" y="115"/>
                          <a:pt x="192" y="77"/>
                          <a:pt x="232" y="31"/>
                        </a:cubicBezTo>
                        <a:cubicBezTo>
                          <a:pt x="239" y="23"/>
                          <a:pt x="246" y="15"/>
                          <a:pt x="253" y="8"/>
                        </a:cubicBezTo>
                        <a:cubicBezTo>
                          <a:pt x="240" y="6"/>
                          <a:pt x="226" y="5"/>
                          <a:pt x="213" y="3"/>
                        </a:cubicBezTo>
                        <a:cubicBezTo>
                          <a:pt x="204" y="12"/>
                          <a:pt x="194" y="23"/>
                          <a:pt x="184" y="34"/>
                        </a:cubicBezTo>
                        <a:cubicBezTo>
                          <a:pt x="127" y="105"/>
                          <a:pt x="113" y="140"/>
                          <a:pt x="79" y="140"/>
                        </a:cubicBezTo>
                        <a:cubicBezTo>
                          <a:pt x="49" y="140"/>
                          <a:pt x="32" y="105"/>
                          <a:pt x="87" y="36"/>
                        </a:cubicBezTo>
                        <a:cubicBezTo>
                          <a:pt x="98" y="22"/>
                          <a:pt x="110" y="11"/>
                          <a:pt x="123" y="0"/>
                        </a:cubicBezTo>
                        <a:cubicBezTo>
                          <a:pt x="107" y="1"/>
                          <a:pt x="91" y="1"/>
                          <a:pt x="76" y="3"/>
                        </a:cubicBezTo>
                        <a:cubicBezTo>
                          <a:pt x="63" y="13"/>
                          <a:pt x="51" y="25"/>
                          <a:pt x="40" y="38"/>
                        </a:cubicBezTo>
                        <a:close/>
                      </a:path>
                    </a:pathLst>
                  </a:custGeom>
                  <a:solidFill>
                    <a:srgbClr val="79A5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8" name="Freeform 24"/>
                  <p:cNvSpPr>
                    <a:spLocks/>
                  </p:cNvSpPr>
                  <p:nvPr/>
                </p:nvSpPr>
                <p:spPr bwMode="auto">
                  <a:xfrm>
                    <a:off x="11749521" y="5304762"/>
                    <a:ext cx="288289" cy="217975"/>
                  </a:xfrm>
                  <a:custGeom>
                    <a:avLst/>
                    <a:gdLst>
                      <a:gd name="T0" fmla="*/ 9 w 176"/>
                      <a:gd name="T1" fmla="*/ 100 h 133"/>
                      <a:gd name="T2" fmla="*/ 9 w 176"/>
                      <a:gd name="T3" fmla="*/ 100 h 133"/>
                      <a:gd name="T4" fmla="*/ 70 w 176"/>
                      <a:gd name="T5" fmla="*/ 133 h 133"/>
                      <a:gd name="T6" fmla="*/ 146 w 176"/>
                      <a:gd name="T7" fmla="*/ 98 h 133"/>
                      <a:gd name="T8" fmla="*/ 176 w 176"/>
                      <a:gd name="T9" fmla="*/ 62 h 133"/>
                      <a:gd name="T10" fmla="*/ 145 w 176"/>
                      <a:gd name="T11" fmla="*/ 45 h 133"/>
                      <a:gd name="T12" fmla="*/ 79 w 176"/>
                      <a:gd name="T13" fmla="*/ 100 h 133"/>
                      <a:gd name="T14" fmla="*/ 74 w 176"/>
                      <a:gd name="T15" fmla="*/ 13 h 133"/>
                      <a:gd name="T16" fmla="*/ 39 w 176"/>
                      <a:gd name="T17" fmla="*/ 0 h 133"/>
                      <a:gd name="T18" fmla="*/ 9 w 176"/>
                      <a:gd name="T19" fmla="*/ 100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76" h="133">
                        <a:moveTo>
                          <a:pt x="9" y="100"/>
                        </a:moveTo>
                        <a:cubicBezTo>
                          <a:pt x="9" y="100"/>
                          <a:pt x="9" y="100"/>
                          <a:pt x="9" y="100"/>
                        </a:cubicBezTo>
                        <a:cubicBezTo>
                          <a:pt x="19" y="123"/>
                          <a:pt x="42" y="133"/>
                          <a:pt x="70" y="133"/>
                        </a:cubicBezTo>
                        <a:cubicBezTo>
                          <a:pt x="100" y="133"/>
                          <a:pt x="123" y="122"/>
                          <a:pt x="146" y="98"/>
                        </a:cubicBezTo>
                        <a:cubicBezTo>
                          <a:pt x="156" y="88"/>
                          <a:pt x="166" y="76"/>
                          <a:pt x="176" y="62"/>
                        </a:cubicBezTo>
                        <a:cubicBezTo>
                          <a:pt x="166" y="56"/>
                          <a:pt x="156" y="50"/>
                          <a:pt x="145" y="45"/>
                        </a:cubicBezTo>
                        <a:cubicBezTo>
                          <a:pt x="119" y="82"/>
                          <a:pt x="102" y="100"/>
                          <a:pt x="79" y="100"/>
                        </a:cubicBezTo>
                        <a:cubicBezTo>
                          <a:pt x="51" y="100"/>
                          <a:pt x="35" y="71"/>
                          <a:pt x="74" y="13"/>
                        </a:cubicBezTo>
                        <a:cubicBezTo>
                          <a:pt x="62" y="8"/>
                          <a:pt x="51" y="4"/>
                          <a:pt x="39" y="0"/>
                        </a:cubicBezTo>
                        <a:cubicBezTo>
                          <a:pt x="4" y="43"/>
                          <a:pt x="0" y="78"/>
                          <a:pt x="9" y="100"/>
                        </a:cubicBezTo>
                        <a:close/>
                      </a:path>
                    </a:pathLst>
                  </a:custGeom>
                  <a:solidFill>
                    <a:srgbClr val="79A5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9" name="Freeform 25"/>
                  <p:cNvSpPr>
                    <a:spLocks/>
                  </p:cNvSpPr>
                  <p:nvPr/>
                </p:nvSpPr>
                <p:spPr bwMode="auto">
                  <a:xfrm>
                    <a:off x="12123359" y="5460626"/>
                    <a:ext cx="66798" cy="62111"/>
                  </a:xfrm>
                  <a:custGeom>
                    <a:avLst/>
                    <a:gdLst>
                      <a:gd name="T0" fmla="*/ 0 w 41"/>
                      <a:gd name="T1" fmla="*/ 0 h 38"/>
                      <a:gd name="T2" fmla="*/ 0 w 41"/>
                      <a:gd name="T3" fmla="*/ 0 h 38"/>
                      <a:gd name="T4" fmla="*/ 0 w 41"/>
                      <a:gd name="T5" fmla="*/ 5 h 38"/>
                      <a:gd name="T6" fmla="*/ 38 w 41"/>
                      <a:gd name="T7" fmla="*/ 38 h 38"/>
                      <a:gd name="T8" fmla="*/ 41 w 41"/>
                      <a:gd name="T9" fmla="*/ 32 h 38"/>
                      <a:gd name="T10" fmla="*/ 41 w 41"/>
                      <a:gd name="T11" fmla="*/ 31 h 38"/>
                      <a:gd name="T12" fmla="*/ 0 w 41"/>
                      <a:gd name="T13" fmla="*/ 0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1" h="38"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2"/>
                          <a:pt x="0" y="3"/>
                          <a:pt x="0" y="5"/>
                        </a:cubicBezTo>
                        <a:cubicBezTo>
                          <a:pt x="3" y="25"/>
                          <a:pt x="15" y="36"/>
                          <a:pt x="38" y="38"/>
                        </a:cubicBezTo>
                        <a:cubicBezTo>
                          <a:pt x="41" y="32"/>
                          <a:pt x="41" y="32"/>
                          <a:pt x="41" y="32"/>
                        </a:cubicBezTo>
                        <a:cubicBezTo>
                          <a:pt x="41" y="31"/>
                          <a:pt x="41" y="31"/>
                          <a:pt x="41" y="31"/>
                        </a:cubicBezTo>
                        <a:cubicBezTo>
                          <a:pt x="28" y="20"/>
                          <a:pt x="14" y="1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79A5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0" name="Freeform 26"/>
                  <p:cNvSpPr>
                    <a:spLocks/>
                  </p:cNvSpPr>
                  <p:nvPr/>
                </p:nvSpPr>
                <p:spPr bwMode="auto">
                  <a:xfrm>
                    <a:off x="10926835" y="5083271"/>
                    <a:ext cx="155864" cy="428918"/>
                  </a:xfrm>
                  <a:custGeom>
                    <a:avLst/>
                    <a:gdLst>
                      <a:gd name="T0" fmla="*/ 95 w 95"/>
                      <a:gd name="T1" fmla="*/ 0 h 262"/>
                      <a:gd name="T2" fmla="*/ 95 w 95"/>
                      <a:gd name="T3" fmla="*/ 0 h 262"/>
                      <a:gd name="T4" fmla="*/ 95 w 95"/>
                      <a:gd name="T5" fmla="*/ 262 h 262"/>
                      <a:gd name="T6" fmla="*/ 54 w 95"/>
                      <a:gd name="T7" fmla="*/ 262 h 262"/>
                      <a:gd name="T8" fmla="*/ 54 w 95"/>
                      <a:gd name="T9" fmla="*/ 51 h 262"/>
                      <a:gd name="T10" fmla="*/ 30 w 95"/>
                      <a:gd name="T11" fmla="*/ 65 h 262"/>
                      <a:gd name="T12" fmla="*/ 0 w 95"/>
                      <a:gd name="T13" fmla="*/ 74 h 262"/>
                      <a:gd name="T14" fmla="*/ 0 w 95"/>
                      <a:gd name="T15" fmla="*/ 39 h 262"/>
                      <a:gd name="T16" fmla="*/ 20 w 95"/>
                      <a:gd name="T17" fmla="*/ 32 h 262"/>
                      <a:gd name="T18" fmla="*/ 39 w 95"/>
                      <a:gd name="T19" fmla="*/ 24 h 262"/>
                      <a:gd name="T20" fmla="*/ 58 w 95"/>
                      <a:gd name="T21" fmla="*/ 13 h 262"/>
                      <a:gd name="T22" fmla="*/ 78 w 95"/>
                      <a:gd name="T23" fmla="*/ 0 h 262"/>
                      <a:gd name="T24" fmla="*/ 95 w 95"/>
                      <a:gd name="T25" fmla="*/ 0 h 262"/>
                      <a:gd name="T26" fmla="*/ 95 w 95"/>
                      <a:gd name="T27" fmla="*/ 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95" h="262">
                        <a:moveTo>
                          <a:pt x="95" y="0"/>
                        </a:move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95" y="262"/>
                          <a:pt x="95" y="262"/>
                          <a:pt x="95" y="262"/>
                        </a:cubicBezTo>
                        <a:cubicBezTo>
                          <a:pt x="54" y="262"/>
                          <a:pt x="54" y="262"/>
                          <a:pt x="54" y="262"/>
                        </a:cubicBezTo>
                        <a:cubicBezTo>
                          <a:pt x="54" y="51"/>
                          <a:pt x="54" y="51"/>
                          <a:pt x="54" y="51"/>
                        </a:cubicBezTo>
                        <a:cubicBezTo>
                          <a:pt x="46" y="56"/>
                          <a:pt x="38" y="61"/>
                          <a:pt x="30" y="65"/>
                        </a:cubicBezTo>
                        <a:cubicBezTo>
                          <a:pt x="21" y="68"/>
                          <a:pt x="11" y="72"/>
                          <a:pt x="0" y="74"/>
                        </a:cubicBezTo>
                        <a:cubicBezTo>
                          <a:pt x="0" y="39"/>
                          <a:pt x="0" y="39"/>
                          <a:pt x="0" y="39"/>
                        </a:cubicBezTo>
                        <a:cubicBezTo>
                          <a:pt x="7" y="37"/>
                          <a:pt x="14" y="34"/>
                          <a:pt x="20" y="32"/>
                        </a:cubicBezTo>
                        <a:cubicBezTo>
                          <a:pt x="26" y="30"/>
                          <a:pt x="33" y="27"/>
                          <a:pt x="39" y="24"/>
                        </a:cubicBezTo>
                        <a:cubicBezTo>
                          <a:pt x="45" y="20"/>
                          <a:pt x="52" y="17"/>
                          <a:pt x="58" y="13"/>
                        </a:cubicBezTo>
                        <a:cubicBezTo>
                          <a:pt x="64" y="9"/>
                          <a:pt x="71" y="5"/>
                          <a:pt x="78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1" name="Freeform 27"/>
                  <p:cNvSpPr>
                    <a:spLocks/>
                  </p:cNvSpPr>
                  <p:nvPr/>
                </p:nvSpPr>
                <p:spPr bwMode="auto">
                  <a:xfrm>
                    <a:off x="11472947" y="5083271"/>
                    <a:ext cx="155864" cy="428918"/>
                  </a:xfrm>
                  <a:custGeom>
                    <a:avLst/>
                    <a:gdLst>
                      <a:gd name="T0" fmla="*/ 95 w 95"/>
                      <a:gd name="T1" fmla="*/ 0 h 262"/>
                      <a:gd name="T2" fmla="*/ 95 w 95"/>
                      <a:gd name="T3" fmla="*/ 0 h 262"/>
                      <a:gd name="T4" fmla="*/ 95 w 95"/>
                      <a:gd name="T5" fmla="*/ 262 h 262"/>
                      <a:gd name="T6" fmla="*/ 54 w 95"/>
                      <a:gd name="T7" fmla="*/ 262 h 262"/>
                      <a:gd name="T8" fmla="*/ 54 w 95"/>
                      <a:gd name="T9" fmla="*/ 51 h 262"/>
                      <a:gd name="T10" fmla="*/ 29 w 95"/>
                      <a:gd name="T11" fmla="*/ 65 h 262"/>
                      <a:gd name="T12" fmla="*/ 0 w 95"/>
                      <a:gd name="T13" fmla="*/ 74 h 262"/>
                      <a:gd name="T14" fmla="*/ 0 w 95"/>
                      <a:gd name="T15" fmla="*/ 39 h 262"/>
                      <a:gd name="T16" fmla="*/ 20 w 95"/>
                      <a:gd name="T17" fmla="*/ 32 h 262"/>
                      <a:gd name="T18" fmla="*/ 39 w 95"/>
                      <a:gd name="T19" fmla="*/ 24 h 262"/>
                      <a:gd name="T20" fmla="*/ 58 w 95"/>
                      <a:gd name="T21" fmla="*/ 13 h 262"/>
                      <a:gd name="T22" fmla="*/ 78 w 95"/>
                      <a:gd name="T23" fmla="*/ 0 h 262"/>
                      <a:gd name="T24" fmla="*/ 95 w 95"/>
                      <a:gd name="T25" fmla="*/ 0 h 262"/>
                      <a:gd name="T26" fmla="*/ 95 w 95"/>
                      <a:gd name="T27" fmla="*/ 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95" h="262">
                        <a:moveTo>
                          <a:pt x="95" y="0"/>
                        </a:move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95" y="262"/>
                          <a:pt x="95" y="262"/>
                          <a:pt x="95" y="262"/>
                        </a:cubicBezTo>
                        <a:cubicBezTo>
                          <a:pt x="54" y="262"/>
                          <a:pt x="54" y="262"/>
                          <a:pt x="54" y="262"/>
                        </a:cubicBezTo>
                        <a:cubicBezTo>
                          <a:pt x="54" y="51"/>
                          <a:pt x="54" y="51"/>
                          <a:pt x="54" y="51"/>
                        </a:cubicBezTo>
                        <a:cubicBezTo>
                          <a:pt x="46" y="56"/>
                          <a:pt x="38" y="61"/>
                          <a:pt x="29" y="65"/>
                        </a:cubicBezTo>
                        <a:cubicBezTo>
                          <a:pt x="21" y="68"/>
                          <a:pt x="11" y="72"/>
                          <a:pt x="0" y="74"/>
                        </a:cubicBezTo>
                        <a:cubicBezTo>
                          <a:pt x="0" y="39"/>
                          <a:pt x="0" y="39"/>
                          <a:pt x="0" y="39"/>
                        </a:cubicBezTo>
                        <a:cubicBezTo>
                          <a:pt x="7" y="37"/>
                          <a:pt x="13" y="34"/>
                          <a:pt x="20" y="32"/>
                        </a:cubicBezTo>
                        <a:cubicBezTo>
                          <a:pt x="26" y="30"/>
                          <a:pt x="33" y="27"/>
                          <a:pt x="39" y="24"/>
                        </a:cubicBezTo>
                        <a:cubicBezTo>
                          <a:pt x="45" y="20"/>
                          <a:pt x="51" y="17"/>
                          <a:pt x="58" y="13"/>
                        </a:cubicBezTo>
                        <a:cubicBezTo>
                          <a:pt x="64" y="9"/>
                          <a:pt x="71" y="5"/>
                          <a:pt x="78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ubicBezTo>
                          <a:pt x="95" y="0"/>
                          <a:pt x="95" y="0"/>
                          <a:pt x="95" y="0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2" name="Freeform 28"/>
                  <p:cNvSpPr>
                    <a:spLocks noEditPoints="1"/>
                  </p:cNvSpPr>
                  <p:nvPr/>
                </p:nvSpPr>
                <p:spPr bwMode="auto">
                  <a:xfrm>
                    <a:off x="11148333" y="5078584"/>
                    <a:ext cx="294148" cy="444155"/>
                  </a:xfrm>
                  <a:custGeom>
                    <a:avLst/>
                    <a:gdLst>
                      <a:gd name="T0" fmla="*/ 91 w 180"/>
                      <a:gd name="T1" fmla="*/ 34 h 271"/>
                      <a:gd name="T2" fmla="*/ 91 w 180"/>
                      <a:gd name="T3" fmla="*/ 34 h 271"/>
                      <a:gd name="T4" fmla="*/ 43 w 180"/>
                      <a:gd name="T5" fmla="*/ 139 h 271"/>
                      <a:gd name="T6" fmla="*/ 90 w 180"/>
                      <a:gd name="T7" fmla="*/ 238 h 271"/>
                      <a:gd name="T8" fmla="*/ 136 w 180"/>
                      <a:gd name="T9" fmla="*/ 137 h 271"/>
                      <a:gd name="T10" fmla="*/ 91 w 180"/>
                      <a:gd name="T11" fmla="*/ 34 h 271"/>
                      <a:gd name="T12" fmla="*/ 87 w 180"/>
                      <a:gd name="T13" fmla="*/ 271 h 271"/>
                      <a:gd name="T14" fmla="*/ 87 w 180"/>
                      <a:gd name="T15" fmla="*/ 271 h 271"/>
                      <a:gd name="T16" fmla="*/ 23 w 180"/>
                      <a:gd name="T17" fmla="*/ 238 h 271"/>
                      <a:gd name="T18" fmla="*/ 0 w 180"/>
                      <a:gd name="T19" fmla="*/ 141 h 271"/>
                      <a:gd name="T20" fmla="*/ 24 w 180"/>
                      <a:gd name="T21" fmla="*/ 36 h 271"/>
                      <a:gd name="T22" fmla="*/ 93 w 180"/>
                      <a:gd name="T23" fmla="*/ 0 h 271"/>
                      <a:gd name="T24" fmla="*/ 180 w 180"/>
                      <a:gd name="T25" fmla="*/ 135 h 271"/>
                      <a:gd name="T26" fmla="*/ 155 w 180"/>
                      <a:gd name="T27" fmla="*/ 236 h 271"/>
                      <a:gd name="T28" fmla="*/ 87 w 180"/>
                      <a:gd name="T29" fmla="*/ 271 h 2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80" h="271">
                        <a:moveTo>
                          <a:pt x="91" y="34"/>
                        </a:moveTo>
                        <a:cubicBezTo>
                          <a:pt x="91" y="34"/>
                          <a:pt x="91" y="34"/>
                          <a:pt x="91" y="34"/>
                        </a:cubicBezTo>
                        <a:cubicBezTo>
                          <a:pt x="59" y="34"/>
                          <a:pt x="43" y="69"/>
                          <a:pt x="43" y="139"/>
                        </a:cubicBezTo>
                        <a:cubicBezTo>
                          <a:pt x="43" y="205"/>
                          <a:pt x="59" y="238"/>
                          <a:pt x="90" y="238"/>
                        </a:cubicBezTo>
                        <a:cubicBezTo>
                          <a:pt x="121" y="238"/>
                          <a:pt x="136" y="204"/>
                          <a:pt x="136" y="137"/>
                        </a:cubicBezTo>
                        <a:cubicBezTo>
                          <a:pt x="136" y="69"/>
                          <a:pt x="121" y="34"/>
                          <a:pt x="91" y="34"/>
                        </a:cubicBezTo>
                        <a:close/>
                        <a:moveTo>
                          <a:pt x="87" y="271"/>
                        </a:moveTo>
                        <a:cubicBezTo>
                          <a:pt x="87" y="271"/>
                          <a:pt x="87" y="271"/>
                          <a:pt x="87" y="271"/>
                        </a:cubicBezTo>
                        <a:cubicBezTo>
                          <a:pt x="59" y="271"/>
                          <a:pt x="38" y="260"/>
                          <a:pt x="23" y="238"/>
                        </a:cubicBezTo>
                        <a:cubicBezTo>
                          <a:pt x="7" y="216"/>
                          <a:pt x="0" y="183"/>
                          <a:pt x="0" y="141"/>
                        </a:cubicBezTo>
                        <a:cubicBezTo>
                          <a:pt x="0" y="95"/>
                          <a:pt x="8" y="60"/>
                          <a:pt x="24" y="36"/>
                        </a:cubicBezTo>
                        <a:cubicBezTo>
                          <a:pt x="40" y="12"/>
                          <a:pt x="63" y="0"/>
                          <a:pt x="93" y="0"/>
                        </a:cubicBezTo>
                        <a:cubicBezTo>
                          <a:pt x="151" y="0"/>
                          <a:pt x="180" y="45"/>
                          <a:pt x="180" y="135"/>
                        </a:cubicBezTo>
                        <a:cubicBezTo>
                          <a:pt x="180" y="179"/>
                          <a:pt x="171" y="213"/>
                          <a:pt x="155" y="236"/>
                        </a:cubicBezTo>
                        <a:cubicBezTo>
                          <a:pt x="139" y="260"/>
                          <a:pt x="116" y="271"/>
                          <a:pt x="87" y="271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3" name="Freeform 29"/>
                  <p:cNvSpPr>
                    <a:spLocks noEditPoints="1"/>
                  </p:cNvSpPr>
                  <p:nvPr/>
                </p:nvSpPr>
                <p:spPr bwMode="auto">
                  <a:xfrm>
                    <a:off x="11696785" y="5078584"/>
                    <a:ext cx="295321" cy="444155"/>
                  </a:xfrm>
                  <a:custGeom>
                    <a:avLst/>
                    <a:gdLst>
                      <a:gd name="T0" fmla="*/ 91 w 180"/>
                      <a:gd name="T1" fmla="*/ 34 h 271"/>
                      <a:gd name="T2" fmla="*/ 91 w 180"/>
                      <a:gd name="T3" fmla="*/ 34 h 271"/>
                      <a:gd name="T4" fmla="*/ 43 w 180"/>
                      <a:gd name="T5" fmla="*/ 139 h 271"/>
                      <a:gd name="T6" fmla="*/ 90 w 180"/>
                      <a:gd name="T7" fmla="*/ 238 h 271"/>
                      <a:gd name="T8" fmla="*/ 136 w 180"/>
                      <a:gd name="T9" fmla="*/ 137 h 271"/>
                      <a:gd name="T10" fmla="*/ 91 w 180"/>
                      <a:gd name="T11" fmla="*/ 34 h 271"/>
                      <a:gd name="T12" fmla="*/ 87 w 180"/>
                      <a:gd name="T13" fmla="*/ 271 h 271"/>
                      <a:gd name="T14" fmla="*/ 87 w 180"/>
                      <a:gd name="T15" fmla="*/ 271 h 271"/>
                      <a:gd name="T16" fmla="*/ 23 w 180"/>
                      <a:gd name="T17" fmla="*/ 238 h 271"/>
                      <a:gd name="T18" fmla="*/ 0 w 180"/>
                      <a:gd name="T19" fmla="*/ 141 h 271"/>
                      <a:gd name="T20" fmla="*/ 24 w 180"/>
                      <a:gd name="T21" fmla="*/ 36 h 271"/>
                      <a:gd name="T22" fmla="*/ 93 w 180"/>
                      <a:gd name="T23" fmla="*/ 0 h 271"/>
                      <a:gd name="T24" fmla="*/ 180 w 180"/>
                      <a:gd name="T25" fmla="*/ 135 h 271"/>
                      <a:gd name="T26" fmla="*/ 155 w 180"/>
                      <a:gd name="T27" fmla="*/ 236 h 271"/>
                      <a:gd name="T28" fmla="*/ 87 w 180"/>
                      <a:gd name="T29" fmla="*/ 271 h 2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80" h="271">
                        <a:moveTo>
                          <a:pt x="91" y="34"/>
                        </a:moveTo>
                        <a:cubicBezTo>
                          <a:pt x="91" y="34"/>
                          <a:pt x="91" y="34"/>
                          <a:pt x="91" y="34"/>
                        </a:cubicBezTo>
                        <a:cubicBezTo>
                          <a:pt x="59" y="34"/>
                          <a:pt x="43" y="69"/>
                          <a:pt x="43" y="139"/>
                        </a:cubicBezTo>
                        <a:cubicBezTo>
                          <a:pt x="43" y="205"/>
                          <a:pt x="59" y="238"/>
                          <a:pt x="90" y="238"/>
                        </a:cubicBezTo>
                        <a:cubicBezTo>
                          <a:pt x="121" y="238"/>
                          <a:pt x="136" y="204"/>
                          <a:pt x="136" y="137"/>
                        </a:cubicBezTo>
                        <a:cubicBezTo>
                          <a:pt x="136" y="69"/>
                          <a:pt x="121" y="34"/>
                          <a:pt x="91" y="34"/>
                        </a:cubicBezTo>
                        <a:close/>
                        <a:moveTo>
                          <a:pt x="87" y="271"/>
                        </a:moveTo>
                        <a:cubicBezTo>
                          <a:pt x="87" y="271"/>
                          <a:pt x="87" y="271"/>
                          <a:pt x="87" y="271"/>
                        </a:cubicBezTo>
                        <a:cubicBezTo>
                          <a:pt x="60" y="271"/>
                          <a:pt x="38" y="260"/>
                          <a:pt x="23" y="238"/>
                        </a:cubicBezTo>
                        <a:cubicBezTo>
                          <a:pt x="8" y="216"/>
                          <a:pt x="0" y="183"/>
                          <a:pt x="0" y="141"/>
                        </a:cubicBezTo>
                        <a:cubicBezTo>
                          <a:pt x="0" y="95"/>
                          <a:pt x="8" y="60"/>
                          <a:pt x="24" y="36"/>
                        </a:cubicBezTo>
                        <a:cubicBezTo>
                          <a:pt x="40" y="12"/>
                          <a:pt x="63" y="0"/>
                          <a:pt x="93" y="0"/>
                        </a:cubicBezTo>
                        <a:cubicBezTo>
                          <a:pt x="151" y="0"/>
                          <a:pt x="180" y="45"/>
                          <a:pt x="180" y="135"/>
                        </a:cubicBezTo>
                        <a:cubicBezTo>
                          <a:pt x="180" y="179"/>
                          <a:pt x="171" y="213"/>
                          <a:pt x="155" y="236"/>
                        </a:cubicBezTo>
                        <a:cubicBezTo>
                          <a:pt x="139" y="260"/>
                          <a:pt x="116" y="271"/>
                          <a:pt x="87" y="271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4" name="Freeform 30"/>
                  <p:cNvSpPr>
                    <a:spLocks/>
                  </p:cNvSpPr>
                  <p:nvPr/>
                </p:nvSpPr>
                <p:spPr bwMode="auto">
                  <a:xfrm>
                    <a:off x="11162390" y="5391484"/>
                    <a:ext cx="910571" cy="214460"/>
                  </a:xfrm>
                  <a:custGeom>
                    <a:avLst/>
                    <a:gdLst>
                      <a:gd name="T0" fmla="*/ 343 w 555"/>
                      <a:gd name="T1" fmla="*/ 21 h 131"/>
                      <a:gd name="T2" fmla="*/ 343 w 555"/>
                      <a:gd name="T3" fmla="*/ 21 h 131"/>
                      <a:gd name="T4" fmla="*/ 0 w 555"/>
                      <a:gd name="T5" fmla="*/ 131 h 131"/>
                      <a:gd name="T6" fmla="*/ 197 w 555"/>
                      <a:gd name="T7" fmla="*/ 131 h 131"/>
                      <a:gd name="T8" fmla="*/ 555 w 555"/>
                      <a:gd name="T9" fmla="*/ 131 h 131"/>
                      <a:gd name="T10" fmla="*/ 343 w 555"/>
                      <a:gd name="T11" fmla="*/ 21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555" h="131">
                        <a:moveTo>
                          <a:pt x="343" y="21"/>
                        </a:moveTo>
                        <a:cubicBezTo>
                          <a:pt x="343" y="21"/>
                          <a:pt x="343" y="21"/>
                          <a:pt x="343" y="21"/>
                        </a:cubicBezTo>
                        <a:cubicBezTo>
                          <a:pt x="222" y="0"/>
                          <a:pt x="93" y="37"/>
                          <a:pt x="0" y="131"/>
                        </a:cubicBezTo>
                        <a:cubicBezTo>
                          <a:pt x="197" y="131"/>
                          <a:pt x="197" y="131"/>
                          <a:pt x="197" y="131"/>
                        </a:cubicBezTo>
                        <a:cubicBezTo>
                          <a:pt x="555" y="131"/>
                          <a:pt x="555" y="131"/>
                          <a:pt x="555" y="131"/>
                        </a:cubicBezTo>
                        <a:cubicBezTo>
                          <a:pt x="496" y="70"/>
                          <a:pt x="421" y="34"/>
                          <a:pt x="343" y="21"/>
                        </a:cubicBezTo>
                        <a:close/>
                      </a:path>
                    </a:pathLst>
                  </a:custGeom>
                  <a:solidFill>
                    <a:srgbClr val="BAD80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5" name="Freeform 31"/>
                  <p:cNvSpPr>
                    <a:spLocks/>
                  </p:cNvSpPr>
                  <p:nvPr/>
                </p:nvSpPr>
                <p:spPr bwMode="auto">
                  <a:xfrm>
                    <a:off x="12097571" y="4787948"/>
                    <a:ext cx="92582" cy="587127"/>
                  </a:xfrm>
                  <a:custGeom>
                    <a:avLst/>
                    <a:gdLst>
                      <a:gd name="T0" fmla="*/ 36 w 57"/>
                      <a:gd name="T1" fmla="*/ 25 h 358"/>
                      <a:gd name="T2" fmla="*/ 36 w 57"/>
                      <a:gd name="T3" fmla="*/ 25 h 358"/>
                      <a:gd name="T4" fmla="*/ 0 w 57"/>
                      <a:gd name="T5" fmla="*/ 185 h 358"/>
                      <a:gd name="T6" fmla="*/ 35 w 57"/>
                      <a:gd name="T7" fmla="*/ 333 h 358"/>
                      <a:gd name="T8" fmla="*/ 57 w 57"/>
                      <a:gd name="T9" fmla="*/ 358 h 358"/>
                      <a:gd name="T10" fmla="*/ 57 w 57"/>
                      <a:gd name="T11" fmla="*/ 0 h 358"/>
                      <a:gd name="T12" fmla="*/ 36 w 57"/>
                      <a:gd name="T13" fmla="*/ 25 h 3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7" h="358">
                        <a:moveTo>
                          <a:pt x="36" y="25"/>
                        </a:moveTo>
                        <a:cubicBezTo>
                          <a:pt x="36" y="25"/>
                          <a:pt x="36" y="25"/>
                          <a:pt x="36" y="25"/>
                        </a:cubicBezTo>
                        <a:cubicBezTo>
                          <a:pt x="12" y="61"/>
                          <a:pt x="0" y="114"/>
                          <a:pt x="0" y="185"/>
                        </a:cubicBezTo>
                        <a:cubicBezTo>
                          <a:pt x="0" y="250"/>
                          <a:pt x="11" y="299"/>
                          <a:pt x="35" y="333"/>
                        </a:cubicBezTo>
                        <a:cubicBezTo>
                          <a:pt x="42" y="343"/>
                          <a:pt x="49" y="351"/>
                          <a:pt x="57" y="358"/>
                        </a:cubicBezTo>
                        <a:cubicBezTo>
                          <a:pt x="57" y="0"/>
                          <a:pt x="57" y="0"/>
                          <a:pt x="57" y="0"/>
                        </a:cubicBezTo>
                        <a:cubicBezTo>
                          <a:pt x="50" y="7"/>
                          <a:pt x="43" y="15"/>
                          <a:pt x="36" y="25"/>
                        </a:cubicBezTo>
                        <a:close/>
                      </a:path>
                    </a:pathLst>
                  </a:custGeom>
                  <a:solidFill>
                    <a:srgbClr val="68217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6" name="Freeform 32"/>
                  <p:cNvSpPr>
                    <a:spLocks/>
                  </p:cNvSpPr>
                  <p:nvPr/>
                </p:nvSpPr>
                <p:spPr bwMode="auto">
                  <a:xfrm>
                    <a:off x="12061278" y="5079752"/>
                    <a:ext cx="128909" cy="442983"/>
                  </a:xfrm>
                  <a:custGeom>
                    <a:avLst/>
                    <a:gdLst>
                      <a:gd name="T0" fmla="*/ 43 w 79"/>
                      <a:gd name="T1" fmla="*/ 138 h 270"/>
                      <a:gd name="T2" fmla="*/ 43 w 79"/>
                      <a:gd name="T3" fmla="*/ 138 h 270"/>
                      <a:gd name="T4" fmla="*/ 79 w 79"/>
                      <a:gd name="T5" fmla="*/ 35 h 270"/>
                      <a:gd name="T6" fmla="*/ 79 w 79"/>
                      <a:gd name="T7" fmla="*/ 0 h 270"/>
                      <a:gd name="T8" fmla="*/ 24 w 79"/>
                      <a:gd name="T9" fmla="*/ 35 h 270"/>
                      <a:gd name="T10" fmla="*/ 0 w 79"/>
                      <a:gd name="T11" fmla="*/ 140 h 270"/>
                      <a:gd name="T12" fmla="*/ 23 w 79"/>
                      <a:gd name="T13" fmla="*/ 237 h 270"/>
                      <a:gd name="T14" fmla="*/ 79 w 79"/>
                      <a:gd name="T15" fmla="*/ 270 h 270"/>
                      <a:gd name="T16" fmla="*/ 79 w 79"/>
                      <a:gd name="T17" fmla="*/ 235 h 270"/>
                      <a:gd name="T18" fmla="*/ 43 w 79"/>
                      <a:gd name="T19" fmla="*/ 138 h 2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9" h="270">
                        <a:moveTo>
                          <a:pt x="43" y="138"/>
                        </a:moveTo>
                        <a:cubicBezTo>
                          <a:pt x="43" y="138"/>
                          <a:pt x="43" y="138"/>
                          <a:pt x="43" y="138"/>
                        </a:cubicBezTo>
                        <a:cubicBezTo>
                          <a:pt x="43" y="77"/>
                          <a:pt x="55" y="43"/>
                          <a:pt x="79" y="35"/>
                        </a:cubicBezTo>
                        <a:cubicBezTo>
                          <a:pt x="79" y="0"/>
                          <a:pt x="79" y="0"/>
                          <a:pt x="79" y="0"/>
                        </a:cubicBezTo>
                        <a:cubicBezTo>
                          <a:pt x="56" y="3"/>
                          <a:pt x="37" y="15"/>
                          <a:pt x="24" y="35"/>
                        </a:cubicBezTo>
                        <a:cubicBezTo>
                          <a:pt x="8" y="59"/>
                          <a:pt x="0" y="94"/>
                          <a:pt x="0" y="140"/>
                        </a:cubicBezTo>
                        <a:cubicBezTo>
                          <a:pt x="0" y="182"/>
                          <a:pt x="7" y="215"/>
                          <a:pt x="23" y="237"/>
                        </a:cubicBezTo>
                        <a:cubicBezTo>
                          <a:pt x="37" y="257"/>
                          <a:pt x="55" y="268"/>
                          <a:pt x="79" y="270"/>
                        </a:cubicBezTo>
                        <a:cubicBezTo>
                          <a:pt x="79" y="235"/>
                          <a:pt x="79" y="235"/>
                          <a:pt x="79" y="235"/>
                        </a:cubicBezTo>
                        <a:cubicBezTo>
                          <a:pt x="55" y="228"/>
                          <a:pt x="43" y="196"/>
                          <a:pt x="43" y="138"/>
                        </a:cubicBezTo>
                        <a:close/>
                      </a:path>
                    </a:pathLst>
                  </a:custGeom>
                  <a:solidFill>
                    <a:srgbClr val="FFB9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47" name="Group 46"/>
              <p:cNvGrpSpPr/>
              <p:nvPr/>
            </p:nvGrpSpPr>
            <p:grpSpPr>
              <a:xfrm>
                <a:off x="11137698" y="8144556"/>
                <a:ext cx="792957" cy="454737"/>
                <a:chOff x="11268654" y="5874852"/>
                <a:chExt cx="475079" cy="272443"/>
              </a:xfrm>
            </p:grpSpPr>
            <p:grpSp>
              <p:nvGrpSpPr>
                <p:cNvPr id="44" name="Group 43"/>
                <p:cNvGrpSpPr/>
                <p:nvPr/>
              </p:nvGrpSpPr>
              <p:grpSpPr>
                <a:xfrm>
                  <a:off x="11527880" y="5875025"/>
                  <a:ext cx="215853" cy="265975"/>
                  <a:chOff x="11191876" y="6141629"/>
                  <a:chExt cx="215853" cy="265975"/>
                </a:xfrm>
              </p:grpSpPr>
              <p:sp>
                <p:nvSpPr>
                  <p:cNvPr id="739" name="Freeform 380"/>
                  <p:cNvSpPr>
                    <a:spLocks noEditPoints="1"/>
                  </p:cNvSpPr>
                  <p:nvPr/>
                </p:nvSpPr>
                <p:spPr bwMode="auto">
                  <a:xfrm>
                    <a:off x="11191876" y="6141629"/>
                    <a:ext cx="50932" cy="72759"/>
                  </a:xfrm>
                  <a:custGeom>
                    <a:avLst/>
                    <a:gdLst>
                      <a:gd name="T0" fmla="*/ 16 w 32"/>
                      <a:gd name="T1" fmla="*/ 45 h 45"/>
                      <a:gd name="T2" fmla="*/ 0 w 32"/>
                      <a:gd name="T3" fmla="*/ 23 h 45"/>
                      <a:gd name="T4" fmla="*/ 4 w 32"/>
                      <a:gd name="T5" fmla="*/ 6 h 45"/>
                      <a:gd name="T6" fmla="*/ 17 w 32"/>
                      <a:gd name="T7" fmla="*/ 0 h 45"/>
                      <a:gd name="T8" fmla="*/ 32 w 32"/>
                      <a:gd name="T9" fmla="*/ 22 h 45"/>
                      <a:gd name="T10" fmla="*/ 28 w 32"/>
                      <a:gd name="T11" fmla="*/ 39 h 45"/>
                      <a:gd name="T12" fmla="*/ 16 w 32"/>
                      <a:gd name="T13" fmla="*/ 45 h 45"/>
                      <a:gd name="T14" fmla="*/ 16 w 32"/>
                      <a:gd name="T15" fmla="*/ 7 h 45"/>
                      <a:gd name="T16" fmla="*/ 10 w 32"/>
                      <a:gd name="T17" fmla="*/ 23 h 45"/>
                      <a:gd name="T18" fmla="*/ 16 w 32"/>
                      <a:gd name="T19" fmla="*/ 37 h 45"/>
                      <a:gd name="T20" fmla="*/ 22 w 32"/>
                      <a:gd name="T21" fmla="*/ 22 h 45"/>
                      <a:gd name="T22" fmla="*/ 16 w 32"/>
                      <a:gd name="T23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2" h="45">
                        <a:moveTo>
                          <a:pt x="16" y="45"/>
                        </a:moveTo>
                        <a:cubicBezTo>
                          <a:pt x="5" y="45"/>
                          <a:pt x="0" y="38"/>
                          <a:pt x="0" y="23"/>
                        </a:cubicBezTo>
                        <a:cubicBezTo>
                          <a:pt x="0" y="15"/>
                          <a:pt x="2" y="10"/>
                          <a:pt x="4" y="6"/>
                        </a:cubicBezTo>
                        <a:cubicBezTo>
                          <a:pt x="7" y="2"/>
                          <a:pt x="11" y="0"/>
                          <a:pt x="17" y="0"/>
                        </a:cubicBezTo>
                        <a:cubicBezTo>
                          <a:pt x="27" y="0"/>
                          <a:pt x="32" y="7"/>
                          <a:pt x="32" y="22"/>
                        </a:cubicBezTo>
                        <a:cubicBezTo>
                          <a:pt x="32" y="29"/>
                          <a:pt x="30" y="35"/>
                          <a:pt x="28" y="39"/>
                        </a:cubicBezTo>
                        <a:cubicBezTo>
                          <a:pt x="25" y="43"/>
                          <a:pt x="21" y="45"/>
                          <a:pt x="16" y="45"/>
                        </a:cubicBezTo>
                        <a:close/>
                        <a:moveTo>
                          <a:pt x="16" y="7"/>
                        </a:moveTo>
                        <a:cubicBezTo>
                          <a:pt x="12" y="7"/>
                          <a:pt x="10" y="12"/>
                          <a:pt x="10" y="23"/>
                        </a:cubicBezTo>
                        <a:cubicBezTo>
                          <a:pt x="10" y="33"/>
                          <a:pt x="12" y="37"/>
                          <a:pt x="16" y="37"/>
                        </a:cubicBezTo>
                        <a:cubicBezTo>
                          <a:pt x="20" y="37"/>
                          <a:pt x="22" y="32"/>
                          <a:pt x="22" y="22"/>
                        </a:cubicBezTo>
                        <a:cubicBezTo>
                          <a:pt x="22" y="12"/>
                          <a:pt x="20" y="7"/>
                          <a:pt x="16" y="7"/>
                        </a:cubicBezTo>
                        <a:close/>
                      </a:path>
                    </a:pathLst>
                  </a:custGeom>
                  <a:solidFill>
                    <a:srgbClr val="0072C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0" name="Freeform 381"/>
                  <p:cNvSpPr>
                    <a:spLocks/>
                  </p:cNvSpPr>
                  <p:nvPr/>
                </p:nvSpPr>
                <p:spPr bwMode="auto">
                  <a:xfrm>
                    <a:off x="11260593" y="6141629"/>
                    <a:ext cx="30721" cy="71142"/>
                  </a:xfrm>
                  <a:custGeom>
                    <a:avLst/>
                    <a:gdLst>
                      <a:gd name="T0" fmla="*/ 19 w 19"/>
                      <a:gd name="T1" fmla="*/ 0 h 44"/>
                      <a:gd name="T2" fmla="*/ 19 w 19"/>
                      <a:gd name="T3" fmla="*/ 44 h 44"/>
                      <a:gd name="T4" fmla="*/ 9 w 19"/>
                      <a:gd name="T5" fmla="*/ 44 h 44"/>
                      <a:gd name="T6" fmla="*/ 9 w 19"/>
                      <a:gd name="T7" fmla="*/ 10 h 44"/>
                      <a:gd name="T8" fmla="*/ 7 w 19"/>
                      <a:gd name="T9" fmla="*/ 12 h 44"/>
                      <a:gd name="T10" fmla="*/ 5 w 19"/>
                      <a:gd name="T11" fmla="*/ 13 h 44"/>
                      <a:gd name="T12" fmla="*/ 3 w 19"/>
                      <a:gd name="T13" fmla="*/ 14 h 44"/>
                      <a:gd name="T14" fmla="*/ 0 w 19"/>
                      <a:gd name="T15" fmla="*/ 14 h 44"/>
                      <a:gd name="T16" fmla="*/ 0 w 19"/>
                      <a:gd name="T17" fmla="*/ 6 h 44"/>
                      <a:gd name="T18" fmla="*/ 7 w 19"/>
                      <a:gd name="T19" fmla="*/ 3 h 44"/>
                      <a:gd name="T20" fmla="*/ 13 w 19"/>
                      <a:gd name="T21" fmla="*/ 0 h 44"/>
                      <a:gd name="T22" fmla="*/ 19 w 19"/>
                      <a:gd name="T23" fmla="*/ 0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9" h="44">
                        <a:moveTo>
                          <a:pt x="19" y="0"/>
                        </a:moveTo>
                        <a:cubicBezTo>
                          <a:pt x="19" y="44"/>
                          <a:pt x="19" y="44"/>
                          <a:pt x="19" y="44"/>
                        </a:cubicBezTo>
                        <a:cubicBezTo>
                          <a:pt x="9" y="44"/>
                          <a:pt x="9" y="44"/>
                          <a:pt x="9" y="44"/>
                        </a:cubicBezTo>
                        <a:cubicBezTo>
                          <a:pt x="9" y="10"/>
                          <a:pt x="9" y="10"/>
                          <a:pt x="9" y="10"/>
                        </a:cubicBezTo>
                        <a:cubicBezTo>
                          <a:pt x="9" y="11"/>
                          <a:pt x="8" y="11"/>
                          <a:pt x="7" y="12"/>
                        </a:cubicBezTo>
                        <a:cubicBezTo>
                          <a:pt x="7" y="12"/>
                          <a:pt x="6" y="13"/>
                          <a:pt x="5" y="13"/>
                        </a:cubicBezTo>
                        <a:cubicBezTo>
                          <a:pt x="4" y="13"/>
                          <a:pt x="3" y="13"/>
                          <a:pt x="3" y="14"/>
                        </a:cubicBezTo>
                        <a:cubicBezTo>
                          <a:pt x="2" y="14"/>
                          <a:pt x="1" y="14"/>
                          <a:pt x="0" y="14"/>
                        </a:cubicBez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2" y="5"/>
                          <a:pt x="5" y="4"/>
                          <a:pt x="7" y="3"/>
                        </a:cubicBezTo>
                        <a:cubicBezTo>
                          <a:pt x="9" y="2"/>
                          <a:pt x="11" y="1"/>
                          <a:pt x="13" y="0"/>
                        </a:cubicBez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rgbClr val="0072C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1" name="Freeform 382"/>
                  <p:cNvSpPr>
                    <a:spLocks noEditPoints="1"/>
                  </p:cNvSpPr>
                  <p:nvPr/>
                </p:nvSpPr>
                <p:spPr bwMode="auto">
                  <a:xfrm>
                    <a:off x="11310716" y="6141629"/>
                    <a:ext cx="51740" cy="72759"/>
                  </a:xfrm>
                  <a:custGeom>
                    <a:avLst/>
                    <a:gdLst>
                      <a:gd name="T0" fmla="*/ 16 w 32"/>
                      <a:gd name="T1" fmla="*/ 45 h 45"/>
                      <a:gd name="T2" fmla="*/ 0 w 32"/>
                      <a:gd name="T3" fmla="*/ 23 h 45"/>
                      <a:gd name="T4" fmla="*/ 5 w 32"/>
                      <a:gd name="T5" fmla="*/ 6 h 45"/>
                      <a:gd name="T6" fmla="*/ 17 w 32"/>
                      <a:gd name="T7" fmla="*/ 0 h 45"/>
                      <a:gd name="T8" fmla="*/ 32 w 32"/>
                      <a:gd name="T9" fmla="*/ 22 h 45"/>
                      <a:gd name="T10" fmla="*/ 28 w 32"/>
                      <a:gd name="T11" fmla="*/ 39 h 45"/>
                      <a:gd name="T12" fmla="*/ 16 w 32"/>
                      <a:gd name="T13" fmla="*/ 45 h 45"/>
                      <a:gd name="T14" fmla="*/ 16 w 32"/>
                      <a:gd name="T15" fmla="*/ 7 h 45"/>
                      <a:gd name="T16" fmla="*/ 10 w 32"/>
                      <a:gd name="T17" fmla="*/ 23 h 45"/>
                      <a:gd name="T18" fmla="*/ 16 w 32"/>
                      <a:gd name="T19" fmla="*/ 37 h 45"/>
                      <a:gd name="T20" fmla="*/ 22 w 32"/>
                      <a:gd name="T21" fmla="*/ 22 h 45"/>
                      <a:gd name="T22" fmla="*/ 16 w 32"/>
                      <a:gd name="T23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2" h="45">
                        <a:moveTo>
                          <a:pt x="16" y="45"/>
                        </a:moveTo>
                        <a:cubicBezTo>
                          <a:pt x="5" y="45"/>
                          <a:pt x="0" y="38"/>
                          <a:pt x="0" y="23"/>
                        </a:cubicBezTo>
                        <a:cubicBezTo>
                          <a:pt x="0" y="15"/>
                          <a:pt x="2" y="10"/>
                          <a:pt x="5" y="6"/>
                        </a:cubicBezTo>
                        <a:cubicBezTo>
                          <a:pt x="7" y="2"/>
                          <a:pt x="11" y="0"/>
                          <a:pt x="17" y="0"/>
                        </a:cubicBezTo>
                        <a:cubicBezTo>
                          <a:pt x="27" y="0"/>
                          <a:pt x="32" y="7"/>
                          <a:pt x="32" y="22"/>
                        </a:cubicBezTo>
                        <a:cubicBezTo>
                          <a:pt x="32" y="29"/>
                          <a:pt x="30" y="35"/>
                          <a:pt x="28" y="39"/>
                        </a:cubicBezTo>
                        <a:cubicBezTo>
                          <a:pt x="25" y="43"/>
                          <a:pt x="21" y="45"/>
                          <a:pt x="16" y="45"/>
                        </a:cubicBezTo>
                        <a:close/>
                        <a:moveTo>
                          <a:pt x="16" y="7"/>
                        </a:moveTo>
                        <a:cubicBezTo>
                          <a:pt x="12" y="7"/>
                          <a:pt x="10" y="12"/>
                          <a:pt x="10" y="23"/>
                        </a:cubicBezTo>
                        <a:cubicBezTo>
                          <a:pt x="10" y="33"/>
                          <a:pt x="12" y="37"/>
                          <a:pt x="16" y="37"/>
                        </a:cubicBezTo>
                        <a:cubicBezTo>
                          <a:pt x="20" y="37"/>
                          <a:pt x="22" y="32"/>
                          <a:pt x="22" y="22"/>
                        </a:cubicBezTo>
                        <a:cubicBezTo>
                          <a:pt x="22" y="12"/>
                          <a:pt x="20" y="7"/>
                          <a:pt x="16" y="7"/>
                        </a:cubicBezTo>
                        <a:close/>
                      </a:path>
                    </a:pathLst>
                  </a:custGeom>
                  <a:solidFill>
                    <a:srgbClr val="00BCF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3" name="Freeform 394"/>
                  <p:cNvSpPr>
                    <a:spLocks/>
                  </p:cNvSpPr>
                  <p:nvPr/>
                </p:nvSpPr>
                <p:spPr bwMode="auto">
                  <a:xfrm>
                    <a:off x="11377008" y="6141629"/>
                    <a:ext cx="30721" cy="71142"/>
                  </a:xfrm>
                  <a:custGeom>
                    <a:avLst/>
                    <a:gdLst>
                      <a:gd name="T0" fmla="*/ 19 w 19"/>
                      <a:gd name="T1" fmla="*/ 0 h 44"/>
                      <a:gd name="T2" fmla="*/ 19 w 19"/>
                      <a:gd name="T3" fmla="*/ 44 h 44"/>
                      <a:gd name="T4" fmla="*/ 10 w 19"/>
                      <a:gd name="T5" fmla="*/ 44 h 44"/>
                      <a:gd name="T6" fmla="*/ 10 w 19"/>
                      <a:gd name="T7" fmla="*/ 10 h 44"/>
                      <a:gd name="T8" fmla="*/ 8 w 19"/>
                      <a:gd name="T9" fmla="*/ 12 h 44"/>
                      <a:gd name="T10" fmla="*/ 6 w 19"/>
                      <a:gd name="T11" fmla="*/ 13 h 44"/>
                      <a:gd name="T12" fmla="*/ 3 w 19"/>
                      <a:gd name="T13" fmla="*/ 14 h 44"/>
                      <a:gd name="T14" fmla="*/ 0 w 19"/>
                      <a:gd name="T15" fmla="*/ 14 h 44"/>
                      <a:gd name="T16" fmla="*/ 0 w 19"/>
                      <a:gd name="T17" fmla="*/ 6 h 44"/>
                      <a:gd name="T18" fmla="*/ 8 w 19"/>
                      <a:gd name="T19" fmla="*/ 3 h 44"/>
                      <a:gd name="T20" fmla="*/ 13 w 19"/>
                      <a:gd name="T21" fmla="*/ 0 h 44"/>
                      <a:gd name="T22" fmla="*/ 19 w 19"/>
                      <a:gd name="T23" fmla="*/ 0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9" h="44">
                        <a:moveTo>
                          <a:pt x="19" y="0"/>
                        </a:moveTo>
                        <a:cubicBezTo>
                          <a:pt x="19" y="44"/>
                          <a:pt x="19" y="44"/>
                          <a:pt x="19" y="44"/>
                        </a:cubicBezTo>
                        <a:cubicBezTo>
                          <a:pt x="10" y="44"/>
                          <a:pt x="10" y="44"/>
                          <a:pt x="10" y="44"/>
                        </a:cubicBezTo>
                        <a:cubicBezTo>
                          <a:pt x="10" y="10"/>
                          <a:pt x="10" y="10"/>
                          <a:pt x="10" y="10"/>
                        </a:cubicBezTo>
                        <a:cubicBezTo>
                          <a:pt x="9" y="11"/>
                          <a:pt x="9" y="11"/>
                          <a:pt x="8" y="12"/>
                        </a:cubicBezTo>
                        <a:cubicBezTo>
                          <a:pt x="7" y="12"/>
                          <a:pt x="6" y="13"/>
                          <a:pt x="6" y="13"/>
                        </a:cubicBezTo>
                        <a:cubicBezTo>
                          <a:pt x="5" y="13"/>
                          <a:pt x="4" y="13"/>
                          <a:pt x="3" y="14"/>
                        </a:cubicBezTo>
                        <a:cubicBezTo>
                          <a:pt x="2" y="14"/>
                          <a:pt x="1" y="14"/>
                          <a:pt x="0" y="14"/>
                        </a:cubicBez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3" y="5"/>
                          <a:pt x="5" y="4"/>
                          <a:pt x="8" y="3"/>
                        </a:cubicBezTo>
                        <a:cubicBezTo>
                          <a:pt x="10" y="2"/>
                          <a:pt x="12" y="1"/>
                          <a:pt x="13" y="0"/>
                        </a:cubicBez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rgbClr val="00BCF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5" name="Freeform 396"/>
                  <p:cNvSpPr>
                    <a:spLocks noEditPoints="1"/>
                  </p:cNvSpPr>
                  <p:nvPr/>
                </p:nvSpPr>
                <p:spPr bwMode="auto">
                  <a:xfrm>
                    <a:off x="11191876" y="6234599"/>
                    <a:ext cx="50932" cy="72759"/>
                  </a:xfrm>
                  <a:custGeom>
                    <a:avLst/>
                    <a:gdLst>
                      <a:gd name="T0" fmla="*/ 16 w 32"/>
                      <a:gd name="T1" fmla="*/ 45 h 45"/>
                      <a:gd name="T2" fmla="*/ 0 w 32"/>
                      <a:gd name="T3" fmla="*/ 23 h 45"/>
                      <a:gd name="T4" fmla="*/ 4 w 32"/>
                      <a:gd name="T5" fmla="*/ 6 h 45"/>
                      <a:gd name="T6" fmla="*/ 17 w 32"/>
                      <a:gd name="T7" fmla="*/ 0 h 45"/>
                      <a:gd name="T8" fmla="*/ 32 w 32"/>
                      <a:gd name="T9" fmla="*/ 22 h 45"/>
                      <a:gd name="T10" fmla="*/ 28 w 32"/>
                      <a:gd name="T11" fmla="*/ 39 h 45"/>
                      <a:gd name="T12" fmla="*/ 16 w 32"/>
                      <a:gd name="T13" fmla="*/ 45 h 45"/>
                      <a:gd name="T14" fmla="*/ 16 w 32"/>
                      <a:gd name="T15" fmla="*/ 8 h 45"/>
                      <a:gd name="T16" fmla="*/ 10 w 32"/>
                      <a:gd name="T17" fmla="*/ 23 h 45"/>
                      <a:gd name="T18" fmla="*/ 16 w 32"/>
                      <a:gd name="T19" fmla="*/ 38 h 45"/>
                      <a:gd name="T20" fmla="*/ 22 w 32"/>
                      <a:gd name="T21" fmla="*/ 23 h 45"/>
                      <a:gd name="T22" fmla="*/ 16 w 32"/>
                      <a:gd name="T23" fmla="*/ 8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2" h="45">
                        <a:moveTo>
                          <a:pt x="16" y="45"/>
                        </a:moveTo>
                        <a:cubicBezTo>
                          <a:pt x="5" y="45"/>
                          <a:pt x="0" y="38"/>
                          <a:pt x="0" y="23"/>
                        </a:cubicBezTo>
                        <a:cubicBezTo>
                          <a:pt x="0" y="16"/>
                          <a:pt x="2" y="10"/>
                          <a:pt x="4" y="6"/>
                        </a:cubicBezTo>
                        <a:cubicBezTo>
                          <a:pt x="7" y="2"/>
                          <a:pt x="11" y="0"/>
                          <a:pt x="17" y="0"/>
                        </a:cubicBezTo>
                        <a:cubicBezTo>
                          <a:pt x="27" y="0"/>
                          <a:pt x="32" y="8"/>
                          <a:pt x="32" y="22"/>
                        </a:cubicBezTo>
                        <a:cubicBezTo>
                          <a:pt x="32" y="30"/>
                          <a:pt x="30" y="35"/>
                          <a:pt x="28" y="39"/>
                        </a:cubicBezTo>
                        <a:cubicBezTo>
                          <a:pt x="25" y="43"/>
                          <a:pt x="21" y="45"/>
                          <a:pt x="16" y="45"/>
                        </a:cubicBezTo>
                        <a:close/>
                        <a:moveTo>
                          <a:pt x="16" y="8"/>
                        </a:moveTo>
                        <a:cubicBezTo>
                          <a:pt x="12" y="8"/>
                          <a:pt x="10" y="13"/>
                          <a:pt x="10" y="23"/>
                        </a:cubicBezTo>
                        <a:cubicBezTo>
                          <a:pt x="10" y="33"/>
                          <a:pt x="12" y="38"/>
                          <a:pt x="16" y="38"/>
                        </a:cubicBezTo>
                        <a:cubicBezTo>
                          <a:pt x="20" y="38"/>
                          <a:pt x="22" y="33"/>
                          <a:pt x="22" y="23"/>
                        </a:cubicBezTo>
                        <a:cubicBezTo>
                          <a:pt x="22" y="13"/>
                          <a:pt x="20" y="8"/>
                          <a:pt x="16" y="8"/>
                        </a:cubicBezTo>
                        <a:close/>
                      </a:path>
                    </a:pathLst>
                  </a:custGeom>
                  <a:solidFill>
                    <a:srgbClr val="0072C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6" name="Freeform 397"/>
                  <p:cNvSpPr>
                    <a:spLocks/>
                  </p:cNvSpPr>
                  <p:nvPr/>
                </p:nvSpPr>
                <p:spPr bwMode="auto">
                  <a:xfrm>
                    <a:off x="11260593" y="6234599"/>
                    <a:ext cx="30721" cy="71142"/>
                  </a:xfrm>
                  <a:custGeom>
                    <a:avLst/>
                    <a:gdLst>
                      <a:gd name="T0" fmla="*/ 19 w 19"/>
                      <a:gd name="T1" fmla="*/ 0 h 44"/>
                      <a:gd name="T2" fmla="*/ 19 w 19"/>
                      <a:gd name="T3" fmla="*/ 44 h 44"/>
                      <a:gd name="T4" fmla="*/ 9 w 19"/>
                      <a:gd name="T5" fmla="*/ 44 h 44"/>
                      <a:gd name="T6" fmla="*/ 9 w 19"/>
                      <a:gd name="T7" fmla="*/ 11 h 44"/>
                      <a:gd name="T8" fmla="*/ 7 w 19"/>
                      <a:gd name="T9" fmla="*/ 12 h 44"/>
                      <a:gd name="T10" fmla="*/ 5 w 19"/>
                      <a:gd name="T11" fmla="*/ 13 h 44"/>
                      <a:gd name="T12" fmla="*/ 3 w 19"/>
                      <a:gd name="T13" fmla="*/ 14 h 44"/>
                      <a:gd name="T14" fmla="*/ 0 w 19"/>
                      <a:gd name="T15" fmla="*/ 15 h 44"/>
                      <a:gd name="T16" fmla="*/ 0 w 19"/>
                      <a:gd name="T17" fmla="*/ 7 h 44"/>
                      <a:gd name="T18" fmla="*/ 7 w 19"/>
                      <a:gd name="T19" fmla="*/ 4 h 44"/>
                      <a:gd name="T20" fmla="*/ 13 w 19"/>
                      <a:gd name="T21" fmla="*/ 0 h 44"/>
                      <a:gd name="T22" fmla="*/ 19 w 19"/>
                      <a:gd name="T23" fmla="*/ 0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9" h="44">
                        <a:moveTo>
                          <a:pt x="19" y="0"/>
                        </a:moveTo>
                        <a:cubicBezTo>
                          <a:pt x="19" y="44"/>
                          <a:pt x="19" y="44"/>
                          <a:pt x="19" y="44"/>
                        </a:cubicBezTo>
                        <a:cubicBezTo>
                          <a:pt x="9" y="44"/>
                          <a:pt x="9" y="44"/>
                          <a:pt x="9" y="44"/>
                        </a:cubicBezTo>
                        <a:cubicBezTo>
                          <a:pt x="9" y="11"/>
                          <a:pt x="9" y="11"/>
                          <a:pt x="9" y="11"/>
                        </a:cubicBezTo>
                        <a:cubicBezTo>
                          <a:pt x="9" y="11"/>
                          <a:pt x="8" y="12"/>
                          <a:pt x="7" y="12"/>
                        </a:cubicBezTo>
                        <a:cubicBezTo>
                          <a:pt x="7" y="13"/>
                          <a:pt x="6" y="13"/>
                          <a:pt x="5" y="13"/>
                        </a:cubicBezTo>
                        <a:cubicBezTo>
                          <a:pt x="4" y="14"/>
                          <a:pt x="3" y="14"/>
                          <a:pt x="3" y="14"/>
                        </a:cubicBezTo>
                        <a:cubicBezTo>
                          <a:pt x="2" y="14"/>
                          <a:pt x="1" y="15"/>
                          <a:pt x="0" y="15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2" y="6"/>
                          <a:pt x="5" y="5"/>
                          <a:pt x="7" y="4"/>
                        </a:cubicBezTo>
                        <a:cubicBezTo>
                          <a:pt x="9" y="3"/>
                          <a:pt x="11" y="1"/>
                          <a:pt x="13" y="0"/>
                        </a:cubicBez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rgbClr val="00BCF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7" name="Freeform 398"/>
                  <p:cNvSpPr>
                    <a:spLocks noEditPoints="1"/>
                  </p:cNvSpPr>
                  <p:nvPr/>
                </p:nvSpPr>
                <p:spPr bwMode="auto">
                  <a:xfrm>
                    <a:off x="11310716" y="6234599"/>
                    <a:ext cx="51740" cy="72759"/>
                  </a:xfrm>
                  <a:custGeom>
                    <a:avLst/>
                    <a:gdLst>
                      <a:gd name="T0" fmla="*/ 16 w 32"/>
                      <a:gd name="T1" fmla="*/ 45 h 45"/>
                      <a:gd name="T2" fmla="*/ 0 w 32"/>
                      <a:gd name="T3" fmla="*/ 23 h 45"/>
                      <a:gd name="T4" fmla="*/ 5 w 32"/>
                      <a:gd name="T5" fmla="*/ 6 h 45"/>
                      <a:gd name="T6" fmla="*/ 17 w 32"/>
                      <a:gd name="T7" fmla="*/ 0 h 45"/>
                      <a:gd name="T8" fmla="*/ 32 w 32"/>
                      <a:gd name="T9" fmla="*/ 22 h 45"/>
                      <a:gd name="T10" fmla="*/ 28 w 32"/>
                      <a:gd name="T11" fmla="*/ 39 h 45"/>
                      <a:gd name="T12" fmla="*/ 16 w 32"/>
                      <a:gd name="T13" fmla="*/ 45 h 45"/>
                      <a:gd name="T14" fmla="*/ 16 w 32"/>
                      <a:gd name="T15" fmla="*/ 8 h 45"/>
                      <a:gd name="T16" fmla="*/ 10 w 32"/>
                      <a:gd name="T17" fmla="*/ 23 h 45"/>
                      <a:gd name="T18" fmla="*/ 16 w 32"/>
                      <a:gd name="T19" fmla="*/ 38 h 45"/>
                      <a:gd name="T20" fmla="*/ 22 w 32"/>
                      <a:gd name="T21" fmla="*/ 23 h 45"/>
                      <a:gd name="T22" fmla="*/ 16 w 32"/>
                      <a:gd name="T23" fmla="*/ 8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2" h="45">
                        <a:moveTo>
                          <a:pt x="16" y="45"/>
                        </a:moveTo>
                        <a:cubicBezTo>
                          <a:pt x="5" y="45"/>
                          <a:pt x="0" y="38"/>
                          <a:pt x="0" y="23"/>
                        </a:cubicBezTo>
                        <a:cubicBezTo>
                          <a:pt x="0" y="16"/>
                          <a:pt x="2" y="10"/>
                          <a:pt x="5" y="6"/>
                        </a:cubicBezTo>
                        <a:cubicBezTo>
                          <a:pt x="7" y="2"/>
                          <a:pt x="11" y="0"/>
                          <a:pt x="17" y="0"/>
                        </a:cubicBezTo>
                        <a:cubicBezTo>
                          <a:pt x="27" y="0"/>
                          <a:pt x="32" y="8"/>
                          <a:pt x="32" y="22"/>
                        </a:cubicBezTo>
                        <a:cubicBezTo>
                          <a:pt x="32" y="30"/>
                          <a:pt x="30" y="35"/>
                          <a:pt x="28" y="39"/>
                        </a:cubicBezTo>
                        <a:cubicBezTo>
                          <a:pt x="25" y="43"/>
                          <a:pt x="21" y="45"/>
                          <a:pt x="16" y="45"/>
                        </a:cubicBezTo>
                        <a:close/>
                        <a:moveTo>
                          <a:pt x="16" y="8"/>
                        </a:moveTo>
                        <a:cubicBezTo>
                          <a:pt x="12" y="8"/>
                          <a:pt x="10" y="13"/>
                          <a:pt x="10" y="23"/>
                        </a:cubicBezTo>
                        <a:cubicBezTo>
                          <a:pt x="10" y="33"/>
                          <a:pt x="12" y="38"/>
                          <a:pt x="16" y="38"/>
                        </a:cubicBezTo>
                        <a:cubicBezTo>
                          <a:pt x="20" y="38"/>
                          <a:pt x="22" y="33"/>
                          <a:pt x="22" y="23"/>
                        </a:cubicBezTo>
                        <a:cubicBezTo>
                          <a:pt x="22" y="13"/>
                          <a:pt x="20" y="8"/>
                          <a:pt x="16" y="8"/>
                        </a:cubicBezTo>
                        <a:close/>
                      </a:path>
                    </a:pathLst>
                  </a:custGeom>
                  <a:solidFill>
                    <a:srgbClr val="00BCF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8" name="Freeform 399"/>
                  <p:cNvSpPr>
                    <a:spLocks noEditPoints="1"/>
                  </p:cNvSpPr>
                  <p:nvPr/>
                </p:nvSpPr>
                <p:spPr bwMode="auto">
                  <a:xfrm>
                    <a:off x="11191876" y="6334845"/>
                    <a:ext cx="50932" cy="72759"/>
                  </a:xfrm>
                  <a:custGeom>
                    <a:avLst/>
                    <a:gdLst>
                      <a:gd name="T0" fmla="*/ 16 w 32"/>
                      <a:gd name="T1" fmla="*/ 45 h 45"/>
                      <a:gd name="T2" fmla="*/ 0 w 32"/>
                      <a:gd name="T3" fmla="*/ 23 h 45"/>
                      <a:gd name="T4" fmla="*/ 4 w 32"/>
                      <a:gd name="T5" fmla="*/ 6 h 45"/>
                      <a:gd name="T6" fmla="*/ 17 w 32"/>
                      <a:gd name="T7" fmla="*/ 0 h 45"/>
                      <a:gd name="T8" fmla="*/ 32 w 32"/>
                      <a:gd name="T9" fmla="*/ 22 h 45"/>
                      <a:gd name="T10" fmla="*/ 28 w 32"/>
                      <a:gd name="T11" fmla="*/ 39 h 45"/>
                      <a:gd name="T12" fmla="*/ 16 w 32"/>
                      <a:gd name="T13" fmla="*/ 45 h 45"/>
                      <a:gd name="T14" fmla="*/ 16 w 32"/>
                      <a:gd name="T15" fmla="*/ 8 h 45"/>
                      <a:gd name="T16" fmla="*/ 10 w 32"/>
                      <a:gd name="T17" fmla="*/ 23 h 45"/>
                      <a:gd name="T18" fmla="*/ 16 w 32"/>
                      <a:gd name="T19" fmla="*/ 38 h 45"/>
                      <a:gd name="T20" fmla="*/ 22 w 32"/>
                      <a:gd name="T21" fmla="*/ 23 h 45"/>
                      <a:gd name="T22" fmla="*/ 16 w 32"/>
                      <a:gd name="T23" fmla="*/ 8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2" h="45">
                        <a:moveTo>
                          <a:pt x="16" y="45"/>
                        </a:moveTo>
                        <a:cubicBezTo>
                          <a:pt x="5" y="45"/>
                          <a:pt x="0" y="38"/>
                          <a:pt x="0" y="23"/>
                        </a:cubicBezTo>
                        <a:cubicBezTo>
                          <a:pt x="0" y="16"/>
                          <a:pt x="2" y="10"/>
                          <a:pt x="4" y="6"/>
                        </a:cubicBezTo>
                        <a:cubicBezTo>
                          <a:pt x="7" y="2"/>
                          <a:pt x="11" y="0"/>
                          <a:pt x="17" y="0"/>
                        </a:cubicBezTo>
                        <a:cubicBezTo>
                          <a:pt x="27" y="0"/>
                          <a:pt x="32" y="8"/>
                          <a:pt x="32" y="22"/>
                        </a:cubicBezTo>
                        <a:cubicBezTo>
                          <a:pt x="32" y="30"/>
                          <a:pt x="30" y="35"/>
                          <a:pt x="28" y="39"/>
                        </a:cubicBezTo>
                        <a:cubicBezTo>
                          <a:pt x="25" y="43"/>
                          <a:pt x="21" y="45"/>
                          <a:pt x="16" y="45"/>
                        </a:cubicBezTo>
                        <a:close/>
                        <a:moveTo>
                          <a:pt x="16" y="8"/>
                        </a:moveTo>
                        <a:cubicBezTo>
                          <a:pt x="12" y="8"/>
                          <a:pt x="10" y="13"/>
                          <a:pt x="10" y="23"/>
                        </a:cubicBezTo>
                        <a:cubicBezTo>
                          <a:pt x="10" y="33"/>
                          <a:pt x="12" y="38"/>
                          <a:pt x="16" y="38"/>
                        </a:cubicBezTo>
                        <a:cubicBezTo>
                          <a:pt x="20" y="38"/>
                          <a:pt x="22" y="33"/>
                          <a:pt x="22" y="23"/>
                        </a:cubicBezTo>
                        <a:cubicBezTo>
                          <a:pt x="22" y="13"/>
                          <a:pt x="20" y="8"/>
                          <a:pt x="16" y="8"/>
                        </a:cubicBezTo>
                        <a:close/>
                      </a:path>
                    </a:pathLst>
                  </a:custGeom>
                  <a:solidFill>
                    <a:srgbClr val="00BCF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9" name="Freeform 400"/>
                  <p:cNvSpPr>
                    <a:spLocks noEditPoints="1"/>
                  </p:cNvSpPr>
                  <p:nvPr/>
                </p:nvSpPr>
                <p:spPr bwMode="auto">
                  <a:xfrm>
                    <a:off x="11254126" y="6334845"/>
                    <a:ext cx="50123" cy="72759"/>
                  </a:xfrm>
                  <a:custGeom>
                    <a:avLst/>
                    <a:gdLst>
                      <a:gd name="T0" fmla="*/ 15 w 31"/>
                      <a:gd name="T1" fmla="*/ 45 h 45"/>
                      <a:gd name="T2" fmla="*/ 0 w 31"/>
                      <a:gd name="T3" fmla="*/ 23 h 45"/>
                      <a:gd name="T4" fmla="*/ 4 w 31"/>
                      <a:gd name="T5" fmla="*/ 6 h 45"/>
                      <a:gd name="T6" fmla="*/ 16 w 31"/>
                      <a:gd name="T7" fmla="*/ 0 h 45"/>
                      <a:gd name="T8" fmla="*/ 31 w 31"/>
                      <a:gd name="T9" fmla="*/ 22 h 45"/>
                      <a:gd name="T10" fmla="*/ 27 w 31"/>
                      <a:gd name="T11" fmla="*/ 39 h 45"/>
                      <a:gd name="T12" fmla="*/ 15 w 31"/>
                      <a:gd name="T13" fmla="*/ 45 h 45"/>
                      <a:gd name="T14" fmla="*/ 16 w 31"/>
                      <a:gd name="T15" fmla="*/ 8 h 45"/>
                      <a:gd name="T16" fmla="*/ 9 w 31"/>
                      <a:gd name="T17" fmla="*/ 23 h 45"/>
                      <a:gd name="T18" fmla="*/ 15 w 31"/>
                      <a:gd name="T19" fmla="*/ 38 h 45"/>
                      <a:gd name="T20" fmla="*/ 21 w 31"/>
                      <a:gd name="T21" fmla="*/ 23 h 45"/>
                      <a:gd name="T22" fmla="*/ 16 w 31"/>
                      <a:gd name="T23" fmla="*/ 8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1" h="45">
                        <a:moveTo>
                          <a:pt x="15" y="45"/>
                        </a:moveTo>
                        <a:cubicBezTo>
                          <a:pt x="5" y="45"/>
                          <a:pt x="0" y="38"/>
                          <a:pt x="0" y="23"/>
                        </a:cubicBezTo>
                        <a:cubicBezTo>
                          <a:pt x="0" y="16"/>
                          <a:pt x="1" y="10"/>
                          <a:pt x="4" y="6"/>
                        </a:cubicBezTo>
                        <a:cubicBezTo>
                          <a:pt x="7" y="2"/>
                          <a:pt x="11" y="0"/>
                          <a:pt x="16" y="0"/>
                        </a:cubicBezTo>
                        <a:cubicBezTo>
                          <a:pt x="26" y="0"/>
                          <a:pt x="31" y="8"/>
                          <a:pt x="31" y="22"/>
                        </a:cubicBezTo>
                        <a:cubicBezTo>
                          <a:pt x="31" y="30"/>
                          <a:pt x="30" y="35"/>
                          <a:pt x="27" y="39"/>
                        </a:cubicBezTo>
                        <a:cubicBezTo>
                          <a:pt x="24" y="43"/>
                          <a:pt x="20" y="45"/>
                          <a:pt x="15" y="45"/>
                        </a:cubicBezTo>
                        <a:close/>
                        <a:moveTo>
                          <a:pt x="16" y="8"/>
                        </a:moveTo>
                        <a:cubicBezTo>
                          <a:pt x="11" y="8"/>
                          <a:pt x="9" y="13"/>
                          <a:pt x="9" y="23"/>
                        </a:cubicBezTo>
                        <a:cubicBezTo>
                          <a:pt x="9" y="33"/>
                          <a:pt x="11" y="38"/>
                          <a:pt x="15" y="38"/>
                        </a:cubicBezTo>
                        <a:cubicBezTo>
                          <a:pt x="19" y="38"/>
                          <a:pt x="21" y="33"/>
                          <a:pt x="21" y="23"/>
                        </a:cubicBezTo>
                        <a:cubicBezTo>
                          <a:pt x="21" y="13"/>
                          <a:pt x="19" y="8"/>
                          <a:pt x="16" y="8"/>
                        </a:cubicBezTo>
                        <a:close/>
                      </a:path>
                    </a:pathLst>
                  </a:custGeom>
                  <a:solidFill>
                    <a:srgbClr val="00BCF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46" name="Group 45"/>
                <p:cNvGrpSpPr/>
                <p:nvPr/>
              </p:nvGrpSpPr>
              <p:grpSpPr>
                <a:xfrm>
                  <a:off x="11268654" y="5874852"/>
                  <a:ext cx="469471" cy="272443"/>
                  <a:chOff x="11254126" y="5843315"/>
                  <a:chExt cx="469471" cy="272443"/>
                </a:xfrm>
              </p:grpSpPr>
              <p:sp>
                <p:nvSpPr>
                  <p:cNvPr id="737" name="Freeform 378"/>
                  <p:cNvSpPr>
                    <a:spLocks/>
                  </p:cNvSpPr>
                  <p:nvPr/>
                </p:nvSpPr>
                <p:spPr bwMode="auto">
                  <a:xfrm>
                    <a:off x="11260593" y="5843315"/>
                    <a:ext cx="30721" cy="70334"/>
                  </a:xfrm>
                  <a:custGeom>
                    <a:avLst/>
                    <a:gdLst>
                      <a:gd name="T0" fmla="*/ 19 w 19"/>
                      <a:gd name="T1" fmla="*/ 0 h 44"/>
                      <a:gd name="T2" fmla="*/ 19 w 19"/>
                      <a:gd name="T3" fmla="*/ 44 h 44"/>
                      <a:gd name="T4" fmla="*/ 9 w 19"/>
                      <a:gd name="T5" fmla="*/ 44 h 44"/>
                      <a:gd name="T6" fmla="*/ 9 w 19"/>
                      <a:gd name="T7" fmla="*/ 10 h 44"/>
                      <a:gd name="T8" fmla="*/ 7 w 19"/>
                      <a:gd name="T9" fmla="*/ 12 h 44"/>
                      <a:gd name="T10" fmla="*/ 5 w 19"/>
                      <a:gd name="T11" fmla="*/ 13 h 44"/>
                      <a:gd name="T12" fmla="*/ 3 w 19"/>
                      <a:gd name="T13" fmla="*/ 14 h 44"/>
                      <a:gd name="T14" fmla="*/ 0 w 19"/>
                      <a:gd name="T15" fmla="*/ 14 h 44"/>
                      <a:gd name="T16" fmla="*/ 0 w 19"/>
                      <a:gd name="T17" fmla="*/ 6 h 44"/>
                      <a:gd name="T18" fmla="*/ 7 w 19"/>
                      <a:gd name="T19" fmla="*/ 3 h 44"/>
                      <a:gd name="T20" fmla="*/ 13 w 19"/>
                      <a:gd name="T21" fmla="*/ 0 h 44"/>
                      <a:gd name="T22" fmla="*/ 19 w 19"/>
                      <a:gd name="T23" fmla="*/ 0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9" h="44">
                        <a:moveTo>
                          <a:pt x="19" y="0"/>
                        </a:moveTo>
                        <a:cubicBezTo>
                          <a:pt x="19" y="44"/>
                          <a:pt x="19" y="44"/>
                          <a:pt x="19" y="44"/>
                        </a:cubicBezTo>
                        <a:cubicBezTo>
                          <a:pt x="9" y="44"/>
                          <a:pt x="9" y="44"/>
                          <a:pt x="9" y="44"/>
                        </a:cubicBezTo>
                        <a:cubicBezTo>
                          <a:pt x="9" y="10"/>
                          <a:pt x="9" y="10"/>
                          <a:pt x="9" y="10"/>
                        </a:cubicBezTo>
                        <a:cubicBezTo>
                          <a:pt x="9" y="11"/>
                          <a:pt x="8" y="11"/>
                          <a:pt x="7" y="12"/>
                        </a:cubicBezTo>
                        <a:cubicBezTo>
                          <a:pt x="7" y="12"/>
                          <a:pt x="6" y="13"/>
                          <a:pt x="5" y="13"/>
                        </a:cubicBezTo>
                        <a:cubicBezTo>
                          <a:pt x="4" y="13"/>
                          <a:pt x="3" y="14"/>
                          <a:pt x="3" y="14"/>
                        </a:cubicBezTo>
                        <a:cubicBezTo>
                          <a:pt x="2" y="14"/>
                          <a:pt x="1" y="14"/>
                          <a:pt x="0" y="14"/>
                        </a:cubicBez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2" y="5"/>
                          <a:pt x="5" y="5"/>
                          <a:pt x="7" y="3"/>
                        </a:cubicBezTo>
                        <a:cubicBezTo>
                          <a:pt x="9" y="2"/>
                          <a:pt x="11" y="1"/>
                          <a:pt x="13" y="0"/>
                        </a:cubicBez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rgbClr val="002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38" name="Freeform 379"/>
                  <p:cNvSpPr>
                    <a:spLocks noEditPoints="1"/>
                  </p:cNvSpPr>
                  <p:nvPr/>
                </p:nvSpPr>
                <p:spPr bwMode="auto">
                  <a:xfrm>
                    <a:off x="11310716" y="5843315"/>
                    <a:ext cx="51740" cy="71951"/>
                  </a:xfrm>
                  <a:custGeom>
                    <a:avLst/>
                    <a:gdLst>
                      <a:gd name="T0" fmla="*/ 16 w 32"/>
                      <a:gd name="T1" fmla="*/ 45 h 45"/>
                      <a:gd name="T2" fmla="*/ 0 w 32"/>
                      <a:gd name="T3" fmla="*/ 23 h 45"/>
                      <a:gd name="T4" fmla="*/ 5 w 32"/>
                      <a:gd name="T5" fmla="*/ 6 h 45"/>
                      <a:gd name="T6" fmla="*/ 17 w 32"/>
                      <a:gd name="T7" fmla="*/ 0 h 45"/>
                      <a:gd name="T8" fmla="*/ 32 w 32"/>
                      <a:gd name="T9" fmla="*/ 22 h 45"/>
                      <a:gd name="T10" fmla="*/ 28 w 32"/>
                      <a:gd name="T11" fmla="*/ 39 h 45"/>
                      <a:gd name="T12" fmla="*/ 16 w 32"/>
                      <a:gd name="T13" fmla="*/ 45 h 45"/>
                      <a:gd name="T14" fmla="*/ 16 w 32"/>
                      <a:gd name="T15" fmla="*/ 7 h 45"/>
                      <a:gd name="T16" fmla="*/ 10 w 32"/>
                      <a:gd name="T17" fmla="*/ 23 h 45"/>
                      <a:gd name="T18" fmla="*/ 16 w 32"/>
                      <a:gd name="T19" fmla="*/ 38 h 45"/>
                      <a:gd name="T20" fmla="*/ 22 w 32"/>
                      <a:gd name="T21" fmla="*/ 22 h 45"/>
                      <a:gd name="T22" fmla="*/ 16 w 32"/>
                      <a:gd name="T23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2" h="45">
                        <a:moveTo>
                          <a:pt x="16" y="45"/>
                        </a:moveTo>
                        <a:cubicBezTo>
                          <a:pt x="5" y="45"/>
                          <a:pt x="0" y="38"/>
                          <a:pt x="0" y="23"/>
                        </a:cubicBezTo>
                        <a:cubicBezTo>
                          <a:pt x="0" y="16"/>
                          <a:pt x="2" y="10"/>
                          <a:pt x="5" y="6"/>
                        </a:cubicBezTo>
                        <a:cubicBezTo>
                          <a:pt x="7" y="2"/>
                          <a:pt x="11" y="0"/>
                          <a:pt x="17" y="0"/>
                        </a:cubicBezTo>
                        <a:cubicBezTo>
                          <a:pt x="27" y="0"/>
                          <a:pt x="32" y="7"/>
                          <a:pt x="32" y="22"/>
                        </a:cubicBezTo>
                        <a:cubicBezTo>
                          <a:pt x="32" y="29"/>
                          <a:pt x="30" y="35"/>
                          <a:pt x="28" y="39"/>
                        </a:cubicBezTo>
                        <a:cubicBezTo>
                          <a:pt x="25" y="43"/>
                          <a:pt x="21" y="45"/>
                          <a:pt x="16" y="45"/>
                        </a:cubicBezTo>
                        <a:close/>
                        <a:moveTo>
                          <a:pt x="16" y="7"/>
                        </a:moveTo>
                        <a:cubicBezTo>
                          <a:pt x="12" y="7"/>
                          <a:pt x="10" y="12"/>
                          <a:pt x="10" y="23"/>
                        </a:cubicBezTo>
                        <a:cubicBezTo>
                          <a:pt x="10" y="33"/>
                          <a:pt x="12" y="38"/>
                          <a:pt x="16" y="38"/>
                        </a:cubicBezTo>
                        <a:cubicBezTo>
                          <a:pt x="20" y="38"/>
                          <a:pt x="22" y="32"/>
                          <a:pt x="22" y="22"/>
                        </a:cubicBezTo>
                        <a:cubicBezTo>
                          <a:pt x="22" y="12"/>
                          <a:pt x="20" y="7"/>
                          <a:pt x="16" y="7"/>
                        </a:cubicBezTo>
                        <a:close/>
                      </a:path>
                    </a:pathLst>
                  </a:custGeom>
                  <a:solidFill>
                    <a:srgbClr val="002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3" name="Freeform 384"/>
                  <p:cNvSpPr>
                    <a:spLocks noEditPoints="1"/>
                  </p:cNvSpPr>
                  <p:nvPr/>
                </p:nvSpPr>
                <p:spPr bwMode="auto">
                  <a:xfrm>
                    <a:off x="11254126" y="5942753"/>
                    <a:ext cx="50123" cy="72759"/>
                  </a:xfrm>
                  <a:custGeom>
                    <a:avLst/>
                    <a:gdLst>
                      <a:gd name="T0" fmla="*/ 15 w 31"/>
                      <a:gd name="T1" fmla="*/ 45 h 45"/>
                      <a:gd name="T2" fmla="*/ 0 w 31"/>
                      <a:gd name="T3" fmla="*/ 23 h 45"/>
                      <a:gd name="T4" fmla="*/ 4 w 31"/>
                      <a:gd name="T5" fmla="*/ 6 h 45"/>
                      <a:gd name="T6" fmla="*/ 16 w 31"/>
                      <a:gd name="T7" fmla="*/ 0 h 45"/>
                      <a:gd name="T8" fmla="*/ 31 w 31"/>
                      <a:gd name="T9" fmla="*/ 22 h 45"/>
                      <a:gd name="T10" fmla="*/ 27 w 31"/>
                      <a:gd name="T11" fmla="*/ 39 h 45"/>
                      <a:gd name="T12" fmla="*/ 15 w 31"/>
                      <a:gd name="T13" fmla="*/ 45 h 45"/>
                      <a:gd name="T14" fmla="*/ 16 w 31"/>
                      <a:gd name="T15" fmla="*/ 7 h 45"/>
                      <a:gd name="T16" fmla="*/ 9 w 31"/>
                      <a:gd name="T17" fmla="*/ 23 h 45"/>
                      <a:gd name="T18" fmla="*/ 15 w 31"/>
                      <a:gd name="T19" fmla="*/ 38 h 45"/>
                      <a:gd name="T20" fmla="*/ 21 w 31"/>
                      <a:gd name="T21" fmla="*/ 22 h 45"/>
                      <a:gd name="T22" fmla="*/ 16 w 31"/>
                      <a:gd name="T23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1" h="45">
                        <a:moveTo>
                          <a:pt x="15" y="45"/>
                        </a:moveTo>
                        <a:cubicBezTo>
                          <a:pt x="5" y="45"/>
                          <a:pt x="0" y="38"/>
                          <a:pt x="0" y="23"/>
                        </a:cubicBezTo>
                        <a:cubicBezTo>
                          <a:pt x="0" y="16"/>
                          <a:pt x="1" y="10"/>
                          <a:pt x="4" y="6"/>
                        </a:cubicBezTo>
                        <a:cubicBezTo>
                          <a:pt x="7" y="2"/>
                          <a:pt x="11" y="0"/>
                          <a:pt x="16" y="0"/>
                        </a:cubicBezTo>
                        <a:cubicBezTo>
                          <a:pt x="26" y="0"/>
                          <a:pt x="31" y="7"/>
                          <a:pt x="31" y="22"/>
                        </a:cubicBezTo>
                        <a:cubicBezTo>
                          <a:pt x="31" y="29"/>
                          <a:pt x="30" y="35"/>
                          <a:pt x="27" y="39"/>
                        </a:cubicBezTo>
                        <a:cubicBezTo>
                          <a:pt x="24" y="43"/>
                          <a:pt x="20" y="45"/>
                          <a:pt x="15" y="45"/>
                        </a:cubicBezTo>
                        <a:close/>
                        <a:moveTo>
                          <a:pt x="16" y="7"/>
                        </a:moveTo>
                        <a:cubicBezTo>
                          <a:pt x="11" y="7"/>
                          <a:pt x="9" y="12"/>
                          <a:pt x="9" y="23"/>
                        </a:cubicBezTo>
                        <a:cubicBezTo>
                          <a:pt x="9" y="33"/>
                          <a:pt x="11" y="38"/>
                          <a:pt x="15" y="38"/>
                        </a:cubicBezTo>
                        <a:cubicBezTo>
                          <a:pt x="19" y="38"/>
                          <a:pt x="21" y="33"/>
                          <a:pt x="21" y="22"/>
                        </a:cubicBezTo>
                        <a:cubicBezTo>
                          <a:pt x="21" y="12"/>
                          <a:pt x="19" y="7"/>
                          <a:pt x="16" y="7"/>
                        </a:cubicBezTo>
                        <a:close/>
                      </a:path>
                    </a:pathLst>
                  </a:custGeom>
                  <a:solidFill>
                    <a:srgbClr val="00205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4" name="Freeform 385"/>
                  <p:cNvSpPr>
                    <a:spLocks/>
                  </p:cNvSpPr>
                  <p:nvPr/>
                </p:nvSpPr>
                <p:spPr bwMode="auto">
                  <a:xfrm>
                    <a:off x="11318801" y="5942753"/>
                    <a:ext cx="29104" cy="71142"/>
                  </a:xfrm>
                  <a:custGeom>
                    <a:avLst/>
                    <a:gdLst>
                      <a:gd name="T0" fmla="*/ 18 w 18"/>
                      <a:gd name="T1" fmla="*/ 0 h 44"/>
                      <a:gd name="T2" fmla="*/ 18 w 18"/>
                      <a:gd name="T3" fmla="*/ 44 h 44"/>
                      <a:gd name="T4" fmla="*/ 9 w 18"/>
                      <a:gd name="T5" fmla="*/ 44 h 44"/>
                      <a:gd name="T6" fmla="*/ 9 w 18"/>
                      <a:gd name="T7" fmla="*/ 11 h 44"/>
                      <a:gd name="T8" fmla="*/ 7 w 18"/>
                      <a:gd name="T9" fmla="*/ 12 h 44"/>
                      <a:gd name="T10" fmla="*/ 5 w 18"/>
                      <a:gd name="T11" fmla="*/ 13 h 44"/>
                      <a:gd name="T12" fmla="*/ 2 w 18"/>
                      <a:gd name="T13" fmla="*/ 14 h 44"/>
                      <a:gd name="T14" fmla="*/ 0 w 18"/>
                      <a:gd name="T15" fmla="*/ 14 h 44"/>
                      <a:gd name="T16" fmla="*/ 0 w 18"/>
                      <a:gd name="T17" fmla="*/ 6 h 44"/>
                      <a:gd name="T18" fmla="*/ 7 w 18"/>
                      <a:gd name="T19" fmla="*/ 3 h 44"/>
                      <a:gd name="T20" fmla="*/ 13 w 18"/>
                      <a:gd name="T21" fmla="*/ 0 h 44"/>
                      <a:gd name="T22" fmla="*/ 18 w 18"/>
                      <a:gd name="T23" fmla="*/ 0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8" h="44">
                        <a:moveTo>
                          <a:pt x="18" y="0"/>
                        </a:moveTo>
                        <a:cubicBezTo>
                          <a:pt x="18" y="44"/>
                          <a:pt x="18" y="44"/>
                          <a:pt x="18" y="44"/>
                        </a:cubicBezTo>
                        <a:cubicBezTo>
                          <a:pt x="9" y="44"/>
                          <a:pt x="9" y="44"/>
                          <a:pt x="9" y="44"/>
                        </a:cubicBezTo>
                        <a:cubicBezTo>
                          <a:pt x="9" y="11"/>
                          <a:pt x="9" y="11"/>
                          <a:pt x="9" y="11"/>
                        </a:cubicBezTo>
                        <a:cubicBezTo>
                          <a:pt x="8" y="11"/>
                          <a:pt x="8" y="11"/>
                          <a:pt x="7" y="12"/>
                        </a:cubicBezTo>
                        <a:cubicBezTo>
                          <a:pt x="6" y="12"/>
                          <a:pt x="6" y="13"/>
                          <a:pt x="5" y="13"/>
                        </a:cubicBezTo>
                        <a:cubicBezTo>
                          <a:pt x="4" y="13"/>
                          <a:pt x="3" y="14"/>
                          <a:pt x="2" y="14"/>
                        </a:cubicBezTo>
                        <a:cubicBezTo>
                          <a:pt x="1" y="14"/>
                          <a:pt x="0" y="14"/>
                          <a:pt x="0" y="14"/>
                        </a:cubicBez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2" y="6"/>
                          <a:pt x="4" y="5"/>
                          <a:pt x="7" y="3"/>
                        </a:cubicBezTo>
                        <a:cubicBezTo>
                          <a:pt x="9" y="2"/>
                          <a:pt x="11" y="1"/>
                          <a:pt x="13" y="0"/>
                        </a:cubicBezTo>
                        <a:lnTo>
                          <a:pt x="18" y="0"/>
                        </a:lnTo>
                        <a:close/>
                      </a:path>
                    </a:pathLst>
                  </a:custGeom>
                  <a:solidFill>
                    <a:srgbClr val="0072C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6" name="Freeform 387"/>
                  <p:cNvSpPr>
                    <a:spLocks/>
                  </p:cNvSpPr>
                  <p:nvPr/>
                </p:nvSpPr>
                <p:spPr bwMode="auto">
                  <a:xfrm>
                    <a:off x="11692876" y="5931309"/>
                    <a:ext cx="30721" cy="71142"/>
                  </a:xfrm>
                  <a:custGeom>
                    <a:avLst/>
                    <a:gdLst>
                      <a:gd name="T0" fmla="*/ 19 w 19"/>
                      <a:gd name="T1" fmla="*/ 0 h 44"/>
                      <a:gd name="T2" fmla="*/ 19 w 19"/>
                      <a:gd name="T3" fmla="*/ 44 h 44"/>
                      <a:gd name="T4" fmla="*/ 9 w 19"/>
                      <a:gd name="T5" fmla="*/ 44 h 44"/>
                      <a:gd name="T6" fmla="*/ 9 w 19"/>
                      <a:gd name="T7" fmla="*/ 10 h 44"/>
                      <a:gd name="T8" fmla="*/ 7 w 19"/>
                      <a:gd name="T9" fmla="*/ 12 h 44"/>
                      <a:gd name="T10" fmla="*/ 5 w 19"/>
                      <a:gd name="T11" fmla="*/ 13 h 44"/>
                      <a:gd name="T12" fmla="*/ 2 w 19"/>
                      <a:gd name="T13" fmla="*/ 14 h 44"/>
                      <a:gd name="T14" fmla="*/ 0 w 19"/>
                      <a:gd name="T15" fmla="*/ 14 h 44"/>
                      <a:gd name="T16" fmla="*/ 0 w 19"/>
                      <a:gd name="T17" fmla="*/ 6 h 44"/>
                      <a:gd name="T18" fmla="*/ 7 w 19"/>
                      <a:gd name="T19" fmla="*/ 3 h 44"/>
                      <a:gd name="T20" fmla="*/ 13 w 19"/>
                      <a:gd name="T21" fmla="*/ 0 h 44"/>
                      <a:gd name="T22" fmla="*/ 19 w 19"/>
                      <a:gd name="T23" fmla="*/ 0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9" h="44">
                        <a:moveTo>
                          <a:pt x="19" y="0"/>
                        </a:moveTo>
                        <a:cubicBezTo>
                          <a:pt x="19" y="44"/>
                          <a:pt x="19" y="44"/>
                          <a:pt x="19" y="44"/>
                        </a:cubicBezTo>
                        <a:cubicBezTo>
                          <a:pt x="9" y="44"/>
                          <a:pt x="9" y="44"/>
                          <a:pt x="9" y="44"/>
                        </a:cubicBezTo>
                        <a:cubicBezTo>
                          <a:pt x="9" y="10"/>
                          <a:pt x="9" y="10"/>
                          <a:pt x="9" y="10"/>
                        </a:cubicBezTo>
                        <a:cubicBezTo>
                          <a:pt x="9" y="11"/>
                          <a:pt x="8" y="11"/>
                          <a:pt x="7" y="12"/>
                        </a:cubicBezTo>
                        <a:cubicBezTo>
                          <a:pt x="6" y="12"/>
                          <a:pt x="6" y="13"/>
                          <a:pt x="5" y="13"/>
                        </a:cubicBezTo>
                        <a:cubicBezTo>
                          <a:pt x="4" y="13"/>
                          <a:pt x="3" y="13"/>
                          <a:pt x="2" y="14"/>
                        </a:cubicBezTo>
                        <a:cubicBezTo>
                          <a:pt x="2" y="14"/>
                          <a:pt x="1" y="14"/>
                          <a:pt x="0" y="14"/>
                        </a:cubicBez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2" y="5"/>
                          <a:pt x="5" y="5"/>
                          <a:pt x="7" y="3"/>
                        </a:cubicBezTo>
                        <a:cubicBezTo>
                          <a:pt x="9" y="2"/>
                          <a:pt x="11" y="1"/>
                          <a:pt x="13" y="0"/>
                        </a:cubicBez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rgbClr val="0072C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7" name="Freeform 388"/>
                  <p:cNvSpPr>
                    <a:spLocks noEditPoints="1"/>
                  </p:cNvSpPr>
                  <p:nvPr/>
                </p:nvSpPr>
                <p:spPr bwMode="auto">
                  <a:xfrm>
                    <a:off x="11431982" y="5843315"/>
                    <a:ext cx="51740" cy="71951"/>
                  </a:xfrm>
                  <a:custGeom>
                    <a:avLst/>
                    <a:gdLst>
                      <a:gd name="T0" fmla="*/ 16 w 32"/>
                      <a:gd name="T1" fmla="*/ 45 h 45"/>
                      <a:gd name="T2" fmla="*/ 0 w 32"/>
                      <a:gd name="T3" fmla="*/ 23 h 45"/>
                      <a:gd name="T4" fmla="*/ 5 w 32"/>
                      <a:gd name="T5" fmla="*/ 6 h 45"/>
                      <a:gd name="T6" fmla="*/ 17 w 32"/>
                      <a:gd name="T7" fmla="*/ 0 h 45"/>
                      <a:gd name="T8" fmla="*/ 32 w 32"/>
                      <a:gd name="T9" fmla="*/ 22 h 45"/>
                      <a:gd name="T10" fmla="*/ 28 w 32"/>
                      <a:gd name="T11" fmla="*/ 39 h 45"/>
                      <a:gd name="T12" fmla="*/ 16 w 32"/>
                      <a:gd name="T13" fmla="*/ 45 h 45"/>
                      <a:gd name="T14" fmla="*/ 16 w 32"/>
                      <a:gd name="T15" fmla="*/ 7 h 45"/>
                      <a:gd name="T16" fmla="*/ 10 w 32"/>
                      <a:gd name="T17" fmla="*/ 23 h 45"/>
                      <a:gd name="T18" fmla="*/ 16 w 32"/>
                      <a:gd name="T19" fmla="*/ 38 h 45"/>
                      <a:gd name="T20" fmla="*/ 22 w 32"/>
                      <a:gd name="T21" fmla="*/ 22 h 45"/>
                      <a:gd name="T22" fmla="*/ 16 w 32"/>
                      <a:gd name="T23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2" h="45">
                        <a:moveTo>
                          <a:pt x="16" y="45"/>
                        </a:moveTo>
                        <a:cubicBezTo>
                          <a:pt x="6" y="45"/>
                          <a:pt x="0" y="38"/>
                          <a:pt x="0" y="23"/>
                        </a:cubicBezTo>
                        <a:cubicBezTo>
                          <a:pt x="0" y="16"/>
                          <a:pt x="2" y="10"/>
                          <a:pt x="5" y="6"/>
                        </a:cubicBezTo>
                        <a:cubicBezTo>
                          <a:pt x="7" y="2"/>
                          <a:pt x="12" y="0"/>
                          <a:pt x="17" y="0"/>
                        </a:cubicBezTo>
                        <a:cubicBezTo>
                          <a:pt x="27" y="0"/>
                          <a:pt x="32" y="7"/>
                          <a:pt x="32" y="22"/>
                        </a:cubicBezTo>
                        <a:cubicBezTo>
                          <a:pt x="32" y="29"/>
                          <a:pt x="31" y="35"/>
                          <a:pt x="28" y="39"/>
                        </a:cubicBezTo>
                        <a:cubicBezTo>
                          <a:pt x="25" y="43"/>
                          <a:pt x="21" y="45"/>
                          <a:pt x="16" y="45"/>
                        </a:cubicBezTo>
                        <a:close/>
                        <a:moveTo>
                          <a:pt x="16" y="7"/>
                        </a:moveTo>
                        <a:cubicBezTo>
                          <a:pt x="12" y="7"/>
                          <a:pt x="10" y="12"/>
                          <a:pt x="10" y="23"/>
                        </a:cubicBezTo>
                        <a:cubicBezTo>
                          <a:pt x="10" y="33"/>
                          <a:pt x="12" y="38"/>
                          <a:pt x="16" y="38"/>
                        </a:cubicBezTo>
                        <a:cubicBezTo>
                          <a:pt x="20" y="38"/>
                          <a:pt x="22" y="32"/>
                          <a:pt x="22" y="22"/>
                        </a:cubicBezTo>
                        <a:cubicBezTo>
                          <a:pt x="22" y="12"/>
                          <a:pt x="20" y="7"/>
                          <a:pt x="16" y="7"/>
                        </a:cubicBezTo>
                        <a:close/>
                      </a:path>
                    </a:pathLst>
                  </a:custGeom>
                  <a:solidFill>
                    <a:srgbClr val="0072C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8" name="Freeform 389"/>
                  <p:cNvSpPr>
                    <a:spLocks noEditPoints="1"/>
                  </p:cNvSpPr>
                  <p:nvPr/>
                </p:nvSpPr>
                <p:spPr bwMode="auto">
                  <a:xfrm>
                    <a:off x="11431982" y="5942753"/>
                    <a:ext cx="51740" cy="72759"/>
                  </a:xfrm>
                  <a:custGeom>
                    <a:avLst/>
                    <a:gdLst>
                      <a:gd name="T0" fmla="*/ 16 w 32"/>
                      <a:gd name="T1" fmla="*/ 45 h 45"/>
                      <a:gd name="T2" fmla="*/ 0 w 32"/>
                      <a:gd name="T3" fmla="*/ 23 h 45"/>
                      <a:gd name="T4" fmla="*/ 5 w 32"/>
                      <a:gd name="T5" fmla="*/ 6 h 45"/>
                      <a:gd name="T6" fmla="*/ 17 w 32"/>
                      <a:gd name="T7" fmla="*/ 0 h 45"/>
                      <a:gd name="T8" fmla="*/ 32 w 32"/>
                      <a:gd name="T9" fmla="*/ 22 h 45"/>
                      <a:gd name="T10" fmla="*/ 28 w 32"/>
                      <a:gd name="T11" fmla="*/ 39 h 45"/>
                      <a:gd name="T12" fmla="*/ 16 w 32"/>
                      <a:gd name="T13" fmla="*/ 45 h 45"/>
                      <a:gd name="T14" fmla="*/ 16 w 32"/>
                      <a:gd name="T15" fmla="*/ 7 h 45"/>
                      <a:gd name="T16" fmla="*/ 10 w 32"/>
                      <a:gd name="T17" fmla="*/ 23 h 45"/>
                      <a:gd name="T18" fmla="*/ 16 w 32"/>
                      <a:gd name="T19" fmla="*/ 38 h 45"/>
                      <a:gd name="T20" fmla="*/ 22 w 32"/>
                      <a:gd name="T21" fmla="*/ 22 h 45"/>
                      <a:gd name="T22" fmla="*/ 16 w 32"/>
                      <a:gd name="T23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2" h="45">
                        <a:moveTo>
                          <a:pt x="16" y="45"/>
                        </a:moveTo>
                        <a:cubicBezTo>
                          <a:pt x="6" y="45"/>
                          <a:pt x="0" y="38"/>
                          <a:pt x="0" y="23"/>
                        </a:cubicBezTo>
                        <a:cubicBezTo>
                          <a:pt x="0" y="16"/>
                          <a:pt x="2" y="10"/>
                          <a:pt x="5" y="6"/>
                        </a:cubicBezTo>
                        <a:cubicBezTo>
                          <a:pt x="7" y="2"/>
                          <a:pt x="12" y="0"/>
                          <a:pt x="17" y="0"/>
                        </a:cubicBezTo>
                        <a:cubicBezTo>
                          <a:pt x="27" y="0"/>
                          <a:pt x="32" y="7"/>
                          <a:pt x="32" y="22"/>
                        </a:cubicBezTo>
                        <a:cubicBezTo>
                          <a:pt x="32" y="29"/>
                          <a:pt x="31" y="35"/>
                          <a:pt x="28" y="39"/>
                        </a:cubicBezTo>
                        <a:cubicBezTo>
                          <a:pt x="25" y="43"/>
                          <a:pt x="21" y="45"/>
                          <a:pt x="16" y="45"/>
                        </a:cubicBezTo>
                        <a:close/>
                        <a:moveTo>
                          <a:pt x="16" y="7"/>
                        </a:moveTo>
                        <a:cubicBezTo>
                          <a:pt x="12" y="7"/>
                          <a:pt x="10" y="12"/>
                          <a:pt x="10" y="23"/>
                        </a:cubicBezTo>
                        <a:cubicBezTo>
                          <a:pt x="10" y="33"/>
                          <a:pt x="12" y="38"/>
                          <a:pt x="16" y="38"/>
                        </a:cubicBezTo>
                        <a:cubicBezTo>
                          <a:pt x="20" y="38"/>
                          <a:pt x="22" y="33"/>
                          <a:pt x="22" y="22"/>
                        </a:cubicBezTo>
                        <a:cubicBezTo>
                          <a:pt x="22" y="12"/>
                          <a:pt x="20" y="7"/>
                          <a:pt x="16" y="7"/>
                        </a:cubicBezTo>
                        <a:close/>
                      </a:path>
                    </a:pathLst>
                  </a:custGeom>
                  <a:solidFill>
                    <a:srgbClr val="00BCF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9" name="Freeform 390"/>
                  <p:cNvSpPr>
                    <a:spLocks/>
                  </p:cNvSpPr>
                  <p:nvPr/>
                </p:nvSpPr>
                <p:spPr bwMode="auto">
                  <a:xfrm>
                    <a:off x="11440066" y="6042999"/>
                    <a:ext cx="30721" cy="71142"/>
                  </a:xfrm>
                  <a:custGeom>
                    <a:avLst/>
                    <a:gdLst>
                      <a:gd name="T0" fmla="*/ 19 w 19"/>
                      <a:gd name="T1" fmla="*/ 0 h 44"/>
                      <a:gd name="T2" fmla="*/ 19 w 19"/>
                      <a:gd name="T3" fmla="*/ 44 h 44"/>
                      <a:gd name="T4" fmla="*/ 9 w 19"/>
                      <a:gd name="T5" fmla="*/ 44 h 44"/>
                      <a:gd name="T6" fmla="*/ 9 w 19"/>
                      <a:gd name="T7" fmla="*/ 11 h 44"/>
                      <a:gd name="T8" fmla="*/ 7 w 19"/>
                      <a:gd name="T9" fmla="*/ 12 h 44"/>
                      <a:gd name="T10" fmla="*/ 5 w 19"/>
                      <a:gd name="T11" fmla="*/ 13 h 44"/>
                      <a:gd name="T12" fmla="*/ 2 w 19"/>
                      <a:gd name="T13" fmla="*/ 14 h 44"/>
                      <a:gd name="T14" fmla="*/ 0 w 19"/>
                      <a:gd name="T15" fmla="*/ 14 h 44"/>
                      <a:gd name="T16" fmla="*/ 0 w 19"/>
                      <a:gd name="T17" fmla="*/ 6 h 44"/>
                      <a:gd name="T18" fmla="*/ 7 w 19"/>
                      <a:gd name="T19" fmla="*/ 3 h 44"/>
                      <a:gd name="T20" fmla="*/ 13 w 19"/>
                      <a:gd name="T21" fmla="*/ 0 h 44"/>
                      <a:gd name="T22" fmla="*/ 19 w 19"/>
                      <a:gd name="T23" fmla="*/ 0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9" h="44">
                        <a:moveTo>
                          <a:pt x="19" y="0"/>
                        </a:moveTo>
                        <a:cubicBezTo>
                          <a:pt x="19" y="44"/>
                          <a:pt x="19" y="44"/>
                          <a:pt x="19" y="44"/>
                        </a:cubicBezTo>
                        <a:cubicBezTo>
                          <a:pt x="9" y="44"/>
                          <a:pt x="9" y="44"/>
                          <a:pt x="9" y="44"/>
                        </a:cubicBezTo>
                        <a:cubicBezTo>
                          <a:pt x="9" y="11"/>
                          <a:pt x="9" y="11"/>
                          <a:pt x="9" y="11"/>
                        </a:cubicBezTo>
                        <a:cubicBezTo>
                          <a:pt x="9" y="11"/>
                          <a:pt x="8" y="11"/>
                          <a:pt x="7" y="12"/>
                        </a:cubicBezTo>
                        <a:cubicBezTo>
                          <a:pt x="6" y="12"/>
                          <a:pt x="6" y="13"/>
                          <a:pt x="5" y="13"/>
                        </a:cubicBezTo>
                        <a:cubicBezTo>
                          <a:pt x="4" y="13"/>
                          <a:pt x="3" y="14"/>
                          <a:pt x="2" y="14"/>
                        </a:cubicBezTo>
                        <a:cubicBezTo>
                          <a:pt x="2" y="14"/>
                          <a:pt x="1" y="14"/>
                          <a:pt x="0" y="14"/>
                        </a:cubicBez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2" y="6"/>
                          <a:pt x="5" y="5"/>
                          <a:pt x="7" y="3"/>
                        </a:cubicBezTo>
                        <a:cubicBezTo>
                          <a:pt x="9" y="2"/>
                          <a:pt x="11" y="1"/>
                          <a:pt x="13" y="0"/>
                        </a:cubicBez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rgbClr val="00BCF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0" name="Freeform 391"/>
                  <p:cNvSpPr>
                    <a:spLocks/>
                  </p:cNvSpPr>
                  <p:nvPr/>
                </p:nvSpPr>
                <p:spPr bwMode="auto">
                  <a:xfrm>
                    <a:off x="11260593" y="6042999"/>
                    <a:ext cx="30721" cy="71142"/>
                  </a:xfrm>
                  <a:custGeom>
                    <a:avLst/>
                    <a:gdLst>
                      <a:gd name="T0" fmla="*/ 19 w 19"/>
                      <a:gd name="T1" fmla="*/ 0 h 44"/>
                      <a:gd name="T2" fmla="*/ 19 w 19"/>
                      <a:gd name="T3" fmla="*/ 44 h 44"/>
                      <a:gd name="T4" fmla="*/ 9 w 19"/>
                      <a:gd name="T5" fmla="*/ 44 h 44"/>
                      <a:gd name="T6" fmla="*/ 9 w 19"/>
                      <a:gd name="T7" fmla="*/ 11 h 44"/>
                      <a:gd name="T8" fmla="*/ 7 w 19"/>
                      <a:gd name="T9" fmla="*/ 12 h 44"/>
                      <a:gd name="T10" fmla="*/ 5 w 19"/>
                      <a:gd name="T11" fmla="*/ 13 h 44"/>
                      <a:gd name="T12" fmla="*/ 3 w 19"/>
                      <a:gd name="T13" fmla="*/ 14 h 44"/>
                      <a:gd name="T14" fmla="*/ 0 w 19"/>
                      <a:gd name="T15" fmla="*/ 14 h 44"/>
                      <a:gd name="T16" fmla="*/ 0 w 19"/>
                      <a:gd name="T17" fmla="*/ 6 h 44"/>
                      <a:gd name="T18" fmla="*/ 7 w 19"/>
                      <a:gd name="T19" fmla="*/ 3 h 44"/>
                      <a:gd name="T20" fmla="*/ 13 w 19"/>
                      <a:gd name="T21" fmla="*/ 0 h 44"/>
                      <a:gd name="T22" fmla="*/ 19 w 19"/>
                      <a:gd name="T23" fmla="*/ 0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9" h="44">
                        <a:moveTo>
                          <a:pt x="19" y="0"/>
                        </a:moveTo>
                        <a:cubicBezTo>
                          <a:pt x="19" y="44"/>
                          <a:pt x="19" y="44"/>
                          <a:pt x="19" y="44"/>
                        </a:cubicBezTo>
                        <a:cubicBezTo>
                          <a:pt x="9" y="44"/>
                          <a:pt x="9" y="44"/>
                          <a:pt x="9" y="44"/>
                        </a:cubicBezTo>
                        <a:cubicBezTo>
                          <a:pt x="9" y="11"/>
                          <a:pt x="9" y="11"/>
                          <a:pt x="9" y="11"/>
                        </a:cubicBezTo>
                        <a:cubicBezTo>
                          <a:pt x="9" y="11"/>
                          <a:pt x="8" y="11"/>
                          <a:pt x="7" y="12"/>
                        </a:cubicBezTo>
                        <a:cubicBezTo>
                          <a:pt x="7" y="12"/>
                          <a:pt x="6" y="13"/>
                          <a:pt x="5" y="13"/>
                        </a:cubicBezTo>
                        <a:cubicBezTo>
                          <a:pt x="4" y="13"/>
                          <a:pt x="3" y="14"/>
                          <a:pt x="3" y="14"/>
                        </a:cubicBezTo>
                        <a:cubicBezTo>
                          <a:pt x="2" y="14"/>
                          <a:pt x="1" y="14"/>
                          <a:pt x="0" y="14"/>
                        </a:cubicBez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2" y="6"/>
                          <a:pt x="5" y="5"/>
                          <a:pt x="7" y="3"/>
                        </a:cubicBezTo>
                        <a:cubicBezTo>
                          <a:pt x="9" y="2"/>
                          <a:pt x="11" y="1"/>
                          <a:pt x="13" y="0"/>
                        </a:cubicBez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rgbClr val="0072C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2" name="Freeform 393"/>
                  <p:cNvSpPr>
                    <a:spLocks/>
                  </p:cNvSpPr>
                  <p:nvPr/>
                </p:nvSpPr>
                <p:spPr bwMode="auto">
                  <a:xfrm>
                    <a:off x="11377008" y="5843315"/>
                    <a:ext cx="30721" cy="70334"/>
                  </a:xfrm>
                  <a:custGeom>
                    <a:avLst/>
                    <a:gdLst>
                      <a:gd name="T0" fmla="*/ 19 w 19"/>
                      <a:gd name="T1" fmla="*/ 0 h 44"/>
                      <a:gd name="T2" fmla="*/ 19 w 19"/>
                      <a:gd name="T3" fmla="*/ 44 h 44"/>
                      <a:gd name="T4" fmla="*/ 10 w 19"/>
                      <a:gd name="T5" fmla="*/ 44 h 44"/>
                      <a:gd name="T6" fmla="*/ 10 w 19"/>
                      <a:gd name="T7" fmla="*/ 10 h 44"/>
                      <a:gd name="T8" fmla="*/ 8 w 19"/>
                      <a:gd name="T9" fmla="*/ 12 h 44"/>
                      <a:gd name="T10" fmla="*/ 6 w 19"/>
                      <a:gd name="T11" fmla="*/ 13 h 44"/>
                      <a:gd name="T12" fmla="*/ 3 w 19"/>
                      <a:gd name="T13" fmla="*/ 14 h 44"/>
                      <a:gd name="T14" fmla="*/ 0 w 19"/>
                      <a:gd name="T15" fmla="*/ 14 h 44"/>
                      <a:gd name="T16" fmla="*/ 0 w 19"/>
                      <a:gd name="T17" fmla="*/ 6 h 44"/>
                      <a:gd name="T18" fmla="*/ 8 w 19"/>
                      <a:gd name="T19" fmla="*/ 3 h 44"/>
                      <a:gd name="T20" fmla="*/ 13 w 19"/>
                      <a:gd name="T21" fmla="*/ 0 h 44"/>
                      <a:gd name="T22" fmla="*/ 19 w 19"/>
                      <a:gd name="T23" fmla="*/ 0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9" h="44">
                        <a:moveTo>
                          <a:pt x="19" y="0"/>
                        </a:moveTo>
                        <a:cubicBezTo>
                          <a:pt x="19" y="44"/>
                          <a:pt x="19" y="44"/>
                          <a:pt x="19" y="44"/>
                        </a:cubicBezTo>
                        <a:cubicBezTo>
                          <a:pt x="10" y="44"/>
                          <a:pt x="10" y="44"/>
                          <a:pt x="10" y="44"/>
                        </a:cubicBezTo>
                        <a:cubicBezTo>
                          <a:pt x="10" y="10"/>
                          <a:pt x="10" y="10"/>
                          <a:pt x="10" y="10"/>
                        </a:cubicBezTo>
                        <a:cubicBezTo>
                          <a:pt x="9" y="11"/>
                          <a:pt x="9" y="11"/>
                          <a:pt x="8" y="12"/>
                        </a:cubicBezTo>
                        <a:cubicBezTo>
                          <a:pt x="7" y="12"/>
                          <a:pt x="6" y="13"/>
                          <a:pt x="6" y="13"/>
                        </a:cubicBezTo>
                        <a:cubicBezTo>
                          <a:pt x="5" y="13"/>
                          <a:pt x="4" y="14"/>
                          <a:pt x="3" y="14"/>
                        </a:cubicBezTo>
                        <a:cubicBezTo>
                          <a:pt x="2" y="14"/>
                          <a:pt x="1" y="14"/>
                          <a:pt x="0" y="14"/>
                        </a:cubicBez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3" y="5"/>
                          <a:pt x="5" y="5"/>
                          <a:pt x="8" y="3"/>
                        </a:cubicBezTo>
                        <a:cubicBezTo>
                          <a:pt x="10" y="2"/>
                          <a:pt x="12" y="1"/>
                          <a:pt x="13" y="0"/>
                        </a:cubicBez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rgbClr val="0072C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4" name="Freeform 395"/>
                  <p:cNvSpPr>
                    <a:spLocks noEditPoints="1"/>
                  </p:cNvSpPr>
                  <p:nvPr/>
                </p:nvSpPr>
                <p:spPr bwMode="auto">
                  <a:xfrm>
                    <a:off x="11370541" y="5942753"/>
                    <a:ext cx="51740" cy="72759"/>
                  </a:xfrm>
                  <a:custGeom>
                    <a:avLst/>
                    <a:gdLst>
                      <a:gd name="T0" fmla="*/ 16 w 32"/>
                      <a:gd name="T1" fmla="*/ 45 h 45"/>
                      <a:gd name="T2" fmla="*/ 0 w 32"/>
                      <a:gd name="T3" fmla="*/ 23 h 45"/>
                      <a:gd name="T4" fmla="*/ 4 w 32"/>
                      <a:gd name="T5" fmla="*/ 6 h 45"/>
                      <a:gd name="T6" fmla="*/ 16 w 32"/>
                      <a:gd name="T7" fmla="*/ 0 h 45"/>
                      <a:gd name="T8" fmla="*/ 32 w 32"/>
                      <a:gd name="T9" fmla="*/ 22 h 45"/>
                      <a:gd name="T10" fmla="*/ 28 w 32"/>
                      <a:gd name="T11" fmla="*/ 39 h 45"/>
                      <a:gd name="T12" fmla="*/ 16 w 32"/>
                      <a:gd name="T13" fmla="*/ 45 h 45"/>
                      <a:gd name="T14" fmla="*/ 16 w 32"/>
                      <a:gd name="T15" fmla="*/ 7 h 45"/>
                      <a:gd name="T16" fmla="*/ 10 w 32"/>
                      <a:gd name="T17" fmla="*/ 23 h 45"/>
                      <a:gd name="T18" fmla="*/ 16 w 32"/>
                      <a:gd name="T19" fmla="*/ 38 h 45"/>
                      <a:gd name="T20" fmla="*/ 22 w 32"/>
                      <a:gd name="T21" fmla="*/ 22 h 45"/>
                      <a:gd name="T22" fmla="*/ 16 w 32"/>
                      <a:gd name="T23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2" h="45">
                        <a:moveTo>
                          <a:pt x="16" y="45"/>
                        </a:moveTo>
                        <a:cubicBezTo>
                          <a:pt x="5" y="45"/>
                          <a:pt x="0" y="38"/>
                          <a:pt x="0" y="23"/>
                        </a:cubicBezTo>
                        <a:cubicBezTo>
                          <a:pt x="0" y="16"/>
                          <a:pt x="2" y="10"/>
                          <a:pt x="4" y="6"/>
                        </a:cubicBezTo>
                        <a:cubicBezTo>
                          <a:pt x="7" y="2"/>
                          <a:pt x="11" y="0"/>
                          <a:pt x="16" y="0"/>
                        </a:cubicBezTo>
                        <a:cubicBezTo>
                          <a:pt x="27" y="0"/>
                          <a:pt x="32" y="7"/>
                          <a:pt x="32" y="22"/>
                        </a:cubicBezTo>
                        <a:cubicBezTo>
                          <a:pt x="32" y="29"/>
                          <a:pt x="30" y="35"/>
                          <a:pt x="28" y="39"/>
                        </a:cubicBezTo>
                        <a:cubicBezTo>
                          <a:pt x="25" y="43"/>
                          <a:pt x="21" y="45"/>
                          <a:pt x="16" y="45"/>
                        </a:cubicBezTo>
                        <a:close/>
                        <a:moveTo>
                          <a:pt x="16" y="7"/>
                        </a:moveTo>
                        <a:cubicBezTo>
                          <a:pt x="12" y="7"/>
                          <a:pt x="10" y="12"/>
                          <a:pt x="10" y="23"/>
                        </a:cubicBezTo>
                        <a:cubicBezTo>
                          <a:pt x="10" y="33"/>
                          <a:pt x="12" y="38"/>
                          <a:pt x="16" y="38"/>
                        </a:cubicBezTo>
                        <a:cubicBezTo>
                          <a:pt x="20" y="38"/>
                          <a:pt x="22" y="33"/>
                          <a:pt x="22" y="22"/>
                        </a:cubicBezTo>
                        <a:cubicBezTo>
                          <a:pt x="22" y="12"/>
                          <a:pt x="20" y="7"/>
                          <a:pt x="16" y="7"/>
                        </a:cubicBezTo>
                        <a:close/>
                      </a:path>
                    </a:pathLst>
                  </a:custGeom>
                  <a:solidFill>
                    <a:srgbClr val="0072C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0" name="Freeform 401"/>
                  <p:cNvSpPr>
                    <a:spLocks/>
                  </p:cNvSpPr>
                  <p:nvPr/>
                </p:nvSpPr>
                <p:spPr bwMode="auto">
                  <a:xfrm>
                    <a:off x="11377008" y="6042999"/>
                    <a:ext cx="30721" cy="71142"/>
                  </a:xfrm>
                  <a:custGeom>
                    <a:avLst/>
                    <a:gdLst>
                      <a:gd name="T0" fmla="*/ 19 w 19"/>
                      <a:gd name="T1" fmla="*/ 0 h 44"/>
                      <a:gd name="T2" fmla="*/ 19 w 19"/>
                      <a:gd name="T3" fmla="*/ 44 h 44"/>
                      <a:gd name="T4" fmla="*/ 10 w 19"/>
                      <a:gd name="T5" fmla="*/ 44 h 44"/>
                      <a:gd name="T6" fmla="*/ 10 w 19"/>
                      <a:gd name="T7" fmla="*/ 11 h 44"/>
                      <a:gd name="T8" fmla="*/ 8 w 19"/>
                      <a:gd name="T9" fmla="*/ 12 h 44"/>
                      <a:gd name="T10" fmla="*/ 6 w 19"/>
                      <a:gd name="T11" fmla="*/ 13 h 44"/>
                      <a:gd name="T12" fmla="*/ 3 w 19"/>
                      <a:gd name="T13" fmla="*/ 14 h 44"/>
                      <a:gd name="T14" fmla="*/ 0 w 19"/>
                      <a:gd name="T15" fmla="*/ 14 h 44"/>
                      <a:gd name="T16" fmla="*/ 0 w 19"/>
                      <a:gd name="T17" fmla="*/ 6 h 44"/>
                      <a:gd name="T18" fmla="*/ 8 w 19"/>
                      <a:gd name="T19" fmla="*/ 3 h 44"/>
                      <a:gd name="T20" fmla="*/ 13 w 19"/>
                      <a:gd name="T21" fmla="*/ 0 h 44"/>
                      <a:gd name="T22" fmla="*/ 19 w 19"/>
                      <a:gd name="T23" fmla="*/ 0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9" h="44">
                        <a:moveTo>
                          <a:pt x="19" y="0"/>
                        </a:moveTo>
                        <a:cubicBezTo>
                          <a:pt x="19" y="44"/>
                          <a:pt x="19" y="44"/>
                          <a:pt x="19" y="44"/>
                        </a:cubicBezTo>
                        <a:cubicBezTo>
                          <a:pt x="10" y="44"/>
                          <a:pt x="10" y="44"/>
                          <a:pt x="10" y="44"/>
                        </a:cubicBezTo>
                        <a:cubicBezTo>
                          <a:pt x="10" y="11"/>
                          <a:pt x="10" y="11"/>
                          <a:pt x="10" y="11"/>
                        </a:cubicBezTo>
                        <a:cubicBezTo>
                          <a:pt x="9" y="11"/>
                          <a:pt x="9" y="11"/>
                          <a:pt x="8" y="12"/>
                        </a:cubicBezTo>
                        <a:cubicBezTo>
                          <a:pt x="7" y="12"/>
                          <a:pt x="6" y="13"/>
                          <a:pt x="6" y="13"/>
                        </a:cubicBezTo>
                        <a:cubicBezTo>
                          <a:pt x="5" y="13"/>
                          <a:pt x="4" y="14"/>
                          <a:pt x="3" y="14"/>
                        </a:cubicBezTo>
                        <a:cubicBezTo>
                          <a:pt x="2" y="14"/>
                          <a:pt x="1" y="14"/>
                          <a:pt x="0" y="14"/>
                        </a:cubicBezTo>
                        <a:cubicBezTo>
                          <a:pt x="0" y="6"/>
                          <a:pt x="0" y="6"/>
                          <a:pt x="0" y="6"/>
                        </a:cubicBezTo>
                        <a:cubicBezTo>
                          <a:pt x="3" y="6"/>
                          <a:pt x="5" y="5"/>
                          <a:pt x="8" y="3"/>
                        </a:cubicBezTo>
                        <a:cubicBezTo>
                          <a:pt x="10" y="2"/>
                          <a:pt x="12" y="1"/>
                          <a:pt x="13" y="0"/>
                        </a:cubicBezTo>
                        <a:lnTo>
                          <a:pt x="19" y="0"/>
                        </a:lnTo>
                        <a:close/>
                      </a:path>
                    </a:pathLst>
                  </a:custGeom>
                  <a:solidFill>
                    <a:srgbClr val="00BCF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1" name="Freeform 402"/>
                  <p:cNvSpPr>
                    <a:spLocks noEditPoints="1"/>
                  </p:cNvSpPr>
                  <p:nvPr/>
                </p:nvSpPr>
                <p:spPr bwMode="auto">
                  <a:xfrm>
                    <a:off x="11310716" y="6042999"/>
                    <a:ext cx="51740" cy="72759"/>
                  </a:xfrm>
                  <a:custGeom>
                    <a:avLst/>
                    <a:gdLst>
                      <a:gd name="T0" fmla="*/ 16 w 32"/>
                      <a:gd name="T1" fmla="*/ 45 h 45"/>
                      <a:gd name="T2" fmla="*/ 0 w 32"/>
                      <a:gd name="T3" fmla="*/ 23 h 45"/>
                      <a:gd name="T4" fmla="*/ 5 w 32"/>
                      <a:gd name="T5" fmla="*/ 6 h 45"/>
                      <a:gd name="T6" fmla="*/ 17 w 32"/>
                      <a:gd name="T7" fmla="*/ 0 h 45"/>
                      <a:gd name="T8" fmla="*/ 32 w 32"/>
                      <a:gd name="T9" fmla="*/ 22 h 45"/>
                      <a:gd name="T10" fmla="*/ 28 w 32"/>
                      <a:gd name="T11" fmla="*/ 39 h 45"/>
                      <a:gd name="T12" fmla="*/ 16 w 32"/>
                      <a:gd name="T13" fmla="*/ 45 h 45"/>
                      <a:gd name="T14" fmla="*/ 16 w 32"/>
                      <a:gd name="T15" fmla="*/ 7 h 45"/>
                      <a:gd name="T16" fmla="*/ 10 w 32"/>
                      <a:gd name="T17" fmla="*/ 23 h 45"/>
                      <a:gd name="T18" fmla="*/ 16 w 32"/>
                      <a:gd name="T19" fmla="*/ 38 h 45"/>
                      <a:gd name="T20" fmla="*/ 22 w 32"/>
                      <a:gd name="T21" fmla="*/ 22 h 45"/>
                      <a:gd name="T22" fmla="*/ 16 w 32"/>
                      <a:gd name="T23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2" h="45">
                        <a:moveTo>
                          <a:pt x="16" y="45"/>
                        </a:moveTo>
                        <a:cubicBezTo>
                          <a:pt x="5" y="45"/>
                          <a:pt x="0" y="38"/>
                          <a:pt x="0" y="23"/>
                        </a:cubicBezTo>
                        <a:cubicBezTo>
                          <a:pt x="0" y="16"/>
                          <a:pt x="2" y="10"/>
                          <a:pt x="5" y="6"/>
                        </a:cubicBezTo>
                        <a:cubicBezTo>
                          <a:pt x="7" y="2"/>
                          <a:pt x="11" y="0"/>
                          <a:pt x="17" y="0"/>
                        </a:cubicBezTo>
                        <a:cubicBezTo>
                          <a:pt x="27" y="0"/>
                          <a:pt x="32" y="7"/>
                          <a:pt x="32" y="22"/>
                        </a:cubicBezTo>
                        <a:cubicBezTo>
                          <a:pt x="32" y="29"/>
                          <a:pt x="30" y="35"/>
                          <a:pt x="28" y="39"/>
                        </a:cubicBezTo>
                        <a:cubicBezTo>
                          <a:pt x="25" y="43"/>
                          <a:pt x="21" y="45"/>
                          <a:pt x="16" y="45"/>
                        </a:cubicBezTo>
                        <a:close/>
                        <a:moveTo>
                          <a:pt x="16" y="7"/>
                        </a:moveTo>
                        <a:cubicBezTo>
                          <a:pt x="12" y="7"/>
                          <a:pt x="10" y="13"/>
                          <a:pt x="10" y="23"/>
                        </a:cubicBezTo>
                        <a:cubicBezTo>
                          <a:pt x="10" y="33"/>
                          <a:pt x="12" y="38"/>
                          <a:pt x="16" y="38"/>
                        </a:cubicBezTo>
                        <a:cubicBezTo>
                          <a:pt x="20" y="38"/>
                          <a:pt x="22" y="33"/>
                          <a:pt x="22" y="22"/>
                        </a:cubicBezTo>
                        <a:cubicBezTo>
                          <a:pt x="22" y="12"/>
                          <a:pt x="20" y="7"/>
                          <a:pt x="16" y="7"/>
                        </a:cubicBezTo>
                        <a:close/>
                      </a:path>
                    </a:pathLst>
                  </a:custGeom>
                  <a:solidFill>
                    <a:srgbClr val="0072C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108810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505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9" y="1"/>
            <a:ext cx="2187575" cy="804685"/>
          </a:xfrm>
          <a:prstGeom prst="rect">
            <a:avLst/>
          </a:prstGeom>
        </p:spPr>
      </p:pic>
      <p:sp>
        <p:nvSpPr>
          <p:cNvPr id="884" name="TextBox 883"/>
          <p:cNvSpPr txBox="1"/>
          <p:nvPr/>
        </p:nvSpPr>
        <p:spPr>
          <a:xfrm>
            <a:off x="2842847" y="581999"/>
            <a:ext cx="879130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Цифровая трансформация</a:t>
            </a:r>
            <a:r>
              <a:rPr kumimoji="0" lang="ru-RU" sz="5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:</a:t>
            </a:r>
            <a:r>
              <a:rPr kumimoji="0" lang="ru-RU" sz="5400" b="0" i="0" u="none" strike="noStrike" kern="120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ru-RU" sz="5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влияние</a:t>
            </a:r>
            <a:r>
              <a:rPr kumimoji="0" lang="ru-RU" sz="4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ИТ </a:t>
            </a:r>
            <a:r>
              <a:rPr kumimoji="0" lang="ru-RU" sz="5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на образование</a:t>
            </a: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598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80865" y="1170484"/>
            <a:ext cx="12191999" cy="164205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4400" dirty="0"/>
              <a:t>Мы делаем </a:t>
            </a:r>
            <a:r>
              <a:rPr lang="ru-RU" sz="4400" b="1" dirty="0"/>
              <a:t>замечательные технологии </a:t>
            </a:r>
            <a:r>
              <a:rPr lang="ru-RU" sz="4400" dirty="0"/>
              <a:t>доступными для школьников</a:t>
            </a:r>
            <a:endParaRPr lang="en-US" sz="4400" dirty="0"/>
          </a:p>
        </p:txBody>
      </p:sp>
      <p:pic>
        <p:nvPicPr>
          <p:cNvPr id="9" name="Picture 8" descr="productlogos-03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5483" y="3125784"/>
            <a:ext cx="9241536" cy="1728216"/>
          </a:xfrm>
          <a:prstGeom prst="rect">
            <a:avLst/>
          </a:prstGeom>
        </p:spPr>
      </p:pic>
      <p:sp>
        <p:nvSpPr>
          <p:cNvPr id="8" name="Text Placeholder 16"/>
          <p:cNvSpPr txBox="1">
            <a:spLocks/>
          </p:cNvSpPr>
          <p:nvPr/>
        </p:nvSpPr>
        <p:spPr>
          <a:xfrm>
            <a:off x="8037689" y="6364119"/>
            <a:ext cx="3883378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r>
              <a:rPr lang="ru-RU" sz="1300" b="1" dirty="0">
                <a:solidFill>
                  <a:srgbClr val="082B74"/>
                </a:solidFill>
                <a:latin typeface="Segoe UI Semibold" charset="0"/>
                <a:ea typeface="Segoe UI Semibold" charset="0"/>
                <a:cs typeface="Segoe UI Semibold" charset="0"/>
              </a:rPr>
              <a:t>часть</a:t>
            </a:r>
            <a:r>
              <a:rPr lang="en-US" sz="1300" b="1" dirty="0">
                <a:solidFill>
                  <a:srgbClr val="082B74"/>
                </a:solidFill>
                <a:latin typeface="Segoe UI Semibold" charset="0"/>
                <a:ea typeface="Segoe UI Semibold" charset="0"/>
                <a:cs typeface="Segoe UI Semibold" charset="0"/>
              </a:rPr>
              <a:t> 1  |  </a:t>
            </a:r>
            <a:r>
              <a:rPr lang="ru-RU" sz="1300" b="1" dirty="0">
                <a:solidFill>
                  <a:srgbClr val="082B74"/>
                </a:solidFill>
                <a:latin typeface="Segoe UI Semibold" charset="0"/>
                <a:ea typeface="Segoe UI Semibold" charset="0"/>
                <a:cs typeface="Segoe UI Semibold" charset="0"/>
              </a:rPr>
              <a:t>развитие ученического потенциала</a:t>
            </a:r>
            <a:endParaRPr lang="en-US" sz="1300" b="1" dirty="0">
              <a:solidFill>
                <a:srgbClr val="082B74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74776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Rectangle 6"/>
          <p:cNvSpPr/>
          <p:nvPr/>
        </p:nvSpPr>
        <p:spPr>
          <a:xfrm>
            <a:off x="6413241" y="592666"/>
            <a:ext cx="5129777" cy="5791200"/>
          </a:xfrm>
          <a:prstGeom prst="rect">
            <a:avLst/>
          </a:prstGeom>
          <a:solidFill>
            <a:srgbClr val="FBAC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6556310" y="751116"/>
            <a:ext cx="5038531" cy="19925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spc="3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ru-RU" sz="4300" dirty="0">
                <a:solidFill>
                  <a:srgbClr val="F87708"/>
                </a:solidFill>
                <a:latin typeface="Segoe UI Semibold"/>
                <a:cs typeface="Segoe UI Semibold"/>
              </a:rPr>
              <a:t>Профессиональное</a:t>
            </a:r>
            <a:r>
              <a:rPr lang="ru-RU" dirty="0">
                <a:solidFill>
                  <a:srgbClr val="F87708"/>
                </a:solidFill>
                <a:latin typeface="Segoe UI Semibold"/>
                <a:cs typeface="Segoe UI Semibold"/>
              </a:rPr>
              <a:t> развитие</a:t>
            </a:r>
            <a:br>
              <a:rPr lang="en-US" dirty="0">
                <a:latin typeface="Segoe UI Semibold"/>
                <a:cs typeface="Segoe UI Semibold"/>
              </a:rPr>
            </a:br>
            <a:r>
              <a:rPr lang="ru-RU" dirty="0">
                <a:latin typeface="Segoe UI Semibold"/>
                <a:cs typeface="Segoe UI Semibold"/>
              </a:rPr>
              <a:t>педагогов</a:t>
            </a:r>
            <a:endParaRPr lang="en-US" dirty="0">
              <a:latin typeface="Segoe UI Semibold"/>
              <a:cs typeface="Segoe UI Semibold"/>
            </a:endParaRP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9579166" y="5872561"/>
            <a:ext cx="1715369" cy="346249"/>
          </a:xfrm>
        </p:spPr>
        <p:txBody>
          <a:bodyPr lIns="182880"/>
          <a:lstStyle/>
          <a:p>
            <a:pPr algn="r"/>
            <a:r>
              <a:rPr lang="ru-RU" spc="50" dirty="0">
                <a:solidFill>
                  <a:schemeClr val="accent1">
                    <a:lumMod val="75000"/>
                  </a:schemeClr>
                </a:solidFill>
                <a:latin typeface="Segoe UI Semibold"/>
                <a:cs typeface="Segoe UI Semibold"/>
              </a:rPr>
              <a:t>часть</a:t>
            </a:r>
            <a:r>
              <a:rPr lang="en-US" spc="50" dirty="0">
                <a:solidFill>
                  <a:schemeClr val="accent1">
                    <a:lumMod val="75000"/>
                  </a:schemeClr>
                </a:solidFill>
                <a:latin typeface="Segoe UI Semibold"/>
                <a:cs typeface="Segoe UI Semibold"/>
              </a:rPr>
              <a:t> 2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" cstate="print">
            <a:alphaModFix amt="4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58" t="-3735" r="1245" b="26145"/>
          <a:stretch/>
        </p:blipFill>
        <p:spPr>
          <a:xfrm>
            <a:off x="7027333" y="3217842"/>
            <a:ext cx="3386666" cy="3166025"/>
          </a:xfrm>
          <a:prstGeom prst="rect">
            <a:avLst/>
          </a:prstGeom>
        </p:spPr>
      </p:pic>
      <p:sp>
        <p:nvSpPr>
          <p:cNvPr id="1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6784543" y="3146366"/>
            <a:ext cx="3995424" cy="1532727"/>
          </a:xfrm>
        </p:spPr>
        <p:txBody>
          <a:bodyPr lIns="182880" anchor="t"/>
          <a:lstStyle/>
          <a:p>
            <a:pPr>
              <a:lnSpc>
                <a:spcPct val="130000"/>
              </a:lnSpc>
            </a:pPr>
            <a:r>
              <a:rPr lang="ru-RU" sz="2400" dirty="0"/>
              <a:t>Ресурсы для постоянного развития и повышения квалификации учителей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8521338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877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empower_transparent-05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2293" y="1011421"/>
            <a:ext cx="8691125" cy="5745323"/>
          </a:xfrm>
          <a:prstGeom prst="rect">
            <a:avLst/>
          </a:prstGeom>
        </p:spPr>
      </p:pic>
      <p:pic>
        <p:nvPicPr>
          <p:cNvPr id="10" name="Picture 9" descr="Arrow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87" y="2176320"/>
            <a:ext cx="412750" cy="412750"/>
          </a:xfrm>
          <a:prstGeom prst="rect">
            <a:avLst/>
          </a:prstGeom>
        </p:spPr>
      </p:pic>
      <p:pic>
        <p:nvPicPr>
          <p:cNvPr id="11" name="Picture 10" descr="Arrow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87" y="3744483"/>
            <a:ext cx="412750" cy="412750"/>
          </a:xfrm>
          <a:prstGeom prst="rect">
            <a:avLst/>
          </a:prstGeom>
        </p:spPr>
      </p:pic>
      <p:pic>
        <p:nvPicPr>
          <p:cNvPr id="12" name="Picture 11" descr="Arrow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275" y="4853372"/>
            <a:ext cx="412750" cy="41275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0" y="6365526"/>
            <a:ext cx="12192000" cy="492474"/>
          </a:xfrm>
          <a:prstGeom prst="rect">
            <a:avLst/>
          </a:prstGeom>
          <a:solidFill>
            <a:srgbClr val="FBAC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BAC08"/>
              </a:solidFill>
            </a:endParaRPr>
          </a:p>
        </p:txBody>
      </p:sp>
      <p:sp>
        <p:nvSpPr>
          <p:cNvPr id="15" name="Text Placeholder 16"/>
          <p:cNvSpPr txBox="1">
            <a:spLocks/>
          </p:cNvSpPr>
          <p:nvPr/>
        </p:nvSpPr>
        <p:spPr>
          <a:xfrm>
            <a:off x="7825273" y="6407156"/>
            <a:ext cx="4207761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r>
              <a:rPr lang="ru-RU" sz="1300" b="1" dirty="0">
                <a:solidFill>
                  <a:schemeClr val="accent1">
                    <a:lumMod val="75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rPr>
              <a:t>Часть </a:t>
            </a:r>
            <a:r>
              <a:rPr lang="en-US" sz="1300" b="1" dirty="0">
                <a:solidFill>
                  <a:schemeClr val="accent1">
                    <a:lumMod val="75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rPr>
              <a:t>2  |  </a:t>
            </a:r>
            <a:r>
              <a:rPr lang="ru-RU" sz="1300" b="1" dirty="0">
                <a:solidFill>
                  <a:schemeClr val="accent1">
                    <a:lumMod val="75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rPr>
              <a:t>профессиональное развитие педагогов</a:t>
            </a:r>
            <a:endParaRPr lang="en-US" sz="1300" b="1" dirty="0">
              <a:solidFill>
                <a:schemeClr val="accent1">
                  <a:lumMod val="75000"/>
                </a:schemeClr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1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423443" y="1797698"/>
            <a:ext cx="5680263" cy="3850433"/>
          </a:xfrm>
        </p:spPr>
        <p:txBody>
          <a:bodyPr wrap="square" lIns="0" tIns="0" rIns="0" bIns="0"/>
          <a:lstStyle/>
          <a:p>
            <a:pPr lvl="0">
              <a:lnSpc>
                <a:spcPct val="100000"/>
              </a:lnSpc>
              <a:spcBef>
                <a:spcPts val="2800"/>
              </a:spcBef>
            </a:pPr>
            <a:r>
              <a:rPr lang="ru-RU" sz="2400" dirty="0"/>
              <a:t>Создание технологических возможностей для повышения эффективности и продуктивности педагогов</a:t>
            </a:r>
            <a:endParaRPr lang="en-US" sz="2400" dirty="0"/>
          </a:p>
          <a:p>
            <a:pPr lvl="0">
              <a:lnSpc>
                <a:spcPct val="100000"/>
              </a:lnSpc>
              <a:spcBef>
                <a:spcPts val="2800"/>
              </a:spcBef>
            </a:pPr>
            <a:r>
              <a:rPr lang="ru-RU" sz="2400" dirty="0"/>
              <a:t>Создание сообщества педагогов для постоянного обмена опытом, идеями</a:t>
            </a:r>
            <a:endParaRPr lang="en-US" sz="2400" dirty="0"/>
          </a:p>
          <a:p>
            <a:pPr lvl="0">
              <a:lnSpc>
                <a:spcPct val="100000"/>
              </a:lnSpc>
              <a:spcBef>
                <a:spcPts val="2800"/>
              </a:spcBef>
            </a:pPr>
            <a:r>
              <a:rPr lang="ru-RU" sz="2400" dirty="0"/>
              <a:t>Обучение, курсы повышения ИКТ квалификации</a:t>
            </a:r>
            <a:endParaRPr lang="en-US" sz="2400" dirty="0"/>
          </a:p>
          <a:p>
            <a:pPr lvl="0">
              <a:lnSpc>
                <a:spcPct val="100000"/>
              </a:lnSpc>
              <a:spcBef>
                <a:spcPts val="2800"/>
              </a:spcBef>
            </a:pPr>
            <a:endParaRPr lang="en-US" sz="2400" dirty="0"/>
          </a:p>
          <a:p>
            <a:pPr marL="194310" indent="-194310">
              <a:lnSpc>
                <a:spcPct val="100000"/>
              </a:lnSpc>
              <a:spcBef>
                <a:spcPts val="2800"/>
              </a:spcBef>
            </a:pPr>
            <a:endParaRPr lang="en-US" sz="2400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20141" y="308585"/>
            <a:ext cx="10626829" cy="1229013"/>
          </a:xfrm>
        </p:spPr>
        <p:txBody>
          <a:bodyPr/>
          <a:lstStyle/>
          <a:p>
            <a:r>
              <a:rPr lang="ru-RU" sz="4400" dirty="0"/>
              <a:t>Поддержка и развитие педагогов через</a:t>
            </a:r>
            <a:r>
              <a:rPr lang="en-US" sz="4400" dirty="0"/>
              <a:t>:</a:t>
            </a:r>
            <a:r>
              <a:rPr lang="en-US" sz="3600" dirty="0"/>
              <a:t> 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7171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8770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42125"/>
            <a:ext cx="5295900" cy="51435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312765" y="1436930"/>
            <a:ext cx="4825999" cy="1457312"/>
          </a:xfrm>
        </p:spPr>
        <p:txBody>
          <a:bodyPr/>
          <a:lstStyle/>
          <a:p>
            <a:r>
              <a:rPr lang="en-US" sz="5400" dirty="0">
                <a:solidFill>
                  <a:schemeClr val="bg1"/>
                </a:solidFill>
              </a:rPr>
              <a:t>Office 365</a:t>
            </a:r>
          </a:p>
        </p:txBody>
      </p:sp>
      <p:sp>
        <p:nvSpPr>
          <p:cNvPr id="23" name="Text Placeholder 5"/>
          <p:cNvSpPr txBox="1">
            <a:spLocks/>
          </p:cNvSpPr>
          <p:nvPr/>
        </p:nvSpPr>
        <p:spPr>
          <a:xfrm>
            <a:off x="6370380" y="3313875"/>
            <a:ext cx="4540216" cy="1758516"/>
          </a:xfrm>
          <a:prstGeom prst="rect">
            <a:avLst/>
          </a:prstGeom>
        </p:spPr>
        <p:txBody>
          <a:bodyPr/>
          <a:lstStyle>
            <a:lvl1pPr marL="137160" indent="-137160" algn="l" defTabSz="914400" rtl="0" eaLnBrk="1" latinLnBrk="0" hangingPunct="1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buFont typeface="Arial"/>
              <a:buChar char="•"/>
              <a:defRPr sz="1400" b="0" i="0" kern="1200" baseline="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/>
              <a:buNone/>
            </a:pPr>
            <a:r>
              <a:rPr lang="ru-RU" sz="2000" dirty="0">
                <a:solidFill>
                  <a:srgbClr val="FFFFFF"/>
                </a:solidFill>
              </a:rPr>
              <a:t>Повышение эффективности, персональной продуктивности и новый уровень управления  и взаимодействия в классе с </a:t>
            </a:r>
            <a:r>
              <a:rPr lang="en-US" sz="2000" dirty="0">
                <a:solidFill>
                  <a:srgbClr val="FFFFFF"/>
                </a:solidFill>
              </a:rPr>
              <a:t>Office 365</a:t>
            </a:r>
          </a:p>
        </p:txBody>
      </p:sp>
      <p:sp>
        <p:nvSpPr>
          <p:cNvPr id="21" name="Rectangle 20"/>
          <p:cNvSpPr/>
          <p:nvPr/>
        </p:nvSpPr>
        <p:spPr>
          <a:xfrm>
            <a:off x="0" y="6365526"/>
            <a:ext cx="12192000" cy="492474"/>
          </a:xfrm>
          <a:prstGeom prst="rect">
            <a:avLst/>
          </a:prstGeom>
          <a:solidFill>
            <a:srgbClr val="FBAC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BAC08"/>
              </a:solidFill>
            </a:endParaRPr>
          </a:p>
        </p:txBody>
      </p:sp>
      <p:sp>
        <p:nvSpPr>
          <p:cNvPr id="24" name="Text Placeholder 16"/>
          <p:cNvSpPr txBox="1">
            <a:spLocks/>
          </p:cNvSpPr>
          <p:nvPr/>
        </p:nvSpPr>
        <p:spPr>
          <a:xfrm>
            <a:off x="8037689" y="6364119"/>
            <a:ext cx="3883378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endParaRPr lang="en-US" sz="1300" dirty="0">
              <a:solidFill>
                <a:schemeClr val="accent1">
                  <a:lumMod val="75000"/>
                </a:schemeClr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11" name="Text Placeholder 16"/>
          <p:cNvSpPr txBox="1">
            <a:spLocks/>
          </p:cNvSpPr>
          <p:nvPr/>
        </p:nvSpPr>
        <p:spPr>
          <a:xfrm>
            <a:off x="7825273" y="6407156"/>
            <a:ext cx="4207761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r>
              <a:rPr lang="ru-RU" sz="1300" b="1" dirty="0">
                <a:solidFill>
                  <a:schemeClr val="accent1">
                    <a:lumMod val="75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rPr>
              <a:t>Часть </a:t>
            </a:r>
            <a:r>
              <a:rPr lang="en-US" sz="1300" b="1" dirty="0">
                <a:solidFill>
                  <a:schemeClr val="accent1">
                    <a:lumMod val="75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rPr>
              <a:t>2  |  </a:t>
            </a:r>
            <a:r>
              <a:rPr lang="ru-RU" sz="1300" b="1" dirty="0">
                <a:solidFill>
                  <a:schemeClr val="accent1">
                    <a:lumMod val="75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rPr>
              <a:t>профессиональное развитие педагогов</a:t>
            </a:r>
            <a:endParaRPr lang="en-US" sz="1300" b="1" dirty="0">
              <a:solidFill>
                <a:schemeClr val="accent1">
                  <a:lumMod val="75000"/>
                </a:schemeClr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0217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73B3A80-3FCA-4F75-A2F3-B586D4B28A2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5" name="Текст 4">
            <a:extLst>
              <a:ext uri="{FF2B5EF4-FFF2-40B4-BE49-F238E27FC236}">
                <a16:creationId xmlns:a16="http://schemas.microsoft.com/office/drawing/2014/main" id="{B41400D9-85EA-4137-BC5E-1DCC9565DF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0961" y="3178745"/>
            <a:ext cx="4052560" cy="2343206"/>
          </a:xfrm>
        </p:spPr>
        <p:txBody>
          <a:bodyPr/>
          <a:lstStyle/>
          <a:p>
            <a:r>
              <a:rPr lang="ru-RU" sz="3600" dirty="0">
                <a:latin typeface="Segoe UI" panose="020B0502040204020203" pitchFamily="34" charset="0"/>
                <a:ea typeface="Calibri" panose="020F0502020204030204" pitchFamily="34" charset="0"/>
              </a:rPr>
              <a:t>Международный форум учителей</a:t>
            </a:r>
          </a:p>
          <a:p>
            <a:r>
              <a:rPr lang="ru-RU" sz="3600" dirty="0">
                <a:latin typeface="Segoe UI" panose="020B0502040204020203" pitchFamily="34" charset="0"/>
              </a:rPr>
              <a:t>Торонто</a:t>
            </a:r>
            <a:r>
              <a:rPr lang="en-US" sz="3600" dirty="0">
                <a:latin typeface="Segoe UI" panose="020B0502040204020203" pitchFamily="34" charset="0"/>
              </a:rPr>
              <a:t>, </a:t>
            </a:r>
            <a:endParaRPr lang="ru-RU" sz="3600" dirty="0">
              <a:latin typeface="Segoe UI" panose="020B0502040204020203" pitchFamily="34" charset="0"/>
            </a:endParaRPr>
          </a:p>
          <a:p>
            <a:r>
              <a:rPr lang="en-US" sz="3600" dirty="0">
                <a:latin typeface="Segoe UI" panose="020B0502040204020203" pitchFamily="34" charset="0"/>
              </a:rPr>
              <a:t>21-23</a:t>
            </a:r>
            <a:r>
              <a:rPr lang="ru-RU" sz="3600" dirty="0">
                <a:latin typeface="Segoe UI" panose="020B0502040204020203" pitchFamily="34" charset="0"/>
              </a:rPr>
              <a:t> марта</a:t>
            </a:r>
            <a:r>
              <a:rPr lang="en-US" sz="3600" dirty="0">
                <a:latin typeface="Segoe UI" panose="020B0502040204020203" pitchFamily="34" charset="0"/>
              </a:rPr>
              <a:t> 2017</a:t>
            </a:r>
            <a:endParaRPr lang="ru-RU" sz="3600" dirty="0">
              <a:latin typeface="Segoe UI" panose="020B0502040204020203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365526"/>
            <a:ext cx="12192000" cy="492474"/>
          </a:xfrm>
          <a:prstGeom prst="rect">
            <a:avLst/>
          </a:prstGeom>
          <a:solidFill>
            <a:srgbClr val="FBAC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BAC08"/>
              </a:solidFill>
            </a:endParaRPr>
          </a:p>
        </p:txBody>
      </p:sp>
      <p:sp>
        <p:nvSpPr>
          <p:cNvPr id="7" name="Text Placeholder 16"/>
          <p:cNvSpPr txBox="1">
            <a:spLocks/>
          </p:cNvSpPr>
          <p:nvPr/>
        </p:nvSpPr>
        <p:spPr>
          <a:xfrm>
            <a:off x="8037689" y="6364119"/>
            <a:ext cx="3883378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endParaRPr lang="en-US" sz="1300" b="1" dirty="0">
              <a:solidFill>
                <a:schemeClr val="accent1">
                  <a:lumMod val="75000"/>
                </a:schemeClr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8" name="Text Placeholder 16"/>
          <p:cNvSpPr txBox="1">
            <a:spLocks/>
          </p:cNvSpPr>
          <p:nvPr/>
        </p:nvSpPr>
        <p:spPr>
          <a:xfrm>
            <a:off x="7825273" y="6407156"/>
            <a:ext cx="4207761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r>
              <a:rPr lang="ru-RU" sz="1300" b="1" dirty="0">
                <a:solidFill>
                  <a:schemeClr val="accent1">
                    <a:lumMod val="75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rPr>
              <a:t>Часть </a:t>
            </a:r>
            <a:r>
              <a:rPr lang="en-US" sz="1300" b="1" dirty="0">
                <a:solidFill>
                  <a:schemeClr val="accent1">
                    <a:lumMod val="75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rPr>
              <a:t>2  |  </a:t>
            </a:r>
            <a:r>
              <a:rPr lang="ru-RU" sz="1300" b="1" dirty="0">
                <a:solidFill>
                  <a:schemeClr val="accent1">
                    <a:lumMod val="75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rPr>
              <a:t>профессиональное развитие педагогов</a:t>
            </a:r>
            <a:endParaRPr lang="en-US" sz="1300" b="1" dirty="0">
              <a:solidFill>
                <a:schemeClr val="accent1">
                  <a:lumMod val="75000"/>
                </a:schemeClr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81451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7" name="Rectangle 6"/>
          <p:cNvSpPr/>
          <p:nvPr/>
        </p:nvSpPr>
        <p:spPr>
          <a:xfrm>
            <a:off x="677332" y="592666"/>
            <a:ext cx="4864151" cy="5791200"/>
          </a:xfrm>
          <a:prstGeom prst="rect">
            <a:avLst/>
          </a:prstGeom>
          <a:solidFill>
            <a:srgbClr val="71A10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01" t="-28448" r="-14655" b="28448"/>
          <a:stretch/>
        </p:blipFill>
        <p:spPr>
          <a:xfrm>
            <a:off x="694267" y="1185333"/>
            <a:ext cx="5003804" cy="5198533"/>
          </a:xfrm>
          <a:prstGeom prst="rect">
            <a:avLst/>
          </a:prstGeom>
        </p:spPr>
      </p:pic>
      <p:sp>
        <p:nvSpPr>
          <p:cNvPr id="9" name="Title 2"/>
          <p:cNvSpPr txBox="1">
            <a:spLocks/>
          </p:cNvSpPr>
          <p:nvPr/>
        </p:nvSpPr>
        <p:spPr>
          <a:xfrm>
            <a:off x="765110" y="189113"/>
            <a:ext cx="4907557" cy="41458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spc="3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4800" dirty="0">
                <a:solidFill>
                  <a:srgbClr val="D1EC00"/>
                </a:solidFill>
                <a:latin typeface="Segoe UI Semibold"/>
                <a:cs typeface="Segoe UI Semibold"/>
              </a:rPr>
              <a:t>Эффективность</a:t>
            </a:r>
            <a:br>
              <a:rPr lang="en-US" sz="4800" dirty="0">
                <a:latin typeface="Segoe UI Semibold"/>
                <a:cs typeface="Segoe UI Semibold"/>
              </a:rPr>
            </a:br>
            <a:r>
              <a:rPr lang="ru-RU" sz="4800" dirty="0">
                <a:latin typeface="Segoe UI Semibold"/>
                <a:cs typeface="Segoe UI Semibold"/>
              </a:rPr>
              <a:t>внутренних процессов</a:t>
            </a:r>
            <a:endParaRPr lang="en-US" sz="4800" dirty="0">
              <a:latin typeface="Segoe UI Semibold"/>
              <a:cs typeface="Segoe UI Semibold"/>
            </a:endParaRP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883182" y="3245688"/>
            <a:ext cx="4213751" cy="2973122"/>
          </a:xfrm>
        </p:spPr>
        <p:txBody>
          <a:bodyPr lIns="182880" anchor="t"/>
          <a:lstStyle/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ru-RU" sz="2400" dirty="0"/>
              <a:t>Создание эффективной инфрастуктуры для решения управленческих административных задач образовательного учреждения</a:t>
            </a:r>
            <a:endParaRPr lang="en-US" sz="2400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381564" y="5872561"/>
            <a:ext cx="1715369" cy="346249"/>
          </a:xfrm>
        </p:spPr>
        <p:txBody>
          <a:bodyPr lIns="182880"/>
          <a:lstStyle/>
          <a:p>
            <a:pPr algn="r"/>
            <a:r>
              <a:rPr lang="ru-RU" spc="50" dirty="0">
                <a:solidFill>
                  <a:srgbClr val="2D5000"/>
                </a:solidFill>
                <a:latin typeface="Segoe UI Semibold"/>
                <a:cs typeface="Segoe UI Semibold"/>
              </a:rPr>
              <a:t>Часть </a:t>
            </a:r>
            <a:r>
              <a:rPr lang="en-US" spc="50" dirty="0">
                <a:solidFill>
                  <a:srgbClr val="2D5000"/>
                </a:solidFill>
                <a:latin typeface="Segoe UI Semibold"/>
                <a:cs typeface="Segoe UI Semibold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5662640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1A1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937004" y="2165152"/>
            <a:ext cx="6938033" cy="3437156"/>
          </a:xfrm>
        </p:spPr>
        <p:txBody>
          <a:bodyPr/>
          <a:lstStyle/>
          <a:p>
            <a:pPr lvl="0">
              <a:lnSpc>
                <a:spcPct val="150000"/>
              </a:lnSpc>
            </a:pPr>
            <a:r>
              <a:rPr lang="ru-RU" sz="2400" dirty="0"/>
              <a:t>Эффективной инфрастуктуры (в гибридном облачном сценарии)</a:t>
            </a:r>
            <a:endParaRPr lang="en-US" sz="2400" dirty="0"/>
          </a:p>
          <a:p>
            <a:pPr lvl="0">
              <a:lnSpc>
                <a:spcPct val="150000"/>
              </a:lnSpc>
            </a:pPr>
            <a:endParaRPr lang="ru-RU" sz="2400" dirty="0"/>
          </a:p>
          <a:p>
            <a:pPr lvl="0">
              <a:lnSpc>
                <a:spcPct val="150000"/>
              </a:lnSpc>
            </a:pPr>
            <a:r>
              <a:rPr lang="ru-RU" sz="2400" dirty="0"/>
              <a:t>Пространство «Умной Школы/Кампуса»</a:t>
            </a:r>
            <a:endParaRPr lang="en-US" sz="2400" dirty="0"/>
          </a:p>
          <a:p>
            <a:pPr lvl="0">
              <a:lnSpc>
                <a:spcPct val="150000"/>
              </a:lnSpc>
            </a:pPr>
            <a:endParaRPr lang="ru-RU" sz="2400" dirty="0"/>
          </a:p>
          <a:p>
            <a:pPr lvl="0">
              <a:lnSpc>
                <a:spcPct val="150000"/>
              </a:lnSpc>
            </a:pPr>
            <a:r>
              <a:rPr lang="ru-RU" sz="2400" dirty="0"/>
              <a:t>Ресурса для проведения научных и лабораторных исследований</a:t>
            </a:r>
            <a:endParaRPr lang="en-US" sz="2400" dirty="0"/>
          </a:p>
          <a:p>
            <a:pPr lvl="0">
              <a:lnSpc>
                <a:spcPct val="150000"/>
              </a:lnSpc>
            </a:pPr>
            <a:endParaRPr lang="en-US" sz="2400" dirty="0"/>
          </a:p>
          <a:p>
            <a:pPr marL="194310" indent="-194310">
              <a:buFont typeface="Arial" charset="0"/>
              <a:buChar char="•"/>
            </a:pP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835429" y="378045"/>
            <a:ext cx="9328718" cy="1979952"/>
          </a:xfrm>
        </p:spPr>
        <p:txBody>
          <a:bodyPr/>
          <a:lstStyle/>
          <a:p>
            <a:r>
              <a:rPr lang="ru-RU" sz="4400" dirty="0"/>
              <a:t>Решения </a:t>
            </a:r>
            <a:r>
              <a:rPr lang="en-US" sz="4400" dirty="0"/>
              <a:t>Microsoft </a:t>
            </a:r>
            <a:r>
              <a:rPr lang="ru-RU" sz="4400" dirty="0"/>
              <a:t>и наших локальных партнеров для создания:</a:t>
            </a:r>
            <a:endParaRPr lang="en-US" sz="4400" dirty="0"/>
          </a:p>
        </p:txBody>
      </p:sp>
      <p:sp>
        <p:nvSpPr>
          <p:cNvPr id="17" name="Text Placeholder 16"/>
          <p:cNvSpPr txBox="1">
            <a:spLocks/>
          </p:cNvSpPr>
          <p:nvPr/>
        </p:nvSpPr>
        <p:spPr>
          <a:xfrm>
            <a:off x="7476931" y="6364119"/>
            <a:ext cx="4444136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r>
              <a:rPr lang="ru-RU" sz="1300" b="1" dirty="0">
                <a:solidFill>
                  <a:srgbClr val="2D5000"/>
                </a:solidFill>
                <a:latin typeface="Segoe UI Semibold" charset="0"/>
                <a:ea typeface="Segoe UI Semibold" charset="0"/>
                <a:cs typeface="Segoe UI Semibold" charset="0"/>
              </a:rPr>
              <a:t>часть</a:t>
            </a:r>
            <a:r>
              <a:rPr lang="en-US" sz="1300" b="1" dirty="0">
                <a:solidFill>
                  <a:srgbClr val="2D5000"/>
                </a:solidFill>
                <a:latin typeface="Segoe UI Semibold" charset="0"/>
                <a:ea typeface="Segoe UI Semibold" charset="0"/>
                <a:cs typeface="Segoe UI Semibold" charset="0"/>
              </a:rPr>
              <a:t> 3  |  </a:t>
            </a:r>
            <a:r>
              <a:rPr lang="ru-RU" sz="1300" b="1" dirty="0">
                <a:solidFill>
                  <a:srgbClr val="2D5000"/>
                </a:solidFill>
                <a:latin typeface="Segoe UI Semibold" charset="0"/>
                <a:ea typeface="Segoe UI Semibold" charset="0"/>
                <a:cs typeface="Segoe UI Semibold" charset="0"/>
              </a:rPr>
              <a:t>эффективность внутренних процессов</a:t>
            </a:r>
            <a:endParaRPr lang="en-US" sz="1300" b="1" dirty="0">
              <a:solidFill>
                <a:srgbClr val="2D5000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pic>
        <p:nvPicPr>
          <p:cNvPr id="14" name="Picture 13" descr="Arrow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83" y="2357997"/>
            <a:ext cx="412750" cy="4127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7255" y="2165152"/>
            <a:ext cx="4344691" cy="3779881"/>
          </a:xfrm>
          <a:prstGeom prst="rect">
            <a:avLst/>
          </a:prstGeom>
        </p:spPr>
      </p:pic>
      <p:pic>
        <p:nvPicPr>
          <p:cNvPr id="10" name="Picture 9" descr="Arrow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83" y="4107809"/>
            <a:ext cx="412750" cy="412750"/>
          </a:xfrm>
          <a:prstGeom prst="rect">
            <a:avLst/>
          </a:prstGeom>
        </p:spPr>
      </p:pic>
      <p:pic>
        <p:nvPicPr>
          <p:cNvPr id="11" name="Picture 10" descr="Arrow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83" y="5276529"/>
            <a:ext cx="412750" cy="41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5185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Microsoft_Edu_Shot13-17_1046.jp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630880" y="586445"/>
            <a:ext cx="5274906" cy="5791200"/>
          </a:xfrm>
          <a:prstGeom prst="rect">
            <a:avLst/>
          </a:prstGeom>
          <a:solidFill>
            <a:srgbClr val="5B2B9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6792686" y="797351"/>
            <a:ext cx="4951294" cy="19925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spc="3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ru-RU" dirty="0">
                <a:solidFill>
                  <a:srgbClr val="917AE0"/>
                </a:solidFill>
                <a:latin typeface="Segoe UI Semibold"/>
                <a:cs typeface="Segoe UI Semibold"/>
              </a:rPr>
              <a:t>Трансформация образовательного</a:t>
            </a:r>
            <a:br>
              <a:rPr lang="en-US" dirty="0">
                <a:latin typeface="Segoe UI Semibold"/>
                <a:cs typeface="Segoe UI Semibold"/>
              </a:rPr>
            </a:br>
            <a:r>
              <a:rPr lang="ru-RU" dirty="0">
                <a:latin typeface="Segoe UI Semibold"/>
                <a:cs typeface="Segoe UI Semibold"/>
              </a:rPr>
              <a:t>процесса</a:t>
            </a:r>
            <a:endParaRPr lang="en-US" dirty="0">
              <a:latin typeface="Segoe UI Semibold"/>
              <a:cs typeface="Segoe UI Semibold"/>
            </a:endParaRPr>
          </a:p>
        </p:txBody>
      </p:sp>
      <p:pic>
        <p:nvPicPr>
          <p:cNvPr id="5" name="Picture 4" descr="gradhat-05.png"/>
          <p:cNvPicPr>
            <a:picLocks noChangeAspect="1"/>
          </p:cNvPicPr>
          <p:nvPr/>
        </p:nvPicPr>
        <p:blipFill>
          <a:blip r:embed="rId4" cstate="print">
            <a:alphaModFix amt="5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454" y="3928533"/>
            <a:ext cx="3534948" cy="2336800"/>
          </a:xfrm>
          <a:prstGeom prst="rect">
            <a:avLst/>
          </a:prstGeom>
        </p:spPr>
      </p:pic>
      <p:sp>
        <p:nvSpPr>
          <p:cNvPr id="13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9624822" y="5872561"/>
            <a:ext cx="1715369" cy="346249"/>
          </a:xfrm>
        </p:spPr>
        <p:txBody>
          <a:bodyPr lIns="182880"/>
          <a:lstStyle/>
          <a:p>
            <a:pPr algn="r"/>
            <a:r>
              <a:rPr lang="ru-RU" spc="50" dirty="0">
                <a:solidFill>
                  <a:srgbClr val="917AE0"/>
                </a:solidFill>
                <a:latin typeface="Segoe UI Semibold"/>
                <a:cs typeface="Segoe UI Semibold"/>
              </a:rPr>
              <a:t>часть</a:t>
            </a:r>
            <a:r>
              <a:rPr lang="en-US" spc="50" dirty="0">
                <a:solidFill>
                  <a:srgbClr val="917AE0"/>
                </a:solidFill>
                <a:latin typeface="Segoe UI Semibold"/>
                <a:cs typeface="Segoe UI Semibold"/>
              </a:rPr>
              <a:t> 4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6925296" y="2552097"/>
            <a:ext cx="4601120" cy="3933384"/>
          </a:xfrm>
        </p:spPr>
        <p:txBody>
          <a:bodyPr lIns="182880" anchor="t"/>
          <a:lstStyle/>
          <a:p>
            <a:pPr>
              <a:lnSpc>
                <a:spcPct val="130000"/>
              </a:lnSpc>
            </a:pPr>
            <a:r>
              <a:rPr lang="ru-RU" sz="2400" dirty="0"/>
              <a:t>Формирование стратегии и комплексного подхода к трансформации образовательного учреждения – от технологий к образовательному результату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070256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030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3445187960"/>
              </p:ext>
            </p:extLst>
          </p:nvPr>
        </p:nvGraphicFramePr>
        <p:xfrm>
          <a:off x="3069861" y="460633"/>
          <a:ext cx="11684794" cy="5910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75253" y="264428"/>
            <a:ext cx="665503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ТРАНСФОРМАЦИЯ В ОБРАЗОВАНИИ </a:t>
            </a:r>
            <a:endParaRPr kumimoji="0" lang="en-US" sz="4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697982" y="3408218"/>
            <a:ext cx="4949601" cy="7643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tailEnd type="triangle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598871" y="2733386"/>
            <a:ext cx="1367947" cy="1367947"/>
            <a:chOff x="4095582" y="279409"/>
            <a:chExt cx="1367947" cy="1367947"/>
          </a:xfrm>
          <a:solidFill>
            <a:srgbClr val="008A00"/>
          </a:solidFill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</p:grpSpPr>
        <p:sp>
          <p:nvSpPr>
            <p:cNvPr id="6" name="Oval 5"/>
            <p:cNvSpPr/>
            <p:nvPr/>
          </p:nvSpPr>
          <p:spPr>
            <a:xfrm>
              <a:off x="4095582" y="279409"/>
              <a:ext cx="1367947" cy="1367947"/>
            </a:xfrm>
            <a:prstGeom prst="ellipse">
              <a:avLst/>
            </a:prstGeom>
            <a:grpFill/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7" name="Oval 4"/>
            <p:cNvSpPr txBox="1"/>
            <p:nvPr/>
          </p:nvSpPr>
          <p:spPr>
            <a:xfrm>
              <a:off x="4295913" y="479740"/>
              <a:ext cx="967285" cy="967285"/>
            </a:xfrm>
            <a:prstGeom prst="rect">
              <a:avLst/>
            </a:prstGeom>
            <a:grpFill/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/>
                  <a:ea typeface="+mn-ea"/>
                  <a:cs typeface="+mn-cs"/>
                </a:rPr>
                <a:t>Дополненная реальность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239128" y="2724244"/>
            <a:ext cx="1367947" cy="1367947"/>
            <a:chOff x="4095581" y="270267"/>
            <a:chExt cx="1367947" cy="1367947"/>
          </a:xfrm>
          <a:solidFill>
            <a:srgbClr val="009E49"/>
          </a:solidFill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</p:grpSpPr>
        <p:sp>
          <p:nvSpPr>
            <p:cNvPr id="9" name="Oval 8"/>
            <p:cNvSpPr/>
            <p:nvPr/>
          </p:nvSpPr>
          <p:spPr>
            <a:xfrm>
              <a:off x="4095581" y="270267"/>
              <a:ext cx="1367947" cy="1367947"/>
            </a:xfrm>
            <a:prstGeom prst="ellipse">
              <a:avLst/>
            </a:prstGeom>
            <a:grpFill/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10" name="Oval 4"/>
            <p:cNvSpPr txBox="1"/>
            <p:nvPr/>
          </p:nvSpPr>
          <p:spPr>
            <a:xfrm>
              <a:off x="4317891" y="479740"/>
              <a:ext cx="956930" cy="967285"/>
            </a:xfrm>
            <a:prstGeom prst="rect">
              <a:avLst/>
            </a:prstGeom>
            <a:grpFill/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/>
                  <a:ea typeface="+mn-ea"/>
                  <a:cs typeface="+mn-cs"/>
                </a:rPr>
                <a:t>Мобильные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/>
                  <a:ea typeface="+mn-ea"/>
                  <a:cs typeface="+mn-cs"/>
                </a:rPr>
                <a:t>устройства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879387" y="2733386"/>
            <a:ext cx="1367947" cy="1367947"/>
            <a:chOff x="4095582" y="279409"/>
            <a:chExt cx="1367947" cy="1367947"/>
          </a:xfrm>
          <a:solidFill>
            <a:srgbClr val="7FBA00"/>
          </a:solidFill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</p:grpSpPr>
        <p:sp>
          <p:nvSpPr>
            <p:cNvPr id="12" name="Oval 11"/>
            <p:cNvSpPr/>
            <p:nvPr/>
          </p:nvSpPr>
          <p:spPr>
            <a:xfrm>
              <a:off x="4095582" y="279409"/>
              <a:ext cx="1367947" cy="1367947"/>
            </a:xfrm>
            <a:prstGeom prst="ellipse">
              <a:avLst/>
            </a:prstGeom>
            <a:grpFill/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13" name="Oval 4"/>
            <p:cNvSpPr txBox="1"/>
            <p:nvPr/>
          </p:nvSpPr>
          <p:spPr>
            <a:xfrm>
              <a:off x="4295913" y="479740"/>
              <a:ext cx="967285" cy="967285"/>
            </a:xfrm>
            <a:prstGeom prst="rect">
              <a:avLst/>
            </a:prstGeom>
            <a:grpFill/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p3d prstMaterial="matte">
              <a:bevelT w="127000" h="635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/>
                  <a:ea typeface="+mn-ea"/>
                  <a:cs typeface="+mn-cs"/>
                </a:rPr>
                <a:t>Интернет Вещей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/>
                  <a:ea typeface="+mn-ea"/>
                  <a:cs typeface="+mn-cs"/>
                </a:rPr>
                <a:t>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/>
                  <a:ea typeface="+mn-ea"/>
                  <a:cs typeface="+mn-cs"/>
                </a:rPr>
                <a:t>Io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Segoe UI"/>
                  <a:ea typeface="+mn-ea"/>
                  <a:cs typeface="+mn-cs"/>
                </a:rPr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86725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fallOver"/>
      </p:transition>
    </mc:Choice>
    <mc:Fallback xmlns="">
      <p:transition spd="slow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8000" fill="hold" nodeType="afterEffect" p14:presetBounceEnd="12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12000">
                                          <p:cBhvr additive="base">
                                            <p:cTn id="7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12000">
                                          <p:cBhvr additive="base">
                                            <p:cTn id="8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accel="8000" fill="hold" nodeType="after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350928" y="3737281"/>
            <a:ext cx="5566166" cy="2027894"/>
          </a:xfrm>
        </p:spPr>
        <p:txBody>
          <a:bodyPr/>
          <a:lstStyle/>
          <a:p>
            <a:pPr lvl="0">
              <a:lnSpc>
                <a:spcPct val="150000"/>
              </a:lnSpc>
            </a:pPr>
            <a:r>
              <a:rPr lang="ru-RU" sz="2400" dirty="0"/>
              <a:t>Программа «</a:t>
            </a:r>
            <a:r>
              <a:rPr lang="ru-RU" sz="3200" b="1" dirty="0"/>
              <a:t>Реформатика</a:t>
            </a:r>
            <a:r>
              <a:rPr lang="ru-RU" sz="2400" dirty="0"/>
              <a:t>»: новая экосистема современной школы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23629" y="477507"/>
            <a:ext cx="8102599" cy="2123658"/>
          </a:xfrm>
        </p:spPr>
        <p:txBody>
          <a:bodyPr>
            <a:spAutoFit/>
          </a:bodyPr>
          <a:lstStyle/>
          <a:p>
            <a:pPr>
              <a:lnSpc>
                <a:spcPct val="100000"/>
              </a:lnSpc>
            </a:pPr>
            <a:r>
              <a:rPr lang="ru-RU" dirty="0"/>
              <a:t>Разработка </a:t>
            </a:r>
            <a:r>
              <a:rPr lang="ru-RU" sz="4400" b="1" dirty="0"/>
              <a:t>комплексного подхода к трансформации образования</a:t>
            </a:r>
            <a:endParaRPr lang="en-US" sz="4400" b="1" dirty="0"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733" y="1613623"/>
            <a:ext cx="5750951" cy="3801703"/>
          </a:xfrm>
          <a:prstGeom prst="rect">
            <a:avLst/>
          </a:prstGeom>
        </p:spPr>
      </p:pic>
      <p:pic>
        <p:nvPicPr>
          <p:cNvPr id="6" name="Picture 5" descr="Arrow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62" y="4288317"/>
            <a:ext cx="341565" cy="34156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6642755"/>
            <a:ext cx="12192000" cy="492474"/>
          </a:xfrm>
          <a:prstGeom prst="rect">
            <a:avLst/>
          </a:prstGeom>
          <a:solidFill>
            <a:srgbClr val="5B2B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BAC08"/>
              </a:solidFill>
            </a:endParaRPr>
          </a:p>
        </p:txBody>
      </p:sp>
      <p:sp>
        <p:nvSpPr>
          <p:cNvPr id="12" name="Text Placeholder 16"/>
          <p:cNvSpPr txBox="1">
            <a:spLocks/>
          </p:cNvSpPr>
          <p:nvPr/>
        </p:nvSpPr>
        <p:spPr>
          <a:xfrm>
            <a:off x="7221894" y="6364119"/>
            <a:ext cx="4699173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r>
              <a:rPr lang="ru-RU" sz="1300" b="1" dirty="0">
                <a:solidFill>
                  <a:srgbClr val="917AE0"/>
                </a:solidFill>
                <a:latin typeface="Segoe UI Semibold" charset="0"/>
                <a:ea typeface="Segoe UI Semibold" charset="0"/>
                <a:cs typeface="Segoe UI Semibold" charset="0"/>
              </a:rPr>
              <a:t>часть</a:t>
            </a:r>
            <a:r>
              <a:rPr lang="en-US" sz="1300" b="1" dirty="0">
                <a:solidFill>
                  <a:srgbClr val="917AE0"/>
                </a:solidFill>
                <a:latin typeface="Segoe UI Semibold" charset="0"/>
                <a:ea typeface="Segoe UI Semibold" charset="0"/>
                <a:cs typeface="Segoe UI Semibold" charset="0"/>
              </a:rPr>
              <a:t> 4  |  </a:t>
            </a:r>
            <a:r>
              <a:rPr lang="ru-RU" sz="1300" b="1" dirty="0">
                <a:solidFill>
                  <a:srgbClr val="917AE0"/>
                </a:solidFill>
                <a:latin typeface="Segoe UI Semibold" charset="0"/>
                <a:ea typeface="Segoe UI Semibold" charset="0"/>
                <a:cs typeface="Segoe UI Semibold" charset="0"/>
              </a:rPr>
              <a:t>трансформация образовательного процесса</a:t>
            </a:r>
            <a:endParaRPr lang="en-US" sz="1300" b="1" dirty="0">
              <a:solidFill>
                <a:srgbClr val="917AE0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2879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322628" cy="6858001"/>
          </a:xfrm>
          <a:prstGeom prst="rect">
            <a:avLst/>
          </a:prstGeom>
        </p:spPr>
      </p:pic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6045472"/>
              </p:ext>
            </p:extLst>
          </p:nvPr>
        </p:nvGraphicFramePr>
        <p:xfrm>
          <a:off x="370066" y="2985058"/>
          <a:ext cx="11220804" cy="33437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118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648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580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860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23570">
                <a:tc>
                  <a:txBody>
                    <a:bodyPr/>
                    <a:lstStyle/>
                    <a:p>
                      <a:pPr marL="0" marR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160227" marR="160227" marT="0" marB="44821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160227" marR="160227" marT="0" marB="44821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160227" marR="160227" marT="0" marB="44821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3274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L="160227" marR="160227" marT="0" marB="44821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2914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Segoe UI Semibold"/>
                          <a:cs typeface="Segoe UI Semibold"/>
                        </a:rPr>
                        <a:t>1780</a:t>
                      </a:r>
                      <a:r>
                        <a:rPr lang="ru-RU" sz="2800" dirty="0">
                          <a:solidFill>
                            <a:schemeClr val="bg1"/>
                          </a:solidFill>
                          <a:latin typeface="Segoe UI Semibold"/>
                          <a:cs typeface="Segoe UI Semibold"/>
                        </a:rPr>
                        <a:t>-е</a:t>
                      </a:r>
                      <a:endParaRPr lang="en-US" sz="2800" dirty="0">
                        <a:solidFill>
                          <a:schemeClr val="bg1"/>
                        </a:solidFill>
                        <a:latin typeface="Segoe UI Semibold"/>
                        <a:cs typeface="Segoe UI Semibold"/>
                      </a:endParaRPr>
                    </a:p>
                  </a:txBody>
                  <a:tcPr marL="160227" marR="160227" marT="44821" marB="0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Segoe UI Semibold"/>
                          <a:cs typeface="Segoe UI Semibold"/>
                        </a:rPr>
                        <a:t>1870</a:t>
                      </a:r>
                      <a:r>
                        <a:rPr lang="ru-RU" sz="2800" dirty="0">
                          <a:solidFill>
                            <a:schemeClr val="bg1"/>
                          </a:solidFill>
                          <a:latin typeface="Segoe UI Semibold"/>
                          <a:cs typeface="Segoe UI Semibold"/>
                        </a:rPr>
                        <a:t>-е</a:t>
                      </a:r>
                      <a:endParaRPr lang="en-US" sz="2800" dirty="0">
                        <a:solidFill>
                          <a:schemeClr val="bg1"/>
                        </a:solidFill>
                        <a:latin typeface="Segoe UI Semibold"/>
                        <a:cs typeface="Segoe UI Semibold"/>
                      </a:endParaRPr>
                    </a:p>
                  </a:txBody>
                  <a:tcPr marL="160227" marR="160227" marT="44821" marB="0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chemeClr val="bg1"/>
                          </a:solidFill>
                          <a:latin typeface="Segoe UI Semibold"/>
                          <a:cs typeface="Segoe UI Semibold"/>
                        </a:rPr>
                        <a:t>1970</a:t>
                      </a:r>
                      <a:r>
                        <a:rPr lang="ru-RU" sz="2800" dirty="0">
                          <a:solidFill>
                            <a:schemeClr val="bg1"/>
                          </a:solidFill>
                          <a:latin typeface="Segoe UI Semibold"/>
                          <a:cs typeface="Segoe UI Semibold"/>
                        </a:rPr>
                        <a:t>-е</a:t>
                      </a:r>
                      <a:endParaRPr lang="en-US" sz="2800" dirty="0">
                        <a:solidFill>
                          <a:schemeClr val="bg1"/>
                        </a:solidFill>
                        <a:latin typeface="Segoe UI Semibold"/>
                        <a:cs typeface="Segoe UI Semibold"/>
                      </a:endParaRPr>
                    </a:p>
                  </a:txBody>
                  <a:tcPr marL="160227" marR="160227" marT="44821" marB="0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solidFill>
                            <a:srgbClr val="23A7EC"/>
                          </a:solidFill>
                          <a:latin typeface="Segoe UI Semibold"/>
                          <a:cs typeface="Segoe UI Semibold"/>
                        </a:rPr>
                        <a:t>2016</a:t>
                      </a:r>
                      <a:endParaRPr lang="en-US" sz="2800" b="0" dirty="0">
                        <a:solidFill>
                          <a:srgbClr val="23A7EC"/>
                        </a:solidFill>
                        <a:latin typeface="Segoe UI Semibold"/>
                        <a:cs typeface="Segoe UI Semibold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2000" b="0" dirty="0">
                          <a:solidFill>
                            <a:schemeClr val="bg1"/>
                          </a:solidFill>
                          <a:latin typeface="Segoe UI Light"/>
                          <a:cs typeface="Segoe UI Light"/>
                        </a:rPr>
                        <a:t>Промышленная революция</a:t>
                      </a:r>
                      <a:r>
                        <a:rPr lang="ru-RU" sz="2000" b="0" baseline="0" dirty="0">
                          <a:solidFill>
                            <a:schemeClr val="bg1"/>
                          </a:solidFill>
                          <a:latin typeface="Segoe UI Light"/>
                          <a:cs typeface="Segoe UI Light"/>
                        </a:rPr>
                        <a:t> 4.0</a:t>
                      </a:r>
                      <a:endParaRPr lang="en-US" sz="2000" b="0" dirty="0">
                        <a:solidFill>
                          <a:schemeClr val="bg1"/>
                        </a:solidFill>
                        <a:latin typeface="Segoe UI Light"/>
                        <a:cs typeface="Segoe UI Light"/>
                      </a:endParaRPr>
                    </a:p>
                  </a:txBody>
                  <a:tcPr marL="160227" marR="160227" marT="44821" marB="0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28" name="Group 27"/>
          <p:cNvGrpSpPr/>
          <p:nvPr/>
        </p:nvGrpSpPr>
        <p:grpSpPr>
          <a:xfrm>
            <a:off x="638970" y="3003053"/>
            <a:ext cx="1828606" cy="1828606"/>
            <a:chOff x="1345453" y="2858609"/>
            <a:chExt cx="2734705" cy="2734705"/>
          </a:xfrm>
        </p:grpSpPr>
        <p:sp>
          <p:nvSpPr>
            <p:cNvPr id="29" name="Oval 28"/>
            <p:cNvSpPr/>
            <p:nvPr/>
          </p:nvSpPr>
          <p:spPr>
            <a:xfrm>
              <a:off x="1345453" y="2858609"/>
              <a:ext cx="2734705" cy="2734705"/>
            </a:xfrm>
            <a:prstGeom prst="ellipse">
              <a:avLst/>
            </a:prstGeom>
            <a:solidFill>
              <a:srgbClr val="23A7EC">
                <a:alpha val="86000"/>
              </a:srgb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1357958" y="3763085"/>
              <a:ext cx="2709690" cy="16109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1088078" eaLnBrk="1" fontAlgn="auto" latinLnBrk="0" hangingPunct="1"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Пар</a:t>
              </a:r>
              <a:r>
                <a:rPr kumimoji="0" lang="en-US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, </a:t>
              </a:r>
              <a:r>
                <a:rPr kumimoji="0" lang="ru-RU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вода</a:t>
              </a:r>
              <a:r>
                <a:rPr kumimoji="0" lang="en-US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, </a:t>
              </a:r>
              <a:r>
                <a:rPr kumimoji="0" lang="ru-RU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механические средства производства</a:t>
              </a:r>
              <a:endParaRPr kumimoji="0" lang="en-US" sz="1600" b="0" i="0" u="none" strike="noStrike" kern="0" cap="none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/>
                <a:ea typeface="Segoe UI Semibold" panose="020B0702040204020203" pitchFamily="34" charset="0"/>
                <a:cs typeface="Segoe UI Light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129607" y="2698232"/>
            <a:ext cx="2133427" cy="2133427"/>
            <a:chOff x="1345453" y="2858608"/>
            <a:chExt cx="2734705" cy="2734704"/>
          </a:xfrm>
        </p:grpSpPr>
        <p:sp>
          <p:nvSpPr>
            <p:cNvPr id="32" name="Oval 31"/>
            <p:cNvSpPr/>
            <p:nvPr/>
          </p:nvSpPr>
          <p:spPr>
            <a:xfrm>
              <a:off x="1345453" y="2858608"/>
              <a:ext cx="2734705" cy="2734704"/>
            </a:xfrm>
            <a:prstGeom prst="ellipse">
              <a:avLst/>
            </a:prstGeom>
            <a:solidFill>
              <a:srgbClr val="23A7EC">
                <a:alpha val="86000"/>
              </a:srgb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345453" y="4037197"/>
              <a:ext cx="2709690" cy="13808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1088078" eaLnBrk="1" fontAlgn="auto" latinLnBrk="0" hangingPunct="1"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Разделение труда</a:t>
              </a:r>
              <a:r>
                <a:rPr kumimoji="0" lang="en-US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, </a:t>
              </a:r>
              <a:r>
                <a:rPr kumimoji="0" lang="ru-RU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электричество</a:t>
              </a:r>
              <a:r>
                <a:rPr kumimoji="0" lang="en-US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, </a:t>
              </a:r>
              <a:r>
                <a:rPr kumimoji="0" lang="ru-RU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массовое производство</a:t>
              </a:r>
              <a:endParaRPr kumimoji="0" lang="en-US" sz="1600" b="0" i="0" u="none" strike="noStrike" kern="0" cap="none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/>
                <a:ea typeface="Segoe UI Semibold" panose="020B0702040204020203" pitchFamily="34" charset="0"/>
                <a:cs typeface="Segoe UI Light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783794" y="2361273"/>
            <a:ext cx="2473474" cy="2470386"/>
            <a:chOff x="1342035" y="2858609"/>
            <a:chExt cx="2738123" cy="2734705"/>
          </a:xfrm>
        </p:grpSpPr>
        <p:sp>
          <p:nvSpPr>
            <p:cNvPr id="35" name="Oval 34"/>
            <p:cNvSpPr/>
            <p:nvPr/>
          </p:nvSpPr>
          <p:spPr>
            <a:xfrm>
              <a:off x="1345453" y="2858609"/>
              <a:ext cx="2734705" cy="2734705"/>
            </a:xfrm>
            <a:prstGeom prst="ellipse">
              <a:avLst/>
            </a:prstGeom>
            <a:solidFill>
              <a:srgbClr val="23A7EC">
                <a:alpha val="86000"/>
              </a:srgb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1342035" y="4079661"/>
              <a:ext cx="2709690" cy="11924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1088078" eaLnBrk="1" fontAlgn="auto" latinLnBrk="0" hangingPunct="1"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Электроника</a:t>
              </a:r>
              <a:r>
                <a:rPr kumimoji="0" lang="en-US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, </a:t>
              </a:r>
              <a:br>
                <a:rPr kumimoji="0" lang="en-US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</a:br>
              <a:r>
                <a:rPr lang="ru-RU" sz="1600" kern="0" dirty="0">
                  <a:ln w="3175">
                    <a:noFill/>
                  </a:ln>
                  <a:solidFill>
                    <a:schemeClr val="bg1"/>
                  </a:solidFill>
                  <a:latin typeface="Segoe UI Light"/>
                  <a:ea typeface="Segoe UI Semibold" panose="020B0702040204020203" pitchFamily="34" charset="0"/>
                  <a:cs typeface="Segoe UI Light"/>
                </a:rPr>
                <a:t>ИТ</a:t>
              </a:r>
              <a:r>
                <a:rPr kumimoji="0" lang="en-US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, </a:t>
              </a:r>
              <a:r>
                <a:rPr kumimoji="0" lang="ru-RU" sz="1600" b="0" i="0" u="none" strike="noStrike" kern="0" cap="none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автоматизированное производство и управление</a:t>
              </a:r>
              <a:endParaRPr kumimoji="0" lang="en-US" sz="1600" b="0" i="0" u="none" strike="noStrike" kern="0" cap="none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/>
                <a:ea typeface="Segoe UI Semibold" panose="020B0702040204020203" pitchFamily="34" charset="0"/>
                <a:cs typeface="Segoe UI Light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8610405" y="2096954"/>
            <a:ext cx="2734705" cy="2734705"/>
            <a:chOff x="1345453" y="2858609"/>
            <a:chExt cx="2734705" cy="2734705"/>
          </a:xfrm>
        </p:grpSpPr>
        <p:sp>
          <p:nvSpPr>
            <p:cNvPr id="38" name="Oval 37"/>
            <p:cNvSpPr/>
            <p:nvPr/>
          </p:nvSpPr>
          <p:spPr>
            <a:xfrm>
              <a:off x="1345453" y="2858609"/>
              <a:ext cx="2734705" cy="2734705"/>
            </a:xfrm>
            <a:prstGeom prst="ellipse">
              <a:avLst/>
            </a:prstGeom>
            <a:solidFill>
              <a:srgbClr val="23A7EC">
                <a:alpha val="86000"/>
              </a:srgb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357959" y="3978096"/>
              <a:ext cx="2709690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1088078" eaLnBrk="1" fontAlgn="auto" latinLnBrk="0" hangingPunct="1"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>
                  <a:ln w="3175"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/>
                  <a:ea typeface="Segoe UI Semibold" panose="020B0702040204020203" pitchFamily="34" charset="0"/>
                  <a:cs typeface="Segoe UI Light"/>
                </a:rPr>
                <a:t>Стирание граней между реальным и цифровыми мирами</a:t>
              </a:r>
              <a:endParaRPr kumimoji="0" lang="en-US" sz="1600" b="0" i="0" u="none" strike="noStrike" kern="0" cap="none" spc="0" normalizeH="0" baseline="0" noProof="0" dirty="0">
                <a:ln w="3175"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/>
                <a:ea typeface="Segoe UI Semibold" panose="020B0702040204020203" pitchFamily="34" charset="0"/>
                <a:cs typeface="Segoe UI Light"/>
              </a:endParaRPr>
            </a:p>
          </p:txBody>
        </p:sp>
      </p:grpSp>
      <p:cxnSp>
        <p:nvCxnSpPr>
          <p:cNvPr id="41" name="Straight Arrow Connector 40"/>
          <p:cNvCxnSpPr/>
          <p:nvPr/>
        </p:nvCxnSpPr>
        <p:spPr>
          <a:xfrm>
            <a:off x="297877" y="5105686"/>
            <a:ext cx="11485324" cy="0"/>
          </a:xfrm>
          <a:prstGeom prst="straightConnector1">
            <a:avLst/>
          </a:prstGeom>
          <a:ln w="28575">
            <a:solidFill>
              <a:srgbClr val="23A7EC"/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5"/>
          <p:cNvSpPr>
            <a:spLocks noEditPoints="1"/>
          </p:cNvSpPr>
          <p:nvPr/>
        </p:nvSpPr>
        <p:spPr bwMode="auto">
          <a:xfrm>
            <a:off x="4003046" y="2949554"/>
            <a:ext cx="367033" cy="533774"/>
          </a:xfrm>
          <a:custGeom>
            <a:avLst/>
            <a:gdLst>
              <a:gd name="T0" fmla="*/ 161 w 237"/>
              <a:gd name="T1" fmla="*/ 292 h 346"/>
              <a:gd name="T2" fmla="*/ 170 w 237"/>
              <a:gd name="T3" fmla="*/ 296 h 346"/>
              <a:gd name="T4" fmla="*/ 172 w 237"/>
              <a:gd name="T5" fmla="*/ 305 h 346"/>
              <a:gd name="T6" fmla="*/ 167 w 237"/>
              <a:gd name="T7" fmla="*/ 312 h 346"/>
              <a:gd name="T8" fmla="*/ 72 w 237"/>
              <a:gd name="T9" fmla="*/ 313 h 346"/>
              <a:gd name="T10" fmla="*/ 65 w 237"/>
              <a:gd name="T11" fmla="*/ 307 h 346"/>
              <a:gd name="T12" fmla="*/ 66 w 237"/>
              <a:gd name="T13" fmla="*/ 297 h 346"/>
              <a:gd name="T14" fmla="*/ 73 w 237"/>
              <a:gd name="T15" fmla="*/ 292 h 346"/>
              <a:gd name="T16" fmla="*/ 103 w 237"/>
              <a:gd name="T17" fmla="*/ 23 h 346"/>
              <a:gd name="T18" fmla="*/ 83 w 237"/>
              <a:gd name="T19" fmla="*/ 29 h 346"/>
              <a:gd name="T20" fmla="*/ 50 w 237"/>
              <a:gd name="T21" fmla="*/ 51 h 346"/>
              <a:gd name="T22" fmla="*/ 28 w 237"/>
              <a:gd name="T23" fmla="*/ 84 h 346"/>
              <a:gd name="T24" fmla="*/ 22 w 237"/>
              <a:gd name="T25" fmla="*/ 105 h 346"/>
              <a:gd name="T26" fmla="*/ 21 w 237"/>
              <a:gd name="T27" fmla="*/ 128 h 346"/>
              <a:gd name="T28" fmla="*/ 27 w 237"/>
              <a:gd name="T29" fmla="*/ 152 h 346"/>
              <a:gd name="T30" fmla="*/ 34 w 237"/>
              <a:gd name="T31" fmla="*/ 170 h 346"/>
              <a:gd name="T32" fmla="*/ 48 w 237"/>
              <a:gd name="T33" fmla="*/ 192 h 346"/>
              <a:gd name="T34" fmla="*/ 64 w 237"/>
              <a:gd name="T35" fmla="*/ 213 h 346"/>
              <a:gd name="T36" fmla="*/ 74 w 237"/>
              <a:gd name="T37" fmla="*/ 231 h 346"/>
              <a:gd name="T38" fmla="*/ 82 w 237"/>
              <a:gd name="T39" fmla="*/ 253 h 346"/>
              <a:gd name="T40" fmla="*/ 156 w 237"/>
              <a:gd name="T41" fmla="*/ 247 h 346"/>
              <a:gd name="T42" fmla="*/ 166 w 237"/>
              <a:gd name="T43" fmla="*/ 222 h 346"/>
              <a:gd name="T44" fmla="*/ 172 w 237"/>
              <a:gd name="T45" fmla="*/ 214 h 346"/>
              <a:gd name="T46" fmla="*/ 183 w 237"/>
              <a:gd name="T47" fmla="*/ 200 h 346"/>
              <a:gd name="T48" fmla="*/ 199 w 237"/>
              <a:gd name="T49" fmla="*/ 175 h 346"/>
              <a:gd name="T50" fmla="*/ 209 w 237"/>
              <a:gd name="T51" fmla="*/ 153 h 346"/>
              <a:gd name="T52" fmla="*/ 215 w 237"/>
              <a:gd name="T53" fmla="*/ 126 h 346"/>
              <a:gd name="T54" fmla="*/ 214 w 237"/>
              <a:gd name="T55" fmla="*/ 102 h 346"/>
              <a:gd name="T56" fmla="*/ 208 w 237"/>
              <a:gd name="T57" fmla="*/ 82 h 346"/>
              <a:gd name="T58" fmla="*/ 183 w 237"/>
              <a:gd name="T59" fmla="*/ 47 h 346"/>
              <a:gd name="T60" fmla="*/ 152 w 237"/>
              <a:gd name="T61" fmla="*/ 28 h 346"/>
              <a:gd name="T62" fmla="*/ 131 w 237"/>
              <a:gd name="T63" fmla="*/ 23 h 346"/>
              <a:gd name="T64" fmla="*/ 127 w 237"/>
              <a:gd name="T65" fmla="*/ 1 h 346"/>
              <a:gd name="T66" fmla="*/ 153 w 237"/>
              <a:gd name="T67" fmla="*/ 6 h 346"/>
              <a:gd name="T68" fmla="*/ 177 w 237"/>
              <a:gd name="T69" fmla="*/ 16 h 346"/>
              <a:gd name="T70" fmla="*/ 198 w 237"/>
              <a:gd name="T71" fmla="*/ 31 h 346"/>
              <a:gd name="T72" fmla="*/ 220 w 237"/>
              <a:gd name="T73" fmla="*/ 58 h 346"/>
              <a:gd name="T74" fmla="*/ 231 w 237"/>
              <a:gd name="T75" fmla="*/ 81 h 346"/>
              <a:gd name="T76" fmla="*/ 236 w 237"/>
              <a:gd name="T77" fmla="*/ 107 h 346"/>
              <a:gd name="T78" fmla="*/ 235 w 237"/>
              <a:gd name="T79" fmla="*/ 139 h 346"/>
              <a:gd name="T80" fmla="*/ 225 w 237"/>
              <a:gd name="T81" fmla="*/ 171 h 346"/>
              <a:gd name="T82" fmla="*/ 213 w 237"/>
              <a:gd name="T83" fmla="*/ 193 h 346"/>
              <a:gd name="T84" fmla="*/ 195 w 237"/>
              <a:gd name="T85" fmla="*/ 219 h 346"/>
              <a:gd name="T86" fmla="*/ 187 w 237"/>
              <a:gd name="T87" fmla="*/ 230 h 346"/>
              <a:gd name="T88" fmla="*/ 179 w 237"/>
              <a:gd name="T89" fmla="*/ 244 h 346"/>
              <a:gd name="T90" fmla="*/ 175 w 237"/>
              <a:gd name="T91" fmla="*/ 258 h 346"/>
              <a:gd name="T92" fmla="*/ 174 w 237"/>
              <a:gd name="T93" fmla="*/ 267 h 346"/>
              <a:gd name="T94" fmla="*/ 163 w 237"/>
              <a:gd name="T95" fmla="*/ 281 h 346"/>
              <a:gd name="T96" fmla="*/ 62 w 237"/>
              <a:gd name="T97" fmla="*/ 267 h 346"/>
              <a:gd name="T98" fmla="*/ 61 w 237"/>
              <a:gd name="T99" fmla="*/ 257 h 346"/>
              <a:gd name="T100" fmla="*/ 56 w 237"/>
              <a:gd name="T101" fmla="*/ 242 h 346"/>
              <a:gd name="T102" fmla="*/ 48 w 237"/>
              <a:gd name="T103" fmla="*/ 228 h 346"/>
              <a:gd name="T104" fmla="*/ 37 w 237"/>
              <a:gd name="T105" fmla="*/ 214 h 346"/>
              <a:gd name="T106" fmla="*/ 20 w 237"/>
              <a:gd name="T107" fmla="*/ 188 h 346"/>
              <a:gd name="T108" fmla="*/ 10 w 237"/>
              <a:gd name="T109" fmla="*/ 169 h 346"/>
              <a:gd name="T110" fmla="*/ 1 w 237"/>
              <a:gd name="T111" fmla="*/ 140 h 346"/>
              <a:gd name="T112" fmla="*/ 0 w 237"/>
              <a:gd name="T113" fmla="*/ 110 h 346"/>
              <a:gd name="T114" fmla="*/ 5 w 237"/>
              <a:gd name="T115" fmla="*/ 84 h 346"/>
              <a:gd name="T116" fmla="*/ 15 w 237"/>
              <a:gd name="T117" fmla="*/ 60 h 346"/>
              <a:gd name="T118" fmla="*/ 34 w 237"/>
              <a:gd name="T119" fmla="*/ 35 h 346"/>
              <a:gd name="T120" fmla="*/ 57 w 237"/>
              <a:gd name="T121" fmla="*/ 18 h 346"/>
              <a:gd name="T122" fmla="*/ 80 w 237"/>
              <a:gd name="T123" fmla="*/ 7 h 346"/>
              <a:gd name="T124" fmla="*/ 106 w 237"/>
              <a:gd name="T125" fmla="*/ 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37" h="346">
                <a:moveTo>
                  <a:pt x="86" y="324"/>
                </a:moveTo>
                <a:cubicBezTo>
                  <a:pt x="151" y="324"/>
                  <a:pt x="151" y="324"/>
                  <a:pt x="151" y="324"/>
                </a:cubicBezTo>
                <a:cubicBezTo>
                  <a:pt x="157" y="324"/>
                  <a:pt x="161" y="329"/>
                  <a:pt x="161" y="335"/>
                </a:cubicBezTo>
                <a:cubicBezTo>
                  <a:pt x="161" y="341"/>
                  <a:pt x="157" y="346"/>
                  <a:pt x="151" y="346"/>
                </a:cubicBezTo>
                <a:cubicBezTo>
                  <a:pt x="86" y="346"/>
                  <a:pt x="86" y="346"/>
                  <a:pt x="86" y="346"/>
                </a:cubicBezTo>
                <a:cubicBezTo>
                  <a:pt x="80" y="346"/>
                  <a:pt x="75" y="341"/>
                  <a:pt x="75" y="335"/>
                </a:cubicBezTo>
                <a:cubicBezTo>
                  <a:pt x="75" y="329"/>
                  <a:pt x="80" y="324"/>
                  <a:pt x="86" y="324"/>
                </a:cubicBezTo>
                <a:close/>
                <a:moveTo>
                  <a:pt x="75" y="292"/>
                </a:moveTo>
                <a:cubicBezTo>
                  <a:pt x="161" y="292"/>
                  <a:pt x="161" y="292"/>
                  <a:pt x="161" y="292"/>
                </a:cubicBezTo>
                <a:cubicBezTo>
                  <a:pt x="162" y="292"/>
                  <a:pt x="162" y="292"/>
                  <a:pt x="162" y="292"/>
                </a:cubicBezTo>
                <a:cubicBezTo>
                  <a:pt x="163" y="292"/>
                  <a:pt x="163" y="292"/>
                  <a:pt x="164" y="292"/>
                </a:cubicBezTo>
                <a:cubicBezTo>
                  <a:pt x="164" y="292"/>
                  <a:pt x="164" y="292"/>
                  <a:pt x="165" y="292"/>
                </a:cubicBezTo>
                <a:cubicBezTo>
                  <a:pt x="165" y="292"/>
                  <a:pt x="165" y="292"/>
                  <a:pt x="166" y="293"/>
                </a:cubicBezTo>
                <a:cubicBezTo>
                  <a:pt x="166" y="293"/>
                  <a:pt x="166" y="293"/>
                  <a:pt x="167" y="293"/>
                </a:cubicBezTo>
                <a:cubicBezTo>
                  <a:pt x="167" y="293"/>
                  <a:pt x="167" y="293"/>
                  <a:pt x="167" y="294"/>
                </a:cubicBezTo>
                <a:cubicBezTo>
                  <a:pt x="168" y="294"/>
                  <a:pt x="168" y="294"/>
                  <a:pt x="168" y="294"/>
                </a:cubicBezTo>
                <a:cubicBezTo>
                  <a:pt x="169" y="294"/>
                  <a:pt x="169" y="295"/>
                  <a:pt x="169" y="295"/>
                </a:cubicBezTo>
                <a:cubicBezTo>
                  <a:pt x="169" y="295"/>
                  <a:pt x="169" y="295"/>
                  <a:pt x="170" y="296"/>
                </a:cubicBezTo>
                <a:cubicBezTo>
                  <a:pt x="170" y="296"/>
                  <a:pt x="170" y="296"/>
                  <a:pt x="170" y="296"/>
                </a:cubicBezTo>
                <a:cubicBezTo>
                  <a:pt x="171" y="297"/>
                  <a:pt x="171" y="297"/>
                  <a:pt x="171" y="297"/>
                </a:cubicBezTo>
                <a:cubicBezTo>
                  <a:pt x="171" y="298"/>
                  <a:pt x="171" y="298"/>
                  <a:pt x="171" y="298"/>
                </a:cubicBezTo>
                <a:cubicBezTo>
                  <a:pt x="171" y="299"/>
                  <a:pt x="172" y="299"/>
                  <a:pt x="172" y="299"/>
                </a:cubicBezTo>
                <a:cubicBezTo>
                  <a:pt x="172" y="300"/>
                  <a:pt x="172" y="300"/>
                  <a:pt x="172" y="300"/>
                </a:cubicBezTo>
                <a:cubicBezTo>
                  <a:pt x="172" y="301"/>
                  <a:pt x="172" y="301"/>
                  <a:pt x="172" y="301"/>
                </a:cubicBezTo>
                <a:cubicBezTo>
                  <a:pt x="172" y="302"/>
                  <a:pt x="172" y="302"/>
                  <a:pt x="172" y="303"/>
                </a:cubicBezTo>
                <a:cubicBezTo>
                  <a:pt x="172" y="303"/>
                  <a:pt x="172" y="303"/>
                  <a:pt x="172" y="304"/>
                </a:cubicBezTo>
                <a:cubicBezTo>
                  <a:pt x="172" y="304"/>
                  <a:pt x="172" y="304"/>
                  <a:pt x="172" y="305"/>
                </a:cubicBezTo>
                <a:cubicBezTo>
                  <a:pt x="172" y="305"/>
                  <a:pt x="172" y="305"/>
                  <a:pt x="172" y="306"/>
                </a:cubicBezTo>
                <a:cubicBezTo>
                  <a:pt x="172" y="306"/>
                  <a:pt x="171" y="306"/>
                  <a:pt x="171" y="307"/>
                </a:cubicBezTo>
                <a:cubicBezTo>
                  <a:pt x="171" y="307"/>
                  <a:pt x="171" y="307"/>
                  <a:pt x="171" y="308"/>
                </a:cubicBezTo>
                <a:cubicBezTo>
                  <a:pt x="171" y="308"/>
                  <a:pt x="171" y="308"/>
                  <a:pt x="170" y="309"/>
                </a:cubicBezTo>
                <a:cubicBezTo>
                  <a:pt x="170" y="309"/>
                  <a:pt x="170" y="309"/>
                  <a:pt x="170" y="309"/>
                </a:cubicBezTo>
                <a:cubicBezTo>
                  <a:pt x="169" y="310"/>
                  <a:pt x="169" y="310"/>
                  <a:pt x="169" y="310"/>
                </a:cubicBezTo>
                <a:cubicBezTo>
                  <a:pt x="169" y="310"/>
                  <a:pt x="169" y="311"/>
                  <a:pt x="168" y="311"/>
                </a:cubicBezTo>
                <a:cubicBezTo>
                  <a:pt x="168" y="311"/>
                  <a:pt x="168" y="311"/>
                  <a:pt x="167" y="311"/>
                </a:cubicBezTo>
                <a:cubicBezTo>
                  <a:pt x="167" y="312"/>
                  <a:pt x="167" y="312"/>
                  <a:pt x="167" y="312"/>
                </a:cubicBezTo>
                <a:cubicBezTo>
                  <a:pt x="166" y="312"/>
                  <a:pt x="166" y="312"/>
                  <a:pt x="166" y="312"/>
                </a:cubicBezTo>
                <a:cubicBezTo>
                  <a:pt x="165" y="313"/>
                  <a:pt x="165" y="313"/>
                  <a:pt x="165" y="313"/>
                </a:cubicBezTo>
                <a:cubicBezTo>
                  <a:pt x="164" y="313"/>
                  <a:pt x="164" y="313"/>
                  <a:pt x="164" y="313"/>
                </a:cubicBezTo>
                <a:cubicBezTo>
                  <a:pt x="163" y="313"/>
                  <a:pt x="163" y="313"/>
                  <a:pt x="162" y="313"/>
                </a:cubicBezTo>
                <a:cubicBezTo>
                  <a:pt x="162" y="313"/>
                  <a:pt x="162" y="313"/>
                  <a:pt x="161" y="313"/>
                </a:cubicBezTo>
                <a:cubicBezTo>
                  <a:pt x="75" y="313"/>
                  <a:pt x="75" y="313"/>
                  <a:pt x="75" y="313"/>
                </a:cubicBezTo>
                <a:cubicBezTo>
                  <a:pt x="75" y="313"/>
                  <a:pt x="74" y="313"/>
                  <a:pt x="74" y="313"/>
                </a:cubicBezTo>
                <a:cubicBezTo>
                  <a:pt x="74" y="313"/>
                  <a:pt x="73" y="313"/>
                  <a:pt x="73" y="313"/>
                </a:cubicBezTo>
                <a:cubicBezTo>
                  <a:pt x="73" y="313"/>
                  <a:pt x="72" y="313"/>
                  <a:pt x="72" y="313"/>
                </a:cubicBezTo>
                <a:cubicBezTo>
                  <a:pt x="72" y="313"/>
                  <a:pt x="71" y="313"/>
                  <a:pt x="71" y="312"/>
                </a:cubicBezTo>
                <a:cubicBezTo>
                  <a:pt x="71" y="312"/>
                  <a:pt x="70" y="312"/>
                  <a:pt x="70" y="312"/>
                </a:cubicBezTo>
                <a:cubicBezTo>
                  <a:pt x="70" y="312"/>
                  <a:pt x="69" y="312"/>
                  <a:pt x="69" y="311"/>
                </a:cubicBezTo>
                <a:cubicBezTo>
                  <a:pt x="69" y="311"/>
                  <a:pt x="68" y="311"/>
                  <a:pt x="68" y="311"/>
                </a:cubicBezTo>
                <a:cubicBezTo>
                  <a:pt x="68" y="311"/>
                  <a:pt x="68" y="310"/>
                  <a:pt x="67" y="310"/>
                </a:cubicBezTo>
                <a:cubicBezTo>
                  <a:pt x="67" y="310"/>
                  <a:pt x="67" y="310"/>
                  <a:pt x="67" y="309"/>
                </a:cubicBezTo>
                <a:cubicBezTo>
                  <a:pt x="67" y="309"/>
                  <a:pt x="66" y="309"/>
                  <a:pt x="66" y="309"/>
                </a:cubicBezTo>
                <a:cubicBezTo>
                  <a:pt x="66" y="308"/>
                  <a:pt x="66" y="308"/>
                  <a:pt x="66" y="308"/>
                </a:cubicBezTo>
                <a:cubicBezTo>
                  <a:pt x="65" y="307"/>
                  <a:pt x="65" y="307"/>
                  <a:pt x="65" y="307"/>
                </a:cubicBezTo>
                <a:cubicBezTo>
                  <a:pt x="65" y="306"/>
                  <a:pt x="65" y="306"/>
                  <a:pt x="65" y="306"/>
                </a:cubicBezTo>
                <a:cubicBezTo>
                  <a:pt x="65" y="305"/>
                  <a:pt x="65" y="305"/>
                  <a:pt x="65" y="305"/>
                </a:cubicBezTo>
                <a:cubicBezTo>
                  <a:pt x="64" y="304"/>
                  <a:pt x="64" y="304"/>
                  <a:pt x="64" y="304"/>
                </a:cubicBezTo>
                <a:cubicBezTo>
                  <a:pt x="64" y="303"/>
                  <a:pt x="64" y="303"/>
                  <a:pt x="64" y="303"/>
                </a:cubicBezTo>
                <a:cubicBezTo>
                  <a:pt x="64" y="302"/>
                  <a:pt x="64" y="302"/>
                  <a:pt x="64" y="301"/>
                </a:cubicBezTo>
                <a:cubicBezTo>
                  <a:pt x="64" y="301"/>
                  <a:pt x="64" y="301"/>
                  <a:pt x="65" y="300"/>
                </a:cubicBezTo>
                <a:cubicBezTo>
                  <a:pt x="65" y="300"/>
                  <a:pt x="65" y="300"/>
                  <a:pt x="65" y="299"/>
                </a:cubicBezTo>
                <a:cubicBezTo>
                  <a:pt x="65" y="299"/>
                  <a:pt x="65" y="299"/>
                  <a:pt x="65" y="298"/>
                </a:cubicBezTo>
                <a:cubicBezTo>
                  <a:pt x="65" y="298"/>
                  <a:pt x="65" y="298"/>
                  <a:pt x="66" y="297"/>
                </a:cubicBezTo>
                <a:cubicBezTo>
                  <a:pt x="66" y="297"/>
                  <a:pt x="66" y="297"/>
                  <a:pt x="66" y="296"/>
                </a:cubicBezTo>
                <a:cubicBezTo>
                  <a:pt x="66" y="296"/>
                  <a:pt x="67" y="296"/>
                  <a:pt x="67" y="296"/>
                </a:cubicBezTo>
                <a:cubicBezTo>
                  <a:pt x="67" y="295"/>
                  <a:pt x="67" y="295"/>
                  <a:pt x="67" y="295"/>
                </a:cubicBezTo>
                <a:cubicBezTo>
                  <a:pt x="68" y="295"/>
                  <a:pt x="68" y="294"/>
                  <a:pt x="68" y="294"/>
                </a:cubicBezTo>
                <a:cubicBezTo>
                  <a:pt x="68" y="294"/>
                  <a:pt x="69" y="294"/>
                  <a:pt x="69" y="294"/>
                </a:cubicBezTo>
                <a:cubicBezTo>
                  <a:pt x="69" y="293"/>
                  <a:pt x="70" y="293"/>
                  <a:pt x="70" y="293"/>
                </a:cubicBezTo>
                <a:cubicBezTo>
                  <a:pt x="70" y="293"/>
                  <a:pt x="71" y="293"/>
                  <a:pt x="71" y="293"/>
                </a:cubicBezTo>
                <a:cubicBezTo>
                  <a:pt x="71" y="292"/>
                  <a:pt x="72" y="292"/>
                  <a:pt x="72" y="292"/>
                </a:cubicBezTo>
                <a:cubicBezTo>
                  <a:pt x="72" y="292"/>
                  <a:pt x="73" y="292"/>
                  <a:pt x="73" y="292"/>
                </a:cubicBezTo>
                <a:cubicBezTo>
                  <a:pt x="73" y="292"/>
                  <a:pt x="74" y="292"/>
                  <a:pt x="74" y="292"/>
                </a:cubicBezTo>
                <a:cubicBezTo>
                  <a:pt x="74" y="292"/>
                  <a:pt x="75" y="292"/>
                  <a:pt x="75" y="292"/>
                </a:cubicBezTo>
                <a:close/>
                <a:moveTo>
                  <a:pt x="118" y="22"/>
                </a:moveTo>
                <a:cubicBezTo>
                  <a:pt x="117" y="22"/>
                  <a:pt x="117" y="22"/>
                  <a:pt x="116" y="22"/>
                </a:cubicBezTo>
                <a:cubicBezTo>
                  <a:pt x="115" y="22"/>
                  <a:pt x="114" y="22"/>
                  <a:pt x="113" y="22"/>
                </a:cubicBezTo>
                <a:cubicBezTo>
                  <a:pt x="112" y="22"/>
                  <a:pt x="112" y="22"/>
                  <a:pt x="111" y="22"/>
                </a:cubicBezTo>
                <a:cubicBezTo>
                  <a:pt x="110" y="22"/>
                  <a:pt x="109" y="22"/>
                  <a:pt x="108" y="23"/>
                </a:cubicBezTo>
                <a:cubicBezTo>
                  <a:pt x="107" y="23"/>
                  <a:pt x="107" y="23"/>
                  <a:pt x="106" y="23"/>
                </a:cubicBezTo>
                <a:cubicBezTo>
                  <a:pt x="105" y="23"/>
                  <a:pt x="104" y="23"/>
                  <a:pt x="103" y="23"/>
                </a:cubicBezTo>
                <a:cubicBezTo>
                  <a:pt x="103" y="23"/>
                  <a:pt x="102" y="23"/>
                  <a:pt x="101" y="24"/>
                </a:cubicBezTo>
                <a:cubicBezTo>
                  <a:pt x="100" y="24"/>
                  <a:pt x="99" y="24"/>
                  <a:pt x="99" y="24"/>
                </a:cubicBezTo>
                <a:cubicBezTo>
                  <a:pt x="98" y="24"/>
                  <a:pt x="97" y="24"/>
                  <a:pt x="96" y="25"/>
                </a:cubicBezTo>
                <a:cubicBezTo>
                  <a:pt x="96" y="25"/>
                  <a:pt x="95" y="25"/>
                  <a:pt x="94" y="25"/>
                </a:cubicBezTo>
                <a:cubicBezTo>
                  <a:pt x="93" y="25"/>
                  <a:pt x="92" y="26"/>
                  <a:pt x="92" y="26"/>
                </a:cubicBezTo>
                <a:cubicBezTo>
                  <a:pt x="91" y="26"/>
                  <a:pt x="90" y="26"/>
                  <a:pt x="89" y="26"/>
                </a:cubicBezTo>
                <a:cubicBezTo>
                  <a:pt x="89" y="27"/>
                  <a:pt x="88" y="27"/>
                  <a:pt x="87" y="27"/>
                </a:cubicBezTo>
                <a:cubicBezTo>
                  <a:pt x="86" y="27"/>
                  <a:pt x="86" y="28"/>
                  <a:pt x="85" y="28"/>
                </a:cubicBezTo>
                <a:cubicBezTo>
                  <a:pt x="84" y="28"/>
                  <a:pt x="83" y="29"/>
                  <a:pt x="83" y="29"/>
                </a:cubicBezTo>
                <a:cubicBezTo>
                  <a:pt x="82" y="29"/>
                  <a:pt x="81" y="29"/>
                  <a:pt x="80" y="30"/>
                </a:cubicBezTo>
                <a:cubicBezTo>
                  <a:pt x="79" y="30"/>
                  <a:pt x="78" y="31"/>
                  <a:pt x="76" y="32"/>
                </a:cubicBezTo>
                <a:cubicBezTo>
                  <a:pt x="75" y="32"/>
                  <a:pt x="73" y="33"/>
                  <a:pt x="72" y="34"/>
                </a:cubicBezTo>
                <a:cubicBezTo>
                  <a:pt x="71" y="35"/>
                  <a:pt x="69" y="35"/>
                  <a:pt x="68" y="36"/>
                </a:cubicBezTo>
                <a:cubicBezTo>
                  <a:pt x="67" y="37"/>
                  <a:pt x="65" y="38"/>
                  <a:pt x="64" y="39"/>
                </a:cubicBezTo>
                <a:cubicBezTo>
                  <a:pt x="63" y="40"/>
                  <a:pt x="61" y="41"/>
                  <a:pt x="60" y="41"/>
                </a:cubicBezTo>
                <a:cubicBezTo>
                  <a:pt x="59" y="42"/>
                  <a:pt x="58" y="43"/>
                  <a:pt x="56" y="44"/>
                </a:cubicBezTo>
                <a:cubicBezTo>
                  <a:pt x="55" y="45"/>
                  <a:pt x="54" y="46"/>
                  <a:pt x="53" y="47"/>
                </a:cubicBezTo>
                <a:cubicBezTo>
                  <a:pt x="52" y="48"/>
                  <a:pt x="51" y="50"/>
                  <a:pt x="50" y="51"/>
                </a:cubicBezTo>
                <a:cubicBezTo>
                  <a:pt x="48" y="52"/>
                  <a:pt x="47" y="53"/>
                  <a:pt x="46" y="54"/>
                </a:cubicBezTo>
                <a:cubicBezTo>
                  <a:pt x="45" y="55"/>
                  <a:pt x="44" y="56"/>
                  <a:pt x="43" y="58"/>
                </a:cubicBezTo>
                <a:cubicBezTo>
                  <a:pt x="42" y="59"/>
                  <a:pt x="41" y="60"/>
                  <a:pt x="40" y="61"/>
                </a:cubicBezTo>
                <a:cubicBezTo>
                  <a:pt x="39" y="63"/>
                  <a:pt x="39" y="64"/>
                  <a:pt x="38" y="65"/>
                </a:cubicBezTo>
                <a:cubicBezTo>
                  <a:pt x="37" y="66"/>
                  <a:pt x="36" y="68"/>
                  <a:pt x="35" y="69"/>
                </a:cubicBezTo>
                <a:cubicBezTo>
                  <a:pt x="34" y="70"/>
                  <a:pt x="34" y="72"/>
                  <a:pt x="33" y="73"/>
                </a:cubicBezTo>
                <a:cubicBezTo>
                  <a:pt x="32" y="75"/>
                  <a:pt x="31" y="76"/>
                  <a:pt x="31" y="77"/>
                </a:cubicBezTo>
                <a:cubicBezTo>
                  <a:pt x="30" y="79"/>
                  <a:pt x="29" y="80"/>
                  <a:pt x="29" y="82"/>
                </a:cubicBezTo>
                <a:cubicBezTo>
                  <a:pt x="28" y="82"/>
                  <a:pt x="28" y="83"/>
                  <a:pt x="28" y="84"/>
                </a:cubicBezTo>
                <a:cubicBezTo>
                  <a:pt x="28" y="85"/>
                  <a:pt x="27" y="85"/>
                  <a:pt x="27" y="86"/>
                </a:cubicBezTo>
                <a:cubicBezTo>
                  <a:pt x="27" y="87"/>
                  <a:pt x="26" y="88"/>
                  <a:pt x="26" y="88"/>
                </a:cubicBezTo>
                <a:cubicBezTo>
                  <a:pt x="26" y="89"/>
                  <a:pt x="26" y="90"/>
                  <a:pt x="25" y="91"/>
                </a:cubicBezTo>
                <a:cubicBezTo>
                  <a:pt x="25" y="91"/>
                  <a:pt x="25" y="92"/>
                  <a:pt x="25" y="93"/>
                </a:cubicBezTo>
                <a:cubicBezTo>
                  <a:pt x="25" y="94"/>
                  <a:pt x="24" y="94"/>
                  <a:pt x="24" y="95"/>
                </a:cubicBezTo>
                <a:cubicBezTo>
                  <a:pt x="24" y="96"/>
                  <a:pt x="24" y="97"/>
                  <a:pt x="24" y="98"/>
                </a:cubicBezTo>
                <a:cubicBezTo>
                  <a:pt x="23" y="98"/>
                  <a:pt x="23" y="99"/>
                  <a:pt x="23" y="100"/>
                </a:cubicBezTo>
                <a:cubicBezTo>
                  <a:pt x="23" y="101"/>
                  <a:pt x="23" y="102"/>
                  <a:pt x="23" y="102"/>
                </a:cubicBezTo>
                <a:cubicBezTo>
                  <a:pt x="22" y="103"/>
                  <a:pt x="22" y="104"/>
                  <a:pt x="22" y="105"/>
                </a:cubicBezTo>
                <a:cubicBezTo>
                  <a:pt x="22" y="106"/>
                  <a:pt x="22" y="106"/>
                  <a:pt x="22" y="107"/>
                </a:cubicBezTo>
                <a:cubicBezTo>
                  <a:pt x="22" y="108"/>
                  <a:pt x="22" y="109"/>
                  <a:pt x="22" y="110"/>
                </a:cubicBezTo>
                <a:cubicBezTo>
                  <a:pt x="22" y="110"/>
                  <a:pt x="21" y="111"/>
                  <a:pt x="21" y="112"/>
                </a:cubicBezTo>
                <a:cubicBezTo>
                  <a:pt x="21" y="113"/>
                  <a:pt x="21" y="114"/>
                  <a:pt x="21" y="115"/>
                </a:cubicBezTo>
                <a:cubicBezTo>
                  <a:pt x="21" y="115"/>
                  <a:pt x="21" y="116"/>
                  <a:pt x="21" y="117"/>
                </a:cubicBezTo>
                <a:cubicBezTo>
                  <a:pt x="21" y="118"/>
                  <a:pt x="21" y="119"/>
                  <a:pt x="21" y="120"/>
                </a:cubicBezTo>
                <a:cubicBezTo>
                  <a:pt x="21" y="121"/>
                  <a:pt x="21" y="122"/>
                  <a:pt x="21" y="122"/>
                </a:cubicBezTo>
                <a:cubicBezTo>
                  <a:pt x="21" y="123"/>
                  <a:pt x="21" y="124"/>
                  <a:pt x="21" y="125"/>
                </a:cubicBezTo>
                <a:cubicBezTo>
                  <a:pt x="21" y="126"/>
                  <a:pt x="21" y="127"/>
                  <a:pt x="21" y="128"/>
                </a:cubicBezTo>
                <a:cubicBezTo>
                  <a:pt x="22" y="129"/>
                  <a:pt x="22" y="130"/>
                  <a:pt x="22" y="131"/>
                </a:cubicBezTo>
                <a:cubicBezTo>
                  <a:pt x="22" y="132"/>
                  <a:pt x="22" y="133"/>
                  <a:pt x="22" y="134"/>
                </a:cubicBezTo>
                <a:cubicBezTo>
                  <a:pt x="22" y="134"/>
                  <a:pt x="22" y="135"/>
                  <a:pt x="23" y="136"/>
                </a:cubicBezTo>
                <a:cubicBezTo>
                  <a:pt x="23" y="137"/>
                  <a:pt x="23" y="138"/>
                  <a:pt x="23" y="139"/>
                </a:cubicBezTo>
                <a:cubicBezTo>
                  <a:pt x="23" y="140"/>
                  <a:pt x="23" y="141"/>
                  <a:pt x="24" y="142"/>
                </a:cubicBezTo>
                <a:cubicBezTo>
                  <a:pt x="24" y="143"/>
                  <a:pt x="24" y="144"/>
                  <a:pt x="24" y="144"/>
                </a:cubicBezTo>
                <a:cubicBezTo>
                  <a:pt x="25" y="145"/>
                  <a:pt x="25" y="146"/>
                  <a:pt x="25" y="147"/>
                </a:cubicBezTo>
                <a:cubicBezTo>
                  <a:pt x="25" y="148"/>
                  <a:pt x="26" y="149"/>
                  <a:pt x="26" y="150"/>
                </a:cubicBezTo>
                <a:cubicBezTo>
                  <a:pt x="26" y="151"/>
                  <a:pt x="27" y="152"/>
                  <a:pt x="27" y="152"/>
                </a:cubicBezTo>
                <a:cubicBezTo>
                  <a:pt x="27" y="153"/>
                  <a:pt x="27" y="154"/>
                  <a:pt x="28" y="155"/>
                </a:cubicBezTo>
                <a:cubicBezTo>
                  <a:pt x="28" y="156"/>
                  <a:pt x="29" y="157"/>
                  <a:pt x="29" y="158"/>
                </a:cubicBezTo>
                <a:cubicBezTo>
                  <a:pt x="29" y="159"/>
                  <a:pt x="30" y="159"/>
                  <a:pt x="30" y="160"/>
                </a:cubicBezTo>
                <a:cubicBezTo>
                  <a:pt x="30" y="161"/>
                  <a:pt x="31" y="162"/>
                  <a:pt x="31" y="163"/>
                </a:cubicBezTo>
                <a:cubicBezTo>
                  <a:pt x="32" y="164"/>
                  <a:pt x="32" y="164"/>
                  <a:pt x="32" y="164"/>
                </a:cubicBezTo>
                <a:cubicBezTo>
                  <a:pt x="32" y="165"/>
                  <a:pt x="32" y="165"/>
                  <a:pt x="32" y="165"/>
                </a:cubicBezTo>
                <a:cubicBezTo>
                  <a:pt x="32" y="166"/>
                  <a:pt x="33" y="166"/>
                  <a:pt x="33" y="167"/>
                </a:cubicBezTo>
                <a:cubicBezTo>
                  <a:pt x="33" y="167"/>
                  <a:pt x="33" y="168"/>
                  <a:pt x="34" y="168"/>
                </a:cubicBezTo>
                <a:cubicBezTo>
                  <a:pt x="34" y="169"/>
                  <a:pt x="34" y="169"/>
                  <a:pt x="34" y="170"/>
                </a:cubicBezTo>
                <a:cubicBezTo>
                  <a:pt x="35" y="170"/>
                  <a:pt x="35" y="171"/>
                  <a:pt x="35" y="171"/>
                </a:cubicBezTo>
                <a:cubicBezTo>
                  <a:pt x="35" y="172"/>
                  <a:pt x="36" y="173"/>
                  <a:pt x="36" y="173"/>
                </a:cubicBezTo>
                <a:cubicBezTo>
                  <a:pt x="36" y="174"/>
                  <a:pt x="37" y="174"/>
                  <a:pt x="37" y="175"/>
                </a:cubicBezTo>
                <a:cubicBezTo>
                  <a:pt x="37" y="175"/>
                  <a:pt x="38" y="176"/>
                  <a:pt x="38" y="177"/>
                </a:cubicBezTo>
                <a:cubicBezTo>
                  <a:pt x="38" y="177"/>
                  <a:pt x="39" y="178"/>
                  <a:pt x="39" y="179"/>
                </a:cubicBezTo>
                <a:cubicBezTo>
                  <a:pt x="40" y="179"/>
                  <a:pt x="40" y="180"/>
                  <a:pt x="40" y="180"/>
                </a:cubicBezTo>
                <a:cubicBezTo>
                  <a:pt x="41" y="182"/>
                  <a:pt x="42" y="183"/>
                  <a:pt x="43" y="184"/>
                </a:cubicBezTo>
                <a:cubicBezTo>
                  <a:pt x="44" y="186"/>
                  <a:pt x="45" y="187"/>
                  <a:pt x="45" y="188"/>
                </a:cubicBezTo>
                <a:cubicBezTo>
                  <a:pt x="46" y="189"/>
                  <a:pt x="47" y="191"/>
                  <a:pt x="48" y="192"/>
                </a:cubicBezTo>
                <a:cubicBezTo>
                  <a:pt x="49" y="193"/>
                  <a:pt x="50" y="195"/>
                  <a:pt x="51" y="196"/>
                </a:cubicBezTo>
                <a:cubicBezTo>
                  <a:pt x="52" y="197"/>
                  <a:pt x="53" y="199"/>
                  <a:pt x="54" y="200"/>
                </a:cubicBezTo>
                <a:cubicBezTo>
                  <a:pt x="54" y="201"/>
                  <a:pt x="55" y="202"/>
                  <a:pt x="56" y="203"/>
                </a:cubicBezTo>
                <a:cubicBezTo>
                  <a:pt x="57" y="204"/>
                  <a:pt x="57" y="205"/>
                  <a:pt x="58" y="205"/>
                </a:cubicBezTo>
                <a:cubicBezTo>
                  <a:pt x="58" y="206"/>
                  <a:pt x="58" y="206"/>
                  <a:pt x="59" y="207"/>
                </a:cubicBezTo>
                <a:cubicBezTo>
                  <a:pt x="59" y="208"/>
                  <a:pt x="60" y="208"/>
                  <a:pt x="60" y="209"/>
                </a:cubicBezTo>
                <a:cubicBezTo>
                  <a:pt x="60" y="209"/>
                  <a:pt x="61" y="210"/>
                  <a:pt x="61" y="210"/>
                </a:cubicBezTo>
                <a:cubicBezTo>
                  <a:pt x="62" y="211"/>
                  <a:pt x="62" y="211"/>
                  <a:pt x="62" y="212"/>
                </a:cubicBezTo>
                <a:cubicBezTo>
                  <a:pt x="63" y="212"/>
                  <a:pt x="63" y="213"/>
                  <a:pt x="64" y="213"/>
                </a:cubicBezTo>
                <a:cubicBezTo>
                  <a:pt x="64" y="214"/>
                  <a:pt x="64" y="214"/>
                  <a:pt x="65" y="214"/>
                </a:cubicBezTo>
                <a:cubicBezTo>
                  <a:pt x="65" y="215"/>
                  <a:pt x="65" y="215"/>
                  <a:pt x="66" y="216"/>
                </a:cubicBezTo>
                <a:cubicBezTo>
                  <a:pt x="66" y="216"/>
                  <a:pt x="66" y="216"/>
                  <a:pt x="66" y="217"/>
                </a:cubicBezTo>
                <a:cubicBezTo>
                  <a:pt x="67" y="217"/>
                  <a:pt x="67" y="218"/>
                  <a:pt x="67" y="218"/>
                </a:cubicBezTo>
                <a:cubicBezTo>
                  <a:pt x="68" y="219"/>
                  <a:pt x="68" y="219"/>
                  <a:pt x="68" y="219"/>
                </a:cubicBezTo>
                <a:cubicBezTo>
                  <a:pt x="69" y="220"/>
                  <a:pt x="69" y="221"/>
                  <a:pt x="70" y="222"/>
                </a:cubicBezTo>
                <a:cubicBezTo>
                  <a:pt x="70" y="223"/>
                  <a:pt x="71" y="224"/>
                  <a:pt x="71" y="225"/>
                </a:cubicBezTo>
                <a:cubicBezTo>
                  <a:pt x="72" y="226"/>
                  <a:pt x="72" y="227"/>
                  <a:pt x="73" y="228"/>
                </a:cubicBezTo>
                <a:cubicBezTo>
                  <a:pt x="73" y="229"/>
                  <a:pt x="74" y="230"/>
                  <a:pt x="74" y="231"/>
                </a:cubicBezTo>
                <a:cubicBezTo>
                  <a:pt x="75" y="232"/>
                  <a:pt x="75" y="233"/>
                  <a:pt x="76" y="234"/>
                </a:cubicBezTo>
                <a:cubicBezTo>
                  <a:pt x="76" y="235"/>
                  <a:pt x="76" y="235"/>
                  <a:pt x="77" y="236"/>
                </a:cubicBezTo>
                <a:cubicBezTo>
                  <a:pt x="77" y="237"/>
                  <a:pt x="77" y="238"/>
                  <a:pt x="78" y="239"/>
                </a:cubicBezTo>
                <a:cubicBezTo>
                  <a:pt x="78" y="240"/>
                  <a:pt x="78" y="241"/>
                  <a:pt x="79" y="242"/>
                </a:cubicBezTo>
                <a:cubicBezTo>
                  <a:pt x="79" y="243"/>
                  <a:pt x="79" y="243"/>
                  <a:pt x="80" y="244"/>
                </a:cubicBezTo>
                <a:cubicBezTo>
                  <a:pt x="80" y="245"/>
                  <a:pt x="80" y="246"/>
                  <a:pt x="80" y="247"/>
                </a:cubicBezTo>
                <a:cubicBezTo>
                  <a:pt x="81" y="247"/>
                  <a:pt x="81" y="248"/>
                  <a:pt x="81" y="249"/>
                </a:cubicBezTo>
                <a:cubicBezTo>
                  <a:pt x="81" y="250"/>
                  <a:pt x="81" y="251"/>
                  <a:pt x="82" y="251"/>
                </a:cubicBezTo>
                <a:cubicBezTo>
                  <a:pt x="82" y="252"/>
                  <a:pt x="82" y="253"/>
                  <a:pt x="82" y="253"/>
                </a:cubicBezTo>
                <a:cubicBezTo>
                  <a:pt x="82" y="254"/>
                  <a:pt x="82" y="255"/>
                  <a:pt x="82" y="256"/>
                </a:cubicBezTo>
                <a:cubicBezTo>
                  <a:pt x="83" y="256"/>
                  <a:pt x="83" y="257"/>
                  <a:pt x="83" y="258"/>
                </a:cubicBezTo>
                <a:cubicBezTo>
                  <a:pt x="83" y="258"/>
                  <a:pt x="83" y="259"/>
                  <a:pt x="83" y="259"/>
                </a:cubicBezTo>
                <a:cubicBezTo>
                  <a:pt x="153" y="259"/>
                  <a:pt x="153" y="259"/>
                  <a:pt x="153" y="259"/>
                </a:cubicBezTo>
                <a:cubicBezTo>
                  <a:pt x="153" y="258"/>
                  <a:pt x="153" y="257"/>
                  <a:pt x="153" y="256"/>
                </a:cubicBezTo>
                <a:cubicBezTo>
                  <a:pt x="154" y="255"/>
                  <a:pt x="154" y="254"/>
                  <a:pt x="154" y="253"/>
                </a:cubicBezTo>
                <a:cubicBezTo>
                  <a:pt x="154" y="253"/>
                  <a:pt x="154" y="252"/>
                  <a:pt x="154" y="251"/>
                </a:cubicBezTo>
                <a:cubicBezTo>
                  <a:pt x="155" y="251"/>
                  <a:pt x="155" y="250"/>
                  <a:pt x="155" y="249"/>
                </a:cubicBezTo>
                <a:cubicBezTo>
                  <a:pt x="155" y="248"/>
                  <a:pt x="155" y="247"/>
                  <a:pt x="156" y="247"/>
                </a:cubicBezTo>
                <a:cubicBezTo>
                  <a:pt x="156" y="246"/>
                  <a:pt x="156" y="245"/>
                  <a:pt x="156" y="244"/>
                </a:cubicBezTo>
                <a:cubicBezTo>
                  <a:pt x="157" y="243"/>
                  <a:pt x="157" y="243"/>
                  <a:pt x="157" y="242"/>
                </a:cubicBezTo>
                <a:cubicBezTo>
                  <a:pt x="157" y="241"/>
                  <a:pt x="158" y="240"/>
                  <a:pt x="158" y="239"/>
                </a:cubicBezTo>
                <a:cubicBezTo>
                  <a:pt x="158" y="238"/>
                  <a:pt x="159" y="237"/>
                  <a:pt x="159" y="236"/>
                </a:cubicBezTo>
                <a:cubicBezTo>
                  <a:pt x="160" y="235"/>
                  <a:pt x="160" y="235"/>
                  <a:pt x="160" y="234"/>
                </a:cubicBezTo>
                <a:cubicBezTo>
                  <a:pt x="161" y="233"/>
                  <a:pt x="161" y="232"/>
                  <a:pt x="162" y="231"/>
                </a:cubicBezTo>
                <a:cubicBezTo>
                  <a:pt x="162" y="230"/>
                  <a:pt x="162" y="229"/>
                  <a:pt x="163" y="228"/>
                </a:cubicBezTo>
                <a:cubicBezTo>
                  <a:pt x="163" y="227"/>
                  <a:pt x="164" y="226"/>
                  <a:pt x="164" y="225"/>
                </a:cubicBezTo>
                <a:cubicBezTo>
                  <a:pt x="165" y="224"/>
                  <a:pt x="166" y="223"/>
                  <a:pt x="166" y="222"/>
                </a:cubicBezTo>
                <a:cubicBezTo>
                  <a:pt x="167" y="221"/>
                  <a:pt x="167" y="220"/>
                  <a:pt x="168" y="219"/>
                </a:cubicBezTo>
                <a:cubicBezTo>
                  <a:pt x="169" y="218"/>
                  <a:pt x="169" y="218"/>
                  <a:pt x="169" y="218"/>
                </a:cubicBezTo>
                <a:cubicBezTo>
                  <a:pt x="169" y="218"/>
                  <a:pt x="169" y="218"/>
                  <a:pt x="169" y="218"/>
                </a:cubicBezTo>
                <a:cubicBezTo>
                  <a:pt x="169" y="218"/>
                  <a:pt x="169" y="218"/>
                  <a:pt x="169" y="217"/>
                </a:cubicBezTo>
                <a:cubicBezTo>
                  <a:pt x="169" y="217"/>
                  <a:pt x="169" y="217"/>
                  <a:pt x="169" y="217"/>
                </a:cubicBezTo>
                <a:cubicBezTo>
                  <a:pt x="170" y="217"/>
                  <a:pt x="170" y="217"/>
                  <a:pt x="170" y="216"/>
                </a:cubicBezTo>
                <a:cubicBezTo>
                  <a:pt x="170" y="216"/>
                  <a:pt x="170" y="216"/>
                  <a:pt x="170" y="216"/>
                </a:cubicBezTo>
                <a:cubicBezTo>
                  <a:pt x="171" y="215"/>
                  <a:pt x="171" y="215"/>
                  <a:pt x="171" y="215"/>
                </a:cubicBezTo>
                <a:cubicBezTo>
                  <a:pt x="171" y="214"/>
                  <a:pt x="172" y="214"/>
                  <a:pt x="172" y="214"/>
                </a:cubicBezTo>
                <a:cubicBezTo>
                  <a:pt x="172" y="213"/>
                  <a:pt x="173" y="213"/>
                  <a:pt x="173" y="212"/>
                </a:cubicBezTo>
                <a:cubicBezTo>
                  <a:pt x="173" y="212"/>
                  <a:pt x="174" y="212"/>
                  <a:pt x="174" y="211"/>
                </a:cubicBezTo>
                <a:cubicBezTo>
                  <a:pt x="174" y="211"/>
                  <a:pt x="175" y="210"/>
                  <a:pt x="175" y="210"/>
                </a:cubicBezTo>
                <a:cubicBezTo>
                  <a:pt x="175" y="209"/>
                  <a:pt x="176" y="209"/>
                  <a:pt x="176" y="208"/>
                </a:cubicBezTo>
                <a:cubicBezTo>
                  <a:pt x="176" y="208"/>
                  <a:pt x="177" y="207"/>
                  <a:pt x="177" y="207"/>
                </a:cubicBezTo>
                <a:cubicBezTo>
                  <a:pt x="178" y="206"/>
                  <a:pt x="178" y="206"/>
                  <a:pt x="179" y="205"/>
                </a:cubicBezTo>
                <a:cubicBezTo>
                  <a:pt x="179" y="204"/>
                  <a:pt x="179" y="204"/>
                  <a:pt x="180" y="203"/>
                </a:cubicBezTo>
                <a:cubicBezTo>
                  <a:pt x="180" y="203"/>
                  <a:pt x="181" y="202"/>
                  <a:pt x="181" y="201"/>
                </a:cubicBezTo>
                <a:cubicBezTo>
                  <a:pt x="182" y="201"/>
                  <a:pt x="182" y="200"/>
                  <a:pt x="183" y="200"/>
                </a:cubicBezTo>
                <a:cubicBezTo>
                  <a:pt x="183" y="199"/>
                  <a:pt x="183" y="198"/>
                  <a:pt x="184" y="198"/>
                </a:cubicBezTo>
                <a:cubicBezTo>
                  <a:pt x="184" y="197"/>
                  <a:pt x="185" y="196"/>
                  <a:pt x="185" y="196"/>
                </a:cubicBezTo>
                <a:cubicBezTo>
                  <a:pt x="186" y="194"/>
                  <a:pt x="187" y="193"/>
                  <a:pt x="188" y="192"/>
                </a:cubicBezTo>
                <a:cubicBezTo>
                  <a:pt x="189" y="190"/>
                  <a:pt x="190" y="189"/>
                  <a:pt x="191" y="187"/>
                </a:cubicBezTo>
                <a:cubicBezTo>
                  <a:pt x="192" y="186"/>
                  <a:pt x="193" y="185"/>
                  <a:pt x="194" y="183"/>
                </a:cubicBezTo>
                <a:cubicBezTo>
                  <a:pt x="194" y="183"/>
                  <a:pt x="195" y="182"/>
                  <a:pt x="195" y="181"/>
                </a:cubicBezTo>
                <a:cubicBezTo>
                  <a:pt x="195" y="181"/>
                  <a:pt x="196" y="180"/>
                  <a:pt x="196" y="179"/>
                </a:cubicBezTo>
                <a:cubicBezTo>
                  <a:pt x="197" y="179"/>
                  <a:pt x="197" y="178"/>
                  <a:pt x="198" y="177"/>
                </a:cubicBezTo>
                <a:cubicBezTo>
                  <a:pt x="198" y="177"/>
                  <a:pt x="198" y="176"/>
                  <a:pt x="199" y="175"/>
                </a:cubicBezTo>
                <a:cubicBezTo>
                  <a:pt x="199" y="175"/>
                  <a:pt x="199" y="174"/>
                  <a:pt x="200" y="173"/>
                </a:cubicBezTo>
                <a:cubicBezTo>
                  <a:pt x="200" y="173"/>
                  <a:pt x="200" y="172"/>
                  <a:pt x="201" y="171"/>
                </a:cubicBezTo>
                <a:cubicBezTo>
                  <a:pt x="201" y="171"/>
                  <a:pt x="201" y="170"/>
                  <a:pt x="202" y="170"/>
                </a:cubicBezTo>
                <a:cubicBezTo>
                  <a:pt x="202" y="169"/>
                  <a:pt x="202" y="168"/>
                  <a:pt x="203" y="168"/>
                </a:cubicBezTo>
                <a:cubicBezTo>
                  <a:pt x="203" y="167"/>
                  <a:pt x="204" y="166"/>
                  <a:pt x="204" y="165"/>
                </a:cubicBezTo>
                <a:cubicBezTo>
                  <a:pt x="205" y="164"/>
                  <a:pt x="205" y="163"/>
                  <a:pt x="206" y="162"/>
                </a:cubicBezTo>
                <a:cubicBezTo>
                  <a:pt x="206" y="161"/>
                  <a:pt x="206" y="160"/>
                  <a:pt x="207" y="159"/>
                </a:cubicBezTo>
                <a:cubicBezTo>
                  <a:pt x="207" y="158"/>
                  <a:pt x="208" y="157"/>
                  <a:pt x="208" y="156"/>
                </a:cubicBezTo>
                <a:cubicBezTo>
                  <a:pt x="209" y="155"/>
                  <a:pt x="209" y="154"/>
                  <a:pt x="209" y="153"/>
                </a:cubicBezTo>
                <a:cubicBezTo>
                  <a:pt x="210" y="152"/>
                  <a:pt x="210" y="151"/>
                  <a:pt x="210" y="150"/>
                </a:cubicBezTo>
                <a:cubicBezTo>
                  <a:pt x="211" y="149"/>
                  <a:pt x="211" y="148"/>
                  <a:pt x="211" y="147"/>
                </a:cubicBezTo>
                <a:cubicBezTo>
                  <a:pt x="212" y="146"/>
                  <a:pt x="212" y="145"/>
                  <a:pt x="212" y="144"/>
                </a:cubicBezTo>
                <a:cubicBezTo>
                  <a:pt x="212" y="143"/>
                  <a:pt x="213" y="142"/>
                  <a:pt x="213" y="141"/>
                </a:cubicBezTo>
                <a:cubicBezTo>
                  <a:pt x="213" y="140"/>
                  <a:pt x="213" y="139"/>
                  <a:pt x="213" y="138"/>
                </a:cubicBezTo>
                <a:cubicBezTo>
                  <a:pt x="214" y="137"/>
                  <a:pt x="214" y="136"/>
                  <a:pt x="214" y="135"/>
                </a:cubicBezTo>
                <a:cubicBezTo>
                  <a:pt x="214" y="134"/>
                  <a:pt x="214" y="133"/>
                  <a:pt x="214" y="132"/>
                </a:cubicBezTo>
                <a:cubicBezTo>
                  <a:pt x="215" y="131"/>
                  <a:pt x="215" y="130"/>
                  <a:pt x="215" y="129"/>
                </a:cubicBezTo>
                <a:cubicBezTo>
                  <a:pt x="215" y="128"/>
                  <a:pt x="215" y="127"/>
                  <a:pt x="215" y="126"/>
                </a:cubicBezTo>
                <a:cubicBezTo>
                  <a:pt x="215" y="125"/>
                  <a:pt x="215" y="124"/>
                  <a:pt x="215" y="123"/>
                </a:cubicBezTo>
                <a:cubicBezTo>
                  <a:pt x="215" y="122"/>
                  <a:pt x="215" y="121"/>
                  <a:pt x="215" y="120"/>
                </a:cubicBezTo>
                <a:cubicBezTo>
                  <a:pt x="215" y="119"/>
                  <a:pt x="215" y="118"/>
                  <a:pt x="215" y="117"/>
                </a:cubicBezTo>
                <a:cubicBezTo>
                  <a:pt x="215" y="116"/>
                  <a:pt x="215" y="115"/>
                  <a:pt x="215" y="115"/>
                </a:cubicBezTo>
                <a:cubicBezTo>
                  <a:pt x="215" y="114"/>
                  <a:pt x="215" y="113"/>
                  <a:pt x="215" y="112"/>
                </a:cubicBezTo>
                <a:cubicBezTo>
                  <a:pt x="215" y="111"/>
                  <a:pt x="215" y="110"/>
                  <a:pt x="215" y="110"/>
                </a:cubicBezTo>
                <a:cubicBezTo>
                  <a:pt x="215" y="109"/>
                  <a:pt x="215" y="108"/>
                  <a:pt x="214" y="107"/>
                </a:cubicBezTo>
                <a:cubicBezTo>
                  <a:pt x="214" y="106"/>
                  <a:pt x="214" y="106"/>
                  <a:pt x="214" y="105"/>
                </a:cubicBezTo>
                <a:cubicBezTo>
                  <a:pt x="214" y="104"/>
                  <a:pt x="214" y="103"/>
                  <a:pt x="214" y="102"/>
                </a:cubicBezTo>
                <a:cubicBezTo>
                  <a:pt x="214" y="102"/>
                  <a:pt x="213" y="101"/>
                  <a:pt x="213" y="100"/>
                </a:cubicBezTo>
                <a:cubicBezTo>
                  <a:pt x="213" y="99"/>
                  <a:pt x="213" y="98"/>
                  <a:pt x="213" y="98"/>
                </a:cubicBezTo>
                <a:cubicBezTo>
                  <a:pt x="213" y="97"/>
                  <a:pt x="212" y="96"/>
                  <a:pt x="212" y="95"/>
                </a:cubicBezTo>
                <a:cubicBezTo>
                  <a:pt x="212" y="94"/>
                  <a:pt x="212" y="94"/>
                  <a:pt x="212" y="93"/>
                </a:cubicBezTo>
                <a:cubicBezTo>
                  <a:pt x="211" y="92"/>
                  <a:pt x="211" y="91"/>
                  <a:pt x="211" y="91"/>
                </a:cubicBezTo>
                <a:cubicBezTo>
                  <a:pt x="211" y="90"/>
                  <a:pt x="210" y="89"/>
                  <a:pt x="210" y="88"/>
                </a:cubicBezTo>
                <a:cubicBezTo>
                  <a:pt x="210" y="88"/>
                  <a:pt x="210" y="87"/>
                  <a:pt x="209" y="86"/>
                </a:cubicBezTo>
                <a:cubicBezTo>
                  <a:pt x="209" y="85"/>
                  <a:pt x="209" y="85"/>
                  <a:pt x="209" y="84"/>
                </a:cubicBezTo>
                <a:cubicBezTo>
                  <a:pt x="208" y="83"/>
                  <a:pt x="208" y="82"/>
                  <a:pt x="208" y="82"/>
                </a:cubicBezTo>
                <a:cubicBezTo>
                  <a:pt x="207" y="80"/>
                  <a:pt x="206" y="79"/>
                  <a:pt x="206" y="77"/>
                </a:cubicBezTo>
                <a:cubicBezTo>
                  <a:pt x="205" y="76"/>
                  <a:pt x="204" y="75"/>
                  <a:pt x="204" y="73"/>
                </a:cubicBezTo>
                <a:cubicBezTo>
                  <a:pt x="203" y="72"/>
                  <a:pt x="202" y="70"/>
                  <a:pt x="201" y="69"/>
                </a:cubicBezTo>
                <a:cubicBezTo>
                  <a:pt x="200" y="68"/>
                  <a:pt x="200" y="66"/>
                  <a:pt x="199" y="65"/>
                </a:cubicBezTo>
                <a:cubicBezTo>
                  <a:pt x="198" y="64"/>
                  <a:pt x="197" y="63"/>
                  <a:pt x="196" y="61"/>
                </a:cubicBezTo>
                <a:cubicBezTo>
                  <a:pt x="195" y="60"/>
                  <a:pt x="194" y="59"/>
                  <a:pt x="193" y="58"/>
                </a:cubicBezTo>
                <a:cubicBezTo>
                  <a:pt x="192" y="56"/>
                  <a:pt x="191" y="55"/>
                  <a:pt x="190" y="54"/>
                </a:cubicBezTo>
                <a:cubicBezTo>
                  <a:pt x="189" y="53"/>
                  <a:pt x="188" y="52"/>
                  <a:pt x="187" y="51"/>
                </a:cubicBezTo>
                <a:cubicBezTo>
                  <a:pt x="186" y="50"/>
                  <a:pt x="185" y="48"/>
                  <a:pt x="183" y="47"/>
                </a:cubicBezTo>
                <a:cubicBezTo>
                  <a:pt x="182" y="46"/>
                  <a:pt x="181" y="45"/>
                  <a:pt x="180" y="44"/>
                </a:cubicBezTo>
                <a:cubicBezTo>
                  <a:pt x="179" y="43"/>
                  <a:pt x="177" y="42"/>
                  <a:pt x="176" y="41"/>
                </a:cubicBezTo>
                <a:cubicBezTo>
                  <a:pt x="175" y="41"/>
                  <a:pt x="174" y="40"/>
                  <a:pt x="172" y="39"/>
                </a:cubicBezTo>
                <a:cubicBezTo>
                  <a:pt x="171" y="38"/>
                  <a:pt x="170" y="37"/>
                  <a:pt x="168" y="36"/>
                </a:cubicBezTo>
                <a:cubicBezTo>
                  <a:pt x="167" y="35"/>
                  <a:pt x="166" y="35"/>
                  <a:pt x="164" y="34"/>
                </a:cubicBezTo>
                <a:cubicBezTo>
                  <a:pt x="163" y="33"/>
                  <a:pt x="162" y="32"/>
                  <a:pt x="160" y="32"/>
                </a:cubicBezTo>
                <a:cubicBezTo>
                  <a:pt x="159" y="31"/>
                  <a:pt x="157" y="30"/>
                  <a:pt x="156" y="30"/>
                </a:cubicBezTo>
                <a:cubicBezTo>
                  <a:pt x="155" y="29"/>
                  <a:pt x="154" y="29"/>
                  <a:pt x="154" y="29"/>
                </a:cubicBezTo>
                <a:cubicBezTo>
                  <a:pt x="153" y="29"/>
                  <a:pt x="152" y="28"/>
                  <a:pt x="152" y="28"/>
                </a:cubicBezTo>
                <a:cubicBezTo>
                  <a:pt x="151" y="28"/>
                  <a:pt x="150" y="27"/>
                  <a:pt x="149" y="27"/>
                </a:cubicBezTo>
                <a:cubicBezTo>
                  <a:pt x="149" y="27"/>
                  <a:pt x="148" y="27"/>
                  <a:pt x="147" y="26"/>
                </a:cubicBezTo>
                <a:cubicBezTo>
                  <a:pt x="146" y="26"/>
                  <a:pt x="145" y="26"/>
                  <a:pt x="145" y="26"/>
                </a:cubicBezTo>
                <a:cubicBezTo>
                  <a:pt x="144" y="26"/>
                  <a:pt x="143" y="25"/>
                  <a:pt x="142" y="25"/>
                </a:cubicBezTo>
                <a:cubicBezTo>
                  <a:pt x="142" y="25"/>
                  <a:pt x="141" y="25"/>
                  <a:pt x="140" y="25"/>
                </a:cubicBezTo>
                <a:cubicBezTo>
                  <a:pt x="139" y="24"/>
                  <a:pt x="139" y="24"/>
                  <a:pt x="138" y="24"/>
                </a:cubicBezTo>
                <a:cubicBezTo>
                  <a:pt x="137" y="24"/>
                  <a:pt x="136" y="24"/>
                  <a:pt x="135" y="24"/>
                </a:cubicBezTo>
                <a:cubicBezTo>
                  <a:pt x="135" y="23"/>
                  <a:pt x="134" y="23"/>
                  <a:pt x="133" y="23"/>
                </a:cubicBezTo>
                <a:cubicBezTo>
                  <a:pt x="132" y="23"/>
                  <a:pt x="131" y="23"/>
                  <a:pt x="131" y="23"/>
                </a:cubicBezTo>
                <a:cubicBezTo>
                  <a:pt x="130" y="23"/>
                  <a:pt x="129" y="23"/>
                  <a:pt x="128" y="23"/>
                </a:cubicBezTo>
                <a:cubicBezTo>
                  <a:pt x="127" y="22"/>
                  <a:pt x="126" y="22"/>
                  <a:pt x="126" y="22"/>
                </a:cubicBezTo>
                <a:cubicBezTo>
                  <a:pt x="125" y="22"/>
                  <a:pt x="124" y="22"/>
                  <a:pt x="123" y="22"/>
                </a:cubicBezTo>
                <a:cubicBezTo>
                  <a:pt x="122" y="22"/>
                  <a:pt x="122" y="22"/>
                  <a:pt x="121" y="22"/>
                </a:cubicBezTo>
                <a:cubicBezTo>
                  <a:pt x="120" y="22"/>
                  <a:pt x="119" y="22"/>
                  <a:pt x="118" y="22"/>
                </a:cubicBezTo>
                <a:close/>
                <a:moveTo>
                  <a:pt x="118" y="0"/>
                </a:moveTo>
                <a:cubicBezTo>
                  <a:pt x="119" y="0"/>
                  <a:pt x="120" y="0"/>
                  <a:pt x="121" y="1"/>
                </a:cubicBezTo>
                <a:cubicBezTo>
                  <a:pt x="122" y="1"/>
                  <a:pt x="123" y="1"/>
                  <a:pt x="124" y="1"/>
                </a:cubicBezTo>
                <a:cubicBezTo>
                  <a:pt x="125" y="1"/>
                  <a:pt x="126" y="1"/>
                  <a:pt x="127" y="1"/>
                </a:cubicBezTo>
                <a:cubicBezTo>
                  <a:pt x="128" y="1"/>
                  <a:pt x="129" y="1"/>
                  <a:pt x="130" y="1"/>
                </a:cubicBezTo>
                <a:cubicBezTo>
                  <a:pt x="131" y="1"/>
                  <a:pt x="132" y="1"/>
                  <a:pt x="133" y="1"/>
                </a:cubicBezTo>
                <a:cubicBezTo>
                  <a:pt x="134" y="2"/>
                  <a:pt x="135" y="2"/>
                  <a:pt x="136" y="2"/>
                </a:cubicBezTo>
                <a:cubicBezTo>
                  <a:pt x="137" y="2"/>
                  <a:pt x="138" y="2"/>
                  <a:pt x="139" y="2"/>
                </a:cubicBezTo>
                <a:cubicBezTo>
                  <a:pt x="140" y="3"/>
                  <a:pt x="141" y="3"/>
                  <a:pt x="142" y="3"/>
                </a:cubicBezTo>
                <a:cubicBezTo>
                  <a:pt x="143" y="3"/>
                  <a:pt x="144" y="3"/>
                  <a:pt x="145" y="4"/>
                </a:cubicBezTo>
                <a:cubicBezTo>
                  <a:pt x="146" y="4"/>
                  <a:pt x="147" y="4"/>
                  <a:pt x="148" y="4"/>
                </a:cubicBezTo>
                <a:cubicBezTo>
                  <a:pt x="149" y="4"/>
                  <a:pt x="150" y="5"/>
                  <a:pt x="151" y="5"/>
                </a:cubicBezTo>
                <a:cubicBezTo>
                  <a:pt x="152" y="5"/>
                  <a:pt x="152" y="6"/>
                  <a:pt x="153" y="6"/>
                </a:cubicBezTo>
                <a:cubicBezTo>
                  <a:pt x="154" y="6"/>
                  <a:pt x="155" y="6"/>
                  <a:pt x="156" y="7"/>
                </a:cubicBezTo>
                <a:cubicBezTo>
                  <a:pt x="157" y="7"/>
                  <a:pt x="158" y="7"/>
                  <a:pt x="159" y="8"/>
                </a:cubicBezTo>
                <a:cubicBezTo>
                  <a:pt x="160" y="8"/>
                  <a:pt x="161" y="8"/>
                  <a:pt x="162" y="9"/>
                </a:cubicBezTo>
                <a:cubicBezTo>
                  <a:pt x="163" y="9"/>
                  <a:pt x="163" y="9"/>
                  <a:pt x="164" y="10"/>
                </a:cubicBezTo>
                <a:cubicBezTo>
                  <a:pt x="165" y="10"/>
                  <a:pt x="166" y="11"/>
                  <a:pt x="167" y="11"/>
                </a:cubicBezTo>
                <a:cubicBezTo>
                  <a:pt x="168" y="11"/>
                  <a:pt x="169" y="12"/>
                  <a:pt x="170" y="12"/>
                </a:cubicBezTo>
                <a:cubicBezTo>
                  <a:pt x="170" y="13"/>
                  <a:pt x="171" y="13"/>
                  <a:pt x="172" y="14"/>
                </a:cubicBezTo>
                <a:cubicBezTo>
                  <a:pt x="173" y="14"/>
                  <a:pt x="174" y="14"/>
                  <a:pt x="175" y="15"/>
                </a:cubicBezTo>
                <a:cubicBezTo>
                  <a:pt x="176" y="15"/>
                  <a:pt x="176" y="16"/>
                  <a:pt x="177" y="16"/>
                </a:cubicBezTo>
                <a:cubicBezTo>
                  <a:pt x="178" y="17"/>
                  <a:pt x="179" y="17"/>
                  <a:pt x="180" y="18"/>
                </a:cubicBezTo>
                <a:cubicBezTo>
                  <a:pt x="180" y="18"/>
                  <a:pt x="181" y="19"/>
                  <a:pt x="182" y="19"/>
                </a:cubicBezTo>
                <a:cubicBezTo>
                  <a:pt x="183" y="20"/>
                  <a:pt x="184" y="20"/>
                  <a:pt x="184" y="21"/>
                </a:cubicBezTo>
                <a:cubicBezTo>
                  <a:pt x="185" y="21"/>
                  <a:pt x="186" y="22"/>
                  <a:pt x="187" y="22"/>
                </a:cubicBezTo>
                <a:cubicBezTo>
                  <a:pt x="188" y="23"/>
                  <a:pt x="188" y="24"/>
                  <a:pt x="189" y="24"/>
                </a:cubicBezTo>
                <a:cubicBezTo>
                  <a:pt x="190" y="25"/>
                  <a:pt x="191" y="25"/>
                  <a:pt x="191" y="26"/>
                </a:cubicBezTo>
                <a:cubicBezTo>
                  <a:pt x="192" y="27"/>
                  <a:pt x="193" y="27"/>
                  <a:pt x="194" y="28"/>
                </a:cubicBezTo>
                <a:cubicBezTo>
                  <a:pt x="194" y="28"/>
                  <a:pt x="195" y="29"/>
                  <a:pt x="196" y="30"/>
                </a:cubicBezTo>
                <a:cubicBezTo>
                  <a:pt x="197" y="30"/>
                  <a:pt x="197" y="31"/>
                  <a:pt x="198" y="31"/>
                </a:cubicBezTo>
                <a:cubicBezTo>
                  <a:pt x="199" y="33"/>
                  <a:pt x="201" y="34"/>
                  <a:pt x="202" y="35"/>
                </a:cubicBezTo>
                <a:cubicBezTo>
                  <a:pt x="203" y="37"/>
                  <a:pt x="205" y="38"/>
                  <a:pt x="206" y="40"/>
                </a:cubicBezTo>
                <a:cubicBezTo>
                  <a:pt x="207" y="41"/>
                  <a:pt x="208" y="42"/>
                  <a:pt x="210" y="44"/>
                </a:cubicBezTo>
                <a:cubicBezTo>
                  <a:pt x="210" y="45"/>
                  <a:pt x="211" y="45"/>
                  <a:pt x="211" y="46"/>
                </a:cubicBezTo>
                <a:cubicBezTo>
                  <a:pt x="212" y="47"/>
                  <a:pt x="213" y="48"/>
                  <a:pt x="213" y="48"/>
                </a:cubicBezTo>
                <a:cubicBezTo>
                  <a:pt x="214" y="49"/>
                  <a:pt x="214" y="50"/>
                  <a:pt x="215" y="51"/>
                </a:cubicBezTo>
                <a:cubicBezTo>
                  <a:pt x="215" y="51"/>
                  <a:pt x="216" y="52"/>
                  <a:pt x="217" y="53"/>
                </a:cubicBezTo>
                <a:cubicBezTo>
                  <a:pt x="217" y="54"/>
                  <a:pt x="218" y="55"/>
                  <a:pt x="218" y="55"/>
                </a:cubicBezTo>
                <a:cubicBezTo>
                  <a:pt x="219" y="56"/>
                  <a:pt x="219" y="57"/>
                  <a:pt x="220" y="58"/>
                </a:cubicBezTo>
                <a:cubicBezTo>
                  <a:pt x="220" y="59"/>
                  <a:pt x="221" y="60"/>
                  <a:pt x="221" y="60"/>
                </a:cubicBezTo>
                <a:cubicBezTo>
                  <a:pt x="222" y="61"/>
                  <a:pt x="222" y="62"/>
                  <a:pt x="222" y="63"/>
                </a:cubicBezTo>
                <a:cubicBezTo>
                  <a:pt x="223" y="64"/>
                  <a:pt x="223" y="65"/>
                  <a:pt x="224" y="65"/>
                </a:cubicBezTo>
                <a:cubicBezTo>
                  <a:pt x="224" y="66"/>
                  <a:pt x="225" y="67"/>
                  <a:pt x="225" y="68"/>
                </a:cubicBezTo>
                <a:cubicBezTo>
                  <a:pt x="226" y="69"/>
                  <a:pt x="226" y="70"/>
                  <a:pt x="226" y="71"/>
                </a:cubicBezTo>
                <a:cubicBezTo>
                  <a:pt x="227" y="72"/>
                  <a:pt x="227" y="72"/>
                  <a:pt x="227" y="73"/>
                </a:cubicBezTo>
                <a:cubicBezTo>
                  <a:pt x="228" y="74"/>
                  <a:pt x="228" y="75"/>
                  <a:pt x="229" y="76"/>
                </a:cubicBezTo>
                <a:cubicBezTo>
                  <a:pt x="229" y="77"/>
                  <a:pt x="229" y="78"/>
                  <a:pt x="230" y="79"/>
                </a:cubicBezTo>
                <a:cubicBezTo>
                  <a:pt x="230" y="80"/>
                  <a:pt x="230" y="81"/>
                  <a:pt x="231" y="81"/>
                </a:cubicBezTo>
                <a:cubicBezTo>
                  <a:pt x="231" y="82"/>
                  <a:pt x="231" y="83"/>
                  <a:pt x="231" y="84"/>
                </a:cubicBezTo>
                <a:cubicBezTo>
                  <a:pt x="232" y="85"/>
                  <a:pt x="232" y="86"/>
                  <a:pt x="232" y="87"/>
                </a:cubicBezTo>
                <a:cubicBezTo>
                  <a:pt x="233" y="88"/>
                  <a:pt x="233" y="89"/>
                  <a:pt x="233" y="90"/>
                </a:cubicBezTo>
                <a:cubicBezTo>
                  <a:pt x="233" y="91"/>
                  <a:pt x="234" y="92"/>
                  <a:pt x="234" y="93"/>
                </a:cubicBezTo>
                <a:cubicBezTo>
                  <a:pt x="234" y="94"/>
                  <a:pt x="234" y="95"/>
                  <a:pt x="234" y="96"/>
                </a:cubicBezTo>
                <a:cubicBezTo>
                  <a:pt x="235" y="97"/>
                  <a:pt x="235" y="98"/>
                  <a:pt x="235" y="99"/>
                </a:cubicBezTo>
                <a:cubicBezTo>
                  <a:pt x="235" y="100"/>
                  <a:pt x="235" y="101"/>
                  <a:pt x="235" y="102"/>
                </a:cubicBezTo>
                <a:cubicBezTo>
                  <a:pt x="236" y="102"/>
                  <a:pt x="236" y="103"/>
                  <a:pt x="236" y="104"/>
                </a:cubicBezTo>
                <a:cubicBezTo>
                  <a:pt x="236" y="105"/>
                  <a:pt x="236" y="106"/>
                  <a:pt x="236" y="107"/>
                </a:cubicBezTo>
                <a:cubicBezTo>
                  <a:pt x="236" y="108"/>
                  <a:pt x="236" y="109"/>
                  <a:pt x="236" y="110"/>
                </a:cubicBezTo>
                <a:cubicBezTo>
                  <a:pt x="237" y="111"/>
                  <a:pt x="237" y="112"/>
                  <a:pt x="237" y="114"/>
                </a:cubicBezTo>
                <a:cubicBezTo>
                  <a:pt x="237" y="115"/>
                  <a:pt x="237" y="116"/>
                  <a:pt x="237" y="117"/>
                </a:cubicBezTo>
                <a:cubicBezTo>
                  <a:pt x="237" y="118"/>
                  <a:pt x="237" y="119"/>
                  <a:pt x="237" y="120"/>
                </a:cubicBezTo>
                <a:cubicBezTo>
                  <a:pt x="237" y="121"/>
                  <a:pt x="237" y="122"/>
                  <a:pt x="237" y="123"/>
                </a:cubicBezTo>
                <a:cubicBezTo>
                  <a:pt x="237" y="125"/>
                  <a:pt x="237" y="126"/>
                  <a:pt x="237" y="127"/>
                </a:cubicBezTo>
                <a:cubicBezTo>
                  <a:pt x="237" y="129"/>
                  <a:pt x="236" y="130"/>
                  <a:pt x="236" y="131"/>
                </a:cubicBezTo>
                <a:cubicBezTo>
                  <a:pt x="236" y="132"/>
                  <a:pt x="236" y="134"/>
                  <a:pt x="236" y="135"/>
                </a:cubicBezTo>
                <a:cubicBezTo>
                  <a:pt x="236" y="136"/>
                  <a:pt x="236" y="137"/>
                  <a:pt x="235" y="139"/>
                </a:cubicBezTo>
                <a:cubicBezTo>
                  <a:pt x="235" y="140"/>
                  <a:pt x="235" y="141"/>
                  <a:pt x="235" y="142"/>
                </a:cubicBezTo>
                <a:cubicBezTo>
                  <a:pt x="234" y="144"/>
                  <a:pt x="234" y="145"/>
                  <a:pt x="234" y="146"/>
                </a:cubicBezTo>
                <a:cubicBezTo>
                  <a:pt x="234" y="147"/>
                  <a:pt x="233" y="148"/>
                  <a:pt x="233" y="150"/>
                </a:cubicBezTo>
                <a:cubicBezTo>
                  <a:pt x="233" y="151"/>
                  <a:pt x="232" y="152"/>
                  <a:pt x="232" y="153"/>
                </a:cubicBezTo>
                <a:cubicBezTo>
                  <a:pt x="232" y="155"/>
                  <a:pt x="231" y="156"/>
                  <a:pt x="231" y="157"/>
                </a:cubicBezTo>
                <a:cubicBezTo>
                  <a:pt x="230" y="158"/>
                  <a:pt x="230" y="159"/>
                  <a:pt x="230" y="161"/>
                </a:cubicBezTo>
                <a:cubicBezTo>
                  <a:pt x="229" y="162"/>
                  <a:pt x="229" y="163"/>
                  <a:pt x="228" y="164"/>
                </a:cubicBezTo>
                <a:cubicBezTo>
                  <a:pt x="228" y="165"/>
                  <a:pt x="227" y="166"/>
                  <a:pt x="227" y="168"/>
                </a:cubicBezTo>
                <a:cubicBezTo>
                  <a:pt x="226" y="169"/>
                  <a:pt x="226" y="170"/>
                  <a:pt x="225" y="171"/>
                </a:cubicBezTo>
                <a:cubicBezTo>
                  <a:pt x="225" y="172"/>
                  <a:pt x="224" y="173"/>
                  <a:pt x="224" y="174"/>
                </a:cubicBezTo>
                <a:cubicBezTo>
                  <a:pt x="223" y="176"/>
                  <a:pt x="222" y="177"/>
                  <a:pt x="222" y="178"/>
                </a:cubicBezTo>
                <a:cubicBezTo>
                  <a:pt x="221" y="178"/>
                  <a:pt x="221" y="179"/>
                  <a:pt x="221" y="180"/>
                </a:cubicBezTo>
                <a:cubicBezTo>
                  <a:pt x="221" y="180"/>
                  <a:pt x="220" y="181"/>
                  <a:pt x="220" y="181"/>
                </a:cubicBezTo>
                <a:cubicBezTo>
                  <a:pt x="220" y="182"/>
                  <a:pt x="219" y="183"/>
                  <a:pt x="219" y="183"/>
                </a:cubicBezTo>
                <a:cubicBezTo>
                  <a:pt x="219" y="184"/>
                  <a:pt x="218" y="185"/>
                  <a:pt x="218" y="185"/>
                </a:cubicBezTo>
                <a:cubicBezTo>
                  <a:pt x="217" y="186"/>
                  <a:pt x="217" y="186"/>
                  <a:pt x="217" y="187"/>
                </a:cubicBezTo>
                <a:cubicBezTo>
                  <a:pt x="216" y="188"/>
                  <a:pt x="216" y="188"/>
                  <a:pt x="216" y="189"/>
                </a:cubicBezTo>
                <a:cubicBezTo>
                  <a:pt x="215" y="191"/>
                  <a:pt x="214" y="192"/>
                  <a:pt x="213" y="193"/>
                </a:cubicBezTo>
                <a:cubicBezTo>
                  <a:pt x="212" y="195"/>
                  <a:pt x="211" y="196"/>
                  <a:pt x="210" y="197"/>
                </a:cubicBezTo>
                <a:cubicBezTo>
                  <a:pt x="209" y="199"/>
                  <a:pt x="208" y="200"/>
                  <a:pt x="208" y="201"/>
                </a:cubicBezTo>
                <a:cubicBezTo>
                  <a:pt x="207" y="203"/>
                  <a:pt x="206" y="204"/>
                  <a:pt x="205" y="206"/>
                </a:cubicBezTo>
                <a:cubicBezTo>
                  <a:pt x="204" y="207"/>
                  <a:pt x="203" y="208"/>
                  <a:pt x="202" y="210"/>
                </a:cubicBezTo>
                <a:cubicBezTo>
                  <a:pt x="202" y="210"/>
                  <a:pt x="201" y="211"/>
                  <a:pt x="201" y="211"/>
                </a:cubicBezTo>
                <a:cubicBezTo>
                  <a:pt x="200" y="212"/>
                  <a:pt x="200" y="213"/>
                  <a:pt x="199" y="213"/>
                </a:cubicBezTo>
                <a:cubicBezTo>
                  <a:pt x="199" y="214"/>
                  <a:pt x="198" y="215"/>
                  <a:pt x="198" y="215"/>
                </a:cubicBezTo>
                <a:cubicBezTo>
                  <a:pt x="197" y="216"/>
                  <a:pt x="197" y="216"/>
                  <a:pt x="197" y="217"/>
                </a:cubicBezTo>
                <a:cubicBezTo>
                  <a:pt x="196" y="217"/>
                  <a:pt x="196" y="218"/>
                  <a:pt x="195" y="219"/>
                </a:cubicBezTo>
                <a:cubicBezTo>
                  <a:pt x="195" y="219"/>
                  <a:pt x="195" y="220"/>
                  <a:pt x="194" y="220"/>
                </a:cubicBezTo>
                <a:cubicBezTo>
                  <a:pt x="194" y="221"/>
                  <a:pt x="193" y="221"/>
                  <a:pt x="193" y="222"/>
                </a:cubicBezTo>
                <a:cubicBezTo>
                  <a:pt x="193" y="222"/>
                  <a:pt x="192" y="223"/>
                  <a:pt x="192" y="223"/>
                </a:cubicBezTo>
                <a:cubicBezTo>
                  <a:pt x="192" y="224"/>
                  <a:pt x="191" y="224"/>
                  <a:pt x="191" y="225"/>
                </a:cubicBezTo>
                <a:cubicBezTo>
                  <a:pt x="191" y="225"/>
                  <a:pt x="190" y="225"/>
                  <a:pt x="190" y="226"/>
                </a:cubicBezTo>
                <a:cubicBezTo>
                  <a:pt x="190" y="226"/>
                  <a:pt x="189" y="227"/>
                  <a:pt x="189" y="227"/>
                </a:cubicBezTo>
                <a:cubicBezTo>
                  <a:pt x="189" y="227"/>
                  <a:pt x="188" y="228"/>
                  <a:pt x="188" y="228"/>
                </a:cubicBezTo>
                <a:cubicBezTo>
                  <a:pt x="188" y="228"/>
                  <a:pt x="188" y="229"/>
                  <a:pt x="188" y="229"/>
                </a:cubicBezTo>
                <a:cubicBezTo>
                  <a:pt x="187" y="229"/>
                  <a:pt x="187" y="229"/>
                  <a:pt x="187" y="230"/>
                </a:cubicBezTo>
                <a:cubicBezTo>
                  <a:pt x="187" y="230"/>
                  <a:pt x="187" y="230"/>
                  <a:pt x="186" y="230"/>
                </a:cubicBezTo>
                <a:cubicBezTo>
                  <a:pt x="186" y="230"/>
                  <a:pt x="186" y="231"/>
                  <a:pt x="186" y="231"/>
                </a:cubicBezTo>
                <a:cubicBezTo>
                  <a:pt x="186" y="231"/>
                  <a:pt x="185" y="232"/>
                  <a:pt x="185" y="233"/>
                </a:cubicBezTo>
                <a:cubicBezTo>
                  <a:pt x="184" y="233"/>
                  <a:pt x="184" y="234"/>
                  <a:pt x="184" y="235"/>
                </a:cubicBezTo>
                <a:cubicBezTo>
                  <a:pt x="183" y="235"/>
                  <a:pt x="183" y="236"/>
                  <a:pt x="183" y="237"/>
                </a:cubicBezTo>
                <a:cubicBezTo>
                  <a:pt x="182" y="237"/>
                  <a:pt x="182" y="238"/>
                  <a:pt x="182" y="239"/>
                </a:cubicBezTo>
                <a:cubicBezTo>
                  <a:pt x="181" y="239"/>
                  <a:pt x="181" y="240"/>
                  <a:pt x="181" y="240"/>
                </a:cubicBezTo>
                <a:cubicBezTo>
                  <a:pt x="181" y="241"/>
                  <a:pt x="180" y="242"/>
                  <a:pt x="180" y="242"/>
                </a:cubicBezTo>
                <a:cubicBezTo>
                  <a:pt x="180" y="243"/>
                  <a:pt x="180" y="243"/>
                  <a:pt x="179" y="244"/>
                </a:cubicBezTo>
                <a:cubicBezTo>
                  <a:pt x="179" y="245"/>
                  <a:pt x="179" y="245"/>
                  <a:pt x="179" y="246"/>
                </a:cubicBezTo>
                <a:cubicBezTo>
                  <a:pt x="178" y="246"/>
                  <a:pt x="178" y="247"/>
                  <a:pt x="178" y="248"/>
                </a:cubicBezTo>
                <a:cubicBezTo>
                  <a:pt x="178" y="248"/>
                  <a:pt x="178" y="249"/>
                  <a:pt x="177" y="249"/>
                </a:cubicBezTo>
                <a:cubicBezTo>
                  <a:pt x="177" y="250"/>
                  <a:pt x="177" y="250"/>
                  <a:pt x="177" y="251"/>
                </a:cubicBezTo>
                <a:cubicBezTo>
                  <a:pt x="177" y="251"/>
                  <a:pt x="177" y="252"/>
                  <a:pt x="176" y="252"/>
                </a:cubicBezTo>
                <a:cubicBezTo>
                  <a:pt x="176" y="253"/>
                  <a:pt x="176" y="253"/>
                  <a:pt x="176" y="254"/>
                </a:cubicBezTo>
                <a:cubicBezTo>
                  <a:pt x="176" y="254"/>
                  <a:pt x="176" y="255"/>
                  <a:pt x="176" y="255"/>
                </a:cubicBezTo>
                <a:cubicBezTo>
                  <a:pt x="175" y="256"/>
                  <a:pt x="175" y="256"/>
                  <a:pt x="175" y="257"/>
                </a:cubicBezTo>
                <a:cubicBezTo>
                  <a:pt x="175" y="257"/>
                  <a:pt x="175" y="258"/>
                  <a:pt x="175" y="258"/>
                </a:cubicBezTo>
                <a:cubicBezTo>
                  <a:pt x="175" y="259"/>
                  <a:pt x="175" y="259"/>
                  <a:pt x="175" y="259"/>
                </a:cubicBezTo>
                <a:cubicBezTo>
                  <a:pt x="175" y="260"/>
                  <a:pt x="175" y="260"/>
                  <a:pt x="174" y="261"/>
                </a:cubicBezTo>
                <a:cubicBezTo>
                  <a:pt x="174" y="261"/>
                  <a:pt x="174" y="261"/>
                  <a:pt x="174" y="262"/>
                </a:cubicBezTo>
                <a:cubicBezTo>
                  <a:pt x="174" y="262"/>
                  <a:pt x="174" y="263"/>
                  <a:pt x="174" y="263"/>
                </a:cubicBezTo>
                <a:cubicBezTo>
                  <a:pt x="174" y="263"/>
                  <a:pt x="174" y="264"/>
                  <a:pt x="174" y="264"/>
                </a:cubicBezTo>
                <a:cubicBezTo>
                  <a:pt x="174" y="264"/>
                  <a:pt x="174" y="265"/>
                  <a:pt x="174" y="265"/>
                </a:cubicBezTo>
                <a:cubicBezTo>
                  <a:pt x="174" y="265"/>
                  <a:pt x="174" y="265"/>
                  <a:pt x="174" y="266"/>
                </a:cubicBezTo>
                <a:cubicBezTo>
                  <a:pt x="174" y="266"/>
                  <a:pt x="174" y="266"/>
                  <a:pt x="174" y="267"/>
                </a:cubicBezTo>
                <a:cubicBezTo>
                  <a:pt x="174" y="267"/>
                  <a:pt x="174" y="267"/>
                  <a:pt x="174" y="267"/>
                </a:cubicBezTo>
                <a:cubicBezTo>
                  <a:pt x="174" y="267"/>
                  <a:pt x="174" y="268"/>
                  <a:pt x="174" y="268"/>
                </a:cubicBezTo>
                <a:cubicBezTo>
                  <a:pt x="174" y="268"/>
                  <a:pt x="174" y="268"/>
                  <a:pt x="174" y="268"/>
                </a:cubicBezTo>
                <a:cubicBezTo>
                  <a:pt x="174" y="269"/>
                  <a:pt x="174" y="269"/>
                  <a:pt x="174" y="269"/>
                </a:cubicBezTo>
                <a:cubicBezTo>
                  <a:pt x="174" y="269"/>
                  <a:pt x="174" y="269"/>
                  <a:pt x="174" y="269"/>
                </a:cubicBezTo>
                <a:cubicBezTo>
                  <a:pt x="174" y="269"/>
                  <a:pt x="174" y="269"/>
                  <a:pt x="174" y="269"/>
                </a:cubicBezTo>
                <a:cubicBezTo>
                  <a:pt x="174" y="270"/>
                  <a:pt x="174" y="270"/>
                  <a:pt x="174" y="270"/>
                </a:cubicBezTo>
                <a:cubicBezTo>
                  <a:pt x="174" y="270"/>
                  <a:pt x="174" y="270"/>
                  <a:pt x="174" y="270"/>
                </a:cubicBezTo>
                <a:cubicBezTo>
                  <a:pt x="174" y="281"/>
                  <a:pt x="174" y="281"/>
                  <a:pt x="174" y="281"/>
                </a:cubicBezTo>
                <a:cubicBezTo>
                  <a:pt x="163" y="281"/>
                  <a:pt x="163" y="281"/>
                  <a:pt x="163" y="281"/>
                </a:cubicBezTo>
                <a:cubicBezTo>
                  <a:pt x="62" y="281"/>
                  <a:pt x="62" y="281"/>
                  <a:pt x="62" y="281"/>
                </a:cubicBezTo>
                <a:cubicBezTo>
                  <a:pt x="62" y="270"/>
                  <a:pt x="62" y="270"/>
                  <a:pt x="62" y="270"/>
                </a:cubicBezTo>
                <a:cubicBezTo>
                  <a:pt x="62" y="270"/>
                  <a:pt x="62" y="270"/>
                  <a:pt x="62" y="270"/>
                </a:cubicBezTo>
                <a:cubicBezTo>
                  <a:pt x="62" y="269"/>
                  <a:pt x="62" y="269"/>
                  <a:pt x="62" y="269"/>
                </a:cubicBezTo>
                <a:cubicBezTo>
                  <a:pt x="62" y="269"/>
                  <a:pt x="62" y="269"/>
                  <a:pt x="62" y="269"/>
                </a:cubicBezTo>
                <a:cubicBezTo>
                  <a:pt x="62" y="269"/>
                  <a:pt x="62" y="269"/>
                  <a:pt x="62" y="269"/>
                </a:cubicBezTo>
                <a:cubicBezTo>
                  <a:pt x="62" y="269"/>
                  <a:pt x="62" y="268"/>
                  <a:pt x="62" y="268"/>
                </a:cubicBezTo>
                <a:cubicBezTo>
                  <a:pt x="62" y="268"/>
                  <a:pt x="62" y="268"/>
                  <a:pt x="62" y="268"/>
                </a:cubicBezTo>
                <a:cubicBezTo>
                  <a:pt x="62" y="268"/>
                  <a:pt x="62" y="267"/>
                  <a:pt x="62" y="267"/>
                </a:cubicBezTo>
                <a:cubicBezTo>
                  <a:pt x="62" y="267"/>
                  <a:pt x="62" y="267"/>
                  <a:pt x="62" y="266"/>
                </a:cubicBezTo>
                <a:cubicBezTo>
                  <a:pt x="62" y="266"/>
                  <a:pt x="62" y="266"/>
                  <a:pt x="62" y="266"/>
                </a:cubicBezTo>
                <a:cubicBezTo>
                  <a:pt x="62" y="265"/>
                  <a:pt x="62" y="265"/>
                  <a:pt x="62" y="265"/>
                </a:cubicBezTo>
                <a:cubicBezTo>
                  <a:pt x="62" y="265"/>
                  <a:pt x="62" y="264"/>
                  <a:pt x="62" y="264"/>
                </a:cubicBezTo>
                <a:cubicBezTo>
                  <a:pt x="62" y="264"/>
                  <a:pt x="62" y="263"/>
                  <a:pt x="62" y="263"/>
                </a:cubicBezTo>
                <a:cubicBezTo>
                  <a:pt x="62" y="263"/>
                  <a:pt x="62" y="262"/>
                  <a:pt x="62" y="262"/>
                </a:cubicBezTo>
                <a:cubicBezTo>
                  <a:pt x="62" y="261"/>
                  <a:pt x="62" y="261"/>
                  <a:pt x="61" y="261"/>
                </a:cubicBezTo>
                <a:cubicBezTo>
                  <a:pt x="61" y="260"/>
                  <a:pt x="61" y="260"/>
                  <a:pt x="61" y="259"/>
                </a:cubicBezTo>
                <a:cubicBezTo>
                  <a:pt x="61" y="259"/>
                  <a:pt x="61" y="258"/>
                  <a:pt x="61" y="257"/>
                </a:cubicBezTo>
                <a:cubicBezTo>
                  <a:pt x="61" y="256"/>
                  <a:pt x="60" y="256"/>
                  <a:pt x="60" y="255"/>
                </a:cubicBezTo>
                <a:cubicBezTo>
                  <a:pt x="60" y="255"/>
                  <a:pt x="60" y="254"/>
                  <a:pt x="60" y="254"/>
                </a:cubicBezTo>
                <a:cubicBezTo>
                  <a:pt x="60" y="253"/>
                  <a:pt x="60" y="253"/>
                  <a:pt x="60" y="252"/>
                </a:cubicBezTo>
                <a:cubicBezTo>
                  <a:pt x="59" y="252"/>
                  <a:pt x="59" y="251"/>
                  <a:pt x="59" y="251"/>
                </a:cubicBezTo>
                <a:cubicBezTo>
                  <a:pt x="59" y="250"/>
                  <a:pt x="59" y="250"/>
                  <a:pt x="59" y="249"/>
                </a:cubicBezTo>
                <a:cubicBezTo>
                  <a:pt x="58" y="249"/>
                  <a:pt x="58" y="248"/>
                  <a:pt x="58" y="248"/>
                </a:cubicBezTo>
                <a:cubicBezTo>
                  <a:pt x="58" y="247"/>
                  <a:pt x="58" y="246"/>
                  <a:pt x="57" y="246"/>
                </a:cubicBezTo>
                <a:cubicBezTo>
                  <a:pt x="57" y="245"/>
                  <a:pt x="57" y="245"/>
                  <a:pt x="57" y="244"/>
                </a:cubicBezTo>
                <a:cubicBezTo>
                  <a:pt x="56" y="243"/>
                  <a:pt x="56" y="243"/>
                  <a:pt x="56" y="242"/>
                </a:cubicBezTo>
                <a:cubicBezTo>
                  <a:pt x="56" y="242"/>
                  <a:pt x="55" y="241"/>
                  <a:pt x="55" y="240"/>
                </a:cubicBezTo>
                <a:cubicBezTo>
                  <a:pt x="55" y="240"/>
                  <a:pt x="54" y="239"/>
                  <a:pt x="54" y="239"/>
                </a:cubicBezTo>
                <a:cubicBezTo>
                  <a:pt x="54" y="238"/>
                  <a:pt x="54" y="237"/>
                  <a:pt x="53" y="237"/>
                </a:cubicBezTo>
                <a:cubicBezTo>
                  <a:pt x="53" y="236"/>
                  <a:pt x="53" y="235"/>
                  <a:pt x="52" y="235"/>
                </a:cubicBezTo>
                <a:cubicBezTo>
                  <a:pt x="52" y="234"/>
                  <a:pt x="51" y="233"/>
                  <a:pt x="51" y="233"/>
                </a:cubicBezTo>
                <a:cubicBezTo>
                  <a:pt x="51" y="232"/>
                  <a:pt x="50" y="231"/>
                  <a:pt x="50" y="231"/>
                </a:cubicBezTo>
                <a:cubicBezTo>
                  <a:pt x="50" y="231"/>
                  <a:pt x="50" y="230"/>
                  <a:pt x="49" y="230"/>
                </a:cubicBezTo>
                <a:cubicBezTo>
                  <a:pt x="49" y="230"/>
                  <a:pt x="49" y="230"/>
                  <a:pt x="49" y="229"/>
                </a:cubicBezTo>
                <a:cubicBezTo>
                  <a:pt x="49" y="229"/>
                  <a:pt x="48" y="229"/>
                  <a:pt x="48" y="228"/>
                </a:cubicBezTo>
                <a:cubicBezTo>
                  <a:pt x="48" y="228"/>
                  <a:pt x="47" y="228"/>
                  <a:pt x="47" y="227"/>
                </a:cubicBezTo>
                <a:cubicBezTo>
                  <a:pt x="47" y="227"/>
                  <a:pt x="47" y="226"/>
                  <a:pt x="46" y="226"/>
                </a:cubicBezTo>
                <a:cubicBezTo>
                  <a:pt x="46" y="226"/>
                  <a:pt x="46" y="225"/>
                  <a:pt x="45" y="225"/>
                </a:cubicBezTo>
                <a:cubicBezTo>
                  <a:pt x="45" y="224"/>
                  <a:pt x="44" y="224"/>
                  <a:pt x="44" y="223"/>
                </a:cubicBezTo>
                <a:cubicBezTo>
                  <a:pt x="44" y="223"/>
                  <a:pt x="43" y="222"/>
                  <a:pt x="43" y="222"/>
                </a:cubicBezTo>
                <a:cubicBezTo>
                  <a:pt x="42" y="221"/>
                  <a:pt x="42" y="221"/>
                  <a:pt x="42" y="220"/>
                </a:cubicBezTo>
                <a:cubicBezTo>
                  <a:pt x="41" y="219"/>
                  <a:pt x="41" y="219"/>
                  <a:pt x="40" y="218"/>
                </a:cubicBezTo>
                <a:cubicBezTo>
                  <a:pt x="40" y="218"/>
                  <a:pt x="39" y="217"/>
                  <a:pt x="39" y="216"/>
                </a:cubicBezTo>
                <a:cubicBezTo>
                  <a:pt x="38" y="216"/>
                  <a:pt x="38" y="215"/>
                  <a:pt x="37" y="214"/>
                </a:cubicBezTo>
                <a:cubicBezTo>
                  <a:pt x="37" y="214"/>
                  <a:pt x="37" y="213"/>
                  <a:pt x="36" y="212"/>
                </a:cubicBezTo>
                <a:cubicBezTo>
                  <a:pt x="36" y="212"/>
                  <a:pt x="35" y="211"/>
                  <a:pt x="35" y="210"/>
                </a:cubicBezTo>
                <a:cubicBezTo>
                  <a:pt x="34" y="210"/>
                  <a:pt x="34" y="209"/>
                  <a:pt x="33" y="208"/>
                </a:cubicBezTo>
                <a:cubicBezTo>
                  <a:pt x="33" y="208"/>
                  <a:pt x="32" y="207"/>
                  <a:pt x="32" y="206"/>
                </a:cubicBezTo>
                <a:cubicBezTo>
                  <a:pt x="31" y="205"/>
                  <a:pt x="29" y="203"/>
                  <a:pt x="28" y="202"/>
                </a:cubicBezTo>
                <a:cubicBezTo>
                  <a:pt x="27" y="200"/>
                  <a:pt x="26" y="199"/>
                  <a:pt x="25" y="197"/>
                </a:cubicBezTo>
                <a:cubicBezTo>
                  <a:pt x="24" y="196"/>
                  <a:pt x="23" y="194"/>
                  <a:pt x="23" y="193"/>
                </a:cubicBezTo>
                <a:cubicBezTo>
                  <a:pt x="22" y="192"/>
                  <a:pt x="22" y="191"/>
                  <a:pt x="21" y="190"/>
                </a:cubicBezTo>
                <a:cubicBezTo>
                  <a:pt x="21" y="190"/>
                  <a:pt x="20" y="189"/>
                  <a:pt x="20" y="188"/>
                </a:cubicBezTo>
                <a:cubicBezTo>
                  <a:pt x="19" y="187"/>
                  <a:pt x="19" y="187"/>
                  <a:pt x="18" y="186"/>
                </a:cubicBezTo>
                <a:cubicBezTo>
                  <a:pt x="18" y="185"/>
                  <a:pt x="18" y="184"/>
                  <a:pt x="17" y="184"/>
                </a:cubicBezTo>
                <a:cubicBezTo>
                  <a:pt x="17" y="183"/>
                  <a:pt x="16" y="182"/>
                  <a:pt x="16" y="182"/>
                </a:cubicBezTo>
                <a:cubicBezTo>
                  <a:pt x="16" y="181"/>
                  <a:pt x="15" y="180"/>
                  <a:pt x="15" y="179"/>
                </a:cubicBezTo>
                <a:cubicBezTo>
                  <a:pt x="15" y="179"/>
                  <a:pt x="14" y="178"/>
                  <a:pt x="14" y="177"/>
                </a:cubicBezTo>
                <a:cubicBezTo>
                  <a:pt x="14" y="177"/>
                  <a:pt x="13" y="176"/>
                  <a:pt x="13" y="175"/>
                </a:cubicBezTo>
                <a:cubicBezTo>
                  <a:pt x="13" y="175"/>
                  <a:pt x="13" y="174"/>
                  <a:pt x="12" y="174"/>
                </a:cubicBezTo>
                <a:cubicBezTo>
                  <a:pt x="12" y="173"/>
                  <a:pt x="12" y="172"/>
                  <a:pt x="12" y="172"/>
                </a:cubicBezTo>
                <a:cubicBezTo>
                  <a:pt x="11" y="171"/>
                  <a:pt x="11" y="170"/>
                  <a:pt x="10" y="169"/>
                </a:cubicBezTo>
                <a:cubicBezTo>
                  <a:pt x="10" y="168"/>
                  <a:pt x="9" y="167"/>
                  <a:pt x="9" y="166"/>
                </a:cubicBezTo>
                <a:cubicBezTo>
                  <a:pt x="8" y="165"/>
                  <a:pt x="8" y="163"/>
                  <a:pt x="8" y="162"/>
                </a:cubicBezTo>
                <a:cubicBezTo>
                  <a:pt x="7" y="161"/>
                  <a:pt x="7" y="160"/>
                  <a:pt x="6" y="159"/>
                </a:cubicBezTo>
                <a:cubicBezTo>
                  <a:pt x="6" y="158"/>
                  <a:pt x="6" y="157"/>
                  <a:pt x="5" y="156"/>
                </a:cubicBezTo>
                <a:cubicBezTo>
                  <a:pt x="5" y="155"/>
                  <a:pt x="5" y="154"/>
                  <a:pt x="4" y="153"/>
                </a:cubicBezTo>
                <a:cubicBezTo>
                  <a:pt x="4" y="152"/>
                  <a:pt x="4" y="151"/>
                  <a:pt x="3" y="150"/>
                </a:cubicBezTo>
                <a:cubicBezTo>
                  <a:pt x="3" y="149"/>
                  <a:pt x="3" y="147"/>
                  <a:pt x="3" y="146"/>
                </a:cubicBezTo>
                <a:cubicBezTo>
                  <a:pt x="2" y="145"/>
                  <a:pt x="2" y="144"/>
                  <a:pt x="2" y="143"/>
                </a:cubicBezTo>
                <a:cubicBezTo>
                  <a:pt x="2" y="142"/>
                  <a:pt x="1" y="141"/>
                  <a:pt x="1" y="140"/>
                </a:cubicBezTo>
                <a:cubicBezTo>
                  <a:pt x="1" y="139"/>
                  <a:pt x="1" y="138"/>
                  <a:pt x="1" y="136"/>
                </a:cubicBezTo>
                <a:cubicBezTo>
                  <a:pt x="1" y="135"/>
                  <a:pt x="0" y="134"/>
                  <a:pt x="0" y="133"/>
                </a:cubicBezTo>
                <a:cubicBezTo>
                  <a:pt x="0" y="132"/>
                  <a:pt x="0" y="131"/>
                  <a:pt x="0" y="130"/>
                </a:cubicBezTo>
                <a:cubicBezTo>
                  <a:pt x="0" y="129"/>
                  <a:pt x="0" y="128"/>
                  <a:pt x="0" y="126"/>
                </a:cubicBezTo>
                <a:cubicBezTo>
                  <a:pt x="0" y="125"/>
                  <a:pt x="0" y="124"/>
                  <a:pt x="0" y="123"/>
                </a:cubicBezTo>
                <a:cubicBezTo>
                  <a:pt x="0" y="122"/>
                  <a:pt x="0" y="121"/>
                  <a:pt x="0" y="120"/>
                </a:cubicBezTo>
                <a:cubicBezTo>
                  <a:pt x="0" y="119"/>
                  <a:pt x="0" y="118"/>
                  <a:pt x="0" y="117"/>
                </a:cubicBezTo>
                <a:cubicBezTo>
                  <a:pt x="0" y="116"/>
                  <a:pt x="0" y="115"/>
                  <a:pt x="0" y="114"/>
                </a:cubicBezTo>
                <a:cubicBezTo>
                  <a:pt x="0" y="112"/>
                  <a:pt x="0" y="111"/>
                  <a:pt x="0" y="110"/>
                </a:cubicBezTo>
                <a:cubicBezTo>
                  <a:pt x="0" y="109"/>
                  <a:pt x="0" y="108"/>
                  <a:pt x="0" y="107"/>
                </a:cubicBezTo>
                <a:cubicBezTo>
                  <a:pt x="0" y="106"/>
                  <a:pt x="0" y="105"/>
                  <a:pt x="0" y="104"/>
                </a:cubicBezTo>
                <a:cubicBezTo>
                  <a:pt x="1" y="103"/>
                  <a:pt x="1" y="102"/>
                  <a:pt x="1" y="102"/>
                </a:cubicBezTo>
                <a:cubicBezTo>
                  <a:pt x="1" y="101"/>
                  <a:pt x="1" y="100"/>
                  <a:pt x="1" y="99"/>
                </a:cubicBezTo>
                <a:cubicBezTo>
                  <a:pt x="2" y="98"/>
                  <a:pt x="2" y="97"/>
                  <a:pt x="2" y="96"/>
                </a:cubicBezTo>
                <a:cubicBezTo>
                  <a:pt x="2" y="95"/>
                  <a:pt x="2" y="94"/>
                  <a:pt x="3" y="93"/>
                </a:cubicBezTo>
                <a:cubicBezTo>
                  <a:pt x="3" y="92"/>
                  <a:pt x="3" y="91"/>
                  <a:pt x="3" y="90"/>
                </a:cubicBezTo>
                <a:cubicBezTo>
                  <a:pt x="4" y="89"/>
                  <a:pt x="4" y="88"/>
                  <a:pt x="4" y="87"/>
                </a:cubicBezTo>
                <a:cubicBezTo>
                  <a:pt x="4" y="86"/>
                  <a:pt x="5" y="85"/>
                  <a:pt x="5" y="84"/>
                </a:cubicBezTo>
                <a:cubicBezTo>
                  <a:pt x="5" y="83"/>
                  <a:pt x="5" y="82"/>
                  <a:pt x="6" y="81"/>
                </a:cubicBezTo>
                <a:cubicBezTo>
                  <a:pt x="6" y="81"/>
                  <a:pt x="6" y="80"/>
                  <a:pt x="7" y="79"/>
                </a:cubicBezTo>
                <a:cubicBezTo>
                  <a:pt x="7" y="78"/>
                  <a:pt x="7" y="77"/>
                  <a:pt x="8" y="76"/>
                </a:cubicBezTo>
                <a:cubicBezTo>
                  <a:pt x="8" y="75"/>
                  <a:pt x="8" y="74"/>
                  <a:pt x="9" y="73"/>
                </a:cubicBezTo>
                <a:cubicBezTo>
                  <a:pt x="9" y="72"/>
                  <a:pt x="10" y="72"/>
                  <a:pt x="10" y="71"/>
                </a:cubicBezTo>
                <a:cubicBezTo>
                  <a:pt x="10" y="70"/>
                  <a:pt x="11" y="69"/>
                  <a:pt x="11" y="68"/>
                </a:cubicBezTo>
                <a:cubicBezTo>
                  <a:pt x="12" y="67"/>
                  <a:pt x="12" y="66"/>
                  <a:pt x="13" y="65"/>
                </a:cubicBezTo>
                <a:cubicBezTo>
                  <a:pt x="13" y="65"/>
                  <a:pt x="13" y="64"/>
                  <a:pt x="14" y="63"/>
                </a:cubicBezTo>
                <a:cubicBezTo>
                  <a:pt x="14" y="62"/>
                  <a:pt x="15" y="61"/>
                  <a:pt x="15" y="60"/>
                </a:cubicBezTo>
                <a:cubicBezTo>
                  <a:pt x="16" y="60"/>
                  <a:pt x="16" y="59"/>
                  <a:pt x="17" y="58"/>
                </a:cubicBezTo>
                <a:cubicBezTo>
                  <a:pt x="17" y="57"/>
                  <a:pt x="18" y="56"/>
                  <a:pt x="18" y="55"/>
                </a:cubicBezTo>
                <a:cubicBezTo>
                  <a:pt x="19" y="55"/>
                  <a:pt x="19" y="54"/>
                  <a:pt x="20" y="53"/>
                </a:cubicBezTo>
                <a:cubicBezTo>
                  <a:pt x="20" y="52"/>
                  <a:pt x="21" y="51"/>
                  <a:pt x="21" y="51"/>
                </a:cubicBezTo>
                <a:cubicBezTo>
                  <a:pt x="22" y="50"/>
                  <a:pt x="23" y="49"/>
                  <a:pt x="23" y="48"/>
                </a:cubicBezTo>
                <a:cubicBezTo>
                  <a:pt x="24" y="48"/>
                  <a:pt x="24" y="47"/>
                  <a:pt x="25" y="46"/>
                </a:cubicBezTo>
                <a:cubicBezTo>
                  <a:pt x="25" y="45"/>
                  <a:pt x="26" y="45"/>
                  <a:pt x="27" y="44"/>
                </a:cubicBezTo>
                <a:cubicBezTo>
                  <a:pt x="28" y="42"/>
                  <a:pt x="29" y="41"/>
                  <a:pt x="30" y="40"/>
                </a:cubicBezTo>
                <a:cubicBezTo>
                  <a:pt x="32" y="38"/>
                  <a:pt x="33" y="37"/>
                  <a:pt x="34" y="35"/>
                </a:cubicBezTo>
                <a:cubicBezTo>
                  <a:pt x="36" y="34"/>
                  <a:pt x="37" y="33"/>
                  <a:pt x="38" y="31"/>
                </a:cubicBezTo>
                <a:cubicBezTo>
                  <a:pt x="39" y="31"/>
                  <a:pt x="40" y="30"/>
                  <a:pt x="41" y="30"/>
                </a:cubicBezTo>
                <a:cubicBezTo>
                  <a:pt x="41" y="29"/>
                  <a:pt x="42" y="28"/>
                  <a:pt x="43" y="28"/>
                </a:cubicBezTo>
                <a:cubicBezTo>
                  <a:pt x="43" y="27"/>
                  <a:pt x="44" y="27"/>
                  <a:pt x="45" y="26"/>
                </a:cubicBezTo>
                <a:cubicBezTo>
                  <a:pt x="46" y="25"/>
                  <a:pt x="46" y="25"/>
                  <a:pt x="47" y="24"/>
                </a:cubicBezTo>
                <a:cubicBezTo>
                  <a:pt x="48" y="24"/>
                  <a:pt x="49" y="23"/>
                  <a:pt x="50" y="22"/>
                </a:cubicBezTo>
                <a:cubicBezTo>
                  <a:pt x="50" y="22"/>
                  <a:pt x="51" y="21"/>
                  <a:pt x="52" y="21"/>
                </a:cubicBezTo>
                <a:cubicBezTo>
                  <a:pt x="53" y="20"/>
                  <a:pt x="53" y="20"/>
                  <a:pt x="54" y="19"/>
                </a:cubicBezTo>
                <a:cubicBezTo>
                  <a:pt x="55" y="19"/>
                  <a:pt x="56" y="18"/>
                  <a:pt x="57" y="18"/>
                </a:cubicBezTo>
                <a:cubicBezTo>
                  <a:pt x="58" y="17"/>
                  <a:pt x="58" y="17"/>
                  <a:pt x="59" y="16"/>
                </a:cubicBezTo>
                <a:cubicBezTo>
                  <a:pt x="60" y="16"/>
                  <a:pt x="61" y="15"/>
                  <a:pt x="62" y="15"/>
                </a:cubicBezTo>
                <a:cubicBezTo>
                  <a:pt x="63" y="14"/>
                  <a:pt x="63" y="14"/>
                  <a:pt x="64" y="14"/>
                </a:cubicBezTo>
                <a:cubicBezTo>
                  <a:pt x="65" y="13"/>
                  <a:pt x="66" y="13"/>
                  <a:pt x="67" y="12"/>
                </a:cubicBezTo>
                <a:cubicBezTo>
                  <a:pt x="68" y="12"/>
                  <a:pt x="69" y="11"/>
                  <a:pt x="69" y="11"/>
                </a:cubicBezTo>
                <a:cubicBezTo>
                  <a:pt x="70" y="11"/>
                  <a:pt x="71" y="10"/>
                  <a:pt x="72" y="10"/>
                </a:cubicBezTo>
                <a:cubicBezTo>
                  <a:pt x="73" y="9"/>
                  <a:pt x="74" y="9"/>
                  <a:pt x="75" y="9"/>
                </a:cubicBezTo>
                <a:cubicBezTo>
                  <a:pt x="76" y="8"/>
                  <a:pt x="77" y="8"/>
                  <a:pt x="77" y="8"/>
                </a:cubicBezTo>
                <a:cubicBezTo>
                  <a:pt x="78" y="7"/>
                  <a:pt x="79" y="7"/>
                  <a:pt x="80" y="7"/>
                </a:cubicBezTo>
                <a:cubicBezTo>
                  <a:pt x="81" y="6"/>
                  <a:pt x="82" y="6"/>
                  <a:pt x="83" y="6"/>
                </a:cubicBezTo>
                <a:cubicBezTo>
                  <a:pt x="84" y="6"/>
                  <a:pt x="85" y="5"/>
                  <a:pt x="86" y="5"/>
                </a:cubicBezTo>
                <a:cubicBezTo>
                  <a:pt x="87" y="5"/>
                  <a:pt x="88" y="4"/>
                  <a:pt x="89" y="4"/>
                </a:cubicBezTo>
                <a:cubicBezTo>
                  <a:pt x="90" y="4"/>
                  <a:pt x="90" y="4"/>
                  <a:pt x="91" y="4"/>
                </a:cubicBezTo>
                <a:cubicBezTo>
                  <a:pt x="92" y="3"/>
                  <a:pt x="93" y="3"/>
                  <a:pt x="94" y="3"/>
                </a:cubicBezTo>
                <a:cubicBezTo>
                  <a:pt x="95" y="3"/>
                  <a:pt x="96" y="3"/>
                  <a:pt x="97" y="2"/>
                </a:cubicBezTo>
                <a:cubicBezTo>
                  <a:pt x="98" y="2"/>
                  <a:pt x="99" y="2"/>
                  <a:pt x="100" y="2"/>
                </a:cubicBezTo>
                <a:cubicBezTo>
                  <a:pt x="101" y="2"/>
                  <a:pt x="102" y="2"/>
                  <a:pt x="103" y="1"/>
                </a:cubicBezTo>
                <a:cubicBezTo>
                  <a:pt x="104" y="1"/>
                  <a:pt x="105" y="1"/>
                  <a:pt x="106" y="1"/>
                </a:cubicBezTo>
                <a:cubicBezTo>
                  <a:pt x="107" y="1"/>
                  <a:pt x="108" y="1"/>
                  <a:pt x="109" y="1"/>
                </a:cubicBezTo>
                <a:cubicBezTo>
                  <a:pt x="110" y="1"/>
                  <a:pt x="111" y="1"/>
                  <a:pt x="112" y="1"/>
                </a:cubicBezTo>
                <a:cubicBezTo>
                  <a:pt x="113" y="1"/>
                  <a:pt x="114" y="1"/>
                  <a:pt x="115" y="1"/>
                </a:cubicBezTo>
                <a:cubicBezTo>
                  <a:pt x="116" y="0"/>
                  <a:pt x="117" y="0"/>
                  <a:pt x="11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Teardrop 6"/>
          <p:cNvSpPr/>
          <p:nvPr/>
        </p:nvSpPr>
        <p:spPr>
          <a:xfrm rot="18900000">
            <a:off x="1416372" y="3258298"/>
            <a:ext cx="273795" cy="273795"/>
          </a:xfrm>
          <a:prstGeom prst="teardrop">
            <a:avLst/>
          </a:prstGeom>
          <a:noFill/>
          <a:ln w="3810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0050" y="2335010"/>
            <a:ext cx="807469" cy="73900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8673" y="2642917"/>
            <a:ext cx="705365" cy="739867"/>
          </a:xfrm>
          <a:prstGeom prst="rect">
            <a:avLst/>
          </a:prstGeom>
        </p:spPr>
      </p:pic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525994" y="312355"/>
            <a:ext cx="11064876" cy="1325563"/>
          </a:xfrm>
        </p:spPr>
        <p:txBody>
          <a:bodyPr/>
          <a:lstStyle/>
          <a:p>
            <a:r>
              <a:rPr lang="ru-RU" sz="4400" dirty="0">
                <a:solidFill>
                  <a:schemeClr val="bg1"/>
                </a:solidFill>
              </a:rPr>
              <a:t>Фундаментальные изменения происходят прямо сейчас</a:t>
            </a:r>
            <a:r>
              <a:rPr lang="en-US" sz="4400" dirty="0">
                <a:solidFill>
                  <a:schemeClr val="bg1"/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611427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466515" y="2782546"/>
            <a:ext cx="7251699" cy="1229013"/>
          </a:xfrm>
        </p:spPr>
        <p:txBody>
          <a:bodyPr/>
          <a:lstStyle/>
          <a:p>
            <a:pPr algn="ctr"/>
            <a:r>
              <a:rPr lang="ru-RU" sz="7200" dirty="0"/>
              <a:t>Спасибо!</a:t>
            </a:r>
            <a:endParaRPr lang="en-US" sz="7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2000" y="5687744"/>
            <a:ext cx="1740354" cy="370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426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TITLE"/>
          <p:cNvSpPr txBox="1"/>
          <p:nvPr/>
        </p:nvSpPr>
        <p:spPr>
          <a:xfrm>
            <a:off x="0" y="443226"/>
            <a:ext cx="1219200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Технологические предсказания:</a:t>
            </a:r>
            <a:r>
              <a:rPr kumimoji="0" lang="ru-RU" sz="44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2025</a:t>
            </a:r>
          </a:p>
        </p:txBody>
      </p:sp>
      <p:sp>
        <p:nvSpPr>
          <p:cNvPr id="1444" name="CENTER RECTANGLE DARK 2"/>
          <p:cNvSpPr/>
          <p:nvPr/>
        </p:nvSpPr>
        <p:spPr>
          <a:xfrm>
            <a:off x="1524" y="2086897"/>
            <a:ext cx="12188952" cy="2684207"/>
          </a:xfrm>
          <a:prstGeom prst="rect">
            <a:avLst/>
          </a:prstGeom>
          <a:solidFill>
            <a:srgbClr val="18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934" name="Group 933"/>
          <p:cNvGrpSpPr/>
          <p:nvPr/>
        </p:nvGrpSpPr>
        <p:grpSpPr>
          <a:xfrm>
            <a:off x="-4395166" y="2265775"/>
            <a:ext cx="112922825" cy="2272204"/>
            <a:chOff x="-40080158" y="-11313874"/>
            <a:chExt cx="112922825" cy="2272204"/>
          </a:xfrm>
        </p:grpSpPr>
        <p:grpSp>
          <p:nvGrpSpPr>
            <p:cNvPr id="4" name="Group 3"/>
            <p:cNvGrpSpPr/>
            <p:nvPr/>
          </p:nvGrpSpPr>
          <p:grpSpPr>
            <a:xfrm>
              <a:off x="-40080158" y="-11313874"/>
              <a:ext cx="55713270" cy="2254403"/>
              <a:chOff x="295411" y="2288543"/>
              <a:chExt cx="55713270" cy="2254403"/>
            </a:xfrm>
          </p:grpSpPr>
          <p:grpSp>
            <p:nvGrpSpPr>
              <p:cNvPr id="10" name="3D Printed"/>
              <p:cNvGrpSpPr/>
              <p:nvPr/>
            </p:nvGrpSpPr>
            <p:grpSpPr>
              <a:xfrm>
                <a:off x="51949288" y="2386977"/>
                <a:ext cx="4059393" cy="2075337"/>
                <a:chOff x="322313" y="2465504"/>
                <a:chExt cx="4059393" cy="2075337"/>
              </a:xfrm>
            </p:grpSpPr>
            <p:pic>
              <p:nvPicPr>
                <p:cNvPr id="5" name="Picture 4"/>
                <p:cNvPicPr>
                  <a:picLocks noChangeAspect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75532" y="2465504"/>
                  <a:ext cx="1402575" cy="1401212"/>
                </a:xfrm>
                <a:prstGeom prst="rect">
                  <a:avLst/>
                </a:prstGeom>
              </p:spPr>
            </p:pic>
            <p:sp>
              <p:nvSpPr>
                <p:cNvPr id="6" name="Freeform 25"/>
                <p:cNvSpPr>
                  <a:spLocks noEditPoints="1"/>
                </p:cNvSpPr>
                <p:nvPr/>
              </p:nvSpPr>
              <p:spPr bwMode="auto">
                <a:xfrm>
                  <a:off x="1252443" y="3024039"/>
                  <a:ext cx="648752" cy="523038"/>
                </a:xfrm>
                <a:custGeom>
                  <a:avLst/>
                  <a:gdLst>
                    <a:gd name="T0" fmla="*/ 1258 w 1269"/>
                    <a:gd name="T1" fmla="*/ 305 h 1023"/>
                    <a:gd name="T2" fmla="*/ 1144 w 1269"/>
                    <a:gd name="T3" fmla="*/ 235 h 1023"/>
                    <a:gd name="T4" fmla="*/ 1103 w 1269"/>
                    <a:gd name="T5" fmla="*/ 269 h 1023"/>
                    <a:gd name="T6" fmla="*/ 959 w 1269"/>
                    <a:gd name="T7" fmla="*/ 34 h 1023"/>
                    <a:gd name="T8" fmla="*/ 605 w 1269"/>
                    <a:gd name="T9" fmla="*/ 0 h 1023"/>
                    <a:gd name="T10" fmla="*/ 310 w 1269"/>
                    <a:gd name="T11" fmla="*/ 34 h 1023"/>
                    <a:gd name="T12" fmla="*/ 165 w 1269"/>
                    <a:gd name="T13" fmla="*/ 269 h 1023"/>
                    <a:gd name="T14" fmla="*/ 124 w 1269"/>
                    <a:gd name="T15" fmla="*/ 235 h 1023"/>
                    <a:gd name="T16" fmla="*/ 11 w 1269"/>
                    <a:gd name="T17" fmla="*/ 305 h 1023"/>
                    <a:gd name="T18" fmla="*/ 115 w 1269"/>
                    <a:gd name="T19" fmla="*/ 368 h 1023"/>
                    <a:gd name="T20" fmla="*/ 72 w 1269"/>
                    <a:gd name="T21" fmla="*/ 464 h 1023"/>
                    <a:gd name="T22" fmla="*/ 18 w 1269"/>
                    <a:gd name="T23" fmla="*/ 565 h 1023"/>
                    <a:gd name="T24" fmla="*/ 18 w 1269"/>
                    <a:gd name="T25" fmla="*/ 927 h 1023"/>
                    <a:gd name="T26" fmla="*/ 18 w 1269"/>
                    <a:gd name="T27" fmla="*/ 927 h 1023"/>
                    <a:gd name="T28" fmla="*/ 18 w 1269"/>
                    <a:gd name="T29" fmla="*/ 990 h 1023"/>
                    <a:gd name="T30" fmla="*/ 51 w 1269"/>
                    <a:gd name="T31" fmla="*/ 1023 h 1023"/>
                    <a:gd name="T32" fmla="*/ 191 w 1269"/>
                    <a:gd name="T33" fmla="*/ 1023 h 1023"/>
                    <a:gd name="T34" fmla="*/ 225 w 1269"/>
                    <a:gd name="T35" fmla="*/ 990 h 1023"/>
                    <a:gd name="T36" fmla="*/ 225 w 1269"/>
                    <a:gd name="T37" fmla="*/ 927 h 1023"/>
                    <a:gd name="T38" fmla="*/ 1044 w 1269"/>
                    <a:gd name="T39" fmla="*/ 927 h 1023"/>
                    <a:gd name="T40" fmla="*/ 1044 w 1269"/>
                    <a:gd name="T41" fmla="*/ 990 h 1023"/>
                    <a:gd name="T42" fmla="*/ 1077 w 1269"/>
                    <a:gd name="T43" fmla="*/ 1023 h 1023"/>
                    <a:gd name="T44" fmla="*/ 1217 w 1269"/>
                    <a:gd name="T45" fmla="*/ 1023 h 1023"/>
                    <a:gd name="T46" fmla="*/ 1251 w 1269"/>
                    <a:gd name="T47" fmla="*/ 990 h 1023"/>
                    <a:gd name="T48" fmla="*/ 1251 w 1269"/>
                    <a:gd name="T49" fmla="*/ 927 h 1023"/>
                    <a:gd name="T50" fmla="*/ 1251 w 1269"/>
                    <a:gd name="T51" fmla="*/ 816 h 1023"/>
                    <a:gd name="T52" fmla="*/ 1251 w 1269"/>
                    <a:gd name="T53" fmla="*/ 565 h 1023"/>
                    <a:gd name="T54" fmla="*/ 1197 w 1269"/>
                    <a:gd name="T55" fmla="*/ 464 h 1023"/>
                    <a:gd name="T56" fmla="*/ 1153 w 1269"/>
                    <a:gd name="T57" fmla="*/ 368 h 1023"/>
                    <a:gd name="T58" fmla="*/ 1258 w 1269"/>
                    <a:gd name="T59" fmla="*/ 305 h 1023"/>
                    <a:gd name="T60" fmla="*/ 179 w 1269"/>
                    <a:gd name="T61" fmla="*/ 675 h 1023"/>
                    <a:gd name="T62" fmla="*/ 106 w 1269"/>
                    <a:gd name="T63" fmla="*/ 602 h 1023"/>
                    <a:gd name="T64" fmla="*/ 179 w 1269"/>
                    <a:gd name="T65" fmla="*/ 528 h 1023"/>
                    <a:gd name="T66" fmla="*/ 252 w 1269"/>
                    <a:gd name="T67" fmla="*/ 602 h 1023"/>
                    <a:gd name="T68" fmla="*/ 179 w 1269"/>
                    <a:gd name="T69" fmla="*/ 675 h 1023"/>
                    <a:gd name="T70" fmla="*/ 605 w 1269"/>
                    <a:gd name="T71" fmla="*/ 329 h 1023"/>
                    <a:gd name="T72" fmla="*/ 269 w 1269"/>
                    <a:gd name="T73" fmla="*/ 329 h 1023"/>
                    <a:gd name="T74" fmla="*/ 368 w 1269"/>
                    <a:gd name="T75" fmla="*/ 115 h 1023"/>
                    <a:gd name="T76" fmla="*/ 605 w 1269"/>
                    <a:gd name="T77" fmla="*/ 92 h 1023"/>
                    <a:gd name="T78" fmla="*/ 901 w 1269"/>
                    <a:gd name="T79" fmla="*/ 115 h 1023"/>
                    <a:gd name="T80" fmla="*/ 999 w 1269"/>
                    <a:gd name="T81" fmla="*/ 329 h 1023"/>
                    <a:gd name="T82" fmla="*/ 605 w 1269"/>
                    <a:gd name="T83" fmla="*/ 329 h 1023"/>
                    <a:gd name="T84" fmla="*/ 1163 w 1269"/>
                    <a:gd name="T85" fmla="*/ 602 h 1023"/>
                    <a:gd name="T86" fmla="*/ 1090 w 1269"/>
                    <a:gd name="T87" fmla="*/ 675 h 1023"/>
                    <a:gd name="T88" fmla="*/ 1016 w 1269"/>
                    <a:gd name="T89" fmla="*/ 602 h 1023"/>
                    <a:gd name="T90" fmla="*/ 1090 w 1269"/>
                    <a:gd name="T91" fmla="*/ 528 h 1023"/>
                    <a:gd name="T92" fmla="*/ 1163 w 1269"/>
                    <a:gd name="T93" fmla="*/ 602 h 10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269" h="1023">
                      <a:moveTo>
                        <a:pt x="1258" y="305"/>
                      </a:moveTo>
                      <a:cubicBezTo>
                        <a:pt x="1269" y="272"/>
                        <a:pt x="1177" y="235"/>
                        <a:pt x="1144" y="235"/>
                      </a:cubicBezTo>
                      <a:cubicBezTo>
                        <a:pt x="1115" y="235"/>
                        <a:pt x="1105" y="260"/>
                        <a:pt x="1103" y="269"/>
                      </a:cubicBezTo>
                      <a:cubicBezTo>
                        <a:pt x="1066" y="189"/>
                        <a:pt x="994" y="39"/>
                        <a:pt x="959" y="34"/>
                      </a:cubicBezTo>
                      <a:cubicBezTo>
                        <a:pt x="959" y="34"/>
                        <a:pt x="864" y="0"/>
                        <a:pt x="605" y="0"/>
                      </a:cubicBezTo>
                      <a:cubicBezTo>
                        <a:pt x="346" y="0"/>
                        <a:pt x="310" y="34"/>
                        <a:pt x="310" y="34"/>
                      </a:cubicBezTo>
                      <a:cubicBezTo>
                        <a:pt x="275" y="39"/>
                        <a:pt x="202" y="189"/>
                        <a:pt x="165" y="269"/>
                      </a:cubicBezTo>
                      <a:cubicBezTo>
                        <a:pt x="164" y="260"/>
                        <a:pt x="153" y="235"/>
                        <a:pt x="124" y="235"/>
                      </a:cubicBezTo>
                      <a:cubicBezTo>
                        <a:pt x="91" y="235"/>
                        <a:pt x="0" y="272"/>
                        <a:pt x="11" y="305"/>
                      </a:cubicBezTo>
                      <a:cubicBezTo>
                        <a:pt x="22" y="339"/>
                        <a:pt x="93" y="362"/>
                        <a:pt x="115" y="368"/>
                      </a:cubicBezTo>
                      <a:cubicBezTo>
                        <a:pt x="115" y="368"/>
                        <a:pt x="111" y="435"/>
                        <a:pt x="72" y="464"/>
                      </a:cubicBezTo>
                      <a:cubicBezTo>
                        <a:pt x="33" y="492"/>
                        <a:pt x="18" y="525"/>
                        <a:pt x="18" y="565"/>
                      </a:cubicBezTo>
                      <a:cubicBezTo>
                        <a:pt x="18" y="606"/>
                        <a:pt x="18" y="927"/>
                        <a:pt x="18" y="927"/>
                      </a:cubicBezTo>
                      <a:cubicBezTo>
                        <a:pt x="18" y="927"/>
                        <a:pt x="18" y="927"/>
                        <a:pt x="18" y="927"/>
                      </a:cubicBezTo>
                      <a:cubicBezTo>
                        <a:pt x="18" y="990"/>
                        <a:pt x="18" y="990"/>
                        <a:pt x="18" y="990"/>
                      </a:cubicBezTo>
                      <a:cubicBezTo>
                        <a:pt x="18" y="1009"/>
                        <a:pt x="33" y="1023"/>
                        <a:pt x="51" y="1023"/>
                      </a:cubicBezTo>
                      <a:cubicBezTo>
                        <a:pt x="191" y="1023"/>
                        <a:pt x="191" y="1023"/>
                        <a:pt x="191" y="1023"/>
                      </a:cubicBezTo>
                      <a:cubicBezTo>
                        <a:pt x="210" y="1023"/>
                        <a:pt x="225" y="1009"/>
                        <a:pt x="225" y="990"/>
                      </a:cubicBezTo>
                      <a:cubicBezTo>
                        <a:pt x="225" y="927"/>
                        <a:pt x="225" y="927"/>
                        <a:pt x="225" y="927"/>
                      </a:cubicBezTo>
                      <a:cubicBezTo>
                        <a:pt x="1044" y="927"/>
                        <a:pt x="1044" y="927"/>
                        <a:pt x="1044" y="927"/>
                      </a:cubicBezTo>
                      <a:cubicBezTo>
                        <a:pt x="1044" y="990"/>
                        <a:pt x="1044" y="990"/>
                        <a:pt x="1044" y="990"/>
                      </a:cubicBezTo>
                      <a:cubicBezTo>
                        <a:pt x="1044" y="1009"/>
                        <a:pt x="1059" y="1023"/>
                        <a:pt x="1077" y="1023"/>
                      </a:cubicBezTo>
                      <a:cubicBezTo>
                        <a:pt x="1217" y="1023"/>
                        <a:pt x="1217" y="1023"/>
                        <a:pt x="1217" y="1023"/>
                      </a:cubicBezTo>
                      <a:cubicBezTo>
                        <a:pt x="1236" y="1023"/>
                        <a:pt x="1251" y="1009"/>
                        <a:pt x="1251" y="990"/>
                      </a:cubicBezTo>
                      <a:cubicBezTo>
                        <a:pt x="1251" y="927"/>
                        <a:pt x="1251" y="927"/>
                        <a:pt x="1251" y="927"/>
                      </a:cubicBezTo>
                      <a:cubicBezTo>
                        <a:pt x="1251" y="927"/>
                        <a:pt x="1251" y="878"/>
                        <a:pt x="1251" y="816"/>
                      </a:cubicBezTo>
                      <a:cubicBezTo>
                        <a:pt x="1251" y="719"/>
                        <a:pt x="1251" y="590"/>
                        <a:pt x="1251" y="565"/>
                      </a:cubicBezTo>
                      <a:cubicBezTo>
                        <a:pt x="1251" y="525"/>
                        <a:pt x="1235" y="492"/>
                        <a:pt x="1197" y="464"/>
                      </a:cubicBezTo>
                      <a:cubicBezTo>
                        <a:pt x="1158" y="435"/>
                        <a:pt x="1153" y="368"/>
                        <a:pt x="1153" y="368"/>
                      </a:cubicBezTo>
                      <a:cubicBezTo>
                        <a:pt x="1176" y="362"/>
                        <a:pt x="1246" y="339"/>
                        <a:pt x="1258" y="305"/>
                      </a:cubicBezTo>
                      <a:close/>
                      <a:moveTo>
                        <a:pt x="179" y="675"/>
                      </a:moveTo>
                      <a:cubicBezTo>
                        <a:pt x="138" y="675"/>
                        <a:pt x="106" y="642"/>
                        <a:pt x="106" y="602"/>
                      </a:cubicBezTo>
                      <a:cubicBezTo>
                        <a:pt x="106" y="561"/>
                        <a:pt x="138" y="528"/>
                        <a:pt x="179" y="528"/>
                      </a:cubicBezTo>
                      <a:cubicBezTo>
                        <a:pt x="220" y="528"/>
                        <a:pt x="252" y="561"/>
                        <a:pt x="252" y="602"/>
                      </a:cubicBezTo>
                      <a:cubicBezTo>
                        <a:pt x="252" y="642"/>
                        <a:pt x="220" y="675"/>
                        <a:pt x="179" y="675"/>
                      </a:cubicBezTo>
                      <a:close/>
                      <a:moveTo>
                        <a:pt x="605" y="329"/>
                      </a:moveTo>
                      <a:cubicBezTo>
                        <a:pt x="269" y="329"/>
                        <a:pt x="269" y="329"/>
                        <a:pt x="269" y="329"/>
                      </a:cubicBezTo>
                      <a:cubicBezTo>
                        <a:pt x="368" y="115"/>
                        <a:pt x="368" y="115"/>
                        <a:pt x="368" y="115"/>
                      </a:cubicBezTo>
                      <a:cubicBezTo>
                        <a:pt x="396" y="95"/>
                        <a:pt x="545" y="92"/>
                        <a:pt x="605" y="92"/>
                      </a:cubicBezTo>
                      <a:cubicBezTo>
                        <a:pt x="665" y="92"/>
                        <a:pt x="873" y="95"/>
                        <a:pt x="901" y="115"/>
                      </a:cubicBezTo>
                      <a:cubicBezTo>
                        <a:pt x="999" y="329"/>
                        <a:pt x="999" y="329"/>
                        <a:pt x="999" y="329"/>
                      </a:cubicBezTo>
                      <a:lnTo>
                        <a:pt x="605" y="329"/>
                      </a:lnTo>
                      <a:close/>
                      <a:moveTo>
                        <a:pt x="1163" y="602"/>
                      </a:moveTo>
                      <a:cubicBezTo>
                        <a:pt x="1163" y="642"/>
                        <a:pt x="1130" y="675"/>
                        <a:pt x="1090" y="675"/>
                      </a:cubicBezTo>
                      <a:cubicBezTo>
                        <a:pt x="1049" y="675"/>
                        <a:pt x="1016" y="642"/>
                        <a:pt x="1016" y="602"/>
                      </a:cubicBezTo>
                      <a:cubicBezTo>
                        <a:pt x="1016" y="561"/>
                        <a:pt x="1049" y="528"/>
                        <a:pt x="1090" y="528"/>
                      </a:cubicBezTo>
                      <a:cubicBezTo>
                        <a:pt x="1130" y="528"/>
                        <a:pt x="1163" y="561"/>
                        <a:pt x="1163" y="60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pic>
              <p:nvPicPr>
                <p:cNvPr id="7" name="Picture 6"/>
                <p:cNvPicPr>
                  <a:picLocks noChangeAspect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27882" y="2465504"/>
                  <a:ext cx="1402575" cy="1401212"/>
                </a:xfrm>
                <a:prstGeom prst="rect">
                  <a:avLst/>
                </a:prstGeom>
              </p:spPr>
            </p:pic>
            <p:sp>
              <p:nvSpPr>
                <p:cNvPr id="8" name="Freeform 29"/>
                <p:cNvSpPr>
                  <a:spLocks noEditPoints="1"/>
                </p:cNvSpPr>
                <p:nvPr/>
              </p:nvSpPr>
              <p:spPr bwMode="auto">
                <a:xfrm>
                  <a:off x="2882808" y="3115915"/>
                  <a:ext cx="549880" cy="370933"/>
                </a:xfrm>
                <a:custGeom>
                  <a:avLst/>
                  <a:gdLst>
                    <a:gd name="T0" fmla="*/ 1048 w 1147"/>
                    <a:gd name="T1" fmla="*/ 95 h 773"/>
                    <a:gd name="T2" fmla="*/ 829 w 1147"/>
                    <a:gd name="T3" fmla="*/ 65 h 773"/>
                    <a:gd name="T4" fmla="*/ 639 w 1147"/>
                    <a:gd name="T5" fmla="*/ 54 h 773"/>
                    <a:gd name="T6" fmla="*/ 198 w 1147"/>
                    <a:gd name="T7" fmla="*/ 36 h 773"/>
                    <a:gd name="T8" fmla="*/ 15 w 1147"/>
                    <a:gd name="T9" fmla="*/ 300 h 773"/>
                    <a:gd name="T10" fmla="*/ 111 w 1147"/>
                    <a:gd name="T11" fmla="*/ 751 h 773"/>
                    <a:gd name="T12" fmla="*/ 375 w 1147"/>
                    <a:gd name="T13" fmla="*/ 650 h 773"/>
                    <a:gd name="T14" fmla="*/ 595 w 1147"/>
                    <a:gd name="T15" fmla="*/ 523 h 773"/>
                    <a:gd name="T16" fmla="*/ 651 w 1147"/>
                    <a:gd name="T17" fmla="*/ 478 h 773"/>
                    <a:gd name="T18" fmla="*/ 668 w 1147"/>
                    <a:gd name="T19" fmla="*/ 236 h 773"/>
                    <a:gd name="T20" fmla="*/ 723 w 1147"/>
                    <a:gd name="T21" fmla="*/ 477 h 773"/>
                    <a:gd name="T22" fmla="*/ 723 w 1147"/>
                    <a:gd name="T23" fmla="*/ 477 h 773"/>
                    <a:gd name="T24" fmla="*/ 845 w 1147"/>
                    <a:gd name="T25" fmla="*/ 426 h 773"/>
                    <a:gd name="T26" fmla="*/ 1100 w 1147"/>
                    <a:gd name="T27" fmla="*/ 192 h 773"/>
                    <a:gd name="T28" fmla="*/ 1048 w 1147"/>
                    <a:gd name="T29" fmla="*/ 95 h 773"/>
                    <a:gd name="T30" fmla="*/ 63 w 1147"/>
                    <a:gd name="T31" fmla="*/ 303 h 773"/>
                    <a:gd name="T32" fmla="*/ 183 w 1147"/>
                    <a:gd name="T33" fmla="*/ 99 h 773"/>
                    <a:gd name="T34" fmla="*/ 339 w 1147"/>
                    <a:gd name="T35" fmla="*/ 67 h 773"/>
                    <a:gd name="T36" fmla="*/ 63 w 1147"/>
                    <a:gd name="T37" fmla="*/ 303 h 7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47" h="773">
                      <a:moveTo>
                        <a:pt x="1048" y="95"/>
                      </a:moveTo>
                      <a:cubicBezTo>
                        <a:pt x="996" y="68"/>
                        <a:pt x="854" y="64"/>
                        <a:pt x="829" y="65"/>
                      </a:cubicBezTo>
                      <a:cubicBezTo>
                        <a:pt x="805" y="67"/>
                        <a:pt x="667" y="60"/>
                        <a:pt x="639" y="54"/>
                      </a:cubicBezTo>
                      <a:cubicBezTo>
                        <a:pt x="612" y="48"/>
                        <a:pt x="395" y="0"/>
                        <a:pt x="198" y="36"/>
                      </a:cubicBezTo>
                      <a:cubicBezTo>
                        <a:pt x="1" y="73"/>
                        <a:pt x="15" y="300"/>
                        <a:pt x="15" y="300"/>
                      </a:cubicBezTo>
                      <a:cubicBezTo>
                        <a:pt x="0" y="408"/>
                        <a:pt x="70" y="729"/>
                        <a:pt x="111" y="751"/>
                      </a:cubicBezTo>
                      <a:cubicBezTo>
                        <a:pt x="152" y="773"/>
                        <a:pt x="332" y="678"/>
                        <a:pt x="375" y="650"/>
                      </a:cubicBezTo>
                      <a:cubicBezTo>
                        <a:pt x="419" y="622"/>
                        <a:pt x="565" y="542"/>
                        <a:pt x="595" y="523"/>
                      </a:cubicBezTo>
                      <a:cubicBezTo>
                        <a:pt x="615" y="511"/>
                        <a:pt x="638" y="490"/>
                        <a:pt x="651" y="478"/>
                      </a:cubicBezTo>
                      <a:cubicBezTo>
                        <a:pt x="668" y="425"/>
                        <a:pt x="687" y="335"/>
                        <a:pt x="668" y="236"/>
                      </a:cubicBezTo>
                      <a:cubicBezTo>
                        <a:pt x="668" y="236"/>
                        <a:pt x="709" y="401"/>
                        <a:pt x="723" y="477"/>
                      </a:cubicBezTo>
                      <a:cubicBezTo>
                        <a:pt x="723" y="477"/>
                        <a:pt x="723" y="477"/>
                        <a:pt x="723" y="477"/>
                      </a:cubicBezTo>
                      <a:cubicBezTo>
                        <a:pt x="754" y="473"/>
                        <a:pt x="808" y="455"/>
                        <a:pt x="845" y="426"/>
                      </a:cubicBezTo>
                      <a:cubicBezTo>
                        <a:pt x="882" y="396"/>
                        <a:pt x="1053" y="226"/>
                        <a:pt x="1100" y="192"/>
                      </a:cubicBezTo>
                      <a:cubicBezTo>
                        <a:pt x="1147" y="158"/>
                        <a:pt x="1099" y="122"/>
                        <a:pt x="1048" y="95"/>
                      </a:cubicBezTo>
                      <a:close/>
                      <a:moveTo>
                        <a:pt x="63" y="303"/>
                      </a:moveTo>
                      <a:cubicBezTo>
                        <a:pt x="63" y="303"/>
                        <a:pt x="70" y="134"/>
                        <a:pt x="183" y="99"/>
                      </a:cubicBezTo>
                      <a:cubicBezTo>
                        <a:pt x="297" y="63"/>
                        <a:pt x="339" y="67"/>
                        <a:pt x="339" y="67"/>
                      </a:cubicBezTo>
                      <a:cubicBezTo>
                        <a:pt x="339" y="67"/>
                        <a:pt x="109" y="127"/>
                        <a:pt x="63" y="30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9" name="Freeform: Shape 8"/>
                <p:cNvSpPr>
                  <a:spLocks noChangeAspect="1"/>
                </p:cNvSpPr>
                <p:nvPr/>
              </p:nvSpPr>
              <p:spPr>
                <a:xfrm>
                  <a:off x="322313" y="4040693"/>
                  <a:ext cx="4059393" cy="500148"/>
                </a:xfrm>
                <a:custGeom>
                  <a:avLst/>
                  <a:gdLst>
                    <a:gd name="connsiteX0" fmla="*/ 2372394 w 2552202"/>
                    <a:gd name="connsiteY0" fmla="*/ 332374 h 432191"/>
                    <a:gd name="connsiteX1" fmla="*/ 2344852 w 2552202"/>
                    <a:gd name="connsiteY1" fmla="*/ 336378 h 432191"/>
                    <a:gd name="connsiteX2" fmla="*/ 2322778 w 2552202"/>
                    <a:gd name="connsiteY2" fmla="*/ 343655 h 432191"/>
                    <a:gd name="connsiteX3" fmla="*/ 2316430 w 2552202"/>
                    <a:gd name="connsiteY3" fmla="*/ 360014 h 432191"/>
                    <a:gd name="connsiteX4" fmla="*/ 2322340 w 2552202"/>
                    <a:gd name="connsiteY4" fmla="*/ 374664 h 432191"/>
                    <a:gd name="connsiteX5" fmla="*/ 2338796 w 2552202"/>
                    <a:gd name="connsiteY5" fmla="*/ 380427 h 432191"/>
                    <a:gd name="connsiteX6" fmla="*/ 2362822 w 2552202"/>
                    <a:gd name="connsiteY6" fmla="*/ 369732 h 432191"/>
                    <a:gd name="connsiteX7" fmla="*/ 2372394 w 2552202"/>
                    <a:gd name="connsiteY7" fmla="*/ 342141 h 432191"/>
                    <a:gd name="connsiteX8" fmla="*/ 1943770 w 2552202"/>
                    <a:gd name="connsiteY8" fmla="*/ 332374 h 432191"/>
                    <a:gd name="connsiteX9" fmla="*/ 1916226 w 2552202"/>
                    <a:gd name="connsiteY9" fmla="*/ 336378 h 432191"/>
                    <a:gd name="connsiteX10" fmla="*/ 1894154 w 2552202"/>
                    <a:gd name="connsiteY10" fmla="*/ 343655 h 432191"/>
                    <a:gd name="connsiteX11" fmla="*/ 1887806 w 2552202"/>
                    <a:gd name="connsiteY11" fmla="*/ 360014 h 432191"/>
                    <a:gd name="connsiteX12" fmla="*/ 1893714 w 2552202"/>
                    <a:gd name="connsiteY12" fmla="*/ 374664 h 432191"/>
                    <a:gd name="connsiteX13" fmla="*/ 1910172 w 2552202"/>
                    <a:gd name="connsiteY13" fmla="*/ 380427 h 432191"/>
                    <a:gd name="connsiteX14" fmla="*/ 1934198 w 2552202"/>
                    <a:gd name="connsiteY14" fmla="*/ 369732 h 432191"/>
                    <a:gd name="connsiteX15" fmla="*/ 1943770 w 2552202"/>
                    <a:gd name="connsiteY15" fmla="*/ 342141 h 432191"/>
                    <a:gd name="connsiteX16" fmla="*/ 1217530 w 2552202"/>
                    <a:gd name="connsiteY16" fmla="*/ 291940 h 432191"/>
                    <a:gd name="connsiteX17" fmla="*/ 1191550 w 2552202"/>
                    <a:gd name="connsiteY17" fmla="*/ 304002 h 432191"/>
                    <a:gd name="connsiteX18" fmla="*/ 1181295 w 2552202"/>
                    <a:gd name="connsiteY18" fmla="*/ 337161 h 432191"/>
                    <a:gd name="connsiteX19" fmla="*/ 1190524 w 2552202"/>
                    <a:gd name="connsiteY19" fmla="*/ 369147 h 432191"/>
                    <a:gd name="connsiteX20" fmla="*/ 1214307 w 2552202"/>
                    <a:gd name="connsiteY20" fmla="*/ 380428 h 432191"/>
                    <a:gd name="connsiteX21" fmla="*/ 1240775 w 2552202"/>
                    <a:gd name="connsiteY21" fmla="*/ 369831 h 432191"/>
                    <a:gd name="connsiteX22" fmla="*/ 1250151 w 2552202"/>
                    <a:gd name="connsiteY22" fmla="*/ 343997 h 432191"/>
                    <a:gd name="connsiteX23" fmla="*/ 1250151 w 2552202"/>
                    <a:gd name="connsiteY23" fmla="*/ 325343 h 432191"/>
                    <a:gd name="connsiteX24" fmla="*/ 1241312 w 2552202"/>
                    <a:gd name="connsiteY24" fmla="*/ 301658 h 432191"/>
                    <a:gd name="connsiteX25" fmla="*/ 1217530 w 2552202"/>
                    <a:gd name="connsiteY25" fmla="*/ 291940 h 432191"/>
                    <a:gd name="connsiteX26" fmla="*/ 2205832 w 2552202"/>
                    <a:gd name="connsiteY26" fmla="*/ 291939 h 432191"/>
                    <a:gd name="connsiteX27" fmla="*/ 2178778 w 2552202"/>
                    <a:gd name="connsiteY27" fmla="*/ 303659 h 432191"/>
                    <a:gd name="connsiteX28" fmla="*/ 2169206 w 2552202"/>
                    <a:gd name="connsiteY28" fmla="*/ 331202 h 432191"/>
                    <a:gd name="connsiteX29" fmla="*/ 2169206 w 2552202"/>
                    <a:gd name="connsiteY29" fmla="*/ 343801 h 432191"/>
                    <a:gd name="connsiteX30" fmla="*/ 2178680 w 2552202"/>
                    <a:gd name="connsiteY30" fmla="*/ 369634 h 432191"/>
                    <a:gd name="connsiteX31" fmla="*/ 2203586 w 2552202"/>
                    <a:gd name="connsiteY31" fmla="*/ 380427 h 432191"/>
                    <a:gd name="connsiteX32" fmla="*/ 2228492 w 2552202"/>
                    <a:gd name="connsiteY32" fmla="*/ 367290 h 432191"/>
                    <a:gd name="connsiteX33" fmla="*/ 2238062 w 2552202"/>
                    <a:gd name="connsiteY33" fmla="*/ 332765 h 432191"/>
                    <a:gd name="connsiteX34" fmla="*/ 2229272 w 2552202"/>
                    <a:gd name="connsiteY34" fmla="*/ 302976 h 432191"/>
                    <a:gd name="connsiteX35" fmla="*/ 2205832 w 2552202"/>
                    <a:gd name="connsiteY35" fmla="*/ 291939 h 432191"/>
                    <a:gd name="connsiteX36" fmla="*/ 1568782 w 2552202"/>
                    <a:gd name="connsiteY36" fmla="*/ 291939 h 432191"/>
                    <a:gd name="connsiteX37" fmla="*/ 1545488 w 2552202"/>
                    <a:gd name="connsiteY37" fmla="*/ 301364 h 432191"/>
                    <a:gd name="connsiteX38" fmla="*/ 1534110 w 2552202"/>
                    <a:gd name="connsiteY38" fmla="*/ 328370 h 432191"/>
                    <a:gd name="connsiteX39" fmla="*/ 1598376 w 2552202"/>
                    <a:gd name="connsiteY39" fmla="*/ 328370 h 432191"/>
                    <a:gd name="connsiteX40" fmla="*/ 1590074 w 2552202"/>
                    <a:gd name="connsiteY40" fmla="*/ 301511 h 432191"/>
                    <a:gd name="connsiteX41" fmla="*/ 1568782 w 2552202"/>
                    <a:gd name="connsiteY41" fmla="*/ 291939 h 432191"/>
                    <a:gd name="connsiteX42" fmla="*/ 1111583 w 2552202"/>
                    <a:gd name="connsiteY42" fmla="*/ 291939 h 432191"/>
                    <a:gd name="connsiteX43" fmla="*/ 1088289 w 2552202"/>
                    <a:gd name="connsiteY43" fmla="*/ 301364 h 432191"/>
                    <a:gd name="connsiteX44" fmla="*/ 1076911 w 2552202"/>
                    <a:gd name="connsiteY44" fmla="*/ 328370 h 432191"/>
                    <a:gd name="connsiteX45" fmla="*/ 1141176 w 2552202"/>
                    <a:gd name="connsiteY45" fmla="*/ 328370 h 432191"/>
                    <a:gd name="connsiteX46" fmla="*/ 1132875 w 2552202"/>
                    <a:gd name="connsiteY46" fmla="*/ 301511 h 432191"/>
                    <a:gd name="connsiteX47" fmla="*/ 1111583 w 2552202"/>
                    <a:gd name="connsiteY47" fmla="*/ 291939 h 432191"/>
                    <a:gd name="connsiteX48" fmla="*/ 738982 w 2552202"/>
                    <a:gd name="connsiteY48" fmla="*/ 291939 h 432191"/>
                    <a:gd name="connsiteX49" fmla="*/ 711928 w 2552202"/>
                    <a:gd name="connsiteY49" fmla="*/ 303659 h 432191"/>
                    <a:gd name="connsiteX50" fmla="*/ 702357 w 2552202"/>
                    <a:gd name="connsiteY50" fmla="*/ 331202 h 432191"/>
                    <a:gd name="connsiteX51" fmla="*/ 702357 w 2552202"/>
                    <a:gd name="connsiteY51" fmla="*/ 343801 h 432191"/>
                    <a:gd name="connsiteX52" fmla="*/ 711831 w 2552202"/>
                    <a:gd name="connsiteY52" fmla="*/ 369634 h 432191"/>
                    <a:gd name="connsiteX53" fmla="*/ 736736 w 2552202"/>
                    <a:gd name="connsiteY53" fmla="*/ 380427 h 432191"/>
                    <a:gd name="connsiteX54" fmla="*/ 761641 w 2552202"/>
                    <a:gd name="connsiteY54" fmla="*/ 367290 h 432191"/>
                    <a:gd name="connsiteX55" fmla="*/ 771213 w 2552202"/>
                    <a:gd name="connsiteY55" fmla="*/ 332765 h 432191"/>
                    <a:gd name="connsiteX56" fmla="*/ 762423 w 2552202"/>
                    <a:gd name="connsiteY56" fmla="*/ 302976 h 432191"/>
                    <a:gd name="connsiteX57" fmla="*/ 738982 w 2552202"/>
                    <a:gd name="connsiteY57" fmla="*/ 291939 h 432191"/>
                    <a:gd name="connsiteX58" fmla="*/ 1422256 w 2552202"/>
                    <a:gd name="connsiteY58" fmla="*/ 286177 h 432191"/>
                    <a:gd name="connsiteX59" fmla="*/ 1432316 w 2552202"/>
                    <a:gd name="connsiteY59" fmla="*/ 286177 h 432191"/>
                    <a:gd name="connsiteX60" fmla="*/ 1462106 w 2552202"/>
                    <a:gd name="connsiteY60" fmla="*/ 365777 h 432191"/>
                    <a:gd name="connsiteX61" fmla="*/ 1465134 w 2552202"/>
                    <a:gd name="connsiteY61" fmla="*/ 376227 h 432191"/>
                    <a:gd name="connsiteX62" fmla="*/ 1465524 w 2552202"/>
                    <a:gd name="connsiteY62" fmla="*/ 376227 h 432191"/>
                    <a:gd name="connsiteX63" fmla="*/ 1468356 w 2552202"/>
                    <a:gd name="connsiteY63" fmla="*/ 366167 h 432191"/>
                    <a:gd name="connsiteX64" fmla="*/ 1499122 w 2552202"/>
                    <a:gd name="connsiteY64" fmla="*/ 286177 h 432191"/>
                    <a:gd name="connsiteX65" fmla="*/ 1508888 w 2552202"/>
                    <a:gd name="connsiteY65" fmla="*/ 286177 h 432191"/>
                    <a:gd name="connsiteX66" fmla="*/ 1469138 w 2552202"/>
                    <a:gd name="connsiteY66" fmla="*/ 386189 h 432191"/>
                    <a:gd name="connsiteX67" fmla="*/ 1460934 w 2552202"/>
                    <a:gd name="connsiteY67" fmla="*/ 386189 h 432191"/>
                    <a:gd name="connsiteX68" fmla="*/ 1398222 w 2552202"/>
                    <a:gd name="connsiteY68" fmla="*/ 286177 h 432191"/>
                    <a:gd name="connsiteX69" fmla="*/ 1407206 w 2552202"/>
                    <a:gd name="connsiteY69" fmla="*/ 286177 h 432191"/>
                    <a:gd name="connsiteX70" fmla="*/ 1407206 w 2552202"/>
                    <a:gd name="connsiteY70" fmla="*/ 386189 h 432191"/>
                    <a:gd name="connsiteX71" fmla="*/ 1398222 w 2552202"/>
                    <a:gd name="connsiteY71" fmla="*/ 386189 h 432191"/>
                    <a:gd name="connsiteX72" fmla="*/ 874346 w 2552202"/>
                    <a:gd name="connsiteY72" fmla="*/ 286177 h 432191"/>
                    <a:gd name="connsiteX73" fmla="*/ 883332 w 2552202"/>
                    <a:gd name="connsiteY73" fmla="*/ 286177 h 432191"/>
                    <a:gd name="connsiteX74" fmla="*/ 883332 w 2552202"/>
                    <a:gd name="connsiteY74" fmla="*/ 386189 h 432191"/>
                    <a:gd name="connsiteX75" fmla="*/ 874346 w 2552202"/>
                    <a:gd name="connsiteY75" fmla="*/ 386189 h 432191"/>
                    <a:gd name="connsiteX76" fmla="*/ 93296 w 2552202"/>
                    <a:gd name="connsiteY76" fmla="*/ 286177 h 432191"/>
                    <a:gd name="connsiteX77" fmla="*/ 102282 w 2552202"/>
                    <a:gd name="connsiteY77" fmla="*/ 286177 h 432191"/>
                    <a:gd name="connsiteX78" fmla="*/ 102282 w 2552202"/>
                    <a:gd name="connsiteY78" fmla="*/ 386189 h 432191"/>
                    <a:gd name="connsiteX79" fmla="*/ 93296 w 2552202"/>
                    <a:gd name="connsiteY79" fmla="*/ 386189 h 432191"/>
                    <a:gd name="connsiteX80" fmla="*/ 1854532 w 2552202"/>
                    <a:gd name="connsiteY80" fmla="*/ 284223 h 432191"/>
                    <a:gd name="connsiteX81" fmla="*/ 1864496 w 2552202"/>
                    <a:gd name="connsiteY81" fmla="*/ 285981 h 432191"/>
                    <a:gd name="connsiteX82" fmla="*/ 1864496 w 2552202"/>
                    <a:gd name="connsiteY82" fmla="*/ 295553 h 432191"/>
                    <a:gd name="connsiteX83" fmla="*/ 1853946 w 2552202"/>
                    <a:gd name="connsiteY83" fmla="*/ 292330 h 432191"/>
                    <a:gd name="connsiteX84" fmla="*/ 1834120 w 2552202"/>
                    <a:gd name="connsiteY84" fmla="*/ 304538 h 432191"/>
                    <a:gd name="connsiteX85" fmla="*/ 1826112 w 2552202"/>
                    <a:gd name="connsiteY85" fmla="*/ 339211 h 432191"/>
                    <a:gd name="connsiteX86" fmla="*/ 1826112 w 2552202"/>
                    <a:gd name="connsiteY86" fmla="*/ 386189 h 432191"/>
                    <a:gd name="connsiteX87" fmla="*/ 1817322 w 2552202"/>
                    <a:gd name="connsiteY87" fmla="*/ 386189 h 432191"/>
                    <a:gd name="connsiteX88" fmla="*/ 1817322 w 2552202"/>
                    <a:gd name="connsiteY88" fmla="*/ 286177 h 432191"/>
                    <a:gd name="connsiteX89" fmla="*/ 1826112 w 2552202"/>
                    <a:gd name="connsiteY89" fmla="*/ 286177 h 432191"/>
                    <a:gd name="connsiteX90" fmla="*/ 1826112 w 2552202"/>
                    <a:gd name="connsiteY90" fmla="*/ 308347 h 432191"/>
                    <a:gd name="connsiteX91" fmla="*/ 1826502 w 2552202"/>
                    <a:gd name="connsiteY91" fmla="*/ 308347 h 432191"/>
                    <a:gd name="connsiteX92" fmla="*/ 1837344 w 2552202"/>
                    <a:gd name="connsiteY92" fmla="*/ 290572 h 432191"/>
                    <a:gd name="connsiteX93" fmla="*/ 1854532 w 2552202"/>
                    <a:gd name="connsiteY93" fmla="*/ 284223 h 432191"/>
                    <a:gd name="connsiteX94" fmla="*/ 1673558 w 2552202"/>
                    <a:gd name="connsiteY94" fmla="*/ 284223 h 432191"/>
                    <a:gd name="connsiteX95" fmla="*/ 1683520 w 2552202"/>
                    <a:gd name="connsiteY95" fmla="*/ 285981 h 432191"/>
                    <a:gd name="connsiteX96" fmla="*/ 1683520 w 2552202"/>
                    <a:gd name="connsiteY96" fmla="*/ 295553 h 432191"/>
                    <a:gd name="connsiteX97" fmla="*/ 1672972 w 2552202"/>
                    <a:gd name="connsiteY97" fmla="*/ 292330 h 432191"/>
                    <a:gd name="connsiteX98" fmla="*/ 1653144 w 2552202"/>
                    <a:gd name="connsiteY98" fmla="*/ 304538 h 432191"/>
                    <a:gd name="connsiteX99" fmla="*/ 1645136 w 2552202"/>
                    <a:gd name="connsiteY99" fmla="*/ 339211 h 432191"/>
                    <a:gd name="connsiteX100" fmla="*/ 1645136 w 2552202"/>
                    <a:gd name="connsiteY100" fmla="*/ 386189 h 432191"/>
                    <a:gd name="connsiteX101" fmla="*/ 1636346 w 2552202"/>
                    <a:gd name="connsiteY101" fmla="*/ 386189 h 432191"/>
                    <a:gd name="connsiteX102" fmla="*/ 1636346 w 2552202"/>
                    <a:gd name="connsiteY102" fmla="*/ 286177 h 432191"/>
                    <a:gd name="connsiteX103" fmla="*/ 1645136 w 2552202"/>
                    <a:gd name="connsiteY103" fmla="*/ 286177 h 432191"/>
                    <a:gd name="connsiteX104" fmla="*/ 1645136 w 2552202"/>
                    <a:gd name="connsiteY104" fmla="*/ 308347 h 432191"/>
                    <a:gd name="connsiteX105" fmla="*/ 1645526 w 2552202"/>
                    <a:gd name="connsiteY105" fmla="*/ 308347 h 432191"/>
                    <a:gd name="connsiteX106" fmla="*/ 1656368 w 2552202"/>
                    <a:gd name="connsiteY106" fmla="*/ 290572 h 432191"/>
                    <a:gd name="connsiteX107" fmla="*/ 1673558 w 2552202"/>
                    <a:gd name="connsiteY107" fmla="*/ 284223 h 432191"/>
                    <a:gd name="connsiteX108" fmla="*/ 844883 w 2552202"/>
                    <a:gd name="connsiteY108" fmla="*/ 284223 h 432191"/>
                    <a:gd name="connsiteX109" fmla="*/ 854845 w 2552202"/>
                    <a:gd name="connsiteY109" fmla="*/ 285981 h 432191"/>
                    <a:gd name="connsiteX110" fmla="*/ 854845 w 2552202"/>
                    <a:gd name="connsiteY110" fmla="*/ 295553 h 432191"/>
                    <a:gd name="connsiteX111" fmla="*/ 844297 w 2552202"/>
                    <a:gd name="connsiteY111" fmla="*/ 292330 h 432191"/>
                    <a:gd name="connsiteX112" fmla="*/ 824470 w 2552202"/>
                    <a:gd name="connsiteY112" fmla="*/ 304538 h 432191"/>
                    <a:gd name="connsiteX113" fmla="*/ 816461 w 2552202"/>
                    <a:gd name="connsiteY113" fmla="*/ 339211 h 432191"/>
                    <a:gd name="connsiteX114" fmla="*/ 816461 w 2552202"/>
                    <a:gd name="connsiteY114" fmla="*/ 386189 h 432191"/>
                    <a:gd name="connsiteX115" fmla="*/ 807671 w 2552202"/>
                    <a:gd name="connsiteY115" fmla="*/ 386189 h 432191"/>
                    <a:gd name="connsiteX116" fmla="*/ 807671 w 2552202"/>
                    <a:gd name="connsiteY116" fmla="*/ 286177 h 432191"/>
                    <a:gd name="connsiteX117" fmla="*/ 816461 w 2552202"/>
                    <a:gd name="connsiteY117" fmla="*/ 286177 h 432191"/>
                    <a:gd name="connsiteX118" fmla="*/ 816461 w 2552202"/>
                    <a:gd name="connsiteY118" fmla="*/ 308347 h 432191"/>
                    <a:gd name="connsiteX119" fmla="*/ 816852 w 2552202"/>
                    <a:gd name="connsiteY119" fmla="*/ 308347 h 432191"/>
                    <a:gd name="connsiteX120" fmla="*/ 827693 w 2552202"/>
                    <a:gd name="connsiteY120" fmla="*/ 290572 h 432191"/>
                    <a:gd name="connsiteX121" fmla="*/ 844883 w 2552202"/>
                    <a:gd name="connsiteY121" fmla="*/ 284223 h 432191"/>
                    <a:gd name="connsiteX122" fmla="*/ 168608 w 2552202"/>
                    <a:gd name="connsiteY122" fmla="*/ 284223 h 432191"/>
                    <a:gd name="connsiteX123" fmla="*/ 178570 w 2552202"/>
                    <a:gd name="connsiteY123" fmla="*/ 285981 h 432191"/>
                    <a:gd name="connsiteX124" fmla="*/ 178570 w 2552202"/>
                    <a:gd name="connsiteY124" fmla="*/ 295553 h 432191"/>
                    <a:gd name="connsiteX125" fmla="*/ 168022 w 2552202"/>
                    <a:gd name="connsiteY125" fmla="*/ 292330 h 432191"/>
                    <a:gd name="connsiteX126" fmla="*/ 148195 w 2552202"/>
                    <a:gd name="connsiteY126" fmla="*/ 304538 h 432191"/>
                    <a:gd name="connsiteX127" fmla="*/ 140186 w 2552202"/>
                    <a:gd name="connsiteY127" fmla="*/ 339211 h 432191"/>
                    <a:gd name="connsiteX128" fmla="*/ 140186 w 2552202"/>
                    <a:gd name="connsiteY128" fmla="*/ 386189 h 432191"/>
                    <a:gd name="connsiteX129" fmla="*/ 131396 w 2552202"/>
                    <a:gd name="connsiteY129" fmla="*/ 386189 h 432191"/>
                    <a:gd name="connsiteX130" fmla="*/ 131396 w 2552202"/>
                    <a:gd name="connsiteY130" fmla="*/ 286177 h 432191"/>
                    <a:gd name="connsiteX131" fmla="*/ 140186 w 2552202"/>
                    <a:gd name="connsiteY131" fmla="*/ 286177 h 432191"/>
                    <a:gd name="connsiteX132" fmla="*/ 140186 w 2552202"/>
                    <a:gd name="connsiteY132" fmla="*/ 308347 h 432191"/>
                    <a:gd name="connsiteX133" fmla="*/ 140577 w 2552202"/>
                    <a:gd name="connsiteY133" fmla="*/ 308347 h 432191"/>
                    <a:gd name="connsiteX134" fmla="*/ 151418 w 2552202"/>
                    <a:gd name="connsiteY134" fmla="*/ 290572 h 432191"/>
                    <a:gd name="connsiteX135" fmla="*/ 168608 w 2552202"/>
                    <a:gd name="connsiteY135" fmla="*/ 284223 h 432191"/>
                    <a:gd name="connsiteX136" fmla="*/ 2451432 w 2552202"/>
                    <a:gd name="connsiteY136" fmla="*/ 283735 h 432191"/>
                    <a:gd name="connsiteX137" fmla="*/ 2476240 w 2552202"/>
                    <a:gd name="connsiteY137" fmla="*/ 294527 h 432191"/>
                    <a:gd name="connsiteX138" fmla="*/ 2484834 w 2552202"/>
                    <a:gd name="connsiteY138" fmla="*/ 325342 h 432191"/>
                    <a:gd name="connsiteX139" fmla="*/ 2484834 w 2552202"/>
                    <a:gd name="connsiteY139" fmla="*/ 386189 h 432191"/>
                    <a:gd name="connsiteX140" fmla="*/ 2475848 w 2552202"/>
                    <a:gd name="connsiteY140" fmla="*/ 386189 h 432191"/>
                    <a:gd name="connsiteX141" fmla="*/ 2475848 w 2552202"/>
                    <a:gd name="connsiteY141" fmla="*/ 327979 h 432191"/>
                    <a:gd name="connsiteX142" fmla="*/ 2449868 w 2552202"/>
                    <a:gd name="connsiteY142" fmla="*/ 291939 h 432191"/>
                    <a:gd name="connsiteX143" fmla="*/ 2426136 w 2552202"/>
                    <a:gd name="connsiteY143" fmla="*/ 302536 h 432191"/>
                    <a:gd name="connsiteX144" fmla="*/ 2416856 w 2552202"/>
                    <a:gd name="connsiteY144" fmla="*/ 328760 h 432191"/>
                    <a:gd name="connsiteX145" fmla="*/ 2416856 w 2552202"/>
                    <a:gd name="connsiteY145" fmla="*/ 386189 h 432191"/>
                    <a:gd name="connsiteX146" fmla="*/ 2407872 w 2552202"/>
                    <a:gd name="connsiteY146" fmla="*/ 386189 h 432191"/>
                    <a:gd name="connsiteX147" fmla="*/ 2407872 w 2552202"/>
                    <a:gd name="connsiteY147" fmla="*/ 286177 h 432191"/>
                    <a:gd name="connsiteX148" fmla="*/ 2416856 w 2552202"/>
                    <a:gd name="connsiteY148" fmla="*/ 286177 h 432191"/>
                    <a:gd name="connsiteX149" fmla="*/ 2416856 w 2552202"/>
                    <a:gd name="connsiteY149" fmla="*/ 304343 h 432191"/>
                    <a:gd name="connsiteX150" fmla="*/ 2417248 w 2552202"/>
                    <a:gd name="connsiteY150" fmla="*/ 304343 h 432191"/>
                    <a:gd name="connsiteX151" fmla="*/ 2451432 w 2552202"/>
                    <a:gd name="connsiteY151" fmla="*/ 283735 h 432191"/>
                    <a:gd name="connsiteX152" fmla="*/ 2349052 w 2552202"/>
                    <a:gd name="connsiteY152" fmla="*/ 283735 h 432191"/>
                    <a:gd name="connsiteX153" fmla="*/ 2372932 w 2552202"/>
                    <a:gd name="connsiteY153" fmla="*/ 293307 h 432191"/>
                    <a:gd name="connsiteX154" fmla="*/ 2381380 w 2552202"/>
                    <a:gd name="connsiteY154" fmla="*/ 321142 h 432191"/>
                    <a:gd name="connsiteX155" fmla="*/ 2381380 w 2552202"/>
                    <a:gd name="connsiteY155" fmla="*/ 386189 h 432191"/>
                    <a:gd name="connsiteX156" fmla="*/ 2372394 w 2552202"/>
                    <a:gd name="connsiteY156" fmla="*/ 386189 h 432191"/>
                    <a:gd name="connsiteX157" fmla="*/ 2372394 w 2552202"/>
                    <a:gd name="connsiteY157" fmla="*/ 366167 h 432191"/>
                    <a:gd name="connsiteX158" fmla="*/ 2372004 w 2552202"/>
                    <a:gd name="connsiteY158" fmla="*/ 366167 h 432191"/>
                    <a:gd name="connsiteX159" fmla="*/ 2358086 w 2552202"/>
                    <a:gd name="connsiteY159" fmla="*/ 382527 h 432191"/>
                    <a:gd name="connsiteX160" fmla="*/ 2337820 w 2552202"/>
                    <a:gd name="connsiteY160" fmla="*/ 388631 h 432191"/>
                    <a:gd name="connsiteX161" fmla="*/ 2315258 w 2552202"/>
                    <a:gd name="connsiteY161" fmla="*/ 380622 h 432191"/>
                    <a:gd name="connsiteX162" fmla="*/ 2306956 w 2552202"/>
                    <a:gd name="connsiteY162" fmla="*/ 360405 h 432191"/>
                    <a:gd name="connsiteX163" fmla="*/ 2341628 w 2552202"/>
                    <a:gd name="connsiteY163" fmla="*/ 328760 h 432191"/>
                    <a:gd name="connsiteX164" fmla="*/ 2372394 w 2552202"/>
                    <a:gd name="connsiteY164" fmla="*/ 324170 h 432191"/>
                    <a:gd name="connsiteX165" fmla="*/ 2348172 w 2552202"/>
                    <a:gd name="connsiteY165" fmla="*/ 291939 h 432191"/>
                    <a:gd name="connsiteX166" fmla="*/ 2316040 w 2552202"/>
                    <a:gd name="connsiteY166" fmla="*/ 305222 h 432191"/>
                    <a:gd name="connsiteX167" fmla="*/ 2316040 w 2552202"/>
                    <a:gd name="connsiteY167" fmla="*/ 294381 h 432191"/>
                    <a:gd name="connsiteX168" fmla="*/ 2331130 w 2552202"/>
                    <a:gd name="connsiteY168" fmla="*/ 286860 h 432191"/>
                    <a:gd name="connsiteX169" fmla="*/ 2349052 w 2552202"/>
                    <a:gd name="connsiteY169" fmla="*/ 283735 h 432191"/>
                    <a:gd name="connsiteX170" fmla="*/ 2207004 w 2552202"/>
                    <a:gd name="connsiteY170" fmla="*/ 283735 h 432191"/>
                    <a:gd name="connsiteX171" fmla="*/ 2236744 w 2552202"/>
                    <a:gd name="connsiteY171" fmla="*/ 296871 h 432191"/>
                    <a:gd name="connsiteX172" fmla="*/ 2247440 w 2552202"/>
                    <a:gd name="connsiteY172" fmla="*/ 332569 h 432191"/>
                    <a:gd name="connsiteX173" fmla="*/ 2235182 w 2552202"/>
                    <a:gd name="connsiteY173" fmla="*/ 373150 h 432191"/>
                    <a:gd name="connsiteX174" fmla="*/ 2202804 w 2552202"/>
                    <a:gd name="connsiteY174" fmla="*/ 388631 h 432191"/>
                    <a:gd name="connsiteX175" fmla="*/ 2169598 w 2552202"/>
                    <a:gd name="connsiteY175" fmla="*/ 368414 h 432191"/>
                    <a:gd name="connsiteX176" fmla="*/ 2169206 w 2552202"/>
                    <a:gd name="connsiteY176" fmla="*/ 368414 h 432191"/>
                    <a:gd name="connsiteX177" fmla="*/ 2169206 w 2552202"/>
                    <a:gd name="connsiteY177" fmla="*/ 432191 h 432191"/>
                    <a:gd name="connsiteX178" fmla="*/ 2160220 w 2552202"/>
                    <a:gd name="connsiteY178" fmla="*/ 432191 h 432191"/>
                    <a:gd name="connsiteX179" fmla="*/ 2160220 w 2552202"/>
                    <a:gd name="connsiteY179" fmla="*/ 286177 h 432191"/>
                    <a:gd name="connsiteX180" fmla="*/ 2169206 w 2552202"/>
                    <a:gd name="connsiteY180" fmla="*/ 286177 h 432191"/>
                    <a:gd name="connsiteX181" fmla="*/ 2169206 w 2552202"/>
                    <a:gd name="connsiteY181" fmla="*/ 306785 h 432191"/>
                    <a:gd name="connsiteX182" fmla="*/ 2169598 w 2552202"/>
                    <a:gd name="connsiteY182" fmla="*/ 306785 h 432191"/>
                    <a:gd name="connsiteX183" fmla="*/ 2184980 w 2552202"/>
                    <a:gd name="connsiteY183" fmla="*/ 289742 h 432191"/>
                    <a:gd name="connsiteX184" fmla="*/ 2207004 w 2552202"/>
                    <a:gd name="connsiteY184" fmla="*/ 283735 h 432191"/>
                    <a:gd name="connsiteX185" fmla="*/ 2111564 w 2552202"/>
                    <a:gd name="connsiteY185" fmla="*/ 283735 h 432191"/>
                    <a:gd name="connsiteX186" fmla="*/ 2133636 w 2552202"/>
                    <a:gd name="connsiteY186" fmla="*/ 289009 h 432191"/>
                    <a:gd name="connsiteX187" fmla="*/ 2133636 w 2552202"/>
                    <a:gd name="connsiteY187" fmla="*/ 299167 h 432191"/>
                    <a:gd name="connsiteX188" fmla="*/ 2110588 w 2552202"/>
                    <a:gd name="connsiteY188" fmla="*/ 291939 h 432191"/>
                    <a:gd name="connsiteX189" fmla="*/ 2094668 w 2552202"/>
                    <a:gd name="connsiteY189" fmla="*/ 297067 h 432191"/>
                    <a:gd name="connsiteX190" fmla="*/ 2088612 w 2552202"/>
                    <a:gd name="connsiteY190" fmla="*/ 310399 h 432191"/>
                    <a:gd name="connsiteX191" fmla="*/ 2092420 w 2552202"/>
                    <a:gd name="connsiteY191" fmla="*/ 321972 h 432191"/>
                    <a:gd name="connsiteX192" fmla="*/ 2109220 w 2552202"/>
                    <a:gd name="connsiteY192" fmla="*/ 332179 h 432191"/>
                    <a:gd name="connsiteX193" fmla="*/ 2130706 w 2552202"/>
                    <a:gd name="connsiteY193" fmla="*/ 345217 h 432191"/>
                    <a:gd name="connsiteX194" fmla="*/ 2136566 w 2552202"/>
                    <a:gd name="connsiteY194" fmla="*/ 361186 h 432191"/>
                    <a:gd name="connsiteX195" fmla="*/ 2127630 w 2552202"/>
                    <a:gd name="connsiteY195" fmla="*/ 380866 h 432191"/>
                    <a:gd name="connsiteX196" fmla="*/ 2102968 w 2552202"/>
                    <a:gd name="connsiteY196" fmla="*/ 388631 h 432191"/>
                    <a:gd name="connsiteX197" fmla="*/ 2078844 w 2552202"/>
                    <a:gd name="connsiteY197" fmla="*/ 381794 h 432191"/>
                    <a:gd name="connsiteX198" fmla="*/ 2078844 w 2552202"/>
                    <a:gd name="connsiteY198" fmla="*/ 370953 h 432191"/>
                    <a:gd name="connsiteX199" fmla="*/ 2091150 w 2552202"/>
                    <a:gd name="connsiteY199" fmla="*/ 377887 h 432191"/>
                    <a:gd name="connsiteX200" fmla="*/ 2103652 w 2552202"/>
                    <a:gd name="connsiteY200" fmla="*/ 380427 h 432191"/>
                    <a:gd name="connsiteX201" fmla="*/ 2127190 w 2552202"/>
                    <a:gd name="connsiteY201" fmla="*/ 361186 h 432191"/>
                    <a:gd name="connsiteX202" fmla="*/ 2122014 w 2552202"/>
                    <a:gd name="connsiteY202" fmla="*/ 349857 h 432191"/>
                    <a:gd name="connsiteX203" fmla="*/ 2105216 w 2552202"/>
                    <a:gd name="connsiteY203" fmla="*/ 340187 h 432191"/>
                    <a:gd name="connsiteX204" fmla="*/ 2085046 w 2552202"/>
                    <a:gd name="connsiteY204" fmla="*/ 327246 h 432191"/>
                    <a:gd name="connsiteX205" fmla="*/ 2079236 w 2552202"/>
                    <a:gd name="connsiteY205" fmla="*/ 310985 h 432191"/>
                    <a:gd name="connsiteX206" fmla="*/ 2088562 w 2552202"/>
                    <a:gd name="connsiteY206" fmla="*/ 291255 h 432191"/>
                    <a:gd name="connsiteX207" fmla="*/ 2111564 w 2552202"/>
                    <a:gd name="connsiteY207" fmla="*/ 283735 h 432191"/>
                    <a:gd name="connsiteX208" fmla="*/ 2022806 w 2552202"/>
                    <a:gd name="connsiteY208" fmla="*/ 283735 h 432191"/>
                    <a:gd name="connsiteX209" fmla="*/ 2047614 w 2552202"/>
                    <a:gd name="connsiteY209" fmla="*/ 294527 h 432191"/>
                    <a:gd name="connsiteX210" fmla="*/ 2056208 w 2552202"/>
                    <a:gd name="connsiteY210" fmla="*/ 325342 h 432191"/>
                    <a:gd name="connsiteX211" fmla="*/ 2056208 w 2552202"/>
                    <a:gd name="connsiteY211" fmla="*/ 386189 h 432191"/>
                    <a:gd name="connsiteX212" fmla="*/ 2047224 w 2552202"/>
                    <a:gd name="connsiteY212" fmla="*/ 386189 h 432191"/>
                    <a:gd name="connsiteX213" fmla="*/ 2047224 w 2552202"/>
                    <a:gd name="connsiteY213" fmla="*/ 327979 h 432191"/>
                    <a:gd name="connsiteX214" fmla="*/ 2021244 w 2552202"/>
                    <a:gd name="connsiteY214" fmla="*/ 291939 h 432191"/>
                    <a:gd name="connsiteX215" fmla="*/ 1997510 w 2552202"/>
                    <a:gd name="connsiteY215" fmla="*/ 302536 h 432191"/>
                    <a:gd name="connsiteX216" fmla="*/ 1988232 w 2552202"/>
                    <a:gd name="connsiteY216" fmla="*/ 328760 h 432191"/>
                    <a:gd name="connsiteX217" fmla="*/ 1988232 w 2552202"/>
                    <a:gd name="connsiteY217" fmla="*/ 386189 h 432191"/>
                    <a:gd name="connsiteX218" fmla="*/ 1979246 w 2552202"/>
                    <a:gd name="connsiteY218" fmla="*/ 386189 h 432191"/>
                    <a:gd name="connsiteX219" fmla="*/ 1979246 w 2552202"/>
                    <a:gd name="connsiteY219" fmla="*/ 286177 h 432191"/>
                    <a:gd name="connsiteX220" fmla="*/ 1988232 w 2552202"/>
                    <a:gd name="connsiteY220" fmla="*/ 286177 h 432191"/>
                    <a:gd name="connsiteX221" fmla="*/ 1988232 w 2552202"/>
                    <a:gd name="connsiteY221" fmla="*/ 304343 h 432191"/>
                    <a:gd name="connsiteX222" fmla="*/ 1988622 w 2552202"/>
                    <a:gd name="connsiteY222" fmla="*/ 304343 h 432191"/>
                    <a:gd name="connsiteX223" fmla="*/ 2022806 w 2552202"/>
                    <a:gd name="connsiteY223" fmla="*/ 283735 h 432191"/>
                    <a:gd name="connsiteX224" fmla="*/ 1920426 w 2552202"/>
                    <a:gd name="connsiteY224" fmla="*/ 283735 h 432191"/>
                    <a:gd name="connsiteX225" fmla="*/ 1944306 w 2552202"/>
                    <a:gd name="connsiteY225" fmla="*/ 293307 h 432191"/>
                    <a:gd name="connsiteX226" fmla="*/ 1952754 w 2552202"/>
                    <a:gd name="connsiteY226" fmla="*/ 321142 h 432191"/>
                    <a:gd name="connsiteX227" fmla="*/ 1952754 w 2552202"/>
                    <a:gd name="connsiteY227" fmla="*/ 386189 h 432191"/>
                    <a:gd name="connsiteX228" fmla="*/ 1943770 w 2552202"/>
                    <a:gd name="connsiteY228" fmla="*/ 386189 h 432191"/>
                    <a:gd name="connsiteX229" fmla="*/ 1943770 w 2552202"/>
                    <a:gd name="connsiteY229" fmla="*/ 366167 h 432191"/>
                    <a:gd name="connsiteX230" fmla="*/ 1943378 w 2552202"/>
                    <a:gd name="connsiteY230" fmla="*/ 366167 h 432191"/>
                    <a:gd name="connsiteX231" fmla="*/ 1929460 w 2552202"/>
                    <a:gd name="connsiteY231" fmla="*/ 382527 h 432191"/>
                    <a:gd name="connsiteX232" fmla="*/ 1909194 w 2552202"/>
                    <a:gd name="connsiteY232" fmla="*/ 388631 h 432191"/>
                    <a:gd name="connsiteX233" fmla="*/ 1886634 w 2552202"/>
                    <a:gd name="connsiteY233" fmla="*/ 380622 h 432191"/>
                    <a:gd name="connsiteX234" fmla="*/ 1878332 w 2552202"/>
                    <a:gd name="connsiteY234" fmla="*/ 360405 h 432191"/>
                    <a:gd name="connsiteX235" fmla="*/ 1913004 w 2552202"/>
                    <a:gd name="connsiteY235" fmla="*/ 328760 h 432191"/>
                    <a:gd name="connsiteX236" fmla="*/ 1943770 w 2552202"/>
                    <a:gd name="connsiteY236" fmla="*/ 324170 h 432191"/>
                    <a:gd name="connsiteX237" fmla="*/ 1919548 w 2552202"/>
                    <a:gd name="connsiteY237" fmla="*/ 291939 h 432191"/>
                    <a:gd name="connsiteX238" fmla="*/ 1887414 w 2552202"/>
                    <a:gd name="connsiteY238" fmla="*/ 305222 h 432191"/>
                    <a:gd name="connsiteX239" fmla="*/ 1887414 w 2552202"/>
                    <a:gd name="connsiteY239" fmla="*/ 294381 h 432191"/>
                    <a:gd name="connsiteX240" fmla="*/ 1902504 w 2552202"/>
                    <a:gd name="connsiteY240" fmla="*/ 286860 h 432191"/>
                    <a:gd name="connsiteX241" fmla="*/ 1920426 w 2552202"/>
                    <a:gd name="connsiteY241" fmla="*/ 283735 h 432191"/>
                    <a:gd name="connsiteX242" fmla="*/ 1569174 w 2552202"/>
                    <a:gd name="connsiteY242" fmla="*/ 283735 h 432191"/>
                    <a:gd name="connsiteX243" fmla="*/ 1597790 w 2552202"/>
                    <a:gd name="connsiteY243" fmla="*/ 296823 h 432191"/>
                    <a:gd name="connsiteX244" fmla="*/ 1607752 w 2552202"/>
                    <a:gd name="connsiteY244" fmla="*/ 332569 h 432191"/>
                    <a:gd name="connsiteX245" fmla="*/ 1607752 w 2552202"/>
                    <a:gd name="connsiteY245" fmla="*/ 336574 h 432191"/>
                    <a:gd name="connsiteX246" fmla="*/ 1533720 w 2552202"/>
                    <a:gd name="connsiteY246" fmla="*/ 336574 h 432191"/>
                    <a:gd name="connsiteX247" fmla="*/ 1543242 w 2552202"/>
                    <a:gd name="connsiteY247" fmla="*/ 368804 h 432191"/>
                    <a:gd name="connsiteX248" fmla="*/ 1569368 w 2552202"/>
                    <a:gd name="connsiteY248" fmla="*/ 380427 h 432191"/>
                    <a:gd name="connsiteX249" fmla="*/ 1602186 w 2552202"/>
                    <a:gd name="connsiteY249" fmla="*/ 368023 h 432191"/>
                    <a:gd name="connsiteX250" fmla="*/ 1602186 w 2552202"/>
                    <a:gd name="connsiteY250" fmla="*/ 377594 h 432191"/>
                    <a:gd name="connsiteX251" fmla="*/ 1567514 w 2552202"/>
                    <a:gd name="connsiteY251" fmla="*/ 388631 h 432191"/>
                    <a:gd name="connsiteX252" fmla="*/ 1536260 w 2552202"/>
                    <a:gd name="connsiteY252" fmla="*/ 374762 h 432191"/>
                    <a:gd name="connsiteX253" fmla="*/ 1524344 w 2552202"/>
                    <a:gd name="connsiteY253" fmla="*/ 335597 h 432191"/>
                    <a:gd name="connsiteX254" fmla="*/ 1536796 w 2552202"/>
                    <a:gd name="connsiteY254" fmla="*/ 298727 h 432191"/>
                    <a:gd name="connsiteX255" fmla="*/ 1569174 w 2552202"/>
                    <a:gd name="connsiteY255" fmla="*/ 283735 h 432191"/>
                    <a:gd name="connsiteX256" fmla="*/ 1111973 w 2552202"/>
                    <a:gd name="connsiteY256" fmla="*/ 283735 h 432191"/>
                    <a:gd name="connsiteX257" fmla="*/ 1140590 w 2552202"/>
                    <a:gd name="connsiteY257" fmla="*/ 296823 h 432191"/>
                    <a:gd name="connsiteX258" fmla="*/ 1150552 w 2552202"/>
                    <a:gd name="connsiteY258" fmla="*/ 332569 h 432191"/>
                    <a:gd name="connsiteX259" fmla="*/ 1150552 w 2552202"/>
                    <a:gd name="connsiteY259" fmla="*/ 336574 h 432191"/>
                    <a:gd name="connsiteX260" fmla="*/ 1076520 w 2552202"/>
                    <a:gd name="connsiteY260" fmla="*/ 336574 h 432191"/>
                    <a:gd name="connsiteX261" fmla="*/ 1086042 w 2552202"/>
                    <a:gd name="connsiteY261" fmla="*/ 368804 h 432191"/>
                    <a:gd name="connsiteX262" fmla="*/ 1112169 w 2552202"/>
                    <a:gd name="connsiteY262" fmla="*/ 380427 h 432191"/>
                    <a:gd name="connsiteX263" fmla="*/ 1144985 w 2552202"/>
                    <a:gd name="connsiteY263" fmla="*/ 368023 h 432191"/>
                    <a:gd name="connsiteX264" fmla="*/ 1144985 w 2552202"/>
                    <a:gd name="connsiteY264" fmla="*/ 377594 h 432191"/>
                    <a:gd name="connsiteX265" fmla="*/ 1110313 w 2552202"/>
                    <a:gd name="connsiteY265" fmla="*/ 388631 h 432191"/>
                    <a:gd name="connsiteX266" fmla="*/ 1079059 w 2552202"/>
                    <a:gd name="connsiteY266" fmla="*/ 374762 h 432191"/>
                    <a:gd name="connsiteX267" fmla="*/ 1067144 w 2552202"/>
                    <a:gd name="connsiteY267" fmla="*/ 335597 h 432191"/>
                    <a:gd name="connsiteX268" fmla="*/ 1079596 w 2552202"/>
                    <a:gd name="connsiteY268" fmla="*/ 298727 h 432191"/>
                    <a:gd name="connsiteX269" fmla="*/ 1111973 w 2552202"/>
                    <a:gd name="connsiteY269" fmla="*/ 283735 h 432191"/>
                    <a:gd name="connsiteX270" fmla="*/ 956006 w 2552202"/>
                    <a:gd name="connsiteY270" fmla="*/ 283735 h 432191"/>
                    <a:gd name="connsiteX271" fmla="*/ 980814 w 2552202"/>
                    <a:gd name="connsiteY271" fmla="*/ 294527 h 432191"/>
                    <a:gd name="connsiteX272" fmla="*/ 989409 w 2552202"/>
                    <a:gd name="connsiteY272" fmla="*/ 325342 h 432191"/>
                    <a:gd name="connsiteX273" fmla="*/ 989409 w 2552202"/>
                    <a:gd name="connsiteY273" fmla="*/ 386189 h 432191"/>
                    <a:gd name="connsiteX274" fmla="*/ 980424 w 2552202"/>
                    <a:gd name="connsiteY274" fmla="*/ 386189 h 432191"/>
                    <a:gd name="connsiteX275" fmla="*/ 980424 w 2552202"/>
                    <a:gd name="connsiteY275" fmla="*/ 327979 h 432191"/>
                    <a:gd name="connsiteX276" fmla="*/ 954444 w 2552202"/>
                    <a:gd name="connsiteY276" fmla="*/ 291939 h 432191"/>
                    <a:gd name="connsiteX277" fmla="*/ 930710 w 2552202"/>
                    <a:gd name="connsiteY277" fmla="*/ 302536 h 432191"/>
                    <a:gd name="connsiteX278" fmla="*/ 921432 w 2552202"/>
                    <a:gd name="connsiteY278" fmla="*/ 328760 h 432191"/>
                    <a:gd name="connsiteX279" fmla="*/ 921432 w 2552202"/>
                    <a:gd name="connsiteY279" fmla="*/ 386189 h 432191"/>
                    <a:gd name="connsiteX280" fmla="*/ 912446 w 2552202"/>
                    <a:gd name="connsiteY280" fmla="*/ 386189 h 432191"/>
                    <a:gd name="connsiteX281" fmla="*/ 912446 w 2552202"/>
                    <a:gd name="connsiteY281" fmla="*/ 286177 h 432191"/>
                    <a:gd name="connsiteX282" fmla="*/ 921432 w 2552202"/>
                    <a:gd name="connsiteY282" fmla="*/ 286177 h 432191"/>
                    <a:gd name="connsiteX283" fmla="*/ 921432 w 2552202"/>
                    <a:gd name="connsiteY283" fmla="*/ 304343 h 432191"/>
                    <a:gd name="connsiteX284" fmla="*/ 921822 w 2552202"/>
                    <a:gd name="connsiteY284" fmla="*/ 304343 h 432191"/>
                    <a:gd name="connsiteX285" fmla="*/ 956006 w 2552202"/>
                    <a:gd name="connsiteY285" fmla="*/ 283735 h 432191"/>
                    <a:gd name="connsiteX286" fmla="*/ 740154 w 2552202"/>
                    <a:gd name="connsiteY286" fmla="*/ 283735 h 432191"/>
                    <a:gd name="connsiteX287" fmla="*/ 769894 w 2552202"/>
                    <a:gd name="connsiteY287" fmla="*/ 296871 h 432191"/>
                    <a:gd name="connsiteX288" fmla="*/ 780589 w 2552202"/>
                    <a:gd name="connsiteY288" fmla="*/ 332569 h 432191"/>
                    <a:gd name="connsiteX289" fmla="*/ 768332 w 2552202"/>
                    <a:gd name="connsiteY289" fmla="*/ 373150 h 432191"/>
                    <a:gd name="connsiteX290" fmla="*/ 735955 w 2552202"/>
                    <a:gd name="connsiteY290" fmla="*/ 388631 h 432191"/>
                    <a:gd name="connsiteX291" fmla="*/ 702747 w 2552202"/>
                    <a:gd name="connsiteY291" fmla="*/ 368414 h 432191"/>
                    <a:gd name="connsiteX292" fmla="*/ 702357 w 2552202"/>
                    <a:gd name="connsiteY292" fmla="*/ 368414 h 432191"/>
                    <a:gd name="connsiteX293" fmla="*/ 702357 w 2552202"/>
                    <a:gd name="connsiteY293" fmla="*/ 432191 h 432191"/>
                    <a:gd name="connsiteX294" fmla="*/ 693371 w 2552202"/>
                    <a:gd name="connsiteY294" fmla="*/ 432191 h 432191"/>
                    <a:gd name="connsiteX295" fmla="*/ 693371 w 2552202"/>
                    <a:gd name="connsiteY295" fmla="*/ 286177 h 432191"/>
                    <a:gd name="connsiteX296" fmla="*/ 702357 w 2552202"/>
                    <a:gd name="connsiteY296" fmla="*/ 286177 h 432191"/>
                    <a:gd name="connsiteX297" fmla="*/ 702357 w 2552202"/>
                    <a:gd name="connsiteY297" fmla="*/ 306785 h 432191"/>
                    <a:gd name="connsiteX298" fmla="*/ 702747 w 2552202"/>
                    <a:gd name="connsiteY298" fmla="*/ 306785 h 432191"/>
                    <a:gd name="connsiteX299" fmla="*/ 718130 w 2552202"/>
                    <a:gd name="connsiteY299" fmla="*/ 289742 h 432191"/>
                    <a:gd name="connsiteX300" fmla="*/ 740154 w 2552202"/>
                    <a:gd name="connsiteY300" fmla="*/ 283735 h 432191"/>
                    <a:gd name="connsiteX301" fmla="*/ 225614 w 2552202"/>
                    <a:gd name="connsiteY301" fmla="*/ 283735 h 432191"/>
                    <a:gd name="connsiteX302" fmla="*/ 247687 w 2552202"/>
                    <a:gd name="connsiteY302" fmla="*/ 289009 h 432191"/>
                    <a:gd name="connsiteX303" fmla="*/ 247687 w 2552202"/>
                    <a:gd name="connsiteY303" fmla="*/ 299167 h 432191"/>
                    <a:gd name="connsiteX304" fmla="*/ 224637 w 2552202"/>
                    <a:gd name="connsiteY304" fmla="*/ 291939 h 432191"/>
                    <a:gd name="connsiteX305" fmla="*/ 208717 w 2552202"/>
                    <a:gd name="connsiteY305" fmla="*/ 297067 h 432191"/>
                    <a:gd name="connsiteX306" fmla="*/ 202662 w 2552202"/>
                    <a:gd name="connsiteY306" fmla="*/ 310399 h 432191"/>
                    <a:gd name="connsiteX307" fmla="*/ 206471 w 2552202"/>
                    <a:gd name="connsiteY307" fmla="*/ 321972 h 432191"/>
                    <a:gd name="connsiteX308" fmla="*/ 223270 w 2552202"/>
                    <a:gd name="connsiteY308" fmla="*/ 332179 h 432191"/>
                    <a:gd name="connsiteX309" fmla="*/ 244757 w 2552202"/>
                    <a:gd name="connsiteY309" fmla="*/ 345217 h 432191"/>
                    <a:gd name="connsiteX310" fmla="*/ 250617 w 2552202"/>
                    <a:gd name="connsiteY310" fmla="*/ 361186 h 432191"/>
                    <a:gd name="connsiteX311" fmla="*/ 241680 w 2552202"/>
                    <a:gd name="connsiteY311" fmla="*/ 380866 h 432191"/>
                    <a:gd name="connsiteX312" fmla="*/ 217019 w 2552202"/>
                    <a:gd name="connsiteY312" fmla="*/ 388631 h 432191"/>
                    <a:gd name="connsiteX313" fmla="*/ 192895 w 2552202"/>
                    <a:gd name="connsiteY313" fmla="*/ 381794 h 432191"/>
                    <a:gd name="connsiteX314" fmla="*/ 192895 w 2552202"/>
                    <a:gd name="connsiteY314" fmla="*/ 370953 h 432191"/>
                    <a:gd name="connsiteX315" fmla="*/ 205201 w 2552202"/>
                    <a:gd name="connsiteY315" fmla="*/ 377887 h 432191"/>
                    <a:gd name="connsiteX316" fmla="*/ 217703 w 2552202"/>
                    <a:gd name="connsiteY316" fmla="*/ 380427 h 432191"/>
                    <a:gd name="connsiteX317" fmla="*/ 241241 w 2552202"/>
                    <a:gd name="connsiteY317" fmla="*/ 361186 h 432191"/>
                    <a:gd name="connsiteX318" fmla="*/ 236064 w 2552202"/>
                    <a:gd name="connsiteY318" fmla="*/ 349857 h 432191"/>
                    <a:gd name="connsiteX319" fmla="*/ 219265 w 2552202"/>
                    <a:gd name="connsiteY319" fmla="*/ 340187 h 432191"/>
                    <a:gd name="connsiteX320" fmla="*/ 199097 w 2552202"/>
                    <a:gd name="connsiteY320" fmla="*/ 327246 h 432191"/>
                    <a:gd name="connsiteX321" fmla="*/ 193285 w 2552202"/>
                    <a:gd name="connsiteY321" fmla="*/ 310985 h 432191"/>
                    <a:gd name="connsiteX322" fmla="*/ 202613 w 2552202"/>
                    <a:gd name="connsiteY322" fmla="*/ 291255 h 432191"/>
                    <a:gd name="connsiteX323" fmla="*/ 225614 w 2552202"/>
                    <a:gd name="connsiteY323" fmla="*/ 283735 h 432191"/>
                    <a:gd name="connsiteX324" fmla="*/ 2525832 w 2552202"/>
                    <a:gd name="connsiteY324" fmla="*/ 257169 h 432191"/>
                    <a:gd name="connsiteX325" fmla="*/ 2525832 w 2552202"/>
                    <a:gd name="connsiteY325" fmla="*/ 286177 h 432191"/>
                    <a:gd name="connsiteX326" fmla="*/ 2552202 w 2552202"/>
                    <a:gd name="connsiteY326" fmla="*/ 286177 h 432191"/>
                    <a:gd name="connsiteX327" fmla="*/ 2552202 w 2552202"/>
                    <a:gd name="connsiteY327" fmla="*/ 294381 h 432191"/>
                    <a:gd name="connsiteX328" fmla="*/ 2525832 w 2552202"/>
                    <a:gd name="connsiteY328" fmla="*/ 294381 h 432191"/>
                    <a:gd name="connsiteX329" fmla="*/ 2525832 w 2552202"/>
                    <a:gd name="connsiteY329" fmla="*/ 360405 h 432191"/>
                    <a:gd name="connsiteX330" fmla="*/ 2529104 w 2552202"/>
                    <a:gd name="connsiteY330" fmla="*/ 375397 h 432191"/>
                    <a:gd name="connsiteX331" fmla="*/ 2540188 w 2552202"/>
                    <a:gd name="connsiteY331" fmla="*/ 380036 h 432191"/>
                    <a:gd name="connsiteX332" fmla="*/ 2552202 w 2552202"/>
                    <a:gd name="connsiteY332" fmla="*/ 376422 h 432191"/>
                    <a:gd name="connsiteX333" fmla="*/ 2552202 w 2552202"/>
                    <a:gd name="connsiteY333" fmla="*/ 384822 h 432191"/>
                    <a:gd name="connsiteX334" fmla="*/ 2539016 w 2552202"/>
                    <a:gd name="connsiteY334" fmla="*/ 388143 h 432191"/>
                    <a:gd name="connsiteX335" fmla="*/ 2516846 w 2552202"/>
                    <a:gd name="connsiteY335" fmla="*/ 361577 h 432191"/>
                    <a:gd name="connsiteX336" fmla="*/ 2516846 w 2552202"/>
                    <a:gd name="connsiteY336" fmla="*/ 294381 h 432191"/>
                    <a:gd name="connsiteX337" fmla="*/ 2498874 w 2552202"/>
                    <a:gd name="connsiteY337" fmla="*/ 294381 h 432191"/>
                    <a:gd name="connsiteX338" fmla="*/ 2498874 w 2552202"/>
                    <a:gd name="connsiteY338" fmla="*/ 286177 h 432191"/>
                    <a:gd name="connsiteX339" fmla="*/ 2516846 w 2552202"/>
                    <a:gd name="connsiteY339" fmla="*/ 286177 h 432191"/>
                    <a:gd name="connsiteX340" fmla="*/ 2516846 w 2552202"/>
                    <a:gd name="connsiteY340" fmla="*/ 260197 h 432191"/>
                    <a:gd name="connsiteX341" fmla="*/ 2521338 w 2552202"/>
                    <a:gd name="connsiteY341" fmla="*/ 258634 h 432191"/>
                    <a:gd name="connsiteX342" fmla="*/ 2525832 w 2552202"/>
                    <a:gd name="connsiteY342" fmla="*/ 257169 h 432191"/>
                    <a:gd name="connsiteX343" fmla="*/ 1773356 w 2552202"/>
                    <a:gd name="connsiteY343" fmla="*/ 257169 h 432191"/>
                    <a:gd name="connsiteX344" fmla="*/ 1773356 w 2552202"/>
                    <a:gd name="connsiteY344" fmla="*/ 286177 h 432191"/>
                    <a:gd name="connsiteX345" fmla="*/ 1799726 w 2552202"/>
                    <a:gd name="connsiteY345" fmla="*/ 286177 h 432191"/>
                    <a:gd name="connsiteX346" fmla="*/ 1799726 w 2552202"/>
                    <a:gd name="connsiteY346" fmla="*/ 294381 h 432191"/>
                    <a:gd name="connsiteX347" fmla="*/ 1773356 w 2552202"/>
                    <a:gd name="connsiteY347" fmla="*/ 294381 h 432191"/>
                    <a:gd name="connsiteX348" fmla="*/ 1773356 w 2552202"/>
                    <a:gd name="connsiteY348" fmla="*/ 360405 h 432191"/>
                    <a:gd name="connsiteX349" fmla="*/ 1776628 w 2552202"/>
                    <a:gd name="connsiteY349" fmla="*/ 375397 h 432191"/>
                    <a:gd name="connsiteX350" fmla="*/ 1787714 w 2552202"/>
                    <a:gd name="connsiteY350" fmla="*/ 380036 h 432191"/>
                    <a:gd name="connsiteX351" fmla="*/ 1799726 w 2552202"/>
                    <a:gd name="connsiteY351" fmla="*/ 376422 h 432191"/>
                    <a:gd name="connsiteX352" fmla="*/ 1799726 w 2552202"/>
                    <a:gd name="connsiteY352" fmla="*/ 384822 h 432191"/>
                    <a:gd name="connsiteX353" fmla="*/ 1786542 w 2552202"/>
                    <a:gd name="connsiteY353" fmla="*/ 388143 h 432191"/>
                    <a:gd name="connsiteX354" fmla="*/ 1764370 w 2552202"/>
                    <a:gd name="connsiteY354" fmla="*/ 361577 h 432191"/>
                    <a:gd name="connsiteX355" fmla="*/ 1764370 w 2552202"/>
                    <a:gd name="connsiteY355" fmla="*/ 294381 h 432191"/>
                    <a:gd name="connsiteX356" fmla="*/ 1746400 w 2552202"/>
                    <a:gd name="connsiteY356" fmla="*/ 294381 h 432191"/>
                    <a:gd name="connsiteX357" fmla="*/ 1746400 w 2552202"/>
                    <a:gd name="connsiteY357" fmla="*/ 286177 h 432191"/>
                    <a:gd name="connsiteX358" fmla="*/ 1764370 w 2552202"/>
                    <a:gd name="connsiteY358" fmla="*/ 286177 h 432191"/>
                    <a:gd name="connsiteX359" fmla="*/ 1764370 w 2552202"/>
                    <a:gd name="connsiteY359" fmla="*/ 260197 h 432191"/>
                    <a:gd name="connsiteX360" fmla="*/ 1768864 w 2552202"/>
                    <a:gd name="connsiteY360" fmla="*/ 258634 h 432191"/>
                    <a:gd name="connsiteX361" fmla="*/ 1773356 w 2552202"/>
                    <a:gd name="connsiteY361" fmla="*/ 257169 h 432191"/>
                    <a:gd name="connsiteX362" fmla="*/ 1030406 w 2552202"/>
                    <a:gd name="connsiteY362" fmla="*/ 257169 h 432191"/>
                    <a:gd name="connsiteX363" fmla="*/ 1030406 w 2552202"/>
                    <a:gd name="connsiteY363" fmla="*/ 286177 h 432191"/>
                    <a:gd name="connsiteX364" fmla="*/ 1056777 w 2552202"/>
                    <a:gd name="connsiteY364" fmla="*/ 286177 h 432191"/>
                    <a:gd name="connsiteX365" fmla="*/ 1056777 w 2552202"/>
                    <a:gd name="connsiteY365" fmla="*/ 294381 h 432191"/>
                    <a:gd name="connsiteX366" fmla="*/ 1030406 w 2552202"/>
                    <a:gd name="connsiteY366" fmla="*/ 294381 h 432191"/>
                    <a:gd name="connsiteX367" fmla="*/ 1030406 w 2552202"/>
                    <a:gd name="connsiteY367" fmla="*/ 360405 h 432191"/>
                    <a:gd name="connsiteX368" fmla="*/ 1033678 w 2552202"/>
                    <a:gd name="connsiteY368" fmla="*/ 375397 h 432191"/>
                    <a:gd name="connsiteX369" fmla="*/ 1044764 w 2552202"/>
                    <a:gd name="connsiteY369" fmla="*/ 380036 h 432191"/>
                    <a:gd name="connsiteX370" fmla="*/ 1056777 w 2552202"/>
                    <a:gd name="connsiteY370" fmla="*/ 376422 h 432191"/>
                    <a:gd name="connsiteX371" fmla="*/ 1056777 w 2552202"/>
                    <a:gd name="connsiteY371" fmla="*/ 384822 h 432191"/>
                    <a:gd name="connsiteX372" fmla="*/ 1043592 w 2552202"/>
                    <a:gd name="connsiteY372" fmla="*/ 388143 h 432191"/>
                    <a:gd name="connsiteX373" fmla="*/ 1021421 w 2552202"/>
                    <a:gd name="connsiteY373" fmla="*/ 361577 h 432191"/>
                    <a:gd name="connsiteX374" fmla="*/ 1021421 w 2552202"/>
                    <a:gd name="connsiteY374" fmla="*/ 294381 h 432191"/>
                    <a:gd name="connsiteX375" fmla="*/ 1003450 w 2552202"/>
                    <a:gd name="connsiteY375" fmla="*/ 294381 h 432191"/>
                    <a:gd name="connsiteX376" fmla="*/ 1003450 w 2552202"/>
                    <a:gd name="connsiteY376" fmla="*/ 286177 h 432191"/>
                    <a:gd name="connsiteX377" fmla="*/ 1021421 w 2552202"/>
                    <a:gd name="connsiteY377" fmla="*/ 286177 h 432191"/>
                    <a:gd name="connsiteX378" fmla="*/ 1021421 w 2552202"/>
                    <a:gd name="connsiteY378" fmla="*/ 260197 h 432191"/>
                    <a:gd name="connsiteX379" fmla="*/ 1025914 w 2552202"/>
                    <a:gd name="connsiteY379" fmla="*/ 258634 h 432191"/>
                    <a:gd name="connsiteX380" fmla="*/ 1030406 w 2552202"/>
                    <a:gd name="connsiteY380" fmla="*/ 257169 h 432191"/>
                    <a:gd name="connsiteX381" fmla="*/ 287456 w 2552202"/>
                    <a:gd name="connsiteY381" fmla="*/ 257169 h 432191"/>
                    <a:gd name="connsiteX382" fmla="*/ 287456 w 2552202"/>
                    <a:gd name="connsiteY382" fmla="*/ 286177 h 432191"/>
                    <a:gd name="connsiteX383" fmla="*/ 313827 w 2552202"/>
                    <a:gd name="connsiteY383" fmla="*/ 286177 h 432191"/>
                    <a:gd name="connsiteX384" fmla="*/ 313827 w 2552202"/>
                    <a:gd name="connsiteY384" fmla="*/ 294381 h 432191"/>
                    <a:gd name="connsiteX385" fmla="*/ 287456 w 2552202"/>
                    <a:gd name="connsiteY385" fmla="*/ 294381 h 432191"/>
                    <a:gd name="connsiteX386" fmla="*/ 287456 w 2552202"/>
                    <a:gd name="connsiteY386" fmla="*/ 360405 h 432191"/>
                    <a:gd name="connsiteX387" fmla="*/ 290728 w 2552202"/>
                    <a:gd name="connsiteY387" fmla="*/ 375397 h 432191"/>
                    <a:gd name="connsiteX388" fmla="*/ 301814 w 2552202"/>
                    <a:gd name="connsiteY388" fmla="*/ 380036 h 432191"/>
                    <a:gd name="connsiteX389" fmla="*/ 313827 w 2552202"/>
                    <a:gd name="connsiteY389" fmla="*/ 376422 h 432191"/>
                    <a:gd name="connsiteX390" fmla="*/ 313827 w 2552202"/>
                    <a:gd name="connsiteY390" fmla="*/ 384822 h 432191"/>
                    <a:gd name="connsiteX391" fmla="*/ 300642 w 2552202"/>
                    <a:gd name="connsiteY391" fmla="*/ 388143 h 432191"/>
                    <a:gd name="connsiteX392" fmla="*/ 278471 w 2552202"/>
                    <a:gd name="connsiteY392" fmla="*/ 361577 h 432191"/>
                    <a:gd name="connsiteX393" fmla="*/ 278471 w 2552202"/>
                    <a:gd name="connsiteY393" fmla="*/ 294381 h 432191"/>
                    <a:gd name="connsiteX394" fmla="*/ 260500 w 2552202"/>
                    <a:gd name="connsiteY394" fmla="*/ 294381 h 432191"/>
                    <a:gd name="connsiteX395" fmla="*/ 260500 w 2552202"/>
                    <a:gd name="connsiteY395" fmla="*/ 286177 h 432191"/>
                    <a:gd name="connsiteX396" fmla="*/ 278471 w 2552202"/>
                    <a:gd name="connsiteY396" fmla="*/ 286177 h 432191"/>
                    <a:gd name="connsiteX397" fmla="*/ 278471 w 2552202"/>
                    <a:gd name="connsiteY397" fmla="*/ 260197 h 432191"/>
                    <a:gd name="connsiteX398" fmla="*/ 282964 w 2552202"/>
                    <a:gd name="connsiteY398" fmla="*/ 258634 h 432191"/>
                    <a:gd name="connsiteX399" fmla="*/ 287456 w 2552202"/>
                    <a:gd name="connsiteY399" fmla="*/ 257169 h 432191"/>
                    <a:gd name="connsiteX400" fmla="*/ 514494 w 2552202"/>
                    <a:gd name="connsiteY400" fmla="*/ 255020 h 432191"/>
                    <a:gd name="connsiteX401" fmla="*/ 514494 w 2552202"/>
                    <a:gd name="connsiteY401" fmla="*/ 377399 h 432191"/>
                    <a:gd name="connsiteX402" fmla="*/ 536469 w 2552202"/>
                    <a:gd name="connsiteY402" fmla="*/ 377399 h 432191"/>
                    <a:gd name="connsiteX403" fmla="*/ 584327 w 2552202"/>
                    <a:gd name="connsiteY403" fmla="*/ 361235 h 432191"/>
                    <a:gd name="connsiteX404" fmla="*/ 601028 w 2552202"/>
                    <a:gd name="connsiteY404" fmla="*/ 314598 h 432191"/>
                    <a:gd name="connsiteX405" fmla="*/ 538422 w 2552202"/>
                    <a:gd name="connsiteY405" fmla="*/ 255020 h 432191"/>
                    <a:gd name="connsiteX406" fmla="*/ 1402616 w 2552202"/>
                    <a:gd name="connsiteY406" fmla="*/ 246134 h 432191"/>
                    <a:gd name="connsiteX407" fmla="*/ 1407940 w 2552202"/>
                    <a:gd name="connsiteY407" fmla="*/ 248087 h 432191"/>
                    <a:gd name="connsiteX408" fmla="*/ 1410234 w 2552202"/>
                    <a:gd name="connsiteY408" fmla="*/ 253361 h 432191"/>
                    <a:gd name="connsiteX409" fmla="*/ 1407988 w 2552202"/>
                    <a:gd name="connsiteY409" fmla="*/ 258733 h 432191"/>
                    <a:gd name="connsiteX410" fmla="*/ 1402616 w 2552202"/>
                    <a:gd name="connsiteY410" fmla="*/ 260979 h 432191"/>
                    <a:gd name="connsiteX411" fmla="*/ 1397440 w 2552202"/>
                    <a:gd name="connsiteY411" fmla="*/ 258831 h 432191"/>
                    <a:gd name="connsiteX412" fmla="*/ 1395194 w 2552202"/>
                    <a:gd name="connsiteY412" fmla="*/ 253361 h 432191"/>
                    <a:gd name="connsiteX413" fmla="*/ 1397488 w 2552202"/>
                    <a:gd name="connsiteY413" fmla="*/ 248136 h 432191"/>
                    <a:gd name="connsiteX414" fmla="*/ 1402616 w 2552202"/>
                    <a:gd name="connsiteY414" fmla="*/ 246134 h 432191"/>
                    <a:gd name="connsiteX415" fmla="*/ 878741 w 2552202"/>
                    <a:gd name="connsiteY415" fmla="*/ 246134 h 432191"/>
                    <a:gd name="connsiteX416" fmla="*/ 884064 w 2552202"/>
                    <a:gd name="connsiteY416" fmla="*/ 248087 h 432191"/>
                    <a:gd name="connsiteX417" fmla="*/ 886359 w 2552202"/>
                    <a:gd name="connsiteY417" fmla="*/ 253361 h 432191"/>
                    <a:gd name="connsiteX418" fmla="*/ 884113 w 2552202"/>
                    <a:gd name="connsiteY418" fmla="*/ 258733 h 432191"/>
                    <a:gd name="connsiteX419" fmla="*/ 878741 w 2552202"/>
                    <a:gd name="connsiteY419" fmla="*/ 260979 h 432191"/>
                    <a:gd name="connsiteX420" fmla="*/ 873565 w 2552202"/>
                    <a:gd name="connsiteY420" fmla="*/ 258831 h 432191"/>
                    <a:gd name="connsiteX421" fmla="*/ 871318 w 2552202"/>
                    <a:gd name="connsiteY421" fmla="*/ 253361 h 432191"/>
                    <a:gd name="connsiteX422" fmla="*/ 873614 w 2552202"/>
                    <a:gd name="connsiteY422" fmla="*/ 248136 h 432191"/>
                    <a:gd name="connsiteX423" fmla="*/ 878741 w 2552202"/>
                    <a:gd name="connsiteY423" fmla="*/ 246134 h 432191"/>
                    <a:gd name="connsiteX424" fmla="*/ 97691 w 2552202"/>
                    <a:gd name="connsiteY424" fmla="*/ 246134 h 432191"/>
                    <a:gd name="connsiteX425" fmla="*/ 103014 w 2552202"/>
                    <a:gd name="connsiteY425" fmla="*/ 248087 h 432191"/>
                    <a:gd name="connsiteX426" fmla="*/ 105309 w 2552202"/>
                    <a:gd name="connsiteY426" fmla="*/ 253361 h 432191"/>
                    <a:gd name="connsiteX427" fmla="*/ 103063 w 2552202"/>
                    <a:gd name="connsiteY427" fmla="*/ 258733 h 432191"/>
                    <a:gd name="connsiteX428" fmla="*/ 97691 w 2552202"/>
                    <a:gd name="connsiteY428" fmla="*/ 260979 h 432191"/>
                    <a:gd name="connsiteX429" fmla="*/ 92515 w 2552202"/>
                    <a:gd name="connsiteY429" fmla="*/ 258831 h 432191"/>
                    <a:gd name="connsiteX430" fmla="*/ 90268 w 2552202"/>
                    <a:gd name="connsiteY430" fmla="*/ 253361 h 432191"/>
                    <a:gd name="connsiteX431" fmla="*/ 92564 w 2552202"/>
                    <a:gd name="connsiteY431" fmla="*/ 248136 h 432191"/>
                    <a:gd name="connsiteX432" fmla="*/ 97691 w 2552202"/>
                    <a:gd name="connsiteY432" fmla="*/ 246134 h 432191"/>
                    <a:gd name="connsiteX433" fmla="*/ 504824 w 2552202"/>
                    <a:gd name="connsiteY433" fmla="*/ 246133 h 432191"/>
                    <a:gd name="connsiteX434" fmla="*/ 539888 w 2552202"/>
                    <a:gd name="connsiteY434" fmla="*/ 246133 h 432191"/>
                    <a:gd name="connsiteX435" fmla="*/ 592922 w 2552202"/>
                    <a:gd name="connsiteY435" fmla="*/ 263518 h 432191"/>
                    <a:gd name="connsiteX436" fmla="*/ 611088 w 2552202"/>
                    <a:gd name="connsiteY436" fmla="*/ 314208 h 432191"/>
                    <a:gd name="connsiteX437" fmla="*/ 591603 w 2552202"/>
                    <a:gd name="connsiteY437" fmla="*/ 366216 h 432191"/>
                    <a:gd name="connsiteX438" fmla="*/ 537836 w 2552202"/>
                    <a:gd name="connsiteY438" fmla="*/ 386189 h 432191"/>
                    <a:gd name="connsiteX439" fmla="*/ 504824 w 2552202"/>
                    <a:gd name="connsiteY439" fmla="*/ 386189 h 432191"/>
                    <a:gd name="connsiteX440" fmla="*/ 0 w 2552202"/>
                    <a:gd name="connsiteY440" fmla="*/ 246133 h 432191"/>
                    <a:gd name="connsiteX441" fmla="*/ 65437 w 2552202"/>
                    <a:gd name="connsiteY441" fmla="*/ 246133 h 432191"/>
                    <a:gd name="connsiteX442" fmla="*/ 65437 w 2552202"/>
                    <a:gd name="connsiteY442" fmla="*/ 255020 h 432191"/>
                    <a:gd name="connsiteX443" fmla="*/ 9669 w 2552202"/>
                    <a:gd name="connsiteY443" fmla="*/ 255020 h 432191"/>
                    <a:gd name="connsiteX444" fmla="*/ 9669 w 2552202"/>
                    <a:gd name="connsiteY444" fmla="*/ 312157 h 432191"/>
                    <a:gd name="connsiteX445" fmla="*/ 61433 w 2552202"/>
                    <a:gd name="connsiteY445" fmla="*/ 312157 h 432191"/>
                    <a:gd name="connsiteX446" fmla="*/ 61433 w 2552202"/>
                    <a:gd name="connsiteY446" fmla="*/ 320947 h 432191"/>
                    <a:gd name="connsiteX447" fmla="*/ 9669 w 2552202"/>
                    <a:gd name="connsiteY447" fmla="*/ 320947 h 432191"/>
                    <a:gd name="connsiteX448" fmla="*/ 9669 w 2552202"/>
                    <a:gd name="connsiteY448" fmla="*/ 386189 h 432191"/>
                    <a:gd name="connsiteX449" fmla="*/ 0 w 2552202"/>
                    <a:gd name="connsiteY449" fmla="*/ 386189 h 432191"/>
                    <a:gd name="connsiteX450" fmla="*/ 427885 w 2552202"/>
                    <a:gd name="connsiteY450" fmla="*/ 243789 h 432191"/>
                    <a:gd name="connsiteX451" fmla="*/ 454207 w 2552202"/>
                    <a:gd name="connsiteY451" fmla="*/ 252774 h 432191"/>
                    <a:gd name="connsiteX452" fmla="*/ 463925 w 2552202"/>
                    <a:gd name="connsiteY452" fmla="*/ 276605 h 432191"/>
                    <a:gd name="connsiteX453" fmla="*/ 436675 w 2552202"/>
                    <a:gd name="connsiteY453" fmla="*/ 312743 h 432191"/>
                    <a:gd name="connsiteX454" fmla="*/ 436675 w 2552202"/>
                    <a:gd name="connsiteY454" fmla="*/ 313133 h 432191"/>
                    <a:gd name="connsiteX455" fmla="*/ 460116 w 2552202"/>
                    <a:gd name="connsiteY455" fmla="*/ 324023 h 432191"/>
                    <a:gd name="connsiteX456" fmla="*/ 468906 w 2552202"/>
                    <a:gd name="connsiteY456" fmla="*/ 347806 h 432191"/>
                    <a:gd name="connsiteX457" fmla="*/ 456209 w 2552202"/>
                    <a:gd name="connsiteY457" fmla="*/ 377399 h 432191"/>
                    <a:gd name="connsiteX458" fmla="*/ 423295 w 2552202"/>
                    <a:gd name="connsiteY458" fmla="*/ 388631 h 432191"/>
                    <a:gd name="connsiteX459" fmla="*/ 393310 w 2552202"/>
                    <a:gd name="connsiteY459" fmla="*/ 381208 h 432191"/>
                    <a:gd name="connsiteX460" fmla="*/ 393310 w 2552202"/>
                    <a:gd name="connsiteY460" fmla="*/ 370953 h 432191"/>
                    <a:gd name="connsiteX461" fmla="*/ 423490 w 2552202"/>
                    <a:gd name="connsiteY461" fmla="*/ 380427 h 432191"/>
                    <a:gd name="connsiteX462" fmla="*/ 449958 w 2552202"/>
                    <a:gd name="connsiteY462" fmla="*/ 371783 h 432191"/>
                    <a:gd name="connsiteX463" fmla="*/ 459530 w 2552202"/>
                    <a:gd name="connsiteY463" fmla="*/ 349173 h 432191"/>
                    <a:gd name="connsiteX464" fmla="*/ 448542 w 2552202"/>
                    <a:gd name="connsiteY464" fmla="*/ 325635 h 432191"/>
                    <a:gd name="connsiteX465" fmla="*/ 417239 w 2552202"/>
                    <a:gd name="connsiteY465" fmla="*/ 317626 h 432191"/>
                    <a:gd name="connsiteX466" fmla="*/ 406496 w 2552202"/>
                    <a:gd name="connsiteY466" fmla="*/ 317626 h 432191"/>
                    <a:gd name="connsiteX467" fmla="*/ 406496 w 2552202"/>
                    <a:gd name="connsiteY467" fmla="*/ 309422 h 432191"/>
                    <a:gd name="connsiteX468" fmla="*/ 416067 w 2552202"/>
                    <a:gd name="connsiteY468" fmla="*/ 309422 h 432191"/>
                    <a:gd name="connsiteX469" fmla="*/ 444635 w 2552202"/>
                    <a:gd name="connsiteY469" fmla="*/ 301462 h 432191"/>
                    <a:gd name="connsiteX470" fmla="*/ 454451 w 2552202"/>
                    <a:gd name="connsiteY470" fmla="*/ 278949 h 432191"/>
                    <a:gd name="connsiteX471" fmla="*/ 447321 w 2552202"/>
                    <a:gd name="connsiteY471" fmla="*/ 259171 h 432191"/>
                    <a:gd name="connsiteX472" fmla="*/ 426518 w 2552202"/>
                    <a:gd name="connsiteY472" fmla="*/ 251993 h 432191"/>
                    <a:gd name="connsiteX473" fmla="*/ 398878 w 2552202"/>
                    <a:gd name="connsiteY473" fmla="*/ 261174 h 432191"/>
                    <a:gd name="connsiteX474" fmla="*/ 398878 w 2552202"/>
                    <a:gd name="connsiteY474" fmla="*/ 251602 h 432191"/>
                    <a:gd name="connsiteX475" fmla="*/ 427885 w 2552202"/>
                    <a:gd name="connsiteY475" fmla="*/ 243789 h 432191"/>
                    <a:gd name="connsiteX476" fmla="*/ 2274522 w 2552202"/>
                    <a:gd name="connsiteY476" fmla="*/ 238125 h 432191"/>
                    <a:gd name="connsiteX477" fmla="*/ 2283506 w 2552202"/>
                    <a:gd name="connsiteY477" fmla="*/ 238125 h 432191"/>
                    <a:gd name="connsiteX478" fmla="*/ 2283506 w 2552202"/>
                    <a:gd name="connsiteY478" fmla="*/ 386190 h 432191"/>
                    <a:gd name="connsiteX479" fmla="*/ 2274522 w 2552202"/>
                    <a:gd name="connsiteY479" fmla="*/ 386190 h 432191"/>
                    <a:gd name="connsiteX480" fmla="*/ 1360121 w 2552202"/>
                    <a:gd name="connsiteY480" fmla="*/ 238125 h 432191"/>
                    <a:gd name="connsiteX481" fmla="*/ 1369107 w 2552202"/>
                    <a:gd name="connsiteY481" fmla="*/ 238125 h 432191"/>
                    <a:gd name="connsiteX482" fmla="*/ 1369107 w 2552202"/>
                    <a:gd name="connsiteY482" fmla="*/ 386190 h 432191"/>
                    <a:gd name="connsiteX483" fmla="*/ 1360121 w 2552202"/>
                    <a:gd name="connsiteY483" fmla="*/ 386190 h 432191"/>
                    <a:gd name="connsiteX484" fmla="*/ 1250151 w 2552202"/>
                    <a:gd name="connsiteY484" fmla="*/ 238125 h 432191"/>
                    <a:gd name="connsiteX485" fmla="*/ 1259136 w 2552202"/>
                    <a:gd name="connsiteY485" fmla="*/ 238125 h 432191"/>
                    <a:gd name="connsiteX486" fmla="*/ 1259136 w 2552202"/>
                    <a:gd name="connsiteY486" fmla="*/ 386190 h 432191"/>
                    <a:gd name="connsiteX487" fmla="*/ 1250151 w 2552202"/>
                    <a:gd name="connsiteY487" fmla="*/ 386190 h 432191"/>
                    <a:gd name="connsiteX488" fmla="*/ 1250151 w 2552202"/>
                    <a:gd name="connsiteY488" fmla="*/ 368024 h 432191"/>
                    <a:gd name="connsiteX489" fmla="*/ 1249760 w 2552202"/>
                    <a:gd name="connsiteY489" fmla="*/ 368024 h 432191"/>
                    <a:gd name="connsiteX490" fmla="*/ 1235305 w 2552202"/>
                    <a:gd name="connsiteY490" fmla="*/ 383065 h 432191"/>
                    <a:gd name="connsiteX491" fmla="*/ 1213721 w 2552202"/>
                    <a:gd name="connsiteY491" fmla="*/ 388632 h 432191"/>
                    <a:gd name="connsiteX492" fmla="*/ 1183590 w 2552202"/>
                    <a:gd name="connsiteY492" fmla="*/ 375154 h 432191"/>
                    <a:gd name="connsiteX493" fmla="*/ 1171919 w 2552202"/>
                    <a:gd name="connsiteY493" fmla="*/ 337942 h 432191"/>
                    <a:gd name="connsiteX494" fmla="*/ 1184664 w 2552202"/>
                    <a:gd name="connsiteY494" fmla="*/ 298728 h 432191"/>
                    <a:gd name="connsiteX495" fmla="*/ 1217725 w 2552202"/>
                    <a:gd name="connsiteY495" fmla="*/ 283736 h 432191"/>
                    <a:gd name="connsiteX496" fmla="*/ 1249760 w 2552202"/>
                    <a:gd name="connsiteY496" fmla="*/ 302195 h 432191"/>
                    <a:gd name="connsiteX497" fmla="*/ 1250151 w 2552202"/>
                    <a:gd name="connsiteY497" fmla="*/ 302195 h 432191"/>
                    <a:gd name="connsiteX498" fmla="*/ 2239044 w 2552202"/>
                    <a:gd name="connsiteY498" fmla="*/ 94249 h 432191"/>
                    <a:gd name="connsiteX499" fmla="*/ 2211502 w 2552202"/>
                    <a:gd name="connsiteY499" fmla="*/ 98253 h 432191"/>
                    <a:gd name="connsiteX500" fmla="*/ 2189428 w 2552202"/>
                    <a:gd name="connsiteY500" fmla="*/ 105530 h 432191"/>
                    <a:gd name="connsiteX501" fmla="*/ 2183080 w 2552202"/>
                    <a:gd name="connsiteY501" fmla="*/ 121889 h 432191"/>
                    <a:gd name="connsiteX502" fmla="*/ 2188988 w 2552202"/>
                    <a:gd name="connsiteY502" fmla="*/ 136539 h 432191"/>
                    <a:gd name="connsiteX503" fmla="*/ 2205446 w 2552202"/>
                    <a:gd name="connsiteY503" fmla="*/ 142302 h 432191"/>
                    <a:gd name="connsiteX504" fmla="*/ 2229472 w 2552202"/>
                    <a:gd name="connsiteY504" fmla="*/ 131607 h 432191"/>
                    <a:gd name="connsiteX505" fmla="*/ 2239044 w 2552202"/>
                    <a:gd name="connsiteY505" fmla="*/ 104016 h 432191"/>
                    <a:gd name="connsiteX506" fmla="*/ 1436604 w 2552202"/>
                    <a:gd name="connsiteY506" fmla="*/ 53815 h 432191"/>
                    <a:gd name="connsiteX507" fmla="*/ 1410624 w 2552202"/>
                    <a:gd name="connsiteY507" fmla="*/ 65877 h 432191"/>
                    <a:gd name="connsiteX508" fmla="*/ 1400370 w 2552202"/>
                    <a:gd name="connsiteY508" fmla="*/ 99036 h 432191"/>
                    <a:gd name="connsiteX509" fmla="*/ 1409600 w 2552202"/>
                    <a:gd name="connsiteY509" fmla="*/ 131022 h 432191"/>
                    <a:gd name="connsiteX510" fmla="*/ 1433382 w 2552202"/>
                    <a:gd name="connsiteY510" fmla="*/ 142303 h 432191"/>
                    <a:gd name="connsiteX511" fmla="*/ 1459850 w 2552202"/>
                    <a:gd name="connsiteY511" fmla="*/ 131706 h 432191"/>
                    <a:gd name="connsiteX512" fmla="*/ 1469226 w 2552202"/>
                    <a:gd name="connsiteY512" fmla="*/ 105872 h 432191"/>
                    <a:gd name="connsiteX513" fmla="*/ 1469226 w 2552202"/>
                    <a:gd name="connsiteY513" fmla="*/ 87218 h 432191"/>
                    <a:gd name="connsiteX514" fmla="*/ 1460388 w 2552202"/>
                    <a:gd name="connsiteY514" fmla="*/ 63533 h 432191"/>
                    <a:gd name="connsiteX515" fmla="*/ 1436604 w 2552202"/>
                    <a:gd name="connsiteY515" fmla="*/ 53815 h 432191"/>
                    <a:gd name="connsiteX516" fmla="*/ 960355 w 2552202"/>
                    <a:gd name="connsiteY516" fmla="*/ 53815 h 432191"/>
                    <a:gd name="connsiteX517" fmla="*/ 934375 w 2552202"/>
                    <a:gd name="connsiteY517" fmla="*/ 65877 h 432191"/>
                    <a:gd name="connsiteX518" fmla="*/ 924120 w 2552202"/>
                    <a:gd name="connsiteY518" fmla="*/ 99036 h 432191"/>
                    <a:gd name="connsiteX519" fmla="*/ 933350 w 2552202"/>
                    <a:gd name="connsiteY519" fmla="*/ 131022 h 432191"/>
                    <a:gd name="connsiteX520" fmla="*/ 957132 w 2552202"/>
                    <a:gd name="connsiteY520" fmla="*/ 142303 h 432191"/>
                    <a:gd name="connsiteX521" fmla="*/ 983600 w 2552202"/>
                    <a:gd name="connsiteY521" fmla="*/ 131706 h 432191"/>
                    <a:gd name="connsiteX522" fmla="*/ 992976 w 2552202"/>
                    <a:gd name="connsiteY522" fmla="*/ 105872 h 432191"/>
                    <a:gd name="connsiteX523" fmla="*/ 992976 w 2552202"/>
                    <a:gd name="connsiteY523" fmla="*/ 87218 h 432191"/>
                    <a:gd name="connsiteX524" fmla="*/ 984137 w 2552202"/>
                    <a:gd name="connsiteY524" fmla="*/ 63533 h 432191"/>
                    <a:gd name="connsiteX525" fmla="*/ 960355 w 2552202"/>
                    <a:gd name="connsiteY525" fmla="*/ 53815 h 432191"/>
                    <a:gd name="connsiteX526" fmla="*/ 1839096 w 2552202"/>
                    <a:gd name="connsiteY526" fmla="*/ 53814 h 432191"/>
                    <a:gd name="connsiteX527" fmla="*/ 1810920 w 2552202"/>
                    <a:gd name="connsiteY527" fmla="*/ 65730 h 432191"/>
                    <a:gd name="connsiteX528" fmla="*/ 1800420 w 2552202"/>
                    <a:gd name="connsiteY528" fmla="*/ 98839 h 432191"/>
                    <a:gd name="connsiteX529" fmla="*/ 1810676 w 2552202"/>
                    <a:gd name="connsiteY529" fmla="*/ 130386 h 432191"/>
                    <a:gd name="connsiteX530" fmla="*/ 1838706 w 2552202"/>
                    <a:gd name="connsiteY530" fmla="*/ 142302 h 432191"/>
                    <a:gd name="connsiteX531" fmla="*/ 1866542 w 2552202"/>
                    <a:gd name="connsiteY531" fmla="*/ 130582 h 432191"/>
                    <a:gd name="connsiteX532" fmla="*/ 1876308 w 2552202"/>
                    <a:gd name="connsiteY532" fmla="*/ 98058 h 432191"/>
                    <a:gd name="connsiteX533" fmla="*/ 1866590 w 2552202"/>
                    <a:gd name="connsiteY533" fmla="*/ 65241 h 432191"/>
                    <a:gd name="connsiteX534" fmla="*/ 1839096 w 2552202"/>
                    <a:gd name="connsiteY534" fmla="*/ 53814 h 432191"/>
                    <a:gd name="connsiteX535" fmla="*/ 1324746 w 2552202"/>
                    <a:gd name="connsiteY535" fmla="*/ 53814 h 432191"/>
                    <a:gd name="connsiteX536" fmla="*/ 1296569 w 2552202"/>
                    <a:gd name="connsiteY536" fmla="*/ 65730 h 432191"/>
                    <a:gd name="connsiteX537" fmla="*/ 1286070 w 2552202"/>
                    <a:gd name="connsiteY537" fmla="*/ 98839 h 432191"/>
                    <a:gd name="connsiteX538" fmla="*/ 1296325 w 2552202"/>
                    <a:gd name="connsiteY538" fmla="*/ 130386 h 432191"/>
                    <a:gd name="connsiteX539" fmla="*/ 1324356 w 2552202"/>
                    <a:gd name="connsiteY539" fmla="*/ 142302 h 432191"/>
                    <a:gd name="connsiteX540" fmla="*/ 1352191 w 2552202"/>
                    <a:gd name="connsiteY540" fmla="*/ 130582 h 432191"/>
                    <a:gd name="connsiteX541" fmla="*/ 1361958 w 2552202"/>
                    <a:gd name="connsiteY541" fmla="*/ 98058 h 432191"/>
                    <a:gd name="connsiteX542" fmla="*/ 1352240 w 2552202"/>
                    <a:gd name="connsiteY542" fmla="*/ 65241 h 432191"/>
                    <a:gd name="connsiteX543" fmla="*/ 1324746 w 2552202"/>
                    <a:gd name="connsiteY543" fmla="*/ 53814 h 432191"/>
                    <a:gd name="connsiteX544" fmla="*/ 1148557 w 2552202"/>
                    <a:gd name="connsiteY544" fmla="*/ 53814 h 432191"/>
                    <a:gd name="connsiteX545" fmla="*/ 1121503 w 2552202"/>
                    <a:gd name="connsiteY545" fmla="*/ 65534 h 432191"/>
                    <a:gd name="connsiteX546" fmla="*/ 1111932 w 2552202"/>
                    <a:gd name="connsiteY546" fmla="*/ 93077 h 432191"/>
                    <a:gd name="connsiteX547" fmla="*/ 1111932 w 2552202"/>
                    <a:gd name="connsiteY547" fmla="*/ 105676 h 432191"/>
                    <a:gd name="connsiteX548" fmla="*/ 1121405 w 2552202"/>
                    <a:gd name="connsiteY548" fmla="*/ 131509 h 432191"/>
                    <a:gd name="connsiteX549" fmla="*/ 1146311 w 2552202"/>
                    <a:gd name="connsiteY549" fmla="*/ 142302 h 432191"/>
                    <a:gd name="connsiteX550" fmla="*/ 1171216 w 2552202"/>
                    <a:gd name="connsiteY550" fmla="*/ 129165 h 432191"/>
                    <a:gd name="connsiteX551" fmla="*/ 1180788 w 2552202"/>
                    <a:gd name="connsiteY551" fmla="*/ 94640 h 432191"/>
                    <a:gd name="connsiteX552" fmla="*/ 1171998 w 2552202"/>
                    <a:gd name="connsiteY552" fmla="*/ 64851 h 432191"/>
                    <a:gd name="connsiteX553" fmla="*/ 1148557 w 2552202"/>
                    <a:gd name="connsiteY553" fmla="*/ 53814 h 432191"/>
                    <a:gd name="connsiteX554" fmla="*/ 854408 w 2552202"/>
                    <a:gd name="connsiteY554" fmla="*/ 53814 h 432191"/>
                    <a:gd name="connsiteX555" fmla="*/ 831114 w 2552202"/>
                    <a:gd name="connsiteY555" fmla="*/ 63239 h 432191"/>
                    <a:gd name="connsiteX556" fmla="*/ 819736 w 2552202"/>
                    <a:gd name="connsiteY556" fmla="*/ 90245 h 432191"/>
                    <a:gd name="connsiteX557" fmla="*/ 884001 w 2552202"/>
                    <a:gd name="connsiteY557" fmla="*/ 90245 h 432191"/>
                    <a:gd name="connsiteX558" fmla="*/ 875700 w 2552202"/>
                    <a:gd name="connsiteY558" fmla="*/ 63386 h 432191"/>
                    <a:gd name="connsiteX559" fmla="*/ 854408 w 2552202"/>
                    <a:gd name="connsiteY559" fmla="*/ 53814 h 432191"/>
                    <a:gd name="connsiteX560" fmla="*/ 481807 w 2552202"/>
                    <a:gd name="connsiteY560" fmla="*/ 53814 h 432191"/>
                    <a:gd name="connsiteX561" fmla="*/ 454753 w 2552202"/>
                    <a:gd name="connsiteY561" fmla="*/ 65534 h 432191"/>
                    <a:gd name="connsiteX562" fmla="*/ 445182 w 2552202"/>
                    <a:gd name="connsiteY562" fmla="*/ 93077 h 432191"/>
                    <a:gd name="connsiteX563" fmla="*/ 445182 w 2552202"/>
                    <a:gd name="connsiteY563" fmla="*/ 105676 h 432191"/>
                    <a:gd name="connsiteX564" fmla="*/ 454656 w 2552202"/>
                    <a:gd name="connsiteY564" fmla="*/ 131509 h 432191"/>
                    <a:gd name="connsiteX565" fmla="*/ 479561 w 2552202"/>
                    <a:gd name="connsiteY565" fmla="*/ 142302 h 432191"/>
                    <a:gd name="connsiteX566" fmla="*/ 504466 w 2552202"/>
                    <a:gd name="connsiteY566" fmla="*/ 129165 h 432191"/>
                    <a:gd name="connsiteX567" fmla="*/ 514038 w 2552202"/>
                    <a:gd name="connsiteY567" fmla="*/ 94640 h 432191"/>
                    <a:gd name="connsiteX568" fmla="*/ 505248 w 2552202"/>
                    <a:gd name="connsiteY568" fmla="*/ 64851 h 432191"/>
                    <a:gd name="connsiteX569" fmla="*/ 481807 w 2552202"/>
                    <a:gd name="connsiteY569" fmla="*/ 53814 h 432191"/>
                    <a:gd name="connsiteX570" fmla="*/ 1760172 w 2552202"/>
                    <a:gd name="connsiteY570" fmla="*/ 48052 h 432191"/>
                    <a:gd name="connsiteX571" fmla="*/ 1769156 w 2552202"/>
                    <a:gd name="connsiteY571" fmla="*/ 48052 h 432191"/>
                    <a:gd name="connsiteX572" fmla="*/ 1769156 w 2552202"/>
                    <a:gd name="connsiteY572" fmla="*/ 148064 h 432191"/>
                    <a:gd name="connsiteX573" fmla="*/ 1760172 w 2552202"/>
                    <a:gd name="connsiteY573" fmla="*/ 148064 h 432191"/>
                    <a:gd name="connsiteX574" fmla="*/ 1510470 w 2552202"/>
                    <a:gd name="connsiteY574" fmla="*/ 48052 h 432191"/>
                    <a:gd name="connsiteX575" fmla="*/ 1519554 w 2552202"/>
                    <a:gd name="connsiteY575" fmla="*/ 48052 h 432191"/>
                    <a:gd name="connsiteX576" fmla="*/ 1519554 w 2552202"/>
                    <a:gd name="connsiteY576" fmla="*/ 103625 h 432191"/>
                    <a:gd name="connsiteX577" fmla="*/ 1526244 w 2552202"/>
                    <a:gd name="connsiteY577" fmla="*/ 133121 h 432191"/>
                    <a:gd name="connsiteX578" fmla="*/ 1547292 w 2552202"/>
                    <a:gd name="connsiteY578" fmla="*/ 142302 h 432191"/>
                    <a:gd name="connsiteX579" fmla="*/ 1569902 w 2552202"/>
                    <a:gd name="connsiteY579" fmla="*/ 132047 h 432191"/>
                    <a:gd name="connsiteX580" fmla="*/ 1578544 w 2552202"/>
                    <a:gd name="connsiteY580" fmla="*/ 104699 h 432191"/>
                    <a:gd name="connsiteX581" fmla="*/ 1578544 w 2552202"/>
                    <a:gd name="connsiteY581" fmla="*/ 48052 h 432191"/>
                    <a:gd name="connsiteX582" fmla="*/ 1587530 w 2552202"/>
                    <a:gd name="connsiteY582" fmla="*/ 48052 h 432191"/>
                    <a:gd name="connsiteX583" fmla="*/ 1587530 w 2552202"/>
                    <a:gd name="connsiteY583" fmla="*/ 148064 h 432191"/>
                    <a:gd name="connsiteX584" fmla="*/ 1578544 w 2552202"/>
                    <a:gd name="connsiteY584" fmla="*/ 148064 h 432191"/>
                    <a:gd name="connsiteX585" fmla="*/ 1578544 w 2552202"/>
                    <a:gd name="connsiteY585" fmla="*/ 129898 h 432191"/>
                    <a:gd name="connsiteX586" fmla="*/ 1578154 w 2552202"/>
                    <a:gd name="connsiteY586" fmla="*/ 129898 h 432191"/>
                    <a:gd name="connsiteX587" fmla="*/ 1545924 w 2552202"/>
                    <a:gd name="connsiteY587" fmla="*/ 150506 h 432191"/>
                    <a:gd name="connsiteX588" fmla="*/ 1510470 w 2552202"/>
                    <a:gd name="connsiteY588" fmla="*/ 105871 h 432191"/>
                    <a:gd name="connsiteX589" fmla="*/ 617171 w 2552202"/>
                    <a:gd name="connsiteY589" fmla="*/ 48052 h 432191"/>
                    <a:gd name="connsiteX590" fmla="*/ 626157 w 2552202"/>
                    <a:gd name="connsiteY590" fmla="*/ 48052 h 432191"/>
                    <a:gd name="connsiteX591" fmla="*/ 626157 w 2552202"/>
                    <a:gd name="connsiteY591" fmla="*/ 148064 h 432191"/>
                    <a:gd name="connsiteX592" fmla="*/ 617171 w 2552202"/>
                    <a:gd name="connsiteY592" fmla="*/ 148064 h 432191"/>
                    <a:gd name="connsiteX593" fmla="*/ 2311732 w 2552202"/>
                    <a:gd name="connsiteY593" fmla="*/ 46098 h 432191"/>
                    <a:gd name="connsiteX594" fmla="*/ 2321696 w 2552202"/>
                    <a:gd name="connsiteY594" fmla="*/ 47856 h 432191"/>
                    <a:gd name="connsiteX595" fmla="*/ 2321696 w 2552202"/>
                    <a:gd name="connsiteY595" fmla="*/ 57428 h 432191"/>
                    <a:gd name="connsiteX596" fmla="*/ 2311146 w 2552202"/>
                    <a:gd name="connsiteY596" fmla="*/ 54205 h 432191"/>
                    <a:gd name="connsiteX597" fmla="*/ 2291320 w 2552202"/>
                    <a:gd name="connsiteY597" fmla="*/ 66413 h 432191"/>
                    <a:gd name="connsiteX598" fmla="*/ 2283312 w 2552202"/>
                    <a:gd name="connsiteY598" fmla="*/ 101086 h 432191"/>
                    <a:gd name="connsiteX599" fmla="*/ 2283312 w 2552202"/>
                    <a:gd name="connsiteY599" fmla="*/ 148064 h 432191"/>
                    <a:gd name="connsiteX600" fmla="*/ 2274520 w 2552202"/>
                    <a:gd name="connsiteY600" fmla="*/ 148064 h 432191"/>
                    <a:gd name="connsiteX601" fmla="*/ 2274520 w 2552202"/>
                    <a:gd name="connsiteY601" fmla="*/ 48052 h 432191"/>
                    <a:gd name="connsiteX602" fmla="*/ 2283312 w 2552202"/>
                    <a:gd name="connsiteY602" fmla="*/ 48052 h 432191"/>
                    <a:gd name="connsiteX603" fmla="*/ 2283312 w 2552202"/>
                    <a:gd name="connsiteY603" fmla="*/ 70222 h 432191"/>
                    <a:gd name="connsiteX604" fmla="*/ 2283702 w 2552202"/>
                    <a:gd name="connsiteY604" fmla="*/ 70222 h 432191"/>
                    <a:gd name="connsiteX605" fmla="*/ 2294544 w 2552202"/>
                    <a:gd name="connsiteY605" fmla="*/ 52447 h 432191"/>
                    <a:gd name="connsiteX606" fmla="*/ 2311732 w 2552202"/>
                    <a:gd name="connsiteY606" fmla="*/ 46098 h 432191"/>
                    <a:gd name="connsiteX607" fmla="*/ 1254458 w 2552202"/>
                    <a:gd name="connsiteY607" fmla="*/ 46098 h 432191"/>
                    <a:gd name="connsiteX608" fmla="*/ 1264420 w 2552202"/>
                    <a:gd name="connsiteY608" fmla="*/ 47856 h 432191"/>
                    <a:gd name="connsiteX609" fmla="*/ 1264420 w 2552202"/>
                    <a:gd name="connsiteY609" fmla="*/ 57428 h 432191"/>
                    <a:gd name="connsiteX610" fmla="*/ 1253872 w 2552202"/>
                    <a:gd name="connsiteY610" fmla="*/ 54205 h 432191"/>
                    <a:gd name="connsiteX611" fmla="*/ 1234045 w 2552202"/>
                    <a:gd name="connsiteY611" fmla="*/ 66413 h 432191"/>
                    <a:gd name="connsiteX612" fmla="*/ 1226036 w 2552202"/>
                    <a:gd name="connsiteY612" fmla="*/ 101086 h 432191"/>
                    <a:gd name="connsiteX613" fmla="*/ 1226036 w 2552202"/>
                    <a:gd name="connsiteY613" fmla="*/ 148064 h 432191"/>
                    <a:gd name="connsiteX614" fmla="*/ 1217246 w 2552202"/>
                    <a:gd name="connsiteY614" fmla="*/ 148064 h 432191"/>
                    <a:gd name="connsiteX615" fmla="*/ 1217246 w 2552202"/>
                    <a:gd name="connsiteY615" fmla="*/ 48052 h 432191"/>
                    <a:gd name="connsiteX616" fmla="*/ 1226036 w 2552202"/>
                    <a:gd name="connsiteY616" fmla="*/ 48052 h 432191"/>
                    <a:gd name="connsiteX617" fmla="*/ 1226036 w 2552202"/>
                    <a:gd name="connsiteY617" fmla="*/ 70222 h 432191"/>
                    <a:gd name="connsiteX618" fmla="*/ 1226427 w 2552202"/>
                    <a:gd name="connsiteY618" fmla="*/ 70222 h 432191"/>
                    <a:gd name="connsiteX619" fmla="*/ 1237268 w 2552202"/>
                    <a:gd name="connsiteY619" fmla="*/ 52447 h 432191"/>
                    <a:gd name="connsiteX620" fmla="*/ 1254458 w 2552202"/>
                    <a:gd name="connsiteY620" fmla="*/ 46098 h 432191"/>
                    <a:gd name="connsiteX621" fmla="*/ 587708 w 2552202"/>
                    <a:gd name="connsiteY621" fmla="*/ 46098 h 432191"/>
                    <a:gd name="connsiteX622" fmla="*/ 597670 w 2552202"/>
                    <a:gd name="connsiteY622" fmla="*/ 47856 h 432191"/>
                    <a:gd name="connsiteX623" fmla="*/ 597670 w 2552202"/>
                    <a:gd name="connsiteY623" fmla="*/ 57428 h 432191"/>
                    <a:gd name="connsiteX624" fmla="*/ 587122 w 2552202"/>
                    <a:gd name="connsiteY624" fmla="*/ 54205 h 432191"/>
                    <a:gd name="connsiteX625" fmla="*/ 567295 w 2552202"/>
                    <a:gd name="connsiteY625" fmla="*/ 66413 h 432191"/>
                    <a:gd name="connsiteX626" fmla="*/ 559286 w 2552202"/>
                    <a:gd name="connsiteY626" fmla="*/ 101086 h 432191"/>
                    <a:gd name="connsiteX627" fmla="*/ 559286 w 2552202"/>
                    <a:gd name="connsiteY627" fmla="*/ 148064 h 432191"/>
                    <a:gd name="connsiteX628" fmla="*/ 550496 w 2552202"/>
                    <a:gd name="connsiteY628" fmla="*/ 148064 h 432191"/>
                    <a:gd name="connsiteX629" fmla="*/ 550496 w 2552202"/>
                    <a:gd name="connsiteY629" fmla="*/ 48052 h 432191"/>
                    <a:gd name="connsiteX630" fmla="*/ 559286 w 2552202"/>
                    <a:gd name="connsiteY630" fmla="*/ 48052 h 432191"/>
                    <a:gd name="connsiteX631" fmla="*/ 559286 w 2552202"/>
                    <a:gd name="connsiteY631" fmla="*/ 70222 h 432191"/>
                    <a:gd name="connsiteX632" fmla="*/ 559677 w 2552202"/>
                    <a:gd name="connsiteY632" fmla="*/ 70222 h 432191"/>
                    <a:gd name="connsiteX633" fmla="*/ 570518 w 2552202"/>
                    <a:gd name="connsiteY633" fmla="*/ 52447 h 432191"/>
                    <a:gd name="connsiteX634" fmla="*/ 587708 w 2552202"/>
                    <a:gd name="connsiteY634" fmla="*/ 46098 h 432191"/>
                    <a:gd name="connsiteX635" fmla="*/ 2368738 w 2552202"/>
                    <a:gd name="connsiteY635" fmla="*/ 45610 h 432191"/>
                    <a:gd name="connsiteX636" fmla="*/ 2390812 w 2552202"/>
                    <a:gd name="connsiteY636" fmla="*/ 50884 h 432191"/>
                    <a:gd name="connsiteX637" fmla="*/ 2390812 w 2552202"/>
                    <a:gd name="connsiteY637" fmla="*/ 61042 h 432191"/>
                    <a:gd name="connsiteX638" fmla="*/ 2367762 w 2552202"/>
                    <a:gd name="connsiteY638" fmla="*/ 53814 h 432191"/>
                    <a:gd name="connsiteX639" fmla="*/ 2351842 w 2552202"/>
                    <a:gd name="connsiteY639" fmla="*/ 58942 h 432191"/>
                    <a:gd name="connsiteX640" fmla="*/ 2345786 w 2552202"/>
                    <a:gd name="connsiteY640" fmla="*/ 72274 h 432191"/>
                    <a:gd name="connsiteX641" fmla="*/ 2349596 w 2552202"/>
                    <a:gd name="connsiteY641" fmla="*/ 83847 h 432191"/>
                    <a:gd name="connsiteX642" fmla="*/ 2366394 w 2552202"/>
                    <a:gd name="connsiteY642" fmla="*/ 94054 h 432191"/>
                    <a:gd name="connsiteX643" fmla="*/ 2387882 w 2552202"/>
                    <a:gd name="connsiteY643" fmla="*/ 107092 h 432191"/>
                    <a:gd name="connsiteX644" fmla="*/ 2393742 w 2552202"/>
                    <a:gd name="connsiteY644" fmla="*/ 123061 h 432191"/>
                    <a:gd name="connsiteX645" fmla="*/ 2384804 w 2552202"/>
                    <a:gd name="connsiteY645" fmla="*/ 142741 h 432191"/>
                    <a:gd name="connsiteX646" fmla="*/ 2360144 w 2552202"/>
                    <a:gd name="connsiteY646" fmla="*/ 150506 h 432191"/>
                    <a:gd name="connsiteX647" fmla="*/ 2336020 w 2552202"/>
                    <a:gd name="connsiteY647" fmla="*/ 143669 h 432191"/>
                    <a:gd name="connsiteX648" fmla="*/ 2336020 w 2552202"/>
                    <a:gd name="connsiteY648" fmla="*/ 132828 h 432191"/>
                    <a:gd name="connsiteX649" fmla="*/ 2348326 w 2552202"/>
                    <a:gd name="connsiteY649" fmla="*/ 139762 h 432191"/>
                    <a:gd name="connsiteX650" fmla="*/ 2360828 w 2552202"/>
                    <a:gd name="connsiteY650" fmla="*/ 142302 h 432191"/>
                    <a:gd name="connsiteX651" fmla="*/ 2384366 w 2552202"/>
                    <a:gd name="connsiteY651" fmla="*/ 123061 h 432191"/>
                    <a:gd name="connsiteX652" fmla="*/ 2379188 w 2552202"/>
                    <a:gd name="connsiteY652" fmla="*/ 111732 h 432191"/>
                    <a:gd name="connsiteX653" fmla="*/ 2362390 w 2552202"/>
                    <a:gd name="connsiteY653" fmla="*/ 102062 h 432191"/>
                    <a:gd name="connsiteX654" fmla="*/ 2342222 w 2552202"/>
                    <a:gd name="connsiteY654" fmla="*/ 89121 h 432191"/>
                    <a:gd name="connsiteX655" fmla="*/ 2336410 w 2552202"/>
                    <a:gd name="connsiteY655" fmla="*/ 72860 h 432191"/>
                    <a:gd name="connsiteX656" fmla="*/ 2345738 w 2552202"/>
                    <a:gd name="connsiteY656" fmla="*/ 53131 h 432191"/>
                    <a:gd name="connsiteX657" fmla="*/ 2368738 w 2552202"/>
                    <a:gd name="connsiteY657" fmla="*/ 45610 h 432191"/>
                    <a:gd name="connsiteX658" fmla="*/ 2215702 w 2552202"/>
                    <a:gd name="connsiteY658" fmla="*/ 45610 h 432191"/>
                    <a:gd name="connsiteX659" fmla="*/ 2239582 w 2552202"/>
                    <a:gd name="connsiteY659" fmla="*/ 55182 h 432191"/>
                    <a:gd name="connsiteX660" fmla="*/ 2248030 w 2552202"/>
                    <a:gd name="connsiteY660" fmla="*/ 83017 h 432191"/>
                    <a:gd name="connsiteX661" fmla="*/ 2248030 w 2552202"/>
                    <a:gd name="connsiteY661" fmla="*/ 148064 h 432191"/>
                    <a:gd name="connsiteX662" fmla="*/ 2239044 w 2552202"/>
                    <a:gd name="connsiteY662" fmla="*/ 148064 h 432191"/>
                    <a:gd name="connsiteX663" fmla="*/ 2239044 w 2552202"/>
                    <a:gd name="connsiteY663" fmla="*/ 128042 h 432191"/>
                    <a:gd name="connsiteX664" fmla="*/ 2238654 w 2552202"/>
                    <a:gd name="connsiteY664" fmla="*/ 128042 h 432191"/>
                    <a:gd name="connsiteX665" fmla="*/ 2224736 w 2552202"/>
                    <a:gd name="connsiteY665" fmla="*/ 144402 h 432191"/>
                    <a:gd name="connsiteX666" fmla="*/ 2204470 w 2552202"/>
                    <a:gd name="connsiteY666" fmla="*/ 150506 h 432191"/>
                    <a:gd name="connsiteX667" fmla="*/ 2181908 w 2552202"/>
                    <a:gd name="connsiteY667" fmla="*/ 142497 h 432191"/>
                    <a:gd name="connsiteX668" fmla="*/ 2173606 w 2552202"/>
                    <a:gd name="connsiteY668" fmla="*/ 122280 h 432191"/>
                    <a:gd name="connsiteX669" fmla="*/ 2208278 w 2552202"/>
                    <a:gd name="connsiteY669" fmla="*/ 90635 h 432191"/>
                    <a:gd name="connsiteX670" fmla="*/ 2239044 w 2552202"/>
                    <a:gd name="connsiteY670" fmla="*/ 86045 h 432191"/>
                    <a:gd name="connsiteX671" fmla="*/ 2214822 w 2552202"/>
                    <a:gd name="connsiteY671" fmla="*/ 53814 h 432191"/>
                    <a:gd name="connsiteX672" fmla="*/ 2182690 w 2552202"/>
                    <a:gd name="connsiteY672" fmla="*/ 67097 h 432191"/>
                    <a:gd name="connsiteX673" fmla="*/ 2182690 w 2552202"/>
                    <a:gd name="connsiteY673" fmla="*/ 56256 h 432191"/>
                    <a:gd name="connsiteX674" fmla="*/ 2197780 w 2552202"/>
                    <a:gd name="connsiteY674" fmla="*/ 48735 h 432191"/>
                    <a:gd name="connsiteX675" fmla="*/ 2215702 w 2552202"/>
                    <a:gd name="connsiteY675" fmla="*/ 45610 h 432191"/>
                    <a:gd name="connsiteX676" fmla="*/ 2136520 w 2552202"/>
                    <a:gd name="connsiteY676" fmla="*/ 45610 h 432191"/>
                    <a:gd name="connsiteX677" fmla="*/ 2158692 w 2552202"/>
                    <a:gd name="connsiteY677" fmla="*/ 50298 h 432191"/>
                    <a:gd name="connsiteX678" fmla="*/ 2158692 w 2552202"/>
                    <a:gd name="connsiteY678" fmla="*/ 60456 h 432191"/>
                    <a:gd name="connsiteX679" fmla="*/ 2135152 w 2552202"/>
                    <a:gd name="connsiteY679" fmla="*/ 53814 h 432191"/>
                    <a:gd name="connsiteX680" fmla="*/ 2106634 w 2552202"/>
                    <a:gd name="connsiteY680" fmla="*/ 66462 h 432191"/>
                    <a:gd name="connsiteX681" fmla="*/ 2095694 w 2552202"/>
                    <a:gd name="connsiteY681" fmla="*/ 99230 h 432191"/>
                    <a:gd name="connsiteX682" fmla="*/ 2105706 w 2552202"/>
                    <a:gd name="connsiteY682" fmla="*/ 130484 h 432191"/>
                    <a:gd name="connsiteX683" fmla="*/ 2132124 w 2552202"/>
                    <a:gd name="connsiteY683" fmla="*/ 142302 h 432191"/>
                    <a:gd name="connsiteX684" fmla="*/ 2158300 w 2552202"/>
                    <a:gd name="connsiteY684" fmla="*/ 134293 h 432191"/>
                    <a:gd name="connsiteX685" fmla="*/ 2158300 w 2552202"/>
                    <a:gd name="connsiteY685" fmla="*/ 143669 h 432191"/>
                    <a:gd name="connsiteX686" fmla="*/ 2131734 w 2552202"/>
                    <a:gd name="connsiteY686" fmla="*/ 150506 h 432191"/>
                    <a:gd name="connsiteX687" fmla="*/ 2098820 w 2552202"/>
                    <a:gd name="connsiteY687" fmla="*/ 136491 h 432191"/>
                    <a:gd name="connsiteX688" fmla="*/ 2086318 w 2552202"/>
                    <a:gd name="connsiteY688" fmla="*/ 99816 h 432191"/>
                    <a:gd name="connsiteX689" fmla="*/ 2100382 w 2552202"/>
                    <a:gd name="connsiteY689" fmla="*/ 60797 h 432191"/>
                    <a:gd name="connsiteX690" fmla="*/ 2136520 w 2552202"/>
                    <a:gd name="connsiteY690" fmla="*/ 45610 h 432191"/>
                    <a:gd name="connsiteX691" fmla="*/ 1956132 w 2552202"/>
                    <a:gd name="connsiteY691" fmla="*/ 45610 h 432191"/>
                    <a:gd name="connsiteX692" fmla="*/ 1980938 w 2552202"/>
                    <a:gd name="connsiteY692" fmla="*/ 56402 h 432191"/>
                    <a:gd name="connsiteX693" fmla="*/ 1989534 w 2552202"/>
                    <a:gd name="connsiteY693" fmla="*/ 87217 h 432191"/>
                    <a:gd name="connsiteX694" fmla="*/ 1989534 w 2552202"/>
                    <a:gd name="connsiteY694" fmla="*/ 148064 h 432191"/>
                    <a:gd name="connsiteX695" fmla="*/ 1980548 w 2552202"/>
                    <a:gd name="connsiteY695" fmla="*/ 148064 h 432191"/>
                    <a:gd name="connsiteX696" fmla="*/ 1980548 w 2552202"/>
                    <a:gd name="connsiteY696" fmla="*/ 89854 h 432191"/>
                    <a:gd name="connsiteX697" fmla="*/ 1954568 w 2552202"/>
                    <a:gd name="connsiteY697" fmla="*/ 53814 h 432191"/>
                    <a:gd name="connsiteX698" fmla="*/ 1930834 w 2552202"/>
                    <a:gd name="connsiteY698" fmla="*/ 64411 h 432191"/>
                    <a:gd name="connsiteX699" fmla="*/ 1921556 w 2552202"/>
                    <a:gd name="connsiteY699" fmla="*/ 90635 h 432191"/>
                    <a:gd name="connsiteX700" fmla="*/ 1921556 w 2552202"/>
                    <a:gd name="connsiteY700" fmla="*/ 148064 h 432191"/>
                    <a:gd name="connsiteX701" fmla="*/ 1912570 w 2552202"/>
                    <a:gd name="connsiteY701" fmla="*/ 148064 h 432191"/>
                    <a:gd name="connsiteX702" fmla="*/ 1912570 w 2552202"/>
                    <a:gd name="connsiteY702" fmla="*/ 48052 h 432191"/>
                    <a:gd name="connsiteX703" fmla="*/ 1921556 w 2552202"/>
                    <a:gd name="connsiteY703" fmla="*/ 48052 h 432191"/>
                    <a:gd name="connsiteX704" fmla="*/ 1921556 w 2552202"/>
                    <a:gd name="connsiteY704" fmla="*/ 66218 h 432191"/>
                    <a:gd name="connsiteX705" fmla="*/ 1921948 w 2552202"/>
                    <a:gd name="connsiteY705" fmla="*/ 66218 h 432191"/>
                    <a:gd name="connsiteX706" fmla="*/ 1956132 w 2552202"/>
                    <a:gd name="connsiteY706" fmla="*/ 45610 h 432191"/>
                    <a:gd name="connsiteX707" fmla="*/ 1839488 w 2552202"/>
                    <a:gd name="connsiteY707" fmla="*/ 45610 h 432191"/>
                    <a:gd name="connsiteX708" fmla="*/ 1873280 w 2552202"/>
                    <a:gd name="connsiteY708" fmla="*/ 59577 h 432191"/>
                    <a:gd name="connsiteX709" fmla="*/ 1885684 w 2552202"/>
                    <a:gd name="connsiteY709" fmla="*/ 98253 h 432191"/>
                    <a:gd name="connsiteX710" fmla="*/ 1873036 w 2552202"/>
                    <a:gd name="connsiteY710" fmla="*/ 136051 h 432191"/>
                    <a:gd name="connsiteX711" fmla="*/ 1838412 w 2552202"/>
                    <a:gd name="connsiteY711" fmla="*/ 150506 h 432191"/>
                    <a:gd name="connsiteX712" fmla="*/ 1803790 w 2552202"/>
                    <a:gd name="connsiteY712" fmla="*/ 136100 h 432191"/>
                    <a:gd name="connsiteX713" fmla="*/ 1791044 w 2552202"/>
                    <a:gd name="connsiteY713" fmla="*/ 98644 h 432191"/>
                    <a:gd name="connsiteX714" fmla="*/ 1804376 w 2552202"/>
                    <a:gd name="connsiteY714" fmla="*/ 59674 h 432191"/>
                    <a:gd name="connsiteX715" fmla="*/ 1839488 w 2552202"/>
                    <a:gd name="connsiteY715" fmla="*/ 45610 h 432191"/>
                    <a:gd name="connsiteX716" fmla="*/ 1660270 w 2552202"/>
                    <a:gd name="connsiteY716" fmla="*/ 45610 h 432191"/>
                    <a:gd name="connsiteX717" fmla="*/ 1682440 w 2552202"/>
                    <a:gd name="connsiteY717" fmla="*/ 50298 h 432191"/>
                    <a:gd name="connsiteX718" fmla="*/ 1682440 w 2552202"/>
                    <a:gd name="connsiteY718" fmla="*/ 60456 h 432191"/>
                    <a:gd name="connsiteX719" fmla="*/ 1658902 w 2552202"/>
                    <a:gd name="connsiteY719" fmla="*/ 53814 h 432191"/>
                    <a:gd name="connsiteX720" fmla="*/ 1630384 w 2552202"/>
                    <a:gd name="connsiteY720" fmla="*/ 66462 h 432191"/>
                    <a:gd name="connsiteX721" fmla="*/ 1619444 w 2552202"/>
                    <a:gd name="connsiteY721" fmla="*/ 99230 h 432191"/>
                    <a:gd name="connsiteX722" fmla="*/ 1629456 w 2552202"/>
                    <a:gd name="connsiteY722" fmla="*/ 130484 h 432191"/>
                    <a:gd name="connsiteX723" fmla="*/ 1655876 w 2552202"/>
                    <a:gd name="connsiteY723" fmla="*/ 142302 h 432191"/>
                    <a:gd name="connsiteX724" fmla="*/ 1682050 w 2552202"/>
                    <a:gd name="connsiteY724" fmla="*/ 134293 h 432191"/>
                    <a:gd name="connsiteX725" fmla="*/ 1682050 w 2552202"/>
                    <a:gd name="connsiteY725" fmla="*/ 143669 h 432191"/>
                    <a:gd name="connsiteX726" fmla="*/ 1655484 w 2552202"/>
                    <a:gd name="connsiteY726" fmla="*/ 150506 h 432191"/>
                    <a:gd name="connsiteX727" fmla="*/ 1622570 w 2552202"/>
                    <a:gd name="connsiteY727" fmla="*/ 136491 h 432191"/>
                    <a:gd name="connsiteX728" fmla="*/ 1610068 w 2552202"/>
                    <a:gd name="connsiteY728" fmla="*/ 99816 h 432191"/>
                    <a:gd name="connsiteX729" fmla="*/ 1624132 w 2552202"/>
                    <a:gd name="connsiteY729" fmla="*/ 60797 h 432191"/>
                    <a:gd name="connsiteX730" fmla="*/ 1660270 w 2552202"/>
                    <a:gd name="connsiteY730" fmla="*/ 45610 h 432191"/>
                    <a:gd name="connsiteX731" fmla="*/ 1325137 w 2552202"/>
                    <a:gd name="connsiteY731" fmla="*/ 45610 h 432191"/>
                    <a:gd name="connsiteX732" fmla="*/ 1358930 w 2552202"/>
                    <a:gd name="connsiteY732" fmla="*/ 59577 h 432191"/>
                    <a:gd name="connsiteX733" fmla="*/ 1371334 w 2552202"/>
                    <a:gd name="connsiteY733" fmla="*/ 98253 h 432191"/>
                    <a:gd name="connsiteX734" fmla="*/ 1358686 w 2552202"/>
                    <a:gd name="connsiteY734" fmla="*/ 136051 h 432191"/>
                    <a:gd name="connsiteX735" fmla="*/ 1324063 w 2552202"/>
                    <a:gd name="connsiteY735" fmla="*/ 150506 h 432191"/>
                    <a:gd name="connsiteX736" fmla="*/ 1289439 w 2552202"/>
                    <a:gd name="connsiteY736" fmla="*/ 136100 h 432191"/>
                    <a:gd name="connsiteX737" fmla="*/ 1276694 w 2552202"/>
                    <a:gd name="connsiteY737" fmla="*/ 98644 h 432191"/>
                    <a:gd name="connsiteX738" fmla="*/ 1290025 w 2552202"/>
                    <a:gd name="connsiteY738" fmla="*/ 59674 h 432191"/>
                    <a:gd name="connsiteX739" fmla="*/ 1325137 w 2552202"/>
                    <a:gd name="connsiteY739" fmla="*/ 45610 h 432191"/>
                    <a:gd name="connsiteX740" fmla="*/ 1149729 w 2552202"/>
                    <a:gd name="connsiteY740" fmla="*/ 45610 h 432191"/>
                    <a:gd name="connsiteX741" fmla="*/ 1179469 w 2552202"/>
                    <a:gd name="connsiteY741" fmla="*/ 58746 h 432191"/>
                    <a:gd name="connsiteX742" fmla="*/ 1190164 w 2552202"/>
                    <a:gd name="connsiteY742" fmla="*/ 94444 h 432191"/>
                    <a:gd name="connsiteX743" fmla="*/ 1177907 w 2552202"/>
                    <a:gd name="connsiteY743" fmla="*/ 135025 h 432191"/>
                    <a:gd name="connsiteX744" fmla="*/ 1145530 w 2552202"/>
                    <a:gd name="connsiteY744" fmla="*/ 150506 h 432191"/>
                    <a:gd name="connsiteX745" fmla="*/ 1112322 w 2552202"/>
                    <a:gd name="connsiteY745" fmla="*/ 130289 h 432191"/>
                    <a:gd name="connsiteX746" fmla="*/ 1111932 w 2552202"/>
                    <a:gd name="connsiteY746" fmla="*/ 130289 h 432191"/>
                    <a:gd name="connsiteX747" fmla="*/ 1111932 w 2552202"/>
                    <a:gd name="connsiteY747" fmla="*/ 194066 h 432191"/>
                    <a:gd name="connsiteX748" fmla="*/ 1102946 w 2552202"/>
                    <a:gd name="connsiteY748" fmla="*/ 194066 h 432191"/>
                    <a:gd name="connsiteX749" fmla="*/ 1102946 w 2552202"/>
                    <a:gd name="connsiteY749" fmla="*/ 48052 h 432191"/>
                    <a:gd name="connsiteX750" fmla="*/ 1111932 w 2552202"/>
                    <a:gd name="connsiteY750" fmla="*/ 48052 h 432191"/>
                    <a:gd name="connsiteX751" fmla="*/ 1111932 w 2552202"/>
                    <a:gd name="connsiteY751" fmla="*/ 68660 h 432191"/>
                    <a:gd name="connsiteX752" fmla="*/ 1112322 w 2552202"/>
                    <a:gd name="connsiteY752" fmla="*/ 68660 h 432191"/>
                    <a:gd name="connsiteX753" fmla="*/ 1127705 w 2552202"/>
                    <a:gd name="connsiteY753" fmla="*/ 51617 h 432191"/>
                    <a:gd name="connsiteX754" fmla="*/ 1149729 w 2552202"/>
                    <a:gd name="connsiteY754" fmla="*/ 45610 h 432191"/>
                    <a:gd name="connsiteX755" fmla="*/ 854798 w 2552202"/>
                    <a:gd name="connsiteY755" fmla="*/ 45610 h 432191"/>
                    <a:gd name="connsiteX756" fmla="*/ 883415 w 2552202"/>
                    <a:gd name="connsiteY756" fmla="*/ 58698 h 432191"/>
                    <a:gd name="connsiteX757" fmla="*/ 893378 w 2552202"/>
                    <a:gd name="connsiteY757" fmla="*/ 94444 h 432191"/>
                    <a:gd name="connsiteX758" fmla="*/ 893378 w 2552202"/>
                    <a:gd name="connsiteY758" fmla="*/ 98449 h 432191"/>
                    <a:gd name="connsiteX759" fmla="*/ 819345 w 2552202"/>
                    <a:gd name="connsiteY759" fmla="*/ 98449 h 432191"/>
                    <a:gd name="connsiteX760" fmla="*/ 828868 w 2552202"/>
                    <a:gd name="connsiteY760" fmla="*/ 130679 h 432191"/>
                    <a:gd name="connsiteX761" fmla="*/ 854994 w 2552202"/>
                    <a:gd name="connsiteY761" fmla="*/ 142302 h 432191"/>
                    <a:gd name="connsiteX762" fmla="*/ 887810 w 2552202"/>
                    <a:gd name="connsiteY762" fmla="*/ 129898 h 432191"/>
                    <a:gd name="connsiteX763" fmla="*/ 887810 w 2552202"/>
                    <a:gd name="connsiteY763" fmla="*/ 139469 h 432191"/>
                    <a:gd name="connsiteX764" fmla="*/ 853138 w 2552202"/>
                    <a:gd name="connsiteY764" fmla="*/ 150506 h 432191"/>
                    <a:gd name="connsiteX765" fmla="*/ 821884 w 2552202"/>
                    <a:gd name="connsiteY765" fmla="*/ 136637 h 432191"/>
                    <a:gd name="connsiteX766" fmla="*/ 809969 w 2552202"/>
                    <a:gd name="connsiteY766" fmla="*/ 97472 h 432191"/>
                    <a:gd name="connsiteX767" fmla="*/ 822421 w 2552202"/>
                    <a:gd name="connsiteY767" fmla="*/ 60602 h 432191"/>
                    <a:gd name="connsiteX768" fmla="*/ 854798 w 2552202"/>
                    <a:gd name="connsiteY768" fmla="*/ 45610 h 432191"/>
                    <a:gd name="connsiteX769" fmla="*/ 698831 w 2552202"/>
                    <a:gd name="connsiteY769" fmla="*/ 45610 h 432191"/>
                    <a:gd name="connsiteX770" fmla="*/ 723639 w 2552202"/>
                    <a:gd name="connsiteY770" fmla="*/ 56402 h 432191"/>
                    <a:gd name="connsiteX771" fmla="*/ 732234 w 2552202"/>
                    <a:gd name="connsiteY771" fmla="*/ 87217 h 432191"/>
                    <a:gd name="connsiteX772" fmla="*/ 732234 w 2552202"/>
                    <a:gd name="connsiteY772" fmla="*/ 148064 h 432191"/>
                    <a:gd name="connsiteX773" fmla="*/ 723248 w 2552202"/>
                    <a:gd name="connsiteY773" fmla="*/ 148064 h 432191"/>
                    <a:gd name="connsiteX774" fmla="*/ 723248 w 2552202"/>
                    <a:gd name="connsiteY774" fmla="*/ 89854 h 432191"/>
                    <a:gd name="connsiteX775" fmla="*/ 697269 w 2552202"/>
                    <a:gd name="connsiteY775" fmla="*/ 53814 h 432191"/>
                    <a:gd name="connsiteX776" fmla="*/ 673535 w 2552202"/>
                    <a:gd name="connsiteY776" fmla="*/ 64411 h 432191"/>
                    <a:gd name="connsiteX777" fmla="*/ 664257 w 2552202"/>
                    <a:gd name="connsiteY777" fmla="*/ 90635 h 432191"/>
                    <a:gd name="connsiteX778" fmla="*/ 664257 w 2552202"/>
                    <a:gd name="connsiteY778" fmla="*/ 148064 h 432191"/>
                    <a:gd name="connsiteX779" fmla="*/ 655271 w 2552202"/>
                    <a:gd name="connsiteY779" fmla="*/ 148064 h 432191"/>
                    <a:gd name="connsiteX780" fmla="*/ 655271 w 2552202"/>
                    <a:gd name="connsiteY780" fmla="*/ 48052 h 432191"/>
                    <a:gd name="connsiteX781" fmla="*/ 664257 w 2552202"/>
                    <a:gd name="connsiteY781" fmla="*/ 48052 h 432191"/>
                    <a:gd name="connsiteX782" fmla="*/ 664257 w 2552202"/>
                    <a:gd name="connsiteY782" fmla="*/ 66218 h 432191"/>
                    <a:gd name="connsiteX783" fmla="*/ 664647 w 2552202"/>
                    <a:gd name="connsiteY783" fmla="*/ 66218 h 432191"/>
                    <a:gd name="connsiteX784" fmla="*/ 698831 w 2552202"/>
                    <a:gd name="connsiteY784" fmla="*/ 45610 h 432191"/>
                    <a:gd name="connsiteX785" fmla="*/ 482979 w 2552202"/>
                    <a:gd name="connsiteY785" fmla="*/ 45610 h 432191"/>
                    <a:gd name="connsiteX786" fmla="*/ 512719 w 2552202"/>
                    <a:gd name="connsiteY786" fmla="*/ 58746 h 432191"/>
                    <a:gd name="connsiteX787" fmla="*/ 523414 w 2552202"/>
                    <a:gd name="connsiteY787" fmla="*/ 94444 h 432191"/>
                    <a:gd name="connsiteX788" fmla="*/ 511157 w 2552202"/>
                    <a:gd name="connsiteY788" fmla="*/ 135025 h 432191"/>
                    <a:gd name="connsiteX789" fmla="*/ 478780 w 2552202"/>
                    <a:gd name="connsiteY789" fmla="*/ 150506 h 432191"/>
                    <a:gd name="connsiteX790" fmla="*/ 445572 w 2552202"/>
                    <a:gd name="connsiteY790" fmla="*/ 130289 h 432191"/>
                    <a:gd name="connsiteX791" fmla="*/ 445182 w 2552202"/>
                    <a:gd name="connsiteY791" fmla="*/ 130289 h 432191"/>
                    <a:gd name="connsiteX792" fmla="*/ 445182 w 2552202"/>
                    <a:gd name="connsiteY792" fmla="*/ 194066 h 432191"/>
                    <a:gd name="connsiteX793" fmla="*/ 436196 w 2552202"/>
                    <a:gd name="connsiteY793" fmla="*/ 194066 h 432191"/>
                    <a:gd name="connsiteX794" fmla="*/ 436196 w 2552202"/>
                    <a:gd name="connsiteY794" fmla="*/ 48052 h 432191"/>
                    <a:gd name="connsiteX795" fmla="*/ 445182 w 2552202"/>
                    <a:gd name="connsiteY795" fmla="*/ 48052 h 432191"/>
                    <a:gd name="connsiteX796" fmla="*/ 445182 w 2552202"/>
                    <a:gd name="connsiteY796" fmla="*/ 68660 h 432191"/>
                    <a:gd name="connsiteX797" fmla="*/ 445572 w 2552202"/>
                    <a:gd name="connsiteY797" fmla="*/ 68660 h 432191"/>
                    <a:gd name="connsiteX798" fmla="*/ 460955 w 2552202"/>
                    <a:gd name="connsiteY798" fmla="*/ 51617 h 432191"/>
                    <a:gd name="connsiteX799" fmla="*/ 482979 w 2552202"/>
                    <a:gd name="connsiteY799" fmla="*/ 45610 h 432191"/>
                    <a:gd name="connsiteX800" fmla="*/ 1716206 w 2552202"/>
                    <a:gd name="connsiteY800" fmla="*/ 19044 h 432191"/>
                    <a:gd name="connsiteX801" fmla="*/ 1716206 w 2552202"/>
                    <a:gd name="connsiteY801" fmla="*/ 48052 h 432191"/>
                    <a:gd name="connsiteX802" fmla="*/ 1742576 w 2552202"/>
                    <a:gd name="connsiteY802" fmla="*/ 48052 h 432191"/>
                    <a:gd name="connsiteX803" fmla="*/ 1742576 w 2552202"/>
                    <a:gd name="connsiteY803" fmla="*/ 56256 h 432191"/>
                    <a:gd name="connsiteX804" fmla="*/ 1716206 w 2552202"/>
                    <a:gd name="connsiteY804" fmla="*/ 56256 h 432191"/>
                    <a:gd name="connsiteX805" fmla="*/ 1716206 w 2552202"/>
                    <a:gd name="connsiteY805" fmla="*/ 122280 h 432191"/>
                    <a:gd name="connsiteX806" fmla="*/ 1719478 w 2552202"/>
                    <a:gd name="connsiteY806" fmla="*/ 137272 h 432191"/>
                    <a:gd name="connsiteX807" fmla="*/ 1730564 w 2552202"/>
                    <a:gd name="connsiteY807" fmla="*/ 141911 h 432191"/>
                    <a:gd name="connsiteX808" fmla="*/ 1742576 w 2552202"/>
                    <a:gd name="connsiteY808" fmla="*/ 138297 h 432191"/>
                    <a:gd name="connsiteX809" fmla="*/ 1742576 w 2552202"/>
                    <a:gd name="connsiteY809" fmla="*/ 146697 h 432191"/>
                    <a:gd name="connsiteX810" fmla="*/ 1729392 w 2552202"/>
                    <a:gd name="connsiteY810" fmla="*/ 150018 h 432191"/>
                    <a:gd name="connsiteX811" fmla="*/ 1707220 w 2552202"/>
                    <a:gd name="connsiteY811" fmla="*/ 123452 h 432191"/>
                    <a:gd name="connsiteX812" fmla="*/ 1707220 w 2552202"/>
                    <a:gd name="connsiteY812" fmla="*/ 56256 h 432191"/>
                    <a:gd name="connsiteX813" fmla="*/ 1689250 w 2552202"/>
                    <a:gd name="connsiteY813" fmla="*/ 56256 h 432191"/>
                    <a:gd name="connsiteX814" fmla="*/ 1689250 w 2552202"/>
                    <a:gd name="connsiteY814" fmla="*/ 48052 h 432191"/>
                    <a:gd name="connsiteX815" fmla="*/ 1707220 w 2552202"/>
                    <a:gd name="connsiteY815" fmla="*/ 48052 h 432191"/>
                    <a:gd name="connsiteX816" fmla="*/ 1707220 w 2552202"/>
                    <a:gd name="connsiteY816" fmla="*/ 22072 h 432191"/>
                    <a:gd name="connsiteX817" fmla="*/ 1711714 w 2552202"/>
                    <a:gd name="connsiteY817" fmla="*/ 20509 h 432191"/>
                    <a:gd name="connsiteX818" fmla="*/ 1716206 w 2552202"/>
                    <a:gd name="connsiteY818" fmla="*/ 19044 h 432191"/>
                    <a:gd name="connsiteX819" fmla="*/ 773231 w 2552202"/>
                    <a:gd name="connsiteY819" fmla="*/ 19044 h 432191"/>
                    <a:gd name="connsiteX820" fmla="*/ 773231 w 2552202"/>
                    <a:gd name="connsiteY820" fmla="*/ 48052 h 432191"/>
                    <a:gd name="connsiteX821" fmla="*/ 799602 w 2552202"/>
                    <a:gd name="connsiteY821" fmla="*/ 48052 h 432191"/>
                    <a:gd name="connsiteX822" fmla="*/ 799602 w 2552202"/>
                    <a:gd name="connsiteY822" fmla="*/ 56256 h 432191"/>
                    <a:gd name="connsiteX823" fmla="*/ 773231 w 2552202"/>
                    <a:gd name="connsiteY823" fmla="*/ 56256 h 432191"/>
                    <a:gd name="connsiteX824" fmla="*/ 773231 w 2552202"/>
                    <a:gd name="connsiteY824" fmla="*/ 122280 h 432191"/>
                    <a:gd name="connsiteX825" fmla="*/ 776503 w 2552202"/>
                    <a:gd name="connsiteY825" fmla="*/ 137272 h 432191"/>
                    <a:gd name="connsiteX826" fmla="*/ 787589 w 2552202"/>
                    <a:gd name="connsiteY826" fmla="*/ 141911 h 432191"/>
                    <a:gd name="connsiteX827" fmla="*/ 799602 w 2552202"/>
                    <a:gd name="connsiteY827" fmla="*/ 138297 h 432191"/>
                    <a:gd name="connsiteX828" fmla="*/ 799602 w 2552202"/>
                    <a:gd name="connsiteY828" fmla="*/ 146697 h 432191"/>
                    <a:gd name="connsiteX829" fmla="*/ 786417 w 2552202"/>
                    <a:gd name="connsiteY829" fmla="*/ 150018 h 432191"/>
                    <a:gd name="connsiteX830" fmla="*/ 764246 w 2552202"/>
                    <a:gd name="connsiteY830" fmla="*/ 123452 h 432191"/>
                    <a:gd name="connsiteX831" fmla="*/ 764246 w 2552202"/>
                    <a:gd name="connsiteY831" fmla="*/ 56256 h 432191"/>
                    <a:gd name="connsiteX832" fmla="*/ 746275 w 2552202"/>
                    <a:gd name="connsiteY832" fmla="*/ 56256 h 432191"/>
                    <a:gd name="connsiteX833" fmla="*/ 746275 w 2552202"/>
                    <a:gd name="connsiteY833" fmla="*/ 48052 h 432191"/>
                    <a:gd name="connsiteX834" fmla="*/ 764246 w 2552202"/>
                    <a:gd name="connsiteY834" fmla="*/ 48052 h 432191"/>
                    <a:gd name="connsiteX835" fmla="*/ 764246 w 2552202"/>
                    <a:gd name="connsiteY835" fmla="*/ 22072 h 432191"/>
                    <a:gd name="connsiteX836" fmla="*/ 768739 w 2552202"/>
                    <a:gd name="connsiteY836" fmla="*/ 20509 h 432191"/>
                    <a:gd name="connsiteX837" fmla="*/ 773231 w 2552202"/>
                    <a:gd name="connsiteY837" fmla="*/ 19044 h 432191"/>
                    <a:gd name="connsiteX838" fmla="*/ 257319 w 2552202"/>
                    <a:gd name="connsiteY838" fmla="*/ 16896 h 432191"/>
                    <a:gd name="connsiteX839" fmla="*/ 257319 w 2552202"/>
                    <a:gd name="connsiteY839" fmla="*/ 139274 h 432191"/>
                    <a:gd name="connsiteX840" fmla="*/ 279294 w 2552202"/>
                    <a:gd name="connsiteY840" fmla="*/ 139274 h 432191"/>
                    <a:gd name="connsiteX841" fmla="*/ 327152 w 2552202"/>
                    <a:gd name="connsiteY841" fmla="*/ 123110 h 432191"/>
                    <a:gd name="connsiteX842" fmla="*/ 343853 w 2552202"/>
                    <a:gd name="connsiteY842" fmla="*/ 76473 h 432191"/>
                    <a:gd name="connsiteX843" fmla="*/ 281248 w 2552202"/>
                    <a:gd name="connsiteY843" fmla="*/ 16896 h 432191"/>
                    <a:gd name="connsiteX844" fmla="*/ 1764566 w 2552202"/>
                    <a:gd name="connsiteY844" fmla="*/ 8009 h 432191"/>
                    <a:gd name="connsiteX845" fmla="*/ 1769890 w 2552202"/>
                    <a:gd name="connsiteY845" fmla="*/ 9962 h 432191"/>
                    <a:gd name="connsiteX846" fmla="*/ 1772184 w 2552202"/>
                    <a:gd name="connsiteY846" fmla="*/ 15236 h 432191"/>
                    <a:gd name="connsiteX847" fmla="*/ 1769938 w 2552202"/>
                    <a:gd name="connsiteY847" fmla="*/ 20608 h 432191"/>
                    <a:gd name="connsiteX848" fmla="*/ 1764566 w 2552202"/>
                    <a:gd name="connsiteY848" fmla="*/ 22854 h 432191"/>
                    <a:gd name="connsiteX849" fmla="*/ 1759390 w 2552202"/>
                    <a:gd name="connsiteY849" fmla="*/ 20706 h 432191"/>
                    <a:gd name="connsiteX850" fmla="*/ 1757144 w 2552202"/>
                    <a:gd name="connsiteY850" fmla="*/ 15236 h 432191"/>
                    <a:gd name="connsiteX851" fmla="*/ 1759438 w 2552202"/>
                    <a:gd name="connsiteY851" fmla="*/ 10011 h 432191"/>
                    <a:gd name="connsiteX852" fmla="*/ 1764566 w 2552202"/>
                    <a:gd name="connsiteY852" fmla="*/ 8009 h 432191"/>
                    <a:gd name="connsiteX853" fmla="*/ 621566 w 2552202"/>
                    <a:gd name="connsiteY853" fmla="*/ 8009 h 432191"/>
                    <a:gd name="connsiteX854" fmla="*/ 626889 w 2552202"/>
                    <a:gd name="connsiteY854" fmla="*/ 9962 h 432191"/>
                    <a:gd name="connsiteX855" fmla="*/ 629184 w 2552202"/>
                    <a:gd name="connsiteY855" fmla="*/ 15236 h 432191"/>
                    <a:gd name="connsiteX856" fmla="*/ 626938 w 2552202"/>
                    <a:gd name="connsiteY856" fmla="*/ 20608 h 432191"/>
                    <a:gd name="connsiteX857" fmla="*/ 621566 w 2552202"/>
                    <a:gd name="connsiteY857" fmla="*/ 22854 h 432191"/>
                    <a:gd name="connsiteX858" fmla="*/ 616390 w 2552202"/>
                    <a:gd name="connsiteY858" fmla="*/ 20706 h 432191"/>
                    <a:gd name="connsiteX859" fmla="*/ 614143 w 2552202"/>
                    <a:gd name="connsiteY859" fmla="*/ 15236 h 432191"/>
                    <a:gd name="connsiteX860" fmla="*/ 616439 w 2552202"/>
                    <a:gd name="connsiteY860" fmla="*/ 10011 h 432191"/>
                    <a:gd name="connsiteX861" fmla="*/ 621566 w 2552202"/>
                    <a:gd name="connsiteY861" fmla="*/ 8009 h 432191"/>
                    <a:gd name="connsiteX862" fmla="*/ 247650 w 2552202"/>
                    <a:gd name="connsiteY862" fmla="*/ 8008 h 432191"/>
                    <a:gd name="connsiteX863" fmla="*/ 282713 w 2552202"/>
                    <a:gd name="connsiteY863" fmla="*/ 8008 h 432191"/>
                    <a:gd name="connsiteX864" fmla="*/ 335746 w 2552202"/>
                    <a:gd name="connsiteY864" fmla="*/ 25393 h 432191"/>
                    <a:gd name="connsiteX865" fmla="*/ 353913 w 2552202"/>
                    <a:gd name="connsiteY865" fmla="*/ 76083 h 432191"/>
                    <a:gd name="connsiteX866" fmla="*/ 334428 w 2552202"/>
                    <a:gd name="connsiteY866" fmla="*/ 128091 h 432191"/>
                    <a:gd name="connsiteX867" fmla="*/ 280661 w 2552202"/>
                    <a:gd name="connsiteY867" fmla="*/ 148064 h 432191"/>
                    <a:gd name="connsiteX868" fmla="*/ 247650 w 2552202"/>
                    <a:gd name="connsiteY868" fmla="*/ 148064 h 432191"/>
                    <a:gd name="connsiteX869" fmla="*/ 170710 w 2552202"/>
                    <a:gd name="connsiteY869" fmla="*/ 5664 h 432191"/>
                    <a:gd name="connsiteX870" fmla="*/ 197032 w 2552202"/>
                    <a:gd name="connsiteY870" fmla="*/ 14649 h 432191"/>
                    <a:gd name="connsiteX871" fmla="*/ 206750 w 2552202"/>
                    <a:gd name="connsiteY871" fmla="*/ 38480 h 432191"/>
                    <a:gd name="connsiteX872" fmla="*/ 179500 w 2552202"/>
                    <a:gd name="connsiteY872" fmla="*/ 74618 h 432191"/>
                    <a:gd name="connsiteX873" fmla="*/ 179500 w 2552202"/>
                    <a:gd name="connsiteY873" fmla="*/ 75008 h 432191"/>
                    <a:gd name="connsiteX874" fmla="*/ 202941 w 2552202"/>
                    <a:gd name="connsiteY874" fmla="*/ 85898 h 432191"/>
                    <a:gd name="connsiteX875" fmla="*/ 211731 w 2552202"/>
                    <a:gd name="connsiteY875" fmla="*/ 109681 h 432191"/>
                    <a:gd name="connsiteX876" fmla="*/ 199034 w 2552202"/>
                    <a:gd name="connsiteY876" fmla="*/ 139274 h 432191"/>
                    <a:gd name="connsiteX877" fmla="*/ 166120 w 2552202"/>
                    <a:gd name="connsiteY877" fmla="*/ 150506 h 432191"/>
                    <a:gd name="connsiteX878" fmla="*/ 136135 w 2552202"/>
                    <a:gd name="connsiteY878" fmla="*/ 143083 h 432191"/>
                    <a:gd name="connsiteX879" fmla="*/ 136135 w 2552202"/>
                    <a:gd name="connsiteY879" fmla="*/ 132828 h 432191"/>
                    <a:gd name="connsiteX880" fmla="*/ 166315 w 2552202"/>
                    <a:gd name="connsiteY880" fmla="*/ 142302 h 432191"/>
                    <a:gd name="connsiteX881" fmla="*/ 192783 w 2552202"/>
                    <a:gd name="connsiteY881" fmla="*/ 133658 h 432191"/>
                    <a:gd name="connsiteX882" fmla="*/ 202355 w 2552202"/>
                    <a:gd name="connsiteY882" fmla="*/ 111048 h 432191"/>
                    <a:gd name="connsiteX883" fmla="*/ 191367 w 2552202"/>
                    <a:gd name="connsiteY883" fmla="*/ 87510 h 432191"/>
                    <a:gd name="connsiteX884" fmla="*/ 160064 w 2552202"/>
                    <a:gd name="connsiteY884" fmla="*/ 79501 h 432191"/>
                    <a:gd name="connsiteX885" fmla="*/ 149321 w 2552202"/>
                    <a:gd name="connsiteY885" fmla="*/ 79501 h 432191"/>
                    <a:gd name="connsiteX886" fmla="*/ 149321 w 2552202"/>
                    <a:gd name="connsiteY886" fmla="*/ 71297 h 432191"/>
                    <a:gd name="connsiteX887" fmla="*/ 158892 w 2552202"/>
                    <a:gd name="connsiteY887" fmla="*/ 71297 h 432191"/>
                    <a:gd name="connsiteX888" fmla="*/ 187460 w 2552202"/>
                    <a:gd name="connsiteY888" fmla="*/ 63337 h 432191"/>
                    <a:gd name="connsiteX889" fmla="*/ 197276 w 2552202"/>
                    <a:gd name="connsiteY889" fmla="*/ 40824 h 432191"/>
                    <a:gd name="connsiteX890" fmla="*/ 190146 w 2552202"/>
                    <a:gd name="connsiteY890" fmla="*/ 21046 h 432191"/>
                    <a:gd name="connsiteX891" fmla="*/ 169343 w 2552202"/>
                    <a:gd name="connsiteY891" fmla="*/ 13868 h 432191"/>
                    <a:gd name="connsiteX892" fmla="*/ 141702 w 2552202"/>
                    <a:gd name="connsiteY892" fmla="*/ 23049 h 432191"/>
                    <a:gd name="connsiteX893" fmla="*/ 141702 w 2552202"/>
                    <a:gd name="connsiteY893" fmla="*/ 13477 h 432191"/>
                    <a:gd name="connsiteX894" fmla="*/ 170710 w 2552202"/>
                    <a:gd name="connsiteY894" fmla="*/ 5664 h 432191"/>
                    <a:gd name="connsiteX895" fmla="*/ 1469226 w 2552202"/>
                    <a:gd name="connsiteY895" fmla="*/ 0 h 432191"/>
                    <a:gd name="connsiteX896" fmla="*/ 1478212 w 2552202"/>
                    <a:gd name="connsiteY896" fmla="*/ 0 h 432191"/>
                    <a:gd name="connsiteX897" fmla="*/ 1478212 w 2552202"/>
                    <a:gd name="connsiteY897" fmla="*/ 148065 h 432191"/>
                    <a:gd name="connsiteX898" fmla="*/ 1469226 w 2552202"/>
                    <a:gd name="connsiteY898" fmla="*/ 148065 h 432191"/>
                    <a:gd name="connsiteX899" fmla="*/ 1469226 w 2552202"/>
                    <a:gd name="connsiteY899" fmla="*/ 129899 h 432191"/>
                    <a:gd name="connsiteX900" fmla="*/ 1468836 w 2552202"/>
                    <a:gd name="connsiteY900" fmla="*/ 129899 h 432191"/>
                    <a:gd name="connsiteX901" fmla="*/ 1454380 w 2552202"/>
                    <a:gd name="connsiteY901" fmla="*/ 144940 h 432191"/>
                    <a:gd name="connsiteX902" fmla="*/ 1432796 w 2552202"/>
                    <a:gd name="connsiteY902" fmla="*/ 150507 h 432191"/>
                    <a:gd name="connsiteX903" fmla="*/ 1402664 w 2552202"/>
                    <a:gd name="connsiteY903" fmla="*/ 137029 h 432191"/>
                    <a:gd name="connsiteX904" fmla="*/ 1390994 w 2552202"/>
                    <a:gd name="connsiteY904" fmla="*/ 99817 h 432191"/>
                    <a:gd name="connsiteX905" fmla="*/ 1403740 w 2552202"/>
                    <a:gd name="connsiteY905" fmla="*/ 60603 h 432191"/>
                    <a:gd name="connsiteX906" fmla="*/ 1436800 w 2552202"/>
                    <a:gd name="connsiteY906" fmla="*/ 45611 h 432191"/>
                    <a:gd name="connsiteX907" fmla="*/ 1468836 w 2552202"/>
                    <a:gd name="connsiteY907" fmla="*/ 64070 h 432191"/>
                    <a:gd name="connsiteX908" fmla="*/ 1469226 w 2552202"/>
                    <a:gd name="connsiteY908" fmla="*/ 64070 h 432191"/>
                    <a:gd name="connsiteX909" fmla="*/ 992976 w 2552202"/>
                    <a:gd name="connsiteY909" fmla="*/ 0 h 432191"/>
                    <a:gd name="connsiteX910" fmla="*/ 1001962 w 2552202"/>
                    <a:gd name="connsiteY910" fmla="*/ 0 h 432191"/>
                    <a:gd name="connsiteX911" fmla="*/ 1001962 w 2552202"/>
                    <a:gd name="connsiteY911" fmla="*/ 148065 h 432191"/>
                    <a:gd name="connsiteX912" fmla="*/ 992976 w 2552202"/>
                    <a:gd name="connsiteY912" fmla="*/ 148065 h 432191"/>
                    <a:gd name="connsiteX913" fmla="*/ 992976 w 2552202"/>
                    <a:gd name="connsiteY913" fmla="*/ 129899 h 432191"/>
                    <a:gd name="connsiteX914" fmla="*/ 992586 w 2552202"/>
                    <a:gd name="connsiteY914" fmla="*/ 129899 h 432191"/>
                    <a:gd name="connsiteX915" fmla="*/ 978131 w 2552202"/>
                    <a:gd name="connsiteY915" fmla="*/ 144940 h 432191"/>
                    <a:gd name="connsiteX916" fmla="*/ 956546 w 2552202"/>
                    <a:gd name="connsiteY916" fmla="*/ 150507 h 432191"/>
                    <a:gd name="connsiteX917" fmla="*/ 926415 w 2552202"/>
                    <a:gd name="connsiteY917" fmla="*/ 137029 h 432191"/>
                    <a:gd name="connsiteX918" fmla="*/ 914744 w 2552202"/>
                    <a:gd name="connsiteY918" fmla="*/ 99817 h 432191"/>
                    <a:gd name="connsiteX919" fmla="*/ 927489 w 2552202"/>
                    <a:gd name="connsiteY919" fmla="*/ 60603 h 432191"/>
                    <a:gd name="connsiteX920" fmla="*/ 960550 w 2552202"/>
                    <a:gd name="connsiteY920" fmla="*/ 45611 h 432191"/>
                    <a:gd name="connsiteX921" fmla="*/ 992586 w 2552202"/>
                    <a:gd name="connsiteY921" fmla="*/ 64070 h 432191"/>
                    <a:gd name="connsiteX922" fmla="*/ 992976 w 2552202"/>
                    <a:gd name="connsiteY922" fmla="*/ 64070 h 4321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</a:cxnLst>
                  <a:rect l="l" t="t" r="r" b="b"/>
                  <a:pathLst>
                    <a:path w="2552202" h="432191">
                      <a:moveTo>
                        <a:pt x="2372394" y="332374"/>
                      </a:moveTo>
                      <a:lnTo>
                        <a:pt x="2344852" y="336378"/>
                      </a:lnTo>
                      <a:cubicBezTo>
                        <a:pt x="2334368" y="337876"/>
                        <a:pt x="2327012" y="340301"/>
                        <a:pt x="2322778" y="343655"/>
                      </a:cubicBezTo>
                      <a:cubicBezTo>
                        <a:pt x="2318546" y="347008"/>
                        <a:pt x="2316430" y="352461"/>
                        <a:pt x="2316430" y="360014"/>
                      </a:cubicBezTo>
                      <a:cubicBezTo>
                        <a:pt x="2316430" y="365939"/>
                        <a:pt x="2318400" y="370823"/>
                        <a:pt x="2322340" y="374664"/>
                      </a:cubicBezTo>
                      <a:cubicBezTo>
                        <a:pt x="2326278" y="378506"/>
                        <a:pt x="2331764" y="380427"/>
                        <a:pt x="2338796" y="380427"/>
                      </a:cubicBezTo>
                      <a:cubicBezTo>
                        <a:pt x="2348432" y="380427"/>
                        <a:pt x="2356442" y="376862"/>
                        <a:pt x="2362822" y="369732"/>
                      </a:cubicBezTo>
                      <a:cubicBezTo>
                        <a:pt x="2369204" y="362602"/>
                        <a:pt x="2372394" y="353405"/>
                        <a:pt x="2372394" y="342141"/>
                      </a:cubicBezTo>
                      <a:close/>
                      <a:moveTo>
                        <a:pt x="1943770" y="332374"/>
                      </a:moveTo>
                      <a:lnTo>
                        <a:pt x="1916226" y="336378"/>
                      </a:lnTo>
                      <a:cubicBezTo>
                        <a:pt x="1905744" y="337876"/>
                        <a:pt x="1898386" y="340301"/>
                        <a:pt x="1894154" y="343655"/>
                      </a:cubicBezTo>
                      <a:cubicBezTo>
                        <a:pt x="1889922" y="347008"/>
                        <a:pt x="1887806" y="352461"/>
                        <a:pt x="1887806" y="360014"/>
                      </a:cubicBezTo>
                      <a:cubicBezTo>
                        <a:pt x="1887806" y="365939"/>
                        <a:pt x="1889774" y="370823"/>
                        <a:pt x="1893714" y="374664"/>
                      </a:cubicBezTo>
                      <a:cubicBezTo>
                        <a:pt x="1897654" y="378506"/>
                        <a:pt x="1903140" y="380427"/>
                        <a:pt x="1910172" y="380427"/>
                      </a:cubicBezTo>
                      <a:cubicBezTo>
                        <a:pt x="1919808" y="380427"/>
                        <a:pt x="1927816" y="376862"/>
                        <a:pt x="1934198" y="369732"/>
                      </a:cubicBezTo>
                      <a:cubicBezTo>
                        <a:pt x="1940578" y="362602"/>
                        <a:pt x="1943770" y="353405"/>
                        <a:pt x="1943770" y="342141"/>
                      </a:cubicBezTo>
                      <a:close/>
                      <a:moveTo>
                        <a:pt x="1217530" y="291940"/>
                      </a:moveTo>
                      <a:cubicBezTo>
                        <a:pt x="1207047" y="291940"/>
                        <a:pt x="1198387" y="295961"/>
                        <a:pt x="1191550" y="304002"/>
                      </a:cubicBezTo>
                      <a:cubicBezTo>
                        <a:pt x="1184713" y="312044"/>
                        <a:pt x="1181295" y="323096"/>
                        <a:pt x="1181295" y="337161"/>
                      </a:cubicBezTo>
                      <a:cubicBezTo>
                        <a:pt x="1181295" y="350964"/>
                        <a:pt x="1184371" y="361627"/>
                        <a:pt x="1190524" y="369147"/>
                      </a:cubicBezTo>
                      <a:cubicBezTo>
                        <a:pt x="1196678" y="376668"/>
                        <a:pt x="1204605" y="380428"/>
                        <a:pt x="1214307" y="380428"/>
                      </a:cubicBezTo>
                      <a:cubicBezTo>
                        <a:pt x="1225701" y="380428"/>
                        <a:pt x="1234524" y="376895"/>
                        <a:pt x="1240775" y="369831"/>
                      </a:cubicBezTo>
                      <a:cubicBezTo>
                        <a:pt x="1247026" y="362766"/>
                        <a:pt x="1250151" y="354155"/>
                        <a:pt x="1250151" y="343997"/>
                      </a:cubicBezTo>
                      <a:lnTo>
                        <a:pt x="1250151" y="325343"/>
                      </a:lnTo>
                      <a:cubicBezTo>
                        <a:pt x="1250151" y="316032"/>
                        <a:pt x="1247205" y="308137"/>
                        <a:pt x="1241312" y="301658"/>
                      </a:cubicBezTo>
                      <a:cubicBezTo>
                        <a:pt x="1235419" y="295180"/>
                        <a:pt x="1227492" y="291940"/>
                        <a:pt x="1217530" y="291940"/>
                      </a:cubicBezTo>
                      <a:close/>
                      <a:moveTo>
                        <a:pt x="2205832" y="291939"/>
                      </a:moveTo>
                      <a:cubicBezTo>
                        <a:pt x="2194178" y="291939"/>
                        <a:pt x="2185160" y="295846"/>
                        <a:pt x="2178778" y="303659"/>
                      </a:cubicBezTo>
                      <a:cubicBezTo>
                        <a:pt x="2172398" y="311473"/>
                        <a:pt x="2169206" y="320654"/>
                        <a:pt x="2169206" y="331202"/>
                      </a:cubicBezTo>
                      <a:lnTo>
                        <a:pt x="2169206" y="343801"/>
                      </a:lnTo>
                      <a:cubicBezTo>
                        <a:pt x="2169206" y="353828"/>
                        <a:pt x="2172364" y="362440"/>
                        <a:pt x="2178680" y="369634"/>
                      </a:cubicBezTo>
                      <a:cubicBezTo>
                        <a:pt x="2184996" y="376829"/>
                        <a:pt x="2193298" y="380427"/>
                        <a:pt x="2203586" y="380427"/>
                      </a:cubicBezTo>
                      <a:cubicBezTo>
                        <a:pt x="2213808" y="380427"/>
                        <a:pt x="2222110" y="376048"/>
                        <a:pt x="2228492" y="367290"/>
                      </a:cubicBezTo>
                      <a:cubicBezTo>
                        <a:pt x="2234872" y="358533"/>
                        <a:pt x="2238062" y="347024"/>
                        <a:pt x="2238062" y="332765"/>
                      </a:cubicBezTo>
                      <a:cubicBezTo>
                        <a:pt x="2238062" y="320263"/>
                        <a:pt x="2235132" y="310333"/>
                        <a:pt x="2229272" y="302976"/>
                      </a:cubicBezTo>
                      <a:cubicBezTo>
                        <a:pt x="2223412" y="295618"/>
                        <a:pt x="2215600" y="291939"/>
                        <a:pt x="2205832" y="291939"/>
                      </a:cubicBezTo>
                      <a:close/>
                      <a:moveTo>
                        <a:pt x="1568782" y="291939"/>
                      </a:moveTo>
                      <a:cubicBezTo>
                        <a:pt x="1559406" y="291939"/>
                        <a:pt x="1551642" y="295081"/>
                        <a:pt x="1545488" y="301364"/>
                      </a:cubicBezTo>
                      <a:cubicBezTo>
                        <a:pt x="1539336" y="307648"/>
                        <a:pt x="1535542" y="316649"/>
                        <a:pt x="1534110" y="328370"/>
                      </a:cubicBezTo>
                      <a:lnTo>
                        <a:pt x="1598376" y="328370"/>
                      </a:lnTo>
                      <a:cubicBezTo>
                        <a:pt x="1597986" y="316845"/>
                        <a:pt x="1595218" y="307892"/>
                        <a:pt x="1590074" y="301511"/>
                      </a:cubicBezTo>
                      <a:cubicBezTo>
                        <a:pt x="1584930" y="295130"/>
                        <a:pt x="1577834" y="291939"/>
                        <a:pt x="1568782" y="291939"/>
                      </a:cubicBezTo>
                      <a:close/>
                      <a:moveTo>
                        <a:pt x="1111583" y="291939"/>
                      </a:moveTo>
                      <a:cubicBezTo>
                        <a:pt x="1102207" y="291939"/>
                        <a:pt x="1094442" y="295081"/>
                        <a:pt x="1088289" y="301364"/>
                      </a:cubicBezTo>
                      <a:cubicBezTo>
                        <a:pt x="1082136" y="307648"/>
                        <a:pt x="1078343" y="316649"/>
                        <a:pt x="1076911" y="328370"/>
                      </a:cubicBezTo>
                      <a:lnTo>
                        <a:pt x="1141176" y="328370"/>
                      </a:lnTo>
                      <a:cubicBezTo>
                        <a:pt x="1140786" y="316845"/>
                        <a:pt x="1138018" y="307892"/>
                        <a:pt x="1132875" y="301511"/>
                      </a:cubicBezTo>
                      <a:cubicBezTo>
                        <a:pt x="1127731" y="295130"/>
                        <a:pt x="1120634" y="291939"/>
                        <a:pt x="1111583" y="291939"/>
                      </a:cubicBezTo>
                      <a:close/>
                      <a:moveTo>
                        <a:pt x="738982" y="291939"/>
                      </a:moveTo>
                      <a:cubicBezTo>
                        <a:pt x="727327" y="291939"/>
                        <a:pt x="718309" y="295846"/>
                        <a:pt x="711928" y="303659"/>
                      </a:cubicBezTo>
                      <a:cubicBezTo>
                        <a:pt x="705547" y="311473"/>
                        <a:pt x="702357" y="320654"/>
                        <a:pt x="702357" y="331202"/>
                      </a:cubicBezTo>
                      <a:lnTo>
                        <a:pt x="702357" y="343801"/>
                      </a:lnTo>
                      <a:cubicBezTo>
                        <a:pt x="702357" y="353828"/>
                        <a:pt x="705515" y="362440"/>
                        <a:pt x="711831" y="369634"/>
                      </a:cubicBezTo>
                      <a:cubicBezTo>
                        <a:pt x="718146" y="376829"/>
                        <a:pt x="726448" y="380427"/>
                        <a:pt x="736736" y="380427"/>
                      </a:cubicBezTo>
                      <a:cubicBezTo>
                        <a:pt x="746959" y="380427"/>
                        <a:pt x="755260" y="376048"/>
                        <a:pt x="761641" y="367290"/>
                      </a:cubicBezTo>
                      <a:cubicBezTo>
                        <a:pt x="768022" y="358533"/>
                        <a:pt x="771213" y="347024"/>
                        <a:pt x="771213" y="332765"/>
                      </a:cubicBezTo>
                      <a:cubicBezTo>
                        <a:pt x="771213" y="320263"/>
                        <a:pt x="768283" y="310333"/>
                        <a:pt x="762423" y="302976"/>
                      </a:cubicBezTo>
                      <a:cubicBezTo>
                        <a:pt x="756563" y="295618"/>
                        <a:pt x="748749" y="291939"/>
                        <a:pt x="738982" y="291939"/>
                      </a:cubicBezTo>
                      <a:close/>
                      <a:moveTo>
                        <a:pt x="1422256" y="286177"/>
                      </a:moveTo>
                      <a:lnTo>
                        <a:pt x="1432316" y="286177"/>
                      </a:lnTo>
                      <a:lnTo>
                        <a:pt x="1462106" y="365777"/>
                      </a:lnTo>
                      <a:cubicBezTo>
                        <a:pt x="1463538" y="369618"/>
                        <a:pt x="1464548" y="373102"/>
                        <a:pt x="1465134" y="376227"/>
                      </a:cubicBezTo>
                      <a:lnTo>
                        <a:pt x="1465524" y="376227"/>
                      </a:lnTo>
                      <a:cubicBezTo>
                        <a:pt x="1466370" y="372125"/>
                        <a:pt x="1467314" y="368772"/>
                        <a:pt x="1468356" y="366167"/>
                      </a:cubicBezTo>
                      <a:lnTo>
                        <a:pt x="1499122" y="286177"/>
                      </a:lnTo>
                      <a:lnTo>
                        <a:pt x="1508888" y="286177"/>
                      </a:lnTo>
                      <a:lnTo>
                        <a:pt x="1469138" y="386189"/>
                      </a:lnTo>
                      <a:lnTo>
                        <a:pt x="1460934" y="386189"/>
                      </a:lnTo>
                      <a:close/>
                      <a:moveTo>
                        <a:pt x="1398222" y="286177"/>
                      </a:moveTo>
                      <a:lnTo>
                        <a:pt x="1407206" y="286177"/>
                      </a:lnTo>
                      <a:lnTo>
                        <a:pt x="1407206" y="386189"/>
                      </a:lnTo>
                      <a:lnTo>
                        <a:pt x="1398222" y="386189"/>
                      </a:lnTo>
                      <a:close/>
                      <a:moveTo>
                        <a:pt x="874346" y="286177"/>
                      </a:moveTo>
                      <a:lnTo>
                        <a:pt x="883332" y="286177"/>
                      </a:lnTo>
                      <a:lnTo>
                        <a:pt x="883332" y="386189"/>
                      </a:lnTo>
                      <a:lnTo>
                        <a:pt x="874346" y="386189"/>
                      </a:lnTo>
                      <a:close/>
                      <a:moveTo>
                        <a:pt x="93296" y="286177"/>
                      </a:moveTo>
                      <a:lnTo>
                        <a:pt x="102282" y="286177"/>
                      </a:lnTo>
                      <a:lnTo>
                        <a:pt x="102282" y="386189"/>
                      </a:lnTo>
                      <a:lnTo>
                        <a:pt x="93296" y="386189"/>
                      </a:lnTo>
                      <a:close/>
                      <a:moveTo>
                        <a:pt x="1854532" y="284223"/>
                      </a:moveTo>
                      <a:cubicBezTo>
                        <a:pt x="1858244" y="284223"/>
                        <a:pt x="1861564" y="284809"/>
                        <a:pt x="1864496" y="285981"/>
                      </a:cubicBezTo>
                      <a:lnTo>
                        <a:pt x="1864496" y="295553"/>
                      </a:lnTo>
                      <a:cubicBezTo>
                        <a:pt x="1861500" y="293404"/>
                        <a:pt x="1857984" y="292330"/>
                        <a:pt x="1853946" y="292330"/>
                      </a:cubicBezTo>
                      <a:cubicBezTo>
                        <a:pt x="1846068" y="292330"/>
                        <a:pt x="1839460" y="296399"/>
                        <a:pt x="1834120" y="304538"/>
                      </a:cubicBezTo>
                      <a:cubicBezTo>
                        <a:pt x="1828780" y="312677"/>
                        <a:pt x="1826112" y="324235"/>
                        <a:pt x="1826112" y="339211"/>
                      </a:cubicBezTo>
                      <a:lnTo>
                        <a:pt x="1826112" y="386189"/>
                      </a:lnTo>
                      <a:lnTo>
                        <a:pt x="1817322" y="386189"/>
                      </a:lnTo>
                      <a:lnTo>
                        <a:pt x="1817322" y="286177"/>
                      </a:lnTo>
                      <a:lnTo>
                        <a:pt x="1826112" y="286177"/>
                      </a:lnTo>
                      <a:lnTo>
                        <a:pt x="1826112" y="308347"/>
                      </a:lnTo>
                      <a:lnTo>
                        <a:pt x="1826502" y="308347"/>
                      </a:lnTo>
                      <a:cubicBezTo>
                        <a:pt x="1828780" y="300729"/>
                        <a:pt x="1832394" y="294804"/>
                        <a:pt x="1837344" y="290572"/>
                      </a:cubicBezTo>
                      <a:cubicBezTo>
                        <a:pt x="1842292" y="286340"/>
                        <a:pt x="1848022" y="284223"/>
                        <a:pt x="1854532" y="284223"/>
                      </a:cubicBezTo>
                      <a:close/>
                      <a:moveTo>
                        <a:pt x="1673558" y="284223"/>
                      </a:moveTo>
                      <a:cubicBezTo>
                        <a:pt x="1677270" y="284223"/>
                        <a:pt x="1680590" y="284809"/>
                        <a:pt x="1683520" y="285981"/>
                      </a:cubicBezTo>
                      <a:lnTo>
                        <a:pt x="1683520" y="295553"/>
                      </a:lnTo>
                      <a:cubicBezTo>
                        <a:pt x="1680524" y="293404"/>
                        <a:pt x="1677008" y="292330"/>
                        <a:pt x="1672972" y="292330"/>
                      </a:cubicBezTo>
                      <a:cubicBezTo>
                        <a:pt x="1665092" y="292330"/>
                        <a:pt x="1658484" y="296399"/>
                        <a:pt x="1653144" y="304538"/>
                      </a:cubicBezTo>
                      <a:cubicBezTo>
                        <a:pt x="1647806" y="312677"/>
                        <a:pt x="1645136" y="324235"/>
                        <a:pt x="1645136" y="339211"/>
                      </a:cubicBezTo>
                      <a:lnTo>
                        <a:pt x="1645136" y="386189"/>
                      </a:lnTo>
                      <a:lnTo>
                        <a:pt x="1636346" y="386189"/>
                      </a:lnTo>
                      <a:lnTo>
                        <a:pt x="1636346" y="286177"/>
                      </a:lnTo>
                      <a:lnTo>
                        <a:pt x="1645136" y="286177"/>
                      </a:lnTo>
                      <a:lnTo>
                        <a:pt x="1645136" y="308347"/>
                      </a:lnTo>
                      <a:lnTo>
                        <a:pt x="1645526" y="308347"/>
                      </a:lnTo>
                      <a:cubicBezTo>
                        <a:pt x="1647806" y="300729"/>
                        <a:pt x="1651420" y="294804"/>
                        <a:pt x="1656368" y="290572"/>
                      </a:cubicBezTo>
                      <a:cubicBezTo>
                        <a:pt x="1661316" y="286340"/>
                        <a:pt x="1667046" y="284223"/>
                        <a:pt x="1673558" y="284223"/>
                      </a:cubicBezTo>
                      <a:close/>
                      <a:moveTo>
                        <a:pt x="844883" y="284223"/>
                      </a:moveTo>
                      <a:cubicBezTo>
                        <a:pt x="848594" y="284223"/>
                        <a:pt x="851915" y="284809"/>
                        <a:pt x="854845" y="285981"/>
                      </a:cubicBezTo>
                      <a:lnTo>
                        <a:pt x="854845" y="295553"/>
                      </a:lnTo>
                      <a:cubicBezTo>
                        <a:pt x="851850" y="293404"/>
                        <a:pt x="848334" y="292330"/>
                        <a:pt x="844297" y="292330"/>
                      </a:cubicBezTo>
                      <a:cubicBezTo>
                        <a:pt x="836418" y="292330"/>
                        <a:pt x="829809" y="296399"/>
                        <a:pt x="824470" y="304538"/>
                      </a:cubicBezTo>
                      <a:cubicBezTo>
                        <a:pt x="819131" y="312677"/>
                        <a:pt x="816461" y="324235"/>
                        <a:pt x="816461" y="339211"/>
                      </a:cubicBezTo>
                      <a:lnTo>
                        <a:pt x="816461" y="386189"/>
                      </a:lnTo>
                      <a:lnTo>
                        <a:pt x="807671" y="386189"/>
                      </a:lnTo>
                      <a:lnTo>
                        <a:pt x="807671" y="286177"/>
                      </a:lnTo>
                      <a:lnTo>
                        <a:pt x="816461" y="286177"/>
                      </a:lnTo>
                      <a:lnTo>
                        <a:pt x="816461" y="308347"/>
                      </a:lnTo>
                      <a:lnTo>
                        <a:pt x="816852" y="308347"/>
                      </a:lnTo>
                      <a:cubicBezTo>
                        <a:pt x="819131" y="300729"/>
                        <a:pt x="822745" y="294804"/>
                        <a:pt x="827693" y="290572"/>
                      </a:cubicBezTo>
                      <a:cubicBezTo>
                        <a:pt x="832642" y="286340"/>
                        <a:pt x="838372" y="284223"/>
                        <a:pt x="844883" y="284223"/>
                      </a:cubicBezTo>
                      <a:close/>
                      <a:moveTo>
                        <a:pt x="168608" y="284223"/>
                      </a:moveTo>
                      <a:cubicBezTo>
                        <a:pt x="172319" y="284223"/>
                        <a:pt x="175640" y="284809"/>
                        <a:pt x="178570" y="285981"/>
                      </a:cubicBezTo>
                      <a:lnTo>
                        <a:pt x="178570" y="295553"/>
                      </a:lnTo>
                      <a:cubicBezTo>
                        <a:pt x="175575" y="293404"/>
                        <a:pt x="172059" y="292330"/>
                        <a:pt x="168022" y="292330"/>
                      </a:cubicBezTo>
                      <a:cubicBezTo>
                        <a:pt x="160143" y="292330"/>
                        <a:pt x="153534" y="296399"/>
                        <a:pt x="148195" y="304538"/>
                      </a:cubicBezTo>
                      <a:cubicBezTo>
                        <a:pt x="142856" y="312677"/>
                        <a:pt x="140186" y="324235"/>
                        <a:pt x="140186" y="339211"/>
                      </a:cubicBezTo>
                      <a:lnTo>
                        <a:pt x="140186" y="386189"/>
                      </a:lnTo>
                      <a:lnTo>
                        <a:pt x="131396" y="386189"/>
                      </a:lnTo>
                      <a:lnTo>
                        <a:pt x="131396" y="286177"/>
                      </a:lnTo>
                      <a:lnTo>
                        <a:pt x="140186" y="286177"/>
                      </a:lnTo>
                      <a:lnTo>
                        <a:pt x="140186" y="308347"/>
                      </a:lnTo>
                      <a:lnTo>
                        <a:pt x="140577" y="308347"/>
                      </a:lnTo>
                      <a:cubicBezTo>
                        <a:pt x="142856" y="300729"/>
                        <a:pt x="146470" y="294804"/>
                        <a:pt x="151418" y="290572"/>
                      </a:cubicBezTo>
                      <a:cubicBezTo>
                        <a:pt x="156367" y="286340"/>
                        <a:pt x="162097" y="284223"/>
                        <a:pt x="168608" y="284223"/>
                      </a:cubicBezTo>
                      <a:close/>
                      <a:moveTo>
                        <a:pt x="2451432" y="283735"/>
                      </a:moveTo>
                      <a:cubicBezTo>
                        <a:pt x="2462240" y="283735"/>
                        <a:pt x="2470508" y="287332"/>
                        <a:pt x="2476240" y="294527"/>
                      </a:cubicBezTo>
                      <a:cubicBezTo>
                        <a:pt x="2481968" y="301722"/>
                        <a:pt x="2484834" y="311994"/>
                        <a:pt x="2484834" y="325342"/>
                      </a:cubicBezTo>
                      <a:lnTo>
                        <a:pt x="2484834" y="386189"/>
                      </a:lnTo>
                      <a:lnTo>
                        <a:pt x="2475848" y="386189"/>
                      </a:lnTo>
                      <a:lnTo>
                        <a:pt x="2475848" y="327979"/>
                      </a:lnTo>
                      <a:cubicBezTo>
                        <a:pt x="2475848" y="303952"/>
                        <a:pt x="2467188" y="291939"/>
                        <a:pt x="2449868" y="291939"/>
                      </a:cubicBezTo>
                      <a:cubicBezTo>
                        <a:pt x="2440232" y="291939"/>
                        <a:pt x="2432320" y="295472"/>
                        <a:pt x="2426136" y="302536"/>
                      </a:cubicBezTo>
                      <a:cubicBezTo>
                        <a:pt x="2419950" y="309601"/>
                        <a:pt x="2416856" y="318342"/>
                        <a:pt x="2416856" y="328760"/>
                      </a:cubicBezTo>
                      <a:lnTo>
                        <a:pt x="2416856" y="386189"/>
                      </a:lnTo>
                      <a:lnTo>
                        <a:pt x="2407872" y="386189"/>
                      </a:lnTo>
                      <a:lnTo>
                        <a:pt x="2407872" y="286177"/>
                      </a:lnTo>
                      <a:lnTo>
                        <a:pt x="2416856" y="286177"/>
                      </a:lnTo>
                      <a:lnTo>
                        <a:pt x="2416856" y="304343"/>
                      </a:lnTo>
                      <a:lnTo>
                        <a:pt x="2417248" y="304343"/>
                      </a:lnTo>
                      <a:cubicBezTo>
                        <a:pt x="2424540" y="290604"/>
                        <a:pt x="2435934" y="283735"/>
                        <a:pt x="2451432" y="283735"/>
                      </a:cubicBezTo>
                      <a:close/>
                      <a:moveTo>
                        <a:pt x="2349052" y="283735"/>
                      </a:moveTo>
                      <a:cubicBezTo>
                        <a:pt x="2359340" y="283735"/>
                        <a:pt x="2367300" y="286926"/>
                        <a:pt x="2372932" y="293307"/>
                      </a:cubicBezTo>
                      <a:cubicBezTo>
                        <a:pt x="2378564" y="299688"/>
                        <a:pt x="2381380" y="308966"/>
                        <a:pt x="2381380" y="321142"/>
                      </a:cubicBezTo>
                      <a:lnTo>
                        <a:pt x="2381380" y="386189"/>
                      </a:lnTo>
                      <a:lnTo>
                        <a:pt x="2372394" y="386189"/>
                      </a:lnTo>
                      <a:lnTo>
                        <a:pt x="2372394" y="366167"/>
                      </a:lnTo>
                      <a:lnTo>
                        <a:pt x="2372004" y="366167"/>
                      </a:lnTo>
                      <a:cubicBezTo>
                        <a:pt x="2368812" y="373004"/>
                        <a:pt x="2364174" y="378457"/>
                        <a:pt x="2358086" y="382527"/>
                      </a:cubicBezTo>
                      <a:cubicBezTo>
                        <a:pt x="2351998" y="386596"/>
                        <a:pt x="2345242" y="388631"/>
                        <a:pt x="2337820" y="388631"/>
                      </a:cubicBezTo>
                      <a:cubicBezTo>
                        <a:pt x="2328314" y="388631"/>
                        <a:pt x="2320792" y="385961"/>
                        <a:pt x="2315258" y="380622"/>
                      </a:cubicBezTo>
                      <a:cubicBezTo>
                        <a:pt x="2309724" y="375283"/>
                        <a:pt x="2306956" y="368544"/>
                        <a:pt x="2306956" y="360405"/>
                      </a:cubicBezTo>
                      <a:cubicBezTo>
                        <a:pt x="2306956" y="342955"/>
                        <a:pt x="2318514" y="332406"/>
                        <a:pt x="2341628" y="328760"/>
                      </a:cubicBezTo>
                      <a:lnTo>
                        <a:pt x="2372394" y="324170"/>
                      </a:lnTo>
                      <a:cubicBezTo>
                        <a:pt x="2372394" y="302683"/>
                        <a:pt x="2364320" y="291939"/>
                        <a:pt x="2348172" y="291939"/>
                      </a:cubicBezTo>
                      <a:cubicBezTo>
                        <a:pt x="2337168" y="291939"/>
                        <a:pt x="2326458" y="296367"/>
                        <a:pt x="2316040" y="305222"/>
                      </a:cubicBezTo>
                      <a:lnTo>
                        <a:pt x="2316040" y="294381"/>
                      </a:lnTo>
                      <a:cubicBezTo>
                        <a:pt x="2319750" y="291451"/>
                        <a:pt x="2324780" y="288944"/>
                        <a:pt x="2331130" y="286860"/>
                      </a:cubicBezTo>
                      <a:cubicBezTo>
                        <a:pt x="2337478" y="284777"/>
                        <a:pt x="2343452" y="283735"/>
                        <a:pt x="2349052" y="283735"/>
                      </a:cubicBezTo>
                      <a:close/>
                      <a:moveTo>
                        <a:pt x="2207004" y="283735"/>
                      </a:moveTo>
                      <a:cubicBezTo>
                        <a:pt x="2219702" y="283735"/>
                        <a:pt x="2229614" y="288114"/>
                        <a:pt x="2236744" y="296871"/>
                      </a:cubicBezTo>
                      <a:cubicBezTo>
                        <a:pt x="2243874" y="305629"/>
                        <a:pt x="2247440" y="317528"/>
                        <a:pt x="2247440" y="332569"/>
                      </a:cubicBezTo>
                      <a:cubicBezTo>
                        <a:pt x="2247440" y="349303"/>
                        <a:pt x="2243354" y="362830"/>
                        <a:pt x="2235182" y="373150"/>
                      </a:cubicBezTo>
                      <a:cubicBezTo>
                        <a:pt x="2227010" y="383471"/>
                        <a:pt x="2216218" y="388631"/>
                        <a:pt x="2202804" y="388631"/>
                      </a:cubicBezTo>
                      <a:cubicBezTo>
                        <a:pt x="2187828" y="388631"/>
                        <a:pt x="2176760" y="381892"/>
                        <a:pt x="2169598" y="368414"/>
                      </a:cubicBezTo>
                      <a:lnTo>
                        <a:pt x="2169206" y="368414"/>
                      </a:lnTo>
                      <a:lnTo>
                        <a:pt x="2169206" y="432191"/>
                      </a:lnTo>
                      <a:lnTo>
                        <a:pt x="2160220" y="432191"/>
                      </a:lnTo>
                      <a:lnTo>
                        <a:pt x="2160220" y="286177"/>
                      </a:lnTo>
                      <a:lnTo>
                        <a:pt x="2169206" y="286177"/>
                      </a:lnTo>
                      <a:lnTo>
                        <a:pt x="2169206" y="306785"/>
                      </a:lnTo>
                      <a:lnTo>
                        <a:pt x="2169598" y="306785"/>
                      </a:lnTo>
                      <a:cubicBezTo>
                        <a:pt x="2173178" y="299427"/>
                        <a:pt x="2178306" y="293746"/>
                        <a:pt x="2184980" y="289742"/>
                      </a:cubicBezTo>
                      <a:cubicBezTo>
                        <a:pt x="2191654" y="285737"/>
                        <a:pt x="2198996" y="283735"/>
                        <a:pt x="2207004" y="283735"/>
                      </a:cubicBezTo>
                      <a:close/>
                      <a:moveTo>
                        <a:pt x="2111564" y="283735"/>
                      </a:moveTo>
                      <a:cubicBezTo>
                        <a:pt x="2120158" y="283735"/>
                        <a:pt x="2127516" y="285493"/>
                        <a:pt x="2133636" y="289009"/>
                      </a:cubicBezTo>
                      <a:lnTo>
                        <a:pt x="2133636" y="299167"/>
                      </a:lnTo>
                      <a:cubicBezTo>
                        <a:pt x="2126214" y="294348"/>
                        <a:pt x="2118530" y="291939"/>
                        <a:pt x="2110588" y="291939"/>
                      </a:cubicBezTo>
                      <a:cubicBezTo>
                        <a:pt x="2104010" y="291939"/>
                        <a:pt x="2098704" y="293648"/>
                        <a:pt x="2094668" y="297067"/>
                      </a:cubicBezTo>
                      <a:cubicBezTo>
                        <a:pt x="2090630" y="300485"/>
                        <a:pt x="2088612" y="304929"/>
                        <a:pt x="2088612" y="310399"/>
                      </a:cubicBezTo>
                      <a:cubicBezTo>
                        <a:pt x="2088612" y="315152"/>
                        <a:pt x="2089882" y="319010"/>
                        <a:pt x="2092420" y="321972"/>
                      </a:cubicBezTo>
                      <a:cubicBezTo>
                        <a:pt x="2094960" y="324935"/>
                        <a:pt x="2100560" y="328337"/>
                        <a:pt x="2109220" y="332179"/>
                      </a:cubicBezTo>
                      <a:cubicBezTo>
                        <a:pt x="2119638" y="336867"/>
                        <a:pt x="2126800" y="341213"/>
                        <a:pt x="2130706" y="345217"/>
                      </a:cubicBezTo>
                      <a:cubicBezTo>
                        <a:pt x="2134614" y="349222"/>
                        <a:pt x="2136566" y="354545"/>
                        <a:pt x="2136566" y="361186"/>
                      </a:cubicBezTo>
                      <a:cubicBezTo>
                        <a:pt x="2136566" y="369130"/>
                        <a:pt x="2133588" y="375690"/>
                        <a:pt x="2127630" y="380866"/>
                      </a:cubicBezTo>
                      <a:cubicBezTo>
                        <a:pt x="2121672" y="386043"/>
                        <a:pt x="2113452" y="388631"/>
                        <a:pt x="2102968" y="388631"/>
                      </a:cubicBezTo>
                      <a:cubicBezTo>
                        <a:pt x="2093332" y="388631"/>
                        <a:pt x="2085290" y="386352"/>
                        <a:pt x="2078844" y="381794"/>
                      </a:cubicBezTo>
                      <a:lnTo>
                        <a:pt x="2078844" y="370953"/>
                      </a:lnTo>
                      <a:cubicBezTo>
                        <a:pt x="2082230" y="373883"/>
                        <a:pt x="2086332" y="376194"/>
                        <a:pt x="2091150" y="377887"/>
                      </a:cubicBezTo>
                      <a:cubicBezTo>
                        <a:pt x="2095970" y="379580"/>
                        <a:pt x="2100136" y="380427"/>
                        <a:pt x="2103652" y="380427"/>
                      </a:cubicBezTo>
                      <a:cubicBezTo>
                        <a:pt x="2119344" y="380427"/>
                        <a:pt x="2127190" y="374013"/>
                        <a:pt x="2127190" y="361186"/>
                      </a:cubicBezTo>
                      <a:cubicBezTo>
                        <a:pt x="2127190" y="356758"/>
                        <a:pt x="2125464" y="352982"/>
                        <a:pt x="2122014" y="349857"/>
                      </a:cubicBezTo>
                      <a:cubicBezTo>
                        <a:pt x="2118564" y="346731"/>
                        <a:pt x="2112964" y="343508"/>
                        <a:pt x="2105216" y="340187"/>
                      </a:cubicBezTo>
                      <a:cubicBezTo>
                        <a:pt x="2095644" y="336020"/>
                        <a:pt x="2088920" y="331707"/>
                        <a:pt x="2085046" y="327246"/>
                      </a:cubicBezTo>
                      <a:cubicBezTo>
                        <a:pt x="2081172" y="322786"/>
                        <a:pt x="2079236" y="317366"/>
                        <a:pt x="2079236" y="310985"/>
                      </a:cubicBezTo>
                      <a:cubicBezTo>
                        <a:pt x="2079236" y="302845"/>
                        <a:pt x="2082344" y="296269"/>
                        <a:pt x="2088562" y="291255"/>
                      </a:cubicBezTo>
                      <a:cubicBezTo>
                        <a:pt x="2094780" y="286242"/>
                        <a:pt x="2102448" y="283735"/>
                        <a:pt x="2111564" y="283735"/>
                      </a:cubicBezTo>
                      <a:close/>
                      <a:moveTo>
                        <a:pt x="2022806" y="283735"/>
                      </a:moveTo>
                      <a:cubicBezTo>
                        <a:pt x="2033614" y="283735"/>
                        <a:pt x="2041884" y="287332"/>
                        <a:pt x="2047614" y="294527"/>
                      </a:cubicBezTo>
                      <a:cubicBezTo>
                        <a:pt x="2053344" y="301722"/>
                        <a:pt x="2056208" y="311994"/>
                        <a:pt x="2056208" y="325342"/>
                      </a:cubicBezTo>
                      <a:lnTo>
                        <a:pt x="2056208" y="386189"/>
                      </a:lnTo>
                      <a:lnTo>
                        <a:pt x="2047224" y="386189"/>
                      </a:lnTo>
                      <a:lnTo>
                        <a:pt x="2047224" y="327979"/>
                      </a:lnTo>
                      <a:cubicBezTo>
                        <a:pt x="2047224" y="303952"/>
                        <a:pt x="2038564" y="291939"/>
                        <a:pt x="2021244" y="291939"/>
                      </a:cubicBezTo>
                      <a:cubicBezTo>
                        <a:pt x="2011608" y="291939"/>
                        <a:pt x="2003696" y="295472"/>
                        <a:pt x="1997510" y="302536"/>
                      </a:cubicBezTo>
                      <a:cubicBezTo>
                        <a:pt x="1991324" y="309601"/>
                        <a:pt x="1988232" y="318342"/>
                        <a:pt x="1988232" y="328760"/>
                      </a:cubicBezTo>
                      <a:lnTo>
                        <a:pt x="1988232" y="386189"/>
                      </a:lnTo>
                      <a:lnTo>
                        <a:pt x="1979246" y="386189"/>
                      </a:lnTo>
                      <a:lnTo>
                        <a:pt x="1979246" y="286177"/>
                      </a:lnTo>
                      <a:lnTo>
                        <a:pt x="1988232" y="286177"/>
                      </a:lnTo>
                      <a:lnTo>
                        <a:pt x="1988232" y="304343"/>
                      </a:lnTo>
                      <a:lnTo>
                        <a:pt x="1988622" y="304343"/>
                      </a:lnTo>
                      <a:cubicBezTo>
                        <a:pt x="1995914" y="290604"/>
                        <a:pt x="2007310" y="283735"/>
                        <a:pt x="2022806" y="283735"/>
                      </a:cubicBezTo>
                      <a:close/>
                      <a:moveTo>
                        <a:pt x="1920426" y="283735"/>
                      </a:moveTo>
                      <a:cubicBezTo>
                        <a:pt x="1930714" y="283735"/>
                        <a:pt x="1938674" y="286926"/>
                        <a:pt x="1944306" y="293307"/>
                      </a:cubicBezTo>
                      <a:cubicBezTo>
                        <a:pt x="1949938" y="299688"/>
                        <a:pt x="1952754" y="308966"/>
                        <a:pt x="1952754" y="321142"/>
                      </a:cubicBezTo>
                      <a:lnTo>
                        <a:pt x="1952754" y="386189"/>
                      </a:lnTo>
                      <a:lnTo>
                        <a:pt x="1943770" y="386189"/>
                      </a:lnTo>
                      <a:lnTo>
                        <a:pt x="1943770" y="366167"/>
                      </a:lnTo>
                      <a:lnTo>
                        <a:pt x="1943378" y="366167"/>
                      </a:lnTo>
                      <a:cubicBezTo>
                        <a:pt x="1940188" y="373004"/>
                        <a:pt x="1935548" y="378457"/>
                        <a:pt x="1929460" y="382527"/>
                      </a:cubicBezTo>
                      <a:cubicBezTo>
                        <a:pt x="1923372" y="386596"/>
                        <a:pt x="1916618" y="388631"/>
                        <a:pt x="1909194" y="388631"/>
                      </a:cubicBezTo>
                      <a:cubicBezTo>
                        <a:pt x="1899688" y="388631"/>
                        <a:pt x="1892168" y="385961"/>
                        <a:pt x="1886634" y="380622"/>
                      </a:cubicBezTo>
                      <a:cubicBezTo>
                        <a:pt x="1881098" y="375283"/>
                        <a:pt x="1878332" y="368544"/>
                        <a:pt x="1878332" y="360405"/>
                      </a:cubicBezTo>
                      <a:cubicBezTo>
                        <a:pt x="1878332" y="342955"/>
                        <a:pt x="1889888" y="332406"/>
                        <a:pt x="1913004" y="328760"/>
                      </a:cubicBezTo>
                      <a:lnTo>
                        <a:pt x="1943770" y="324170"/>
                      </a:lnTo>
                      <a:cubicBezTo>
                        <a:pt x="1943770" y="302683"/>
                        <a:pt x="1935696" y="291939"/>
                        <a:pt x="1919548" y="291939"/>
                      </a:cubicBezTo>
                      <a:cubicBezTo>
                        <a:pt x="1908544" y="291939"/>
                        <a:pt x="1897832" y="296367"/>
                        <a:pt x="1887414" y="305222"/>
                      </a:cubicBezTo>
                      <a:lnTo>
                        <a:pt x="1887414" y="294381"/>
                      </a:lnTo>
                      <a:cubicBezTo>
                        <a:pt x="1891126" y="291451"/>
                        <a:pt x="1896156" y="288944"/>
                        <a:pt x="1902504" y="286860"/>
                      </a:cubicBezTo>
                      <a:cubicBezTo>
                        <a:pt x="1908852" y="284777"/>
                        <a:pt x="1914826" y="283735"/>
                        <a:pt x="1920426" y="283735"/>
                      </a:cubicBezTo>
                      <a:close/>
                      <a:moveTo>
                        <a:pt x="1569174" y="283735"/>
                      </a:moveTo>
                      <a:cubicBezTo>
                        <a:pt x="1581610" y="283735"/>
                        <a:pt x="1591148" y="288098"/>
                        <a:pt x="1597790" y="296823"/>
                      </a:cubicBezTo>
                      <a:cubicBezTo>
                        <a:pt x="1604432" y="305548"/>
                        <a:pt x="1607752" y="317463"/>
                        <a:pt x="1607752" y="332569"/>
                      </a:cubicBezTo>
                      <a:lnTo>
                        <a:pt x="1607752" y="336574"/>
                      </a:lnTo>
                      <a:lnTo>
                        <a:pt x="1533720" y="336574"/>
                      </a:lnTo>
                      <a:cubicBezTo>
                        <a:pt x="1533720" y="350312"/>
                        <a:pt x="1536894" y="361056"/>
                        <a:pt x="1543242" y="368804"/>
                      </a:cubicBezTo>
                      <a:cubicBezTo>
                        <a:pt x="1549590" y="376553"/>
                        <a:pt x="1558300" y="380427"/>
                        <a:pt x="1569368" y="380427"/>
                      </a:cubicBezTo>
                      <a:cubicBezTo>
                        <a:pt x="1580568" y="380427"/>
                        <a:pt x="1591508" y="376292"/>
                        <a:pt x="1602186" y="368023"/>
                      </a:cubicBezTo>
                      <a:lnTo>
                        <a:pt x="1602186" y="377594"/>
                      </a:lnTo>
                      <a:cubicBezTo>
                        <a:pt x="1591832" y="384952"/>
                        <a:pt x="1580276" y="388631"/>
                        <a:pt x="1567514" y="388631"/>
                      </a:cubicBezTo>
                      <a:cubicBezTo>
                        <a:pt x="1554620" y="388631"/>
                        <a:pt x="1544202" y="384008"/>
                        <a:pt x="1536260" y="374762"/>
                      </a:cubicBezTo>
                      <a:cubicBezTo>
                        <a:pt x="1528316" y="365516"/>
                        <a:pt x="1524344" y="352461"/>
                        <a:pt x="1524344" y="335597"/>
                      </a:cubicBezTo>
                      <a:cubicBezTo>
                        <a:pt x="1524344" y="321012"/>
                        <a:pt x="1528494" y="308722"/>
                        <a:pt x="1536796" y="298727"/>
                      </a:cubicBezTo>
                      <a:cubicBezTo>
                        <a:pt x="1545098" y="288732"/>
                        <a:pt x="1555890" y="283735"/>
                        <a:pt x="1569174" y="283735"/>
                      </a:cubicBezTo>
                      <a:close/>
                      <a:moveTo>
                        <a:pt x="1111973" y="283735"/>
                      </a:moveTo>
                      <a:cubicBezTo>
                        <a:pt x="1124410" y="283735"/>
                        <a:pt x="1133949" y="288098"/>
                        <a:pt x="1140590" y="296823"/>
                      </a:cubicBezTo>
                      <a:cubicBezTo>
                        <a:pt x="1147232" y="305548"/>
                        <a:pt x="1150552" y="317463"/>
                        <a:pt x="1150552" y="332569"/>
                      </a:cubicBezTo>
                      <a:lnTo>
                        <a:pt x="1150552" y="336574"/>
                      </a:lnTo>
                      <a:lnTo>
                        <a:pt x="1076520" y="336574"/>
                      </a:lnTo>
                      <a:cubicBezTo>
                        <a:pt x="1076520" y="350312"/>
                        <a:pt x="1079694" y="361056"/>
                        <a:pt x="1086042" y="368804"/>
                      </a:cubicBezTo>
                      <a:cubicBezTo>
                        <a:pt x="1092391" y="376553"/>
                        <a:pt x="1101100" y="380427"/>
                        <a:pt x="1112169" y="380427"/>
                      </a:cubicBezTo>
                      <a:cubicBezTo>
                        <a:pt x="1123368" y="380427"/>
                        <a:pt x="1134307" y="376292"/>
                        <a:pt x="1144985" y="368023"/>
                      </a:cubicBezTo>
                      <a:lnTo>
                        <a:pt x="1144985" y="377594"/>
                      </a:lnTo>
                      <a:cubicBezTo>
                        <a:pt x="1134632" y="384952"/>
                        <a:pt x="1123075" y="388631"/>
                        <a:pt x="1110313" y="388631"/>
                      </a:cubicBezTo>
                      <a:cubicBezTo>
                        <a:pt x="1097421" y="388631"/>
                        <a:pt x="1087003" y="384008"/>
                        <a:pt x="1079059" y="374762"/>
                      </a:cubicBezTo>
                      <a:cubicBezTo>
                        <a:pt x="1071116" y="365516"/>
                        <a:pt x="1067144" y="352461"/>
                        <a:pt x="1067144" y="335597"/>
                      </a:cubicBezTo>
                      <a:cubicBezTo>
                        <a:pt x="1067144" y="321012"/>
                        <a:pt x="1071295" y="308722"/>
                        <a:pt x="1079596" y="298727"/>
                      </a:cubicBezTo>
                      <a:cubicBezTo>
                        <a:pt x="1087898" y="288732"/>
                        <a:pt x="1098691" y="283735"/>
                        <a:pt x="1111973" y="283735"/>
                      </a:cubicBezTo>
                      <a:close/>
                      <a:moveTo>
                        <a:pt x="956006" y="283735"/>
                      </a:moveTo>
                      <a:cubicBezTo>
                        <a:pt x="966815" y="283735"/>
                        <a:pt x="975084" y="287332"/>
                        <a:pt x="980814" y="294527"/>
                      </a:cubicBezTo>
                      <a:cubicBezTo>
                        <a:pt x="986544" y="301722"/>
                        <a:pt x="989409" y="311994"/>
                        <a:pt x="989409" y="325342"/>
                      </a:cubicBezTo>
                      <a:lnTo>
                        <a:pt x="989409" y="386189"/>
                      </a:lnTo>
                      <a:lnTo>
                        <a:pt x="980424" y="386189"/>
                      </a:lnTo>
                      <a:lnTo>
                        <a:pt x="980424" y="327979"/>
                      </a:lnTo>
                      <a:cubicBezTo>
                        <a:pt x="980424" y="303952"/>
                        <a:pt x="971764" y="291939"/>
                        <a:pt x="954444" y="291939"/>
                      </a:cubicBezTo>
                      <a:cubicBezTo>
                        <a:pt x="944807" y="291939"/>
                        <a:pt x="936896" y="295472"/>
                        <a:pt x="930710" y="302536"/>
                      </a:cubicBezTo>
                      <a:cubicBezTo>
                        <a:pt x="924524" y="309601"/>
                        <a:pt x="921432" y="318342"/>
                        <a:pt x="921432" y="328760"/>
                      </a:cubicBezTo>
                      <a:lnTo>
                        <a:pt x="921432" y="386189"/>
                      </a:lnTo>
                      <a:lnTo>
                        <a:pt x="912446" y="386189"/>
                      </a:lnTo>
                      <a:lnTo>
                        <a:pt x="912446" y="286177"/>
                      </a:lnTo>
                      <a:lnTo>
                        <a:pt x="921432" y="286177"/>
                      </a:lnTo>
                      <a:lnTo>
                        <a:pt x="921432" y="304343"/>
                      </a:lnTo>
                      <a:lnTo>
                        <a:pt x="921822" y="304343"/>
                      </a:lnTo>
                      <a:cubicBezTo>
                        <a:pt x="929115" y="290604"/>
                        <a:pt x="940510" y="283735"/>
                        <a:pt x="956006" y="283735"/>
                      </a:cubicBezTo>
                      <a:close/>
                      <a:moveTo>
                        <a:pt x="740154" y="283735"/>
                      </a:moveTo>
                      <a:cubicBezTo>
                        <a:pt x="752851" y="283735"/>
                        <a:pt x="762765" y="288114"/>
                        <a:pt x="769894" y="296871"/>
                      </a:cubicBezTo>
                      <a:cubicBezTo>
                        <a:pt x="777024" y="305629"/>
                        <a:pt x="780589" y="317528"/>
                        <a:pt x="780589" y="332569"/>
                      </a:cubicBezTo>
                      <a:cubicBezTo>
                        <a:pt x="780589" y="349303"/>
                        <a:pt x="776503" y="362830"/>
                        <a:pt x="768332" y="373150"/>
                      </a:cubicBezTo>
                      <a:cubicBezTo>
                        <a:pt x="760160" y="383471"/>
                        <a:pt x="749368" y="388631"/>
                        <a:pt x="735955" y="388631"/>
                      </a:cubicBezTo>
                      <a:cubicBezTo>
                        <a:pt x="720979" y="388631"/>
                        <a:pt x="709910" y="381892"/>
                        <a:pt x="702747" y="368414"/>
                      </a:cubicBezTo>
                      <a:lnTo>
                        <a:pt x="702357" y="368414"/>
                      </a:lnTo>
                      <a:lnTo>
                        <a:pt x="702357" y="432191"/>
                      </a:lnTo>
                      <a:lnTo>
                        <a:pt x="693371" y="432191"/>
                      </a:lnTo>
                      <a:lnTo>
                        <a:pt x="693371" y="286177"/>
                      </a:lnTo>
                      <a:lnTo>
                        <a:pt x="702357" y="286177"/>
                      </a:lnTo>
                      <a:lnTo>
                        <a:pt x="702357" y="306785"/>
                      </a:lnTo>
                      <a:lnTo>
                        <a:pt x="702747" y="306785"/>
                      </a:lnTo>
                      <a:cubicBezTo>
                        <a:pt x="706329" y="299427"/>
                        <a:pt x="711456" y="293746"/>
                        <a:pt x="718130" y="289742"/>
                      </a:cubicBezTo>
                      <a:cubicBezTo>
                        <a:pt x="724804" y="285737"/>
                        <a:pt x="732146" y="283735"/>
                        <a:pt x="740154" y="283735"/>
                      </a:cubicBezTo>
                      <a:close/>
                      <a:moveTo>
                        <a:pt x="225614" y="283735"/>
                      </a:moveTo>
                      <a:cubicBezTo>
                        <a:pt x="234208" y="283735"/>
                        <a:pt x="241566" y="285493"/>
                        <a:pt x="247687" y="289009"/>
                      </a:cubicBezTo>
                      <a:lnTo>
                        <a:pt x="247687" y="299167"/>
                      </a:lnTo>
                      <a:cubicBezTo>
                        <a:pt x="240264" y="294348"/>
                        <a:pt x="232581" y="291939"/>
                        <a:pt x="224637" y="291939"/>
                      </a:cubicBezTo>
                      <a:cubicBezTo>
                        <a:pt x="218061" y="291939"/>
                        <a:pt x="212754" y="293648"/>
                        <a:pt x="208717" y="297067"/>
                      </a:cubicBezTo>
                      <a:cubicBezTo>
                        <a:pt x="204680" y="300485"/>
                        <a:pt x="202662" y="304929"/>
                        <a:pt x="202662" y="310399"/>
                      </a:cubicBezTo>
                      <a:cubicBezTo>
                        <a:pt x="202662" y="315152"/>
                        <a:pt x="203931" y="319010"/>
                        <a:pt x="206471" y="321972"/>
                      </a:cubicBezTo>
                      <a:cubicBezTo>
                        <a:pt x="209010" y="324935"/>
                        <a:pt x="214610" y="328337"/>
                        <a:pt x="223270" y="332179"/>
                      </a:cubicBezTo>
                      <a:cubicBezTo>
                        <a:pt x="233688" y="336867"/>
                        <a:pt x="240850" y="341213"/>
                        <a:pt x="244757" y="345217"/>
                      </a:cubicBezTo>
                      <a:cubicBezTo>
                        <a:pt x="248663" y="349222"/>
                        <a:pt x="250617" y="354545"/>
                        <a:pt x="250617" y="361186"/>
                      </a:cubicBezTo>
                      <a:cubicBezTo>
                        <a:pt x="250617" y="369130"/>
                        <a:pt x="247638" y="375690"/>
                        <a:pt x="241680" y="380866"/>
                      </a:cubicBezTo>
                      <a:cubicBezTo>
                        <a:pt x="235722" y="386043"/>
                        <a:pt x="227502" y="388631"/>
                        <a:pt x="217019" y="388631"/>
                      </a:cubicBezTo>
                      <a:cubicBezTo>
                        <a:pt x="207382" y="388631"/>
                        <a:pt x="199341" y="386352"/>
                        <a:pt x="192895" y="381794"/>
                      </a:cubicBezTo>
                      <a:lnTo>
                        <a:pt x="192895" y="370953"/>
                      </a:lnTo>
                      <a:cubicBezTo>
                        <a:pt x="196281" y="373883"/>
                        <a:pt x="200383" y="376194"/>
                        <a:pt x="205201" y="377887"/>
                      </a:cubicBezTo>
                      <a:cubicBezTo>
                        <a:pt x="210019" y="379580"/>
                        <a:pt x="214186" y="380427"/>
                        <a:pt x="217703" y="380427"/>
                      </a:cubicBezTo>
                      <a:cubicBezTo>
                        <a:pt x="233395" y="380427"/>
                        <a:pt x="241241" y="374013"/>
                        <a:pt x="241241" y="361186"/>
                      </a:cubicBezTo>
                      <a:cubicBezTo>
                        <a:pt x="241241" y="356758"/>
                        <a:pt x="239515" y="352982"/>
                        <a:pt x="236064" y="349857"/>
                      </a:cubicBezTo>
                      <a:cubicBezTo>
                        <a:pt x="232613" y="346731"/>
                        <a:pt x="227014" y="343508"/>
                        <a:pt x="219265" y="340187"/>
                      </a:cubicBezTo>
                      <a:cubicBezTo>
                        <a:pt x="209694" y="336020"/>
                        <a:pt x="202971" y="331707"/>
                        <a:pt x="199097" y="327246"/>
                      </a:cubicBezTo>
                      <a:cubicBezTo>
                        <a:pt x="195222" y="322786"/>
                        <a:pt x="193285" y="317366"/>
                        <a:pt x="193285" y="310985"/>
                      </a:cubicBezTo>
                      <a:cubicBezTo>
                        <a:pt x="193285" y="302845"/>
                        <a:pt x="196395" y="296269"/>
                        <a:pt x="202613" y="291255"/>
                      </a:cubicBezTo>
                      <a:cubicBezTo>
                        <a:pt x="208831" y="286242"/>
                        <a:pt x="216498" y="283735"/>
                        <a:pt x="225614" y="283735"/>
                      </a:cubicBezTo>
                      <a:close/>
                      <a:moveTo>
                        <a:pt x="2525832" y="257169"/>
                      </a:moveTo>
                      <a:lnTo>
                        <a:pt x="2525832" y="286177"/>
                      </a:lnTo>
                      <a:lnTo>
                        <a:pt x="2552202" y="286177"/>
                      </a:lnTo>
                      <a:lnTo>
                        <a:pt x="2552202" y="294381"/>
                      </a:lnTo>
                      <a:lnTo>
                        <a:pt x="2525832" y="294381"/>
                      </a:lnTo>
                      <a:lnTo>
                        <a:pt x="2525832" y="360405"/>
                      </a:lnTo>
                      <a:cubicBezTo>
                        <a:pt x="2525832" y="367307"/>
                        <a:pt x="2526922" y="372304"/>
                        <a:pt x="2529104" y="375397"/>
                      </a:cubicBezTo>
                      <a:cubicBezTo>
                        <a:pt x="2531284" y="378490"/>
                        <a:pt x="2534980" y="380036"/>
                        <a:pt x="2540188" y="380036"/>
                      </a:cubicBezTo>
                      <a:cubicBezTo>
                        <a:pt x="2543900" y="380036"/>
                        <a:pt x="2547904" y="378832"/>
                        <a:pt x="2552202" y="376422"/>
                      </a:cubicBezTo>
                      <a:lnTo>
                        <a:pt x="2552202" y="384822"/>
                      </a:lnTo>
                      <a:cubicBezTo>
                        <a:pt x="2547514" y="387036"/>
                        <a:pt x="2543118" y="388143"/>
                        <a:pt x="2539016" y="388143"/>
                      </a:cubicBezTo>
                      <a:cubicBezTo>
                        <a:pt x="2524236" y="388143"/>
                        <a:pt x="2516846" y="379287"/>
                        <a:pt x="2516846" y="361577"/>
                      </a:cubicBezTo>
                      <a:lnTo>
                        <a:pt x="2516846" y="294381"/>
                      </a:lnTo>
                      <a:lnTo>
                        <a:pt x="2498874" y="294381"/>
                      </a:lnTo>
                      <a:lnTo>
                        <a:pt x="2498874" y="286177"/>
                      </a:lnTo>
                      <a:lnTo>
                        <a:pt x="2516846" y="286177"/>
                      </a:lnTo>
                      <a:lnTo>
                        <a:pt x="2516846" y="260197"/>
                      </a:lnTo>
                      <a:cubicBezTo>
                        <a:pt x="2518278" y="259676"/>
                        <a:pt x="2519776" y="259155"/>
                        <a:pt x="2521338" y="258634"/>
                      </a:cubicBezTo>
                      <a:cubicBezTo>
                        <a:pt x="2522902" y="258178"/>
                        <a:pt x="2524398" y="257690"/>
                        <a:pt x="2525832" y="257169"/>
                      </a:cubicBezTo>
                      <a:close/>
                      <a:moveTo>
                        <a:pt x="1773356" y="257169"/>
                      </a:moveTo>
                      <a:lnTo>
                        <a:pt x="1773356" y="286177"/>
                      </a:lnTo>
                      <a:lnTo>
                        <a:pt x="1799726" y="286177"/>
                      </a:lnTo>
                      <a:lnTo>
                        <a:pt x="1799726" y="294381"/>
                      </a:lnTo>
                      <a:lnTo>
                        <a:pt x="1773356" y="294381"/>
                      </a:lnTo>
                      <a:lnTo>
                        <a:pt x="1773356" y="360405"/>
                      </a:lnTo>
                      <a:cubicBezTo>
                        <a:pt x="1773356" y="367307"/>
                        <a:pt x="1774448" y="372304"/>
                        <a:pt x="1776628" y="375397"/>
                      </a:cubicBezTo>
                      <a:cubicBezTo>
                        <a:pt x="1778810" y="378490"/>
                        <a:pt x="1782504" y="380036"/>
                        <a:pt x="1787714" y="380036"/>
                      </a:cubicBezTo>
                      <a:cubicBezTo>
                        <a:pt x="1791424" y="380036"/>
                        <a:pt x="1795430" y="378832"/>
                        <a:pt x="1799726" y="376422"/>
                      </a:cubicBezTo>
                      <a:lnTo>
                        <a:pt x="1799726" y="384822"/>
                      </a:lnTo>
                      <a:cubicBezTo>
                        <a:pt x="1795038" y="387036"/>
                        <a:pt x="1790644" y="388143"/>
                        <a:pt x="1786542" y="388143"/>
                      </a:cubicBezTo>
                      <a:cubicBezTo>
                        <a:pt x="1771762" y="388143"/>
                        <a:pt x="1764370" y="379287"/>
                        <a:pt x="1764370" y="361577"/>
                      </a:cubicBezTo>
                      <a:lnTo>
                        <a:pt x="1764370" y="294381"/>
                      </a:lnTo>
                      <a:lnTo>
                        <a:pt x="1746400" y="294381"/>
                      </a:lnTo>
                      <a:lnTo>
                        <a:pt x="1746400" y="286177"/>
                      </a:lnTo>
                      <a:lnTo>
                        <a:pt x="1764370" y="286177"/>
                      </a:lnTo>
                      <a:lnTo>
                        <a:pt x="1764370" y="260197"/>
                      </a:lnTo>
                      <a:cubicBezTo>
                        <a:pt x="1765804" y="259676"/>
                        <a:pt x="1767300" y="259155"/>
                        <a:pt x="1768864" y="258634"/>
                      </a:cubicBezTo>
                      <a:cubicBezTo>
                        <a:pt x="1770426" y="258178"/>
                        <a:pt x="1771924" y="257690"/>
                        <a:pt x="1773356" y="257169"/>
                      </a:cubicBezTo>
                      <a:close/>
                      <a:moveTo>
                        <a:pt x="1030406" y="257169"/>
                      </a:moveTo>
                      <a:lnTo>
                        <a:pt x="1030406" y="286177"/>
                      </a:lnTo>
                      <a:lnTo>
                        <a:pt x="1056777" y="286177"/>
                      </a:lnTo>
                      <a:lnTo>
                        <a:pt x="1056777" y="294381"/>
                      </a:lnTo>
                      <a:lnTo>
                        <a:pt x="1030406" y="294381"/>
                      </a:lnTo>
                      <a:lnTo>
                        <a:pt x="1030406" y="360405"/>
                      </a:lnTo>
                      <a:cubicBezTo>
                        <a:pt x="1030406" y="367307"/>
                        <a:pt x="1031497" y="372304"/>
                        <a:pt x="1033678" y="375397"/>
                      </a:cubicBezTo>
                      <a:cubicBezTo>
                        <a:pt x="1035860" y="378490"/>
                        <a:pt x="1039555" y="380036"/>
                        <a:pt x="1044764" y="380036"/>
                      </a:cubicBezTo>
                      <a:cubicBezTo>
                        <a:pt x="1048475" y="380036"/>
                        <a:pt x="1052480" y="378832"/>
                        <a:pt x="1056777" y="376422"/>
                      </a:cubicBezTo>
                      <a:lnTo>
                        <a:pt x="1056777" y="384822"/>
                      </a:lnTo>
                      <a:cubicBezTo>
                        <a:pt x="1052089" y="387036"/>
                        <a:pt x="1047694" y="388143"/>
                        <a:pt x="1043592" y="388143"/>
                      </a:cubicBezTo>
                      <a:cubicBezTo>
                        <a:pt x="1028811" y="388143"/>
                        <a:pt x="1021421" y="379287"/>
                        <a:pt x="1021421" y="361577"/>
                      </a:cubicBezTo>
                      <a:lnTo>
                        <a:pt x="1021421" y="294381"/>
                      </a:lnTo>
                      <a:lnTo>
                        <a:pt x="1003450" y="294381"/>
                      </a:lnTo>
                      <a:lnTo>
                        <a:pt x="1003450" y="286177"/>
                      </a:lnTo>
                      <a:lnTo>
                        <a:pt x="1021421" y="286177"/>
                      </a:lnTo>
                      <a:lnTo>
                        <a:pt x="1021421" y="260197"/>
                      </a:lnTo>
                      <a:cubicBezTo>
                        <a:pt x="1022853" y="259676"/>
                        <a:pt x="1024351" y="259155"/>
                        <a:pt x="1025914" y="258634"/>
                      </a:cubicBezTo>
                      <a:cubicBezTo>
                        <a:pt x="1027476" y="258178"/>
                        <a:pt x="1028974" y="257690"/>
                        <a:pt x="1030406" y="257169"/>
                      </a:cubicBezTo>
                      <a:close/>
                      <a:moveTo>
                        <a:pt x="287456" y="257169"/>
                      </a:moveTo>
                      <a:lnTo>
                        <a:pt x="287456" y="286177"/>
                      </a:lnTo>
                      <a:lnTo>
                        <a:pt x="313827" y="286177"/>
                      </a:lnTo>
                      <a:lnTo>
                        <a:pt x="313827" y="294381"/>
                      </a:lnTo>
                      <a:lnTo>
                        <a:pt x="287456" y="294381"/>
                      </a:lnTo>
                      <a:lnTo>
                        <a:pt x="287456" y="360405"/>
                      </a:lnTo>
                      <a:cubicBezTo>
                        <a:pt x="287456" y="367307"/>
                        <a:pt x="288547" y="372304"/>
                        <a:pt x="290728" y="375397"/>
                      </a:cubicBezTo>
                      <a:cubicBezTo>
                        <a:pt x="292910" y="378490"/>
                        <a:pt x="296605" y="380036"/>
                        <a:pt x="301814" y="380036"/>
                      </a:cubicBezTo>
                      <a:cubicBezTo>
                        <a:pt x="305525" y="380036"/>
                        <a:pt x="309529" y="378832"/>
                        <a:pt x="313827" y="376422"/>
                      </a:cubicBezTo>
                      <a:lnTo>
                        <a:pt x="313827" y="384822"/>
                      </a:lnTo>
                      <a:cubicBezTo>
                        <a:pt x="309139" y="387036"/>
                        <a:pt x="304744" y="388143"/>
                        <a:pt x="300642" y="388143"/>
                      </a:cubicBezTo>
                      <a:cubicBezTo>
                        <a:pt x="285861" y="388143"/>
                        <a:pt x="278471" y="379287"/>
                        <a:pt x="278471" y="361577"/>
                      </a:cubicBezTo>
                      <a:lnTo>
                        <a:pt x="278471" y="294381"/>
                      </a:lnTo>
                      <a:lnTo>
                        <a:pt x="260500" y="294381"/>
                      </a:lnTo>
                      <a:lnTo>
                        <a:pt x="260500" y="286177"/>
                      </a:lnTo>
                      <a:lnTo>
                        <a:pt x="278471" y="286177"/>
                      </a:lnTo>
                      <a:lnTo>
                        <a:pt x="278471" y="260197"/>
                      </a:lnTo>
                      <a:cubicBezTo>
                        <a:pt x="279903" y="259676"/>
                        <a:pt x="281401" y="259155"/>
                        <a:pt x="282964" y="258634"/>
                      </a:cubicBezTo>
                      <a:cubicBezTo>
                        <a:pt x="284526" y="258178"/>
                        <a:pt x="286024" y="257690"/>
                        <a:pt x="287456" y="257169"/>
                      </a:cubicBezTo>
                      <a:close/>
                      <a:moveTo>
                        <a:pt x="514494" y="255020"/>
                      </a:moveTo>
                      <a:lnTo>
                        <a:pt x="514494" y="377399"/>
                      </a:lnTo>
                      <a:lnTo>
                        <a:pt x="536469" y="377399"/>
                      </a:lnTo>
                      <a:cubicBezTo>
                        <a:pt x="557240" y="377399"/>
                        <a:pt x="573192" y="372011"/>
                        <a:pt x="584327" y="361235"/>
                      </a:cubicBezTo>
                      <a:cubicBezTo>
                        <a:pt x="595461" y="350459"/>
                        <a:pt x="601028" y="334913"/>
                        <a:pt x="601028" y="314598"/>
                      </a:cubicBezTo>
                      <a:cubicBezTo>
                        <a:pt x="601028" y="274880"/>
                        <a:pt x="580159" y="255020"/>
                        <a:pt x="538422" y="255020"/>
                      </a:cubicBezTo>
                      <a:close/>
                      <a:moveTo>
                        <a:pt x="1402616" y="246134"/>
                      </a:moveTo>
                      <a:cubicBezTo>
                        <a:pt x="1404634" y="246134"/>
                        <a:pt x="1406408" y="246785"/>
                        <a:pt x="1407940" y="248087"/>
                      </a:cubicBezTo>
                      <a:cubicBezTo>
                        <a:pt x="1409470" y="249389"/>
                        <a:pt x="1410234" y="251147"/>
                        <a:pt x="1410234" y="253361"/>
                      </a:cubicBezTo>
                      <a:cubicBezTo>
                        <a:pt x="1410234" y="255445"/>
                        <a:pt x="1409486" y="257235"/>
                        <a:pt x="1407988" y="258733"/>
                      </a:cubicBezTo>
                      <a:cubicBezTo>
                        <a:pt x="1406490" y="260230"/>
                        <a:pt x="1404700" y="260979"/>
                        <a:pt x="1402616" y="260979"/>
                      </a:cubicBezTo>
                      <a:cubicBezTo>
                        <a:pt x="1400662" y="260979"/>
                        <a:pt x="1398938" y="260263"/>
                        <a:pt x="1397440" y="258831"/>
                      </a:cubicBezTo>
                      <a:cubicBezTo>
                        <a:pt x="1395942" y="257398"/>
                        <a:pt x="1395194" y="255575"/>
                        <a:pt x="1395194" y="253361"/>
                      </a:cubicBezTo>
                      <a:cubicBezTo>
                        <a:pt x="1395194" y="251212"/>
                        <a:pt x="1395958" y="249471"/>
                        <a:pt x="1397488" y="248136"/>
                      </a:cubicBezTo>
                      <a:cubicBezTo>
                        <a:pt x="1399018" y="246801"/>
                        <a:pt x="1400728" y="246134"/>
                        <a:pt x="1402616" y="246134"/>
                      </a:cubicBezTo>
                      <a:close/>
                      <a:moveTo>
                        <a:pt x="878741" y="246134"/>
                      </a:moveTo>
                      <a:cubicBezTo>
                        <a:pt x="880760" y="246134"/>
                        <a:pt x="882534" y="246785"/>
                        <a:pt x="884064" y="248087"/>
                      </a:cubicBezTo>
                      <a:cubicBezTo>
                        <a:pt x="885594" y="249389"/>
                        <a:pt x="886359" y="251147"/>
                        <a:pt x="886359" y="253361"/>
                      </a:cubicBezTo>
                      <a:cubicBezTo>
                        <a:pt x="886359" y="255445"/>
                        <a:pt x="885611" y="257235"/>
                        <a:pt x="884113" y="258733"/>
                      </a:cubicBezTo>
                      <a:cubicBezTo>
                        <a:pt x="882616" y="260230"/>
                        <a:pt x="880825" y="260979"/>
                        <a:pt x="878741" y="260979"/>
                      </a:cubicBezTo>
                      <a:cubicBezTo>
                        <a:pt x="876788" y="260979"/>
                        <a:pt x="875062" y="260263"/>
                        <a:pt x="873565" y="258831"/>
                      </a:cubicBezTo>
                      <a:cubicBezTo>
                        <a:pt x="872067" y="257398"/>
                        <a:pt x="871318" y="255575"/>
                        <a:pt x="871318" y="253361"/>
                      </a:cubicBezTo>
                      <a:cubicBezTo>
                        <a:pt x="871318" y="251212"/>
                        <a:pt x="872084" y="249471"/>
                        <a:pt x="873614" y="248136"/>
                      </a:cubicBezTo>
                      <a:cubicBezTo>
                        <a:pt x="875144" y="246801"/>
                        <a:pt x="876853" y="246134"/>
                        <a:pt x="878741" y="246134"/>
                      </a:cubicBezTo>
                      <a:close/>
                      <a:moveTo>
                        <a:pt x="97691" y="246134"/>
                      </a:moveTo>
                      <a:cubicBezTo>
                        <a:pt x="99710" y="246134"/>
                        <a:pt x="101484" y="246785"/>
                        <a:pt x="103014" y="248087"/>
                      </a:cubicBezTo>
                      <a:cubicBezTo>
                        <a:pt x="104544" y="249389"/>
                        <a:pt x="105309" y="251147"/>
                        <a:pt x="105309" y="253361"/>
                      </a:cubicBezTo>
                      <a:cubicBezTo>
                        <a:pt x="105309" y="255445"/>
                        <a:pt x="104561" y="257235"/>
                        <a:pt x="103063" y="258733"/>
                      </a:cubicBezTo>
                      <a:cubicBezTo>
                        <a:pt x="101565" y="260230"/>
                        <a:pt x="99775" y="260979"/>
                        <a:pt x="97691" y="260979"/>
                      </a:cubicBezTo>
                      <a:cubicBezTo>
                        <a:pt x="95738" y="260979"/>
                        <a:pt x="94012" y="260263"/>
                        <a:pt x="92515" y="258831"/>
                      </a:cubicBezTo>
                      <a:cubicBezTo>
                        <a:pt x="91017" y="257398"/>
                        <a:pt x="90268" y="255575"/>
                        <a:pt x="90268" y="253361"/>
                      </a:cubicBezTo>
                      <a:cubicBezTo>
                        <a:pt x="90268" y="251212"/>
                        <a:pt x="91034" y="249471"/>
                        <a:pt x="92564" y="248136"/>
                      </a:cubicBezTo>
                      <a:cubicBezTo>
                        <a:pt x="94094" y="246801"/>
                        <a:pt x="95803" y="246134"/>
                        <a:pt x="97691" y="246134"/>
                      </a:cubicBezTo>
                      <a:close/>
                      <a:moveTo>
                        <a:pt x="504824" y="246133"/>
                      </a:moveTo>
                      <a:lnTo>
                        <a:pt x="539888" y="246133"/>
                      </a:lnTo>
                      <a:cubicBezTo>
                        <a:pt x="563133" y="246133"/>
                        <a:pt x="580811" y="251928"/>
                        <a:pt x="592922" y="263518"/>
                      </a:cubicBezTo>
                      <a:cubicBezTo>
                        <a:pt x="605032" y="275108"/>
                        <a:pt x="611088" y="292004"/>
                        <a:pt x="611088" y="314208"/>
                      </a:cubicBezTo>
                      <a:cubicBezTo>
                        <a:pt x="611088" y="335564"/>
                        <a:pt x="604593" y="352901"/>
                        <a:pt x="591603" y="366216"/>
                      </a:cubicBezTo>
                      <a:cubicBezTo>
                        <a:pt x="578613" y="379531"/>
                        <a:pt x="560691" y="386189"/>
                        <a:pt x="537836" y="386189"/>
                      </a:cubicBezTo>
                      <a:lnTo>
                        <a:pt x="504824" y="386189"/>
                      </a:lnTo>
                      <a:close/>
                      <a:moveTo>
                        <a:pt x="0" y="246133"/>
                      </a:moveTo>
                      <a:lnTo>
                        <a:pt x="65437" y="246133"/>
                      </a:lnTo>
                      <a:lnTo>
                        <a:pt x="65437" y="255020"/>
                      </a:lnTo>
                      <a:lnTo>
                        <a:pt x="9669" y="255020"/>
                      </a:lnTo>
                      <a:lnTo>
                        <a:pt x="9669" y="312157"/>
                      </a:lnTo>
                      <a:lnTo>
                        <a:pt x="61433" y="312157"/>
                      </a:lnTo>
                      <a:lnTo>
                        <a:pt x="61433" y="320947"/>
                      </a:lnTo>
                      <a:lnTo>
                        <a:pt x="9669" y="320947"/>
                      </a:lnTo>
                      <a:lnTo>
                        <a:pt x="9669" y="386189"/>
                      </a:lnTo>
                      <a:lnTo>
                        <a:pt x="0" y="386189"/>
                      </a:lnTo>
                      <a:close/>
                      <a:moveTo>
                        <a:pt x="427885" y="243789"/>
                      </a:moveTo>
                      <a:cubicBezTo>
                        <a:pt x="438954" y="243789"/>
                        <a:pt x="447728" y="246784"/>
                        <a:pt x="454207" y="252774"/>
                      </a:cubicBezTo>
                      <a:cubicBezTo>
                        <a:pt x="460685" y="258764"/>
                        <a:pt x="463925" y="266708"/>
                        <a:pt x="463925" y="276605"/>
                      </a:cubicBezTo>
                      <a:cubicBezTo>
                        <a:pt x="463925" y="295553"/>
                        <a:pt x="454842" y="307599"/>
                        <a:pt x="436675" y="312743"/>
                      </a:cubicBezTo>
                      <a:lnTo>
                        <a:pt x="436675" y="313133"/>
                      </a:lnTo>
                      <a:cubicBezTo>
                        <a:pt x="446442" y="314110"/>
                        <a:pt x="454256" y="317740"/>
                        <a:pt x="460116" y="324023"/>
                      </a:cubicBezTo>
                      <a:cubicBezTo>
                        <a:pt x="465976" y="330307"/>
                        <a:pt x="468906" y="338234"/>
                        <a:pt x="468906" y="347806"/>
                      </a:cubicBezTo>
                      <a:cubicBezTo>
                        <a:pt x="468906" y="360047"/>
                        <a:pt x="464674" y="369911"/>
                        <a:pt x="456209" y="377399"/>
                      </a:cubicBezTo>
                      <a:cubicBezTo>
                        <a:pt x="447744" y="384887"/>
                        <a:pt x="436773" y="388631"/>
                        <a:pt x="423295" y="388631"/>
                      </a:cubicBezTo>
                      <a:cubicBezTo>
                        <a:pt x="412877" y="388631"/>
                        <a:pt x="402882" y="386157"/>
                        <a:pt x="393310" y="381208"/>
                      </a:cubicBezTo>
                      <a:lnTo>
                        <a:pt x="393310" y="370953"/>
                      </a:lnTo>
                      <a:cubicBezTo>
                        <a:pt x="403989" y="377269"/>
                        <a:pt x="414049" y="380427"/>
                        <a:pt x="423490" y="380427"/>
                      </a:cubicBezTo>
                      <a:cubicBezTo>
                        <a:pt x="434754" y="380427"/>
                        <a:pt x="443577" y="377546"/>
                        <a:pt x="449958" y="371783"/>
                      </a:cubicBezTo>
                      <a:cubicBezTo>
                        <a:pt x="456339" y="366021"/>
                        <a:pt x="459530" y="358484"/>
                        <a:pt x="459530" y="349173"/>
                      </a:cubicBezTo>
                      <a:cubicBezTo>
                        <a:pt x="459530" y="338820"/>
                        <a:pt x="455867" y="330974"/>
                        <a:pt x="448542" y="325635"/>
                      </a:cubicBezTo>
                      <a:cubicBezTo>
                        <a:pt x="441217" y="320296"/>
                        <a:pt x="430782" y="317626"/>
                        <a:pt x="417239" y="317626"/>
                      </a:cubicBezTo>
                      <a:lnTo>
                        <a:pt x="406496" y="317626"/>
                      </a:lnTo>
                      <a:lnTo>
                        <a:pt x="406496" y="309422"/>
                      </a:lnTo>
                      <a:lnTo>
                        <a:pt x="416067" y="309422"/>
                      </a:lnTo>
                      <a:cubicBezTo>
                        <a:pt x="428569" y="309422"/>
                        <a:pt x="438091" y="306768"/>
                        <a:pt x="444635" y="301462"/>
                      </a:cubicBezTo>
                      <a:cubicBezTo>
                        <a:pt x="451179" y="296155"/>
                        <a:pt x="454451" y="288651"/>
                        <a:pt x="454451" y="278949"/>
                      </a:cubicBezTo>
                      <a:cubicBezTo>
                        <a:pt x="454451" y="270550"/>
                        <a:pt x="452074" y="263957"/>
                        <a:pt x="447321" y="259171"/>
                      </a:cubicBezTo>
                      <a:cubicBezTo>
                        <a:pt x="442568" y="254386"/>
                        <a:pt x="435633" y="251993"/>
                        <a:pt x="426518" y="251993"/>
                      </a:cubicBezTo>
                      <a:cubicBezTo>
                        <a:pt x="417728" y="251993"/>
                        <a:pt x="408514" y="255053"/>
                        <a:pt x="398878" y="261174"/>
                      </a:cubicBezTo>
                      <a:lnTo>
                        <a:pt x="398878" y="251602"/>
                      </a:lnTo>
                      <a:cubicBezTo>
                        <a:pt x="409426" y="246393"/>
                        <a:pt x="419095" y="243789"/>
                        <a:pt x="427885" y="243789"/>
                      </a:cubicBezTo>
                      <a:close/>
                      <a:moveTo>
                        <a:pt x="2274522" y="238125"/>
                      </a:moveTo>
                      <a:lnTo>
                        <a:pt x="2283506" y="238125"/>
                      </a:lnTo>
                      <a:lnTo>
                        <a:pt x="2283506" y="386190"/>
                      </a:lnTo>
                      <a:lnTo>
                        <a:pt x="2274522" y="386190"/>
                      </a:lnTo>
                      <a:close/>
                      <a:moveTo>
                        <a:pt x="1360121" y="238125"/>
                      </a:moveTo>
                      <a:lnTo>
                        <a:pt x="1369107" y="238125"/>
                      </a:lnTo>
                      <a:lnTo>
                        <a:pt x="1369107" y="386190"/>
                      </a:lnTo>
                      <a:lnTo>
                        <a:pt x="1360121" y="386190"/>
                      </a:lnTo>
                      <a:close/>
                      <a:moveTo>
                        <a:pt x="1250151" y="238125"/>
                      </a:moveTo>
                      <a:lnTo>
                        <a:pt x="1259136" y="238125"/>
                      </a:lnTo>
                      <a:lnTo>
                        <a:pt x="1259136" y="386190"/>
                      </a:lnTo>
                      <a:lnTo>
                        <a:pt x="1250151" y="386190"/>
                      </a:lnTo>
                      <a:lnTo>
                        <a:pt x="1250151" y="368024"/>
                      </a:lnTo>
                      <a:lnTo>
                        <a:pt x="1249760" y="368024"/>
                      </a:lnTo>
                      <a:cubicBezTo>
                        <a:pt x="1246505" y="374340"/>
                        <a:pt x="1241686" y="379353"/>
                        <a:pt x="1235305" y="383065"/>
                      </a:cubicBezTo>
                      <a:cubicBezTo>
                        <a:pt x="1228924" y="386776"/>
                        <a:pt x="1221730" y="388632"/>
                        <a:pt x="1213721" y="388632"/>
                      </a:cubicBezTo>
                      <a:cubicBezTo>
                        <a:pt x="1201414" y="388632"/>
                        <a:pt x="1191371" y="384139"/>
                        <a:pt x="1183590" y="375154"/>
                      </a:cubicBezTo>
                      <a:cubicBezTo>
                        <a:pt x="1175809" y="366168"/>
                        <a:pt x="1171919" y="353764"/>
                        <a:pt x="1171919" y="337942"/>
                      </a:cubicBezTo>
                      <a:cubicBezTo>
                        <a:pt x="1171919" y="321794"/>
                        <a:pt x="1176167" y="308723"/>
                        <a:pt x="1184664" y="298728"/>
                      </a:cubicBezTo>
                      <a:cubicBezTo>
                        <a:pt x="1193162" y="288733"/>
                        <a:pt x="1204182" y="283736"/>
                        <a:pt x="1217725" y="283736"/>
                      </a:cubicBezTo>
                      <a:cubicBezTo>
                        <a:pt x="1232701" y="283736"/>
                        <a:pt x="1243379" y="289889"/>
                        <a:pt x="1249760" y="302195"/>
                      </a:cubicBezTo>
                      <a:lnTo>
                        <a:pt x="1250151" y="302195"/>
                      </a:lnTo>
                      <a:close/>
                      <a:moveTo>
                        <a:pt x="2239044" y="94249"/>
                      </a:moveTo>
                      <a:lnTo>
                        <a:pt x="2211502" y="98253"/>
                      </a:lnTo>
                      <a:cubicBezTo>
                        <a:pt x="2201018" y="99751"/>
                        <a:pt x="2193660" y="102176"/>
                        <a:pt x="2189428" y="105530"/>
                      </a:cubicBezTo>
                      <a:cubicBezTo>
                        <a:pt x="2185196" y="108883"/>
                        <a:pt x="2183080" y="114336"/>
                        <a:pt x="2183080" y="121889"/>
                      </a:cubicBezTo>
                      <a:cubicBezTo>
                        <a:pt x="2183080" y="127814"/>
                        <a:pt x="2185050" y="132698"/>
                        <a:pt x="2188988" y="136539"/>
                      </a:cubicBezTo>
                      <a:cubicBezTo>
                        <a:pt x="2192928" y="140381"/>
                        <a:pt x="2198414" y="142302"/>
                        <a:pt x="2205446" y="142302"/>
                      </a:cubicBezTo>
                      <a:cubicBezTo>
                        <a:pt x="2215082" y="142302"/>
                        <a:pt x="2223092" y="138737"/>
                        <a:pt x="2229472" y="131607"/>
                      </a:cubicBezTo>
                      <a:cubicBezTo>
                        <a:pt x="2235854" y="124477"/>
                        <a:pt x="2239044" y="115280"/>
                        <a:pt x="2239044" y="104016"/>
                      </a:cubicBezTo>
                      <a:close/>
                      <a:moveTo>
                        <a:pt x="1436604" y="53815"/>
                      </a:moveTo>
                      <a:cubicBezTo>
                        <a:pt x="1426122" y="53815"/>
                        <a:pt x="1417462" y="57836"/>
                        <a:pt x="1410624" y="65877"/>
                      </a:cubicBezTo>
                      <a:cubicBezTo>
                        <a:pt x="1403788" y="73919"/>
                        <a:pt x="1400370" y="84971"/>
                        <a:pt x="1400370" y="99036"/>
                      </a:cubicBezTo>
                      <a:cubicBezTo>
                        <a:pt x="1400370" y="112839"/>
                        <a:pt x="1403446" y="123502"/>
                        <a:pt x="1409600" y="131022"/>
                      </a:cubicBezTo>
                      <a:cubicBezTo>
                        <a:pt x="1415752" y="138543"/>
                        <a:pt x="1423680" y="142303"/>
                        <a:pt x="1433382" y="142303"/>
                      </a:cubicBezTo>
                      <a:cubicBezTo>
                        <a:pt x="1444776" y="142303"/>
                        <a:pt x="1453600" y="138770"/>
                        <a:pt x="1459850" y="131706"/>
                      </a:cubicBezTo>
                      <a:cubicBezTo>
                        <a:pt x="1466100" y="124641"/>
                        <a:pt x="1469226" y="116030"/>
                        <a:pt x="1469226" y="105872"/>
                      </a:cubicBezTo>
                      <a:lnTo>
                        <a:pt x="1469226" y="87218"/>
                      </a:lnTo>
                      <a:cubicBezTo>
                        <a:pt x="1469226" y="77907"/>
                        <a:pt x="1466280" y="70012"/>
                        <a:pt x="1460388" y="63533"/>
                      </a:cubicBezTo>
                      <a:cubicBezTo>
                        <a:pt x="1454494" y="57055"/>
                        <a:pt x="1446568" y="53815"/>
                        <a:pt x="1436604" y="53815"/>
                      </a:cubicBezTo>
                      <a:close/>
                      <a:moveTo>
                        <a:pt x="960355" y="53815"/>
                      </a:moveTo>
                      <a:cubicBezTo>
                        <a:pt x="949872" y="53815"/>
                        <a:pt x="941212" y="57836"/>
                        <a:pt x="934375" y="65877"/>
                      </a:cubicBezTo>
                      <a:cubicBezTo>
                        <a:pt x="927538" y="73919"/>
                        <a:pt x="924120" y="84971"/>
                        <a:pt x="924120" y="99036"/>
                      </a:cubicBezTo>
                      <a:cubicBezTo>
                        <a:pt x="924120" y="112839"/>
                        <a:pt x="927196" y="123502"/>
                        <a:pt x="933350" y="131022"/>
                      </a:cubicBezTo>
                      <a:cubicBezTo>
                        <a:pt x="939503" y="138543"/>
                        <a:pt x="947430" y="142303"/>
                        <a:pt x="957132" y="142303"/>
                      </a:cubicBezTo>
                      <a:cubicBezTo>
                        <a:pt x="968526" y="142303"/>
                        <a:pt x="977349" y="138770"/>
                        <a:pt x="983600" y="131706"/>
                      </a:cubicBezTo>
                      <a:cubicBezTo>
                        <a:pt x="989851" y="124641"/>
                        <a:pt x="992976" y="116030"/>
                        <a:pt x="992976" y="105872"/>
                      </a:cubicBezTo>
                      <a:lnTo>
                        <a:pt x="992976" y="87218"/>
                      </a:lnTo>
                      <a:cubicBezTo>
                        <a:pt x="992976" y="77907"/>
                        <a:pt x="990030" y="70012"/>
                        <a:pt x="984137" y="63533"/>
                      </a:cubicBezTo>
                      <a:cubicBezTo>
                        <a:pt x="978244" y="57055"/>
                        <a:pt x="970317" y="53815"/>
                        <a:pt x="960355" y="53815"/>
                      </a:cubicBezTo>
                      <a:close/>
                      <a:moveTo>
                        <a:pt x="1839096" y="53814"/>
                      </a:moveTo>
                      <a:cubicBezTo>
                        <a:pt x="1827312" y="53814"/>
                        <a:pt x="1817918" y="57786"/>
                        <a:pt x="1810920" y="65730"/>
                      </a:cubicBezTo>
                      <a:cubicBezTo>
                        <a:pt x="1803920" y="73673"/>
                        <a:pt x="1800420" y="84710"/>
                        <a:pt x="1800420" y="98839"/>
                      </a:cubicBezTo>
                      <a:cubicBezTo>
                        <a:pt x="1800420" y="111927"/>
                        <a:pt x="1803838" y="122443"/>
                        <a:pt x="1810676" y="130386"/>
                      </a:cubicBezTo>
                      <a:cubicBezTo>
                        <a:pt x="1817512" y="138330"/>
                        <a:pt x="1826856" y="142302"/>
                        <a:pt x="1838706" y="142302"/>
                      </a:cubicBezTo>
                      <a:cubicBezTo>
                        <a:pt x="1850752" y="142302"/>
                        <a:pt x="1860030" y="138395"/>
                        <a:pt x="1866542" y="130582"/>
                      </a:cubicBezTo>
                      <a:cubicBezTo>
                        <a:pt x="1873052" y="122768"/>
                        <a:pt x="1876308" y="111927"/>
                        <a:pt x="1876308" y="98058"/>
                      </a:cubicBezTo>
                      <a:cubicBezTo>
                        <a:pt x="1876308" y="83798"/>
                        <a:pt x="1873068" y="72860"/>
                        <a:pt x="1866590" y="65241"/>
                      </a:cubicBezTo>
                      <a:cubicBezTo>
                        <a:pt x="1860112" y="57623"/>
                        <a:pt x="1850946" y="53814"/>
                        <a:pt x="1839096" y="53814"/>
                      </a:cubicBezTo>
                      <a:close/>
                      <a:moveTo>
                        <a:pt x="1324746" y="53814"/>
                      </a:moveTo>
                      <a:cubicBezTo>
                        <a:pt x="1312961" y="53814"/>
                        <a:pt x="1303569" y="57786"/>
                        <a:pt x="1296569" y="65730"/>
                      </a:cubicBezTo>
                      <a:cubicBezTo>
                        <a:pt x="1289570" y="73673"/>
                        <a:pt x="1286070" y="84710"/>
                        <a:pt x="1286070" y="98839"/>
                      </a:cubicBezTo>
                      <a:cubicBezTo>
                        <a:pt x="1286070" y="111927"/>
                        <a:pt x="1289488" y="122443"/>
                        <a:pt x="1296325" y="130386"/>
                      </a:cubicBezTo>
                      <a:cubicBezTo>
                        <a:pt x="1303162" y="138330"/>
                        <a:pt x="1312505" y="142302"/>
                        <a:pt x="1324356" y="142302"/>
                      </a:cubicBezTo>
                      <a:cubicBezTo>
                        <a:pt x="1336402" y="142302"/>
                        <a:pt x="1345680" y="138395"/>
                        <a:pt x="1352191" y="130582"/>
                      </a:cubicBezTo>
                      <a:cubicBezTo>
                        <a:pt x="1358702" y="122768"/>
                        <a:pt x="1361958" y="111927"/>
                        <a:pt x="1361958" y="98058"/>
                      </a:cubicBezTo>
                      <a:cubicBezTo>
                        <a:pt x="1361958" y="83798"/>
                        <a:pt x="1358719" y="72860"/>
                        <a:pt x="1352240" y="65241"/>
                      </a:cubicBezTo>
                      <a:cubicBezTo>
                        <a:pt x="1345762" y="57623"/>
                        <a:pt x="1336597" y="53814"/>
                        <a:pt x="1324746" y="53814"/>
                      </a:cubicBezTo>
                      <a:close/>
                      <a:moveTo>
                        <a:pt x="1148557" y="53814"/>
                      </a:moveTo>
                      <a:cubicBezTo>
                        <a:pt x="1136902" y="53814"/>
                        <a:pt x="1127884" y="57721"/>
                        <a:pt x="1121503" y="65534"/>
                      </a:cubicBezTo>
                      <a:cubicBezTo>
                        <a:pt x="1115122" y="73348"/>
                        <a:pt x="1111932" y="82529"/>
                        <a:pt x="1111932" y="93077"/>
                      </a:cubicBezTo>
                      <a:lnTo>
                        <a:pt x="1111932" y="105676"/>
                      </a:lnTo>
                      <a:cubicBezTo>
                        <a:pt x="1111932" y="115703"/>
                        <a:pt x="1115090" y="124315"/>
                        <a:pt x="1121405" y="131509"/>
                      </a:cubicBezTo>
                      <a:cubicBezTo>
                        <a:pt x="1127721" y="138704"/>
                        <a:pt x="1136023" y="142302"/>
                        <a:pt x="1146311" y="142302"/>
                      </a:cubicBezTo>
                      <a:cubicBezTo>
                        <a:pt x="1156534" y="142302"/>
                        <a:pt x="1164835" y="137923"/>
                        <a:pt x="1171216" y="129165"/>
                      </a:cubicBezTo>
                      <a:cubicBezTo>
                        <a:pt x="1177598" y="120408"/>
                        <a:pt x="1180788" y="108899"/>
                        <a:pt x="1180788" y="94640"/>
                      </a:cubicBezTo>
                      <a:cubicBezTo>
                        <a:pt x="1180788" y="82138"/>
                        <a:pt x="1177858" y="72208"/>
                        <a:pt x="1171998" y="64851"/>
                      </a:cubicBezTo>
                      <a:cubicBezTo>
                        <a:pt x="1166138" y="57493"/>
                        <a:pt x="1158324" y="53814"/>
                        <a:pt x="1148557" y="53814"/>
                      </a:cubicBezTo>
                      <a:close/>
                      <a:moveTo>
                        <a:pt x="854408" y="53814"/>
                      </a:moveTo>
                      <a:cubicBezTo>
                        <a:pt x="845032" y="53814"/>
                        <a:pt x="837267" y="56956"/>
                        <a:pt x="831114" y="63239"/>
                      </a:cubicBezTo>
                      <a:cubicBezTo>
                        <a:pt x="824961" y="69523"/>
                        <a:pt x="821168" y="78524"/>
                        <a:pt x="819736" y="90245"/>
                      </a:cubicBezTo>
                      <a:lnTo>
                        <a:pt x="884001" y="90245"/>
                      </a:lnTo>
                      <a:cubicBezTo>
                        <a:pt x="883611" y="78720"/>
                        <a:pt x="880844" y="69767"/>
                        <a:pt x="875700" y="63386"/>
                      </a:cubicBezTo>
                      <a:cubicBezTo>
                        <a:pt x="870556" y="57005"/>
                        <a:pt x="863458" y="53814"/>
                        <a:pt x="854408" y="53814"/>
                      </a:cubicBezTo>
                      <a:close/>
                      <a:moveTo>
                        <a:pt x="481807" y="53814"/>
                      </a:moveTo>
                      <a:cubicBezTo>
                        <a:pt x="470152" y="53814"/>
                        <a:pt x="461134" y="57721"/>
                        <a:pt x="454753" y="65534"/>
                      </a:cubicBezTo>
                      <a:cubicBezTo>
                        <a:pt x="448372" y="73348"/>
                        <a:pt x="445182" y="82529"/>
                        <a:pt x="445182" y="93077"/>
                      </a:cubicBezTo>
                      <a:lnTo>
                        <a:pt x="445182" y="105676"/>
                      </a:lnTo>
                      <a:cubicBezTo>
                        <a:pt x="445182" y="115703"/>
                        <a:pt x="448340" y="124315"/>
                        <a:pt x="454656" y="131509"/>
                      </a:cubicBezTo>
                      <a:cubicBezTo>
                        <a:pt x="460971" y="138704"/>
                        <a:pt x="469273" y="142302"/>
                        <a:pt x="479561" y="142302"/>
                      </a:cubicBezTo>
                      <a:cubicBezTo>
                        <a:pt x="489784" y="142302"/>
                        <a:pt x="498085" y="137923"/>
                        <a:pt x="504466" y="129165"/>
                      </a:cubicBezTo>
                      <a:cubicBezTo>
                        <a:pt x="510847" y="120408"/>
                        <a:pt x="514038" y="108899"/>
                        <a:pt x="514038" y="94640"/>
                      </a:cubicBezTo>
                      <a:cubicBezTo>
                        <a:pt x="514038" y="82138"/>
                        <a:pt x="511108" y="72208"/>
                        <a:pt x="505248" y="64851"/>
                      </a:cubicBezTo>
                      <a:cubicBezTo>
                        <a:pt x="499388" y="57493"/>
                        <a:pt x="491574" y="53814"/>
                        <a:pt x="481807" y="53814"/>
                      </a:cubicBezTo>
                      <a:close/>
                      <a:moveTo>
                        <a:pt x="1760172" y="48052"/>
                      </a:moveTo>
                      <a:lnTo>
                        <a:pt x="1769156" y="48052"/>
                      </a:lnTo>
                      <a:lnTo>
                        <a:pt x="1769156" y="148064"/>
                      </a:lnTo>
                      <a:lnTo>
                        <a:pt x="1760172" y="148064"/>
                      </a:lnTo>
                      <a:close/>
                      <a:moveTo>
                        <a:pt x="1510470" y="48052"/>
                      </a:moveTo>
                      <a:lnTo>
                        <a:pt x="1519554" y="48052"/>
                      </a:lnTo>
                      <a:lnTo>
                        <a:pt x="1519554" y="103625"/>
                      </a:lnTo>
                      <a:cubicBezTo>
                        <a:pt x="1519554" y="117168"/>
                        <a:pt x="1521784" y="127000"/>
                        <a:pt x="1526244" y="133121"/>
                      </a:cubicBezTo>
                      <a:cubicBezTo>
                        <a:pt x="1530704" y="139242"/>
                        <a:pt x="1537720" y="142302"/>
                        <a:pt x="1547292" y="142302"/>
                      </a:cubicBezTo>
                      <a:cubicBezTo>
                        <a:pt x="1556602" y="142302"/>
                        <a:pt x="1564138" y="138883"/>
                        <a:pt x="1569902" y="132047"/>
                      </a:cubicBezTo>
                      <a:cubicBezTo>
                        <a:pt x="1575664" y="125210"/>
                        <a:pt x="1578544" y="116094"/>
                        <a:pt x="1578544" y="104699"/>
                      </a:cubicBezTo>
                      <a:lnTo>
                        <a:pt x="1578544" y="48052"/>
                      </a:lnTo>
                      <a:lnTo>
                        <a:pt x="1587530" y="48052"/>
                      </a:lnTo>
                      <a:lnTo>
                        <a:pt x="1587530" y="148064"/>
                      </a:lnTo>
                      <a:lnTo>
                        <a:pt x="1578544" y="148064"/>
                      </a:lnTo>
                      <a:lnTo>
                        <a:pt x="1578544" y="129898"/>
                      </a:lnTo>
                      <a:lnTo>
                        <a:pt x="1578154" y="129898"/>
                      </a:lnTo>
                      <a:cubicBezTo>
                        <a:pt x="1571188" y="143637"/>
                        <a:pt x="1560444" y="150506"/>
                        <a:pt x="1545924" y="150506"/>
                      </a:cubicBezTo>
                      <a:cubicBezTo>
                        <a:pt x="1522288" y="150506"/>
                        <a:pt x="1510470" y="135628"/>
                        <a:pt x="1510470" y="105871"/>
                      </a:cubicBezTo>
                      <a:close/>
                      <a:moveTo>
                        <a:pt x="617171" y="48052"/>
                      </a:moveTo>
                      <a:lnTo>
                        <a:pt x="626157" y="48052"/>
                      </a:lnTo>
                      <a:lnTo>
                        <a:pt x="626157" y="148064"/>
                      </a:lnTo>
                      <a:lnTo>
                        <a:pt x="617171" y="148064"/>
                      </a:lnTo>
                      <a:close/>
                      <a:moveTo>
                        <a:pt x="2311732" y="46098"/>
                      </a:moveTo>
                      <a:cubicBezTo>
                        <a:pt x="2315444" y="46098"/>
                        <a:pt x="2318764" y="46684"/>
                        <a:pt x="2321696" y="47856"/>
                      </a:cubicBezTo>
                      <a:lnTo>
                        <a:pt x="2321696" y="57428"/>
                      </a:lnTo>
                      <a:cubicBezTo>
                        <a:pt x="2318700" y="55279"/>
                        <a:pt x="2315184" y="54205"/>
                        <a:pt x="2311146" y="54205"/>
                      </a:cubicBezTo>
                      <a:cubicBezTo>
                        <a:pt x="2303268" y="54205"/>
                        <a:pt x="2296660" y="58274"/>
                        <a:pt x="2291320" y="66413"/>
                      </a:cubicBezTo>
                      <a:cubicBezTo>
                        <a:pt x="2285980" y="74552"/>
                        <a:pt x="2283312" y="86110"/>
                        <a:pt x="2283312" y="101086"/>
                      </a:cubicBezTo>
                      <a:lnTo>
                        <a:pt x="2283312" y="148064"/>
                      </a:lnTo>
                      <a:lnTo>
                        <a:pt x="2274520" y="148064"/>
                      </a:lnTo>
                      <a:lnTo>
                        <a:pt x="2274520" y="48052"/>
                      </a:lnTo>
                      <a:lnTo>
                        <a:pt x="2283312" y="48052"/>
                      </a:lnTo>
                      <a:lnTo>
                        <a:pt x="2283312" y="70222"/>
                      </a:lnTo>
                      <a:lnTo>
                        <a:pt x="2283702" y="70222"/>
                      </a:lnTo>
                      <a:cubicBezTo>
                        <a:pt x="2285980" y="62604"/>
                        <a:pt x="2289594" y="56679"/>
                        <a:pt x="2294544" y="52447"/>
                      </a:cubicBezTo>
                      <a:cubicBezTo>
                        <a:pt x="2299492" y="48215"/>
                        <a:pt x="2305222" y="46098"/>
                        <a:pt x="2311732" y="46098"/>
                      </a:cubicBezTo>
                      <a:close/>
                      <a:moveTo>
                        <a:pt x="1254458" y="46098"/>
                      </a:moveTo>
                      <a:cubicBezTo>
                        <a:pt x="1258169" y="46098"/>
                        <a:pt x="1261490" y="46684"/>
                        <a:pt x="1264420" y="47856"/>
                      </a:cubicBezTo>
                      <a:lnTo>
                        <a:pt x="1264420" y="57428"/>
                      </a:lnTo>
                      <a:cubicBezTo>
                        <a:pt x="1261425" y="55279"/>
                        <a:pt x="1257909" y="54205"/>
                        <a:pt x="1253872" y="54205"/>
                      </a:cubicBezTo>
                      <a:cubicBezTo>
                        <a:pt x="1245993" y="54205"/>
                        <a:pt x="1239384" y="58274"/>
                        <a:pt x="1234045" y="66413"/>
                      </a:cubicBezTo>
                      <a:cubicBezTo>
                        <a:pt x="1228706" y="74552"/>
                        <a:pt x="1226036" y="86110"/>
                        <a:pt x="1226036" y="101086"/>
                      </a:cubicBezTo>
                      <a:lnTo>
                        <a:pt x="1226036" y="148064"/>
                      </a:lnTo>
                      <a:lnTo>
                        <a:pt x="1217246" y="148064"/>
                      </a:lnTo>
                      <a:lnTo>
                        <a:pt x="1217246" y="48052"/>
                      </a:lnTo>
                      <a:lnTo>
                        <a:pt x="1226036" y="48052"/>
                      </a:lnTo>
                      <a:lnTo>
                        <a:pt x="1226036" y="70222"/>
                      </a:lnTo>
                      <a:lnTo>
                        <a:pt x="1226427" y="70222"/>
                      </a:lnTo>
                      <a:cubicBezTo>
                        <a:pt x="1228706" y="62604"/>
                        <a:pt x="1232320" y="56679"/>
                        <a:pt x="1237268" y="52447"/>
                      </a:cubicBezTo>
                      <a:cubicBezTo>
                        <a:pt x="1242217" y="48215"/>
                        <a:pt x="1247947" y="46098"/>
                        <a:pt x="1254458" y="46098"/>
                      </a:cubicBezTo>
                      <a:close/>
                      <a:moveTo>
                        <a:pt x="587708" y="46098"/>
                      </a:moveTo>
                      <a:cubicBezTo>
                        <a:pt x="591419" y="46098"/>
                        <a:pt x="594740" y="46684"/>
                        <a:pt x="597670" y="47856"/>
                      </a:cubicBezTo>
                      <a:lnTo>
                        <a:pt x="597670" y="57428"/>
                      </a:lnTo>
                      <a:cubicBezTo>
                        <a:pt x="594675" y="55279"/>
                        <a:pt x="591159" y="54205"/>
                        <a:pt x="587122" y="54205"/>
                      </a:cubicBezTo>
                      <a:cubicBezTo>
                        <a:pt x="579243" y="54205"/>
                        <a:pt x="572634" y="58274"/>
                        <a:pt x="567295" y="66413"/>
                      </a:cubicBezTo>
                      <a:cubicBezTo>
                        <a:pt x="561956" y="74552"/>
                        <a:pt x="559286" y="86110"/>
                        <a:pt x="559286" y="101086"/>
                      </a:cubicBezTo>
                      <a:lnTo>
                        <a:pt x="559286" y="148064"/>
                      </a:lnTo>
                      <a:lnTo>
                        <a:pt x="550496" y="148064"/>
                      </a:lnTo>
                      <a:lnTo>
                        <a:pt x="550496" y="48052"/>
                      </a:lnTo>
                      <a:lnTo>
                        <a:pt x="559286" y="48052"/>
                      </a:lnTo>
                      <a:lnTo>
                        <a:pt x="559286" y="70222"/>
                      </a:lnTo>
                      <a:lnTo>
                        <a:pt x="559677" y="70222"/>
                      </a:lnTo>
                      <a:cubicBezTo>
                        <a:pt x="561956" y="62604"/>
                        <a:pt x="565570" y="56679"/>
                        <a:pt x="570518" y="52447"/>
                      </a:cubicBezTo>
                      <a:cubicBezTo>
                        <a:pt x="575467" y="48215"/>
                        <a:pt x="581197" y="46098"/>
                        <a:pt x="587708" y="46098"/>
                      </a:cubicBezTo>
                      <a:close/>
                      <a:moveTo>
                        <a:pt x="2368738" y="45610"/>
                      </a:moveTo>
                      <a:cubicBezTo>
                        <a:pt x="2377334" y="45610"/>
                        <a:pt x="2384692" y="47368"/>
                        <a:pt x="2390812" y="50884"/>
                      </a:cubicBezTo>
                      <a:lnTo>
                        <a:pt x="2390812" y="61042"/>
                      </a:lnTo>
                      <a:cubicBezTo>
                        <a:pt x="2383388" y="56223"/>
                        <a:pt x="2375706" y="53814"/>
                        <a:pt x="2367762" y="53814"/>
                      </a:cubicBezTo>
                      <a:cubicBezTo>
                        <a:pt x="2361186" y="53814"/>
                        <a:pt x="2355880" y="55523"/>
                        <a:pt x="2351842" y="58942"/>
                      </a:cubicBezTo>
                      <a:cubicBezTo>
                        <a:pt x="2347804" y="62360"/>
                        <a:pt x="2345786" y="66804"/>
                        <a:pt x="2345786" y="72274"/>
                      </a:cubicBezTo>
                      <a:cubicBezTo>
                        <a:pt x="2345786" y="77027"/>
                        <a:pt x="2347056" y="80885"/>
                        <a:pt x="2349596" y="83847"/>
                      </a:cubicBezTo>
                      <a:cubicBezTo>
                        <a:pt x="2352136" y="86810"/>
                        <a:pt x="2357734" y="90212"/>
                        <a:pt x="2366394" y="94054"/>
                      </a:cubicBezTo>
                      <a:cubicBezTo>
                        <a:pt x="2376812" y="98742"/>
                        <a:pt x="2383974" y="103088"/>
                        <a:pt x="2387882" y="107092"/>
                      </a:cubicBezTo>
                      <a:cubicBezTo>
                        <a:pt x="2391788" y="111097"/>
                        <a:pt x="2393742" y="116420"/>
                        <a:pt x="2393742" y="123061"/>
                      </a:cubicBezTo>
                      <a:cubicBezTo>
                        <a:pt x="2393742" y="131005"/>
                        <a:pt x="2390762" y="137565"/>
                        <a:pt x="2384804" y="142741"/>
                      </a:cubicBezTo>
                      <a:cubicBezTo>
                        <a:pt x="2378848" y="147918"/>
                        <a:pt x="2370626" y="150506"/>
                        <a:pt x="2360144" y="150506"/>
                      </a:cubicBezTo>
                      <a:cubicBezTo>
                        <a:pt x="2350508" y="150506"/>
                        <a:pt x="2342466" y="148227"/>
                        <a:pt x="2336020" y="143669"/>
                      </a:cubicBezTo>
                      <a:lnTo>
                        <a:pt x="2336020" y="132828"/>
                      </a:lnTo>
                      <a:cubicBezTo>
                        <a:pt x="2339406" y="135758"/>
                        <a:pt x="2343508" y="138069"/>
                        <a:pt x="2348326" y="139762"/>
                      </a:cubicBezTo>
                      <a:cubicBezTo>
                        <a:pt x="2353144" y="141455"/>
                        <a:pt x="2357312" y="142302"/>
                        <a:pt x="2360828" y="142302"/>
                      </a:cubicBezTo>
                      <a:cubicBezTo>
                        <a:pt x="2376520" y="142302"/>
                        <a:pt x="2384366" y="135888"/>
                        <a:pt x="2384366" y="123061"/>
                      </a:cubicBezTo>
                      <a:cubicBezTo>
                        <a:pt x="2384366" y="118633"/>
                        <a:pt x="2382640" y="114857"/>
                        <a:pt x="2379188" y="111732"/>
                      </a:cubicBezTo>
                      <a:cubicBezTo>
                        <a:pt x="2375738" y="108606"/>
                        <a:pt x="2370138" y="105383"/>
                        <a:pt x="2362390" y="102062"/>
                      </a:cubicBezTo>
                      <a:cubicBezTo>
                        <a:pt x="2352818" y="97895"/>
                        <a:pt x="2346096" y="93582"/>
                        <a:pt x="2342222" y="89121"/>
                      </a:cubicBezTo>
                      <a:cubicBezTo>
                        <a:pt x="2338348" y="84661"/>
                        <a:pt x="2336410" y="79241"/>
                        <a:pt x="2336410" y="72860"/>
                      </a:cubicBezTo>
                      <a:cubicBezTo>
                        <a:pt x="2336410" y="64720"/>
                        <a:pt x="2339520" y="58144"/>
                        <a:pt x="2345738" y="53131"/>
                      </a:cubicBezTo>
                      <a:cubicBezTo>
                        <a:pt x="2351956" y="48117"/>
                        <a:pt x="2359622" y="45610"/>
                        <a:pt x="2368738" y="45610"/>
                      </a:cubicBezTo>
                      <a:close/>
                      <a:moveTo>
                        <a:pt x="2215702" y="45610"/>
                      </a:moveTo>
                      <a:cubicBezTo>
                        <a:pt x="2225988" y="45610"/>
                        <a:pt x="2233948" y="48801"/>
                        <a:pt x="2239582" y="55182"/>
                      </a:cubicBezTo>
                      <a:cubicBezTo>
                        <a:pt x="2245214" y="61563"/>
                        <a:pt x="2248030" y="70841"/>
                        <a:pt x="2248030" y="83017"/>
                      </a:cubicBezTo>
                      <a:lnTo>
                        <a:pt x="2248030" y="148064"/>
                      </a:lnTo>
                      <a:lnTo>
                        <a:pt x="2239044" y="148064"/>
                      </a:lnTo>
                      <a:lnTo>
                        <a:pt x="2239044" y="128042"/>
                      </a:lnTo>
                      <a:lnTo>
                        <a:pt x="2238654" y="128042"/>
                      </a:lnTo>
                      <a:cubicBezTo>
                        <a:pt x="2235462" y="134879"/>
                        <a:pt x="2230824" y="140332"/>
                        <a:pt x="2224736" y="144402"/>
                      </a:cubicBezTo>
                      <a:cubicBezTo>
                        <a:pt x="2218648" y="148471"/>
                        <a:pt x="2211892" y="150506"/>
                        <a:pt x="2204470" y="150506"/>
                      </a:cubicBezTo>
                      <a:cubicBezTo>
                        <a:pt x="2194964" y="150506"/>
                        <a:pt x="2187442" y="147836"/>
                        <a:pt x="2181908" y="142497"/>
                      </a:cubicBezTo>
                      <a:cubicBezTo>
                        <a:pt x="2176374" y="137158"/>
                        <a:pt x="2173606" y="130419"/>
                        <a:pt x="2173606" y="122280"/>
                      </a:cubicBezTo>
                      <a:cubicBezTo>
                        <a:pt x="2173606" y="104830"/>
                        <a:pt x="2185164" y="94281"/>
                        <a:pt x="2208278" y="90635"/>
                      </a:cubicBezTo>
                      <a:lnTo>
                        <a:pt x="2239044" y="86045"/>
                      </a:lnTo>
                      <a:cubicBezTo>
                        <a:pt x="2239044" y="64558"/>
                        <a:pt x="2230970" y="53814"/>
                        <a:pt x="2214822" y="53814"/>
                      </a:cubicBezTo>
                      <a:cubicBezTo>
                        <a:pt x="2203818" y="53814"/>
                        <a:pt x="2193108" y="58242"/>
                        <a:pt x="2182690" y="67097"/>
                      </a:cubicBezTo>
                      <a:lnTo>
                        <a:pt x="2182690" y="56256"/>
                      </a:lnTo>
                      <a:cubicBezTo>
                        <a:pt x="2186400" y="53326"/>
                        <a:pt x="2191430" y="50819"/>
                        <a:pt x="2197780" y="48735"/>
                      </a:cubicBezTo>
                      <a:cubicBezTo>
                        <a:pt x="2204128" y="46652"/>
                        <a:pt x="2210102" y="45610"/>
                        <a:pt x="2215702" y="45610"/>
                      </a:cubicBezTo>
                      <a:close/>
                      <a:moveTo>
                        <a:pt x="2136520" y="45610"/>
                      </a:moveTo>
                      <a:cubicBezTo>
                        <a:pt x="2144138" y="45610"/>
                        <a:pt x="2151528" y="47173"/>
                        <a:pt x="2158692" y="50298"/>
                      </a:cubicBezTo>
                      <a:lnTo>
                        <a:pt x="2158692" y="60456"/>
                      </a:lnTo>
                      <a:cubicBezTo>
                        <a:pt x="2151528" y="56028"/>
                        <a:pt x="2143682" y="53814"/>
                        <a:pt x="2135152" y="53814"/>
                      </a:cubicBezTo>
                      <a:cubicBezTo>
                        <a:pt x="2123432" y="53814"/>
                        <a:pt x="2113926" y="58030"/>
                        <a:pt x="2106634" y="66462"/>
                      </a:cubicBezTo>
                      <a:cubicBezTo>
                        <a:pt x="2099340" y="74894"/>
                        <a:pt x="2095694" y="85817"/>
                        <a:pt x="2095694" y="99230"/>
                      </a:cubicBezTo>
                      <a:cubicBezTo>
                        <a:pt x="2095694" y="112187"/>
                        <a:pt x="2099032" y="122605"/>
                        <a:pt x="2105706" y="130484"/>
                      </a:cubicBezTo>
                      <a:cubicBezTo>
                        <a:pt x="2112380" y="138363"/>
                        <a:pt x="2121186" y="142302"/>
                        <a:pt x="2132124" y="142302"/>
                      </a:cubicBezTo>
                      <a:cubicBezTo>
                        <a:pt x="2142152" y="142302"/>
                        <a:pt x="2150878" y="139632"/>
                        <a:pt x="2158300" y="134293"/>
                      </a:cubicBezTo>
                      <a:lnTo>
                        <a:pt x="2158300" y="143669"/>
                      </a:lnTo>
                      <a:cubicBezTo>
                        <a:pt x="2150878" y="148227"/>
                        <a:pt x="2142022" y="150506"/>
                        <a:pt x="2131734" y="150506"/>
                      </a:cubicBezTo>
                      <a:cubicBezTo>
                        <a:pt x="2118126" y="150506"/>
                        <a:pt x="2107154" y="145834"/>
                        <a:pt x="2098820" y="136491"/>
                      </a:cubicBezTo>
                      <a:cubicBezTo>
                        <a:pt x="2090486" y="127147"/>
                        <a:pt x="2086318" y="114922"/>
                        <a:pt x="2086318" y="99816"/>
                      </a:cubicBezTo>
                      <a:cubicBezTo>
                        <a:pt x="2086318" y="83929"/>
                        <a:pt x="2091006" y="70922"/>
                        <a:pt x="2100382" y="60797"/>
                      </a:cubicBezTo>
                      <a:cubicBezTo>
                        <a:pt x="2109760" y="50673"/>
                        <a:pt x="2121804" y="45610"/>
                        <a:pt x="2136520" y="45610"/>
                      </a:cubicBezTo>
                      <a:close/>
                      <a:moveTo>
                        <a:pt x="1956132" y="45610"/>
                      </a:moveTo>
                      <a:cubicBezTo>
                        <a:pt x="1966940" y="45610"/>
                        <a:pt x="1975208" y="49207"/>
                        <a:pt x="1980938" y="56402"/>
                      </a:cubicBezTo>
                      <a:cubicBezTo>
                        <a:pt x="1986668" y="63597"/>
                        <a:pt x="1989534" y="73869"/>
                        <a:pt x="1989534" y="87217"/>
                      </a:cubicBezTo>
                      <a:lnTo>
                        <a:pt x="1989534" y="148064"/>
                      </a:lnTo>
                      <a:lnTo>
                        <a:pt x="1980548" y="148064"/>
                      </a:lnTo>
                      <a:lnTo>
                        <a:pt x="1980548" y="89854"/>
                      </a:lnTo>
                      <a:cubicBezTo>
                        <a:pt x="1980548" y="65827"/>
                        <a:pt x="1971888" y="53814"/>
                        <a:pt x="1954568" y="53814"/>
                      </a:cubicBezTo>
                      <a:cubicBezTo>
                        <a:pt x="1944932" y="53814"/>
                        <a:pt x="1937020" y="57347"/>
                        <a:pt x="1930834" y="64411"/>
                      </a:cubicBezTo>
                      <a:cubicBezTo>
                        <a:pt x="1924650" y="71476"/>
                        <a:pt x="1921556" y="80217"/>
                        <a:pt x="1921556" y="90635"/>
                      </a:cubicBezTo>
                      <a:lnTo>
                        <a:pt x="1921556" y="148064"/>
                      </a:lnTo>
                      <a:lnTo>
                        <a:pt x="1912570" y="148064"/>
                      </a:lnTo>
                      <a:lnTo>
                        <a:pt x="1912570" y="48052"/>
                      </a:lnTo>
                      <a:lnTo>
                        <a:pt x="1921556" y="48052"/>
                      </a:lnTo>
                      <a:lnTo>
                        <a:pt x="1921556" y="66218"/>
                      </a:lnTo>
                      <a:lnTo>
                        <a:pt x="1921948" y="66218"/>
                      </a:lnTo>
                      <a:cubicBezTo>
                        <a:pt x="1929240" y="52479"/>
                        <a:pt x="1940634" y="45610"/>
                        <a:pt x="1956132" y="45610"/>
                      </a:cubicBezTo>
                      <a:close/>
                      <a:moveTo>
                        <a:pt x="1839488" y="45610"/>
                      </a:moveTo>
                      <a:cubicBezTo>
                        <a:pt x="1853746" y="45610"/>
                        <a:pt x="1865012" y="50266"/>
                        <a:pt x="1873280" y="59577"/>
                      </a:cubicBezTo>
                      <a:cubicBezTo>
                        <a:pt x="1881550" y="68888"/>
                        <a:pt x="1885684" y="81780"/>
                        <a:pt x="1885684" y="98253"/>
                      </a:cubicBezTo>
                      <a:cubicBezTo>
                        <a:pt x="1885684" y="113815"/>
                        <a:pt x="1881468" y="126414"/>
                        <a:pt x="1873036" y="136051"/>
                      </a:cubicBezTo>
                      <a:cubicBezTo>
                        <a:pt x="1864604" y="145688"/>
                        <a:pt x="1853064" y="150506"/>
                        <a:pt x="1838412" y="150506"/>
                      </a:cubicBezTo>
                      <a:cubicBezTo>
                        <a:pt x="1823828" y="150506"/>
                        <a:pt x="1812286" y="145704"/>
                        <a:pt x="1803790" y="136100"/>
                      </a:cubicBezTo>
                      <a:cubicBezTo>
                        <a:pt x="1795292" y="126496"/>
                        <a:pt x="1791044" y="114010"/>
                        <a:pt x="1791044" y="98644"/>
                      </a:cubicBezTo>
                      <a:cubicBezTo>
                        <a:pt x="1791044" y="82040"/>
                        <a:pt x="1795488" y="69050"/>
                        <a:pt x="1804376" y="59674"/>
                      </a:cubicBezTo>
                      <a:cubicBezTo>
                        <a:pt x="1813264" y="50298"/>
                        <a:pt x="1824968" y="45610"/>
                        <a:pt x="1839488" y="45610"/>
                      </a:cubicBezTo>
                      <a:close/>
                      <a:moveTo>
                        <a:pt x="1660270" y="45610"/>
                      </a:moveTo>
                      <a:cubicBezTo>
                        <a:pt x="1667888" y="45610"/>
                        <a:pt x="1675278" y="47173"/>
                        <a:pt x="1682440" y="50298"/>
                      </a:cubicBezTo>
                      <a:lnTo>
                        <a:pt x="1682440" y="60456"/>
                      </a:lnTo>
                      <a:cubicBezTo>
                        <a:pt x="1675278" y="56028"/>
                        <a:pt x="1667432" y="53814"/>
                        <a:pt x="1658902" y="53814"/>
                      </a:cubicBezTo>
                      <a:cubicBezTo>
                        <a:pt x="1647182" y="53814"/>
                        <a:pt x="1637676" y="58030"/>
                        <a:pt x="1630384" y="66462"/>
                      </a:cubicBezTo>
                      <a:cubicBezTo>
                        <a:pt x="1623092" y="74894"/>
                        <a:pt x="1619444" y="85817"/>
                        <a:pt x="1619444" y="99230"/>
                      </a:cubicBezTo>
                      <a:cubicBezTo>
                        <a:pt x="1619444" y="112187"/>
                        <a:pt x="1622782" y="122605"/>
                        <a:pt x="1629456" y="130484"/>
                      </a:cubicBezTo>
                      <a:cubicBezTo>
                        <a:pt x="1636130" y="138363"/>
                        <a:pt x="1644936" y="142302"/>
                        <a:pt x="1655876" y="142302"/>
                      </a:cubicBezTo>
                      <a:cubicBezTo>
                        <a:pt x="1665902" y="142302"/>
                        <a:pt x="1674628" y="139632"/>
                        <a:pt x="1682050" y="134293"/>
                      </a:cubicBezTo>
                      <a:lnTo>
                        <a:pt x="1682050" y="143669"/>
                      </a:lnTo>
                      <a:cubicBezTo>
                        <a:pt x="1674628" y="148227"/>
                        <a:pt x="1665772" y="150506"/>
                        <a:pt x="1655484" y="150506"/>
                      </a:cubicBezTo>
                      <a:cubicBezTo>
                        <a:pt x="1641876" y="150506"/>
                        <a:pt x="1630904" y="145834"/>
                        <a:pt x="1622570" y="136491"/>
                      </a:cubicBezTo>
                      <a:cubicBezTo>
                        <a:pt x="1614236" y="127147"/>
                        <a:pt x="1610068" y="114922"/>
                        <a:pt x="1610068" y="99816"/>
                      </a:cubicBezTo>
                      <a:cubicBezTo>
                        <a:pt x="1610068" y="83929"/>
                        <a:pt x="1614756" y="70922"/>
                        <a:pt x="1624132" y="60797"/>
                      </a:cubicBezTo>
                      <a:cubicBezTo>
                        <a:pt x="1633508" y="50673"/>
                        <a:pt x="1645554" y="45610"/>
                        <a:pt x="1660270" y="45610"/>
                      </a:cubicBezTo>
                      <a:close/>
                      <a:moveTo>
                        <a:pt x="1325137" y="45610"/>
                      </a:moveTo>
                      <a:cubicBezTo>
                        <a:pt x="1339397" y="45610"/>
                        <a:pt x="1350661" y="50266"/>
                        <a:pt x="1358930" y="59577"/>
                      </a:cubicBezTo>
                      <a:cubicBezTo>
                        <a:pt x="1367200" y="68888"/>
                        <a:pt x="1371334" y="81780"/>
                        <a:pt x="1371334" y="98253"/>
                      </a:cubicBezTo>
                      <a:cubicBezTo>
                        <a:pt x="1371334" y="113815"/>
                        <a:pt x="1367118" y="126414"/>
                        <a:pt x="1358686" y="136051"/>
                      </a:cubicBezTo>
                      <a:cubicBezTo>
                        <a:pt x="1350254" y="145688"/>
                        <a:pt x="1338713" y="150506"/>
                        <a:pt x="1324063" y="150506"/>
                      </a:cubicBezTo>
                      <a:cubicBezTo>
                        <a:pt x="1309478" y="150506"/>
                        <a:pt x="1297936" y="145704"/>
                        <a:pt x="1289439" y="136100"/>
                      </a:cubicBezTo>
                      <a:cubicBezTo>
                        <a:pt x="1280942" y="126496"/>
                        <a:pt x="1276694" y="114010"/>
                        <a:pt x="1276694" y="98644"/>
                      </a:cubicBezTo>
                      <a:cubicBezTo>
                        <a:pt x="1276694" y="82040"/>
                        <a:pt x="1281138" y="69050"/>
                        <a:pt x="1290025" y="59674"/>
                      </a:cubicBezTo>
                      <a:cubicBezTo>
                        <a:pt x="1298913" y="50298"/>
                        <a:pt x="1310617" y="45610"/>
                        <a:pt x="1325137" y="45610"/>
                      </a:cubicBezTo>
                      <a:close/>
                      <a:moveTo>
                        <a:pt x="1149729" y="45610"/>
                      </a:moveTo>
                      <a:cubicBezTo>
                        <a:pt x="1162426" y="45610"/>
                        <a:pt x="1172340" y="49989"/>
                        <a:pt x="1179469" y="58746"/>
                      </a:cubicBezTo>
                      <a:cubicBezTo>
                        <a:pt x="1186599" y="67504"/>
                        <a:pt x="1190164" y="79403"/>
                        <a:pt x="1190164" y="94444"/>
                      </a:cubicBezTo>
                      <a:cubicBezTo>
                        <a:pt x="1190164" y="111178"/>
                        <a:pt x="1186078" y="124705"/>
                        <a:pt x="1177907" y="135025"/>
                      </a:cubicBezTo>
                      <a:cubicBezTo>
                        <a:pt x="1169735" y="145346"/>
                        <a:pt x="1158943" y="150506"/>
                        <a:pt x="1145530" y="150506"/>
                      </a:cubicBezTo>
                      <a:cubicBezTo>
                        <a:pt x="1130554" y="150506"/>
                        <a:pt x="1119485" y="143767"/>
                        <a:pt x="1112322" y="130289"/>
                      </a:cubicBezTo>
                      <a:lnTo>
                        <a:pt x="1111932" y="130289"/>
                      </a:lnTo>
                      <a:lnTo>
                        <a:pt x="1111932" y="194066"/>
                      </a:lnTo>
                      <a:lnTo>
                        <a:pt x="1102946" y="194066"/>
                      </a:lnTo>
                      <a:lnTo>
                        <a:pt x="1102946" y="48052"/>
                      </a:lnTo>
                      <a:lnTo>
                        <a:pt x="1111932" y="48052"/>
                      </a:lnTo>
                      <a:lnTo>
                        <a:pt x="1111932" y="68660"/>
                      </a:lnTo>
                      <a:lnTo>
                        <a:pt x="1112322" y="68660"/>
                      </a:lnTo>
                      <a:cubicBezTo>
                        <a:pt x="1115903" y="61302"/>
                        <a:pt x="1121031" y="55621"/>
                        <a:pt x="1127705" y="51617"/>
                      </a:cubicBezTo>
                      <a:cubicBezTo>
                        <a:pt x="1134379" y="47612"/>
                        <a:pt x="1141720" y="45610"/>
                        <a:pt x="1149729" y="45610"/>
                      </a:cubicBezTo>
                      <a:close/>
                      <a:moveTo>
                        <a:pt x="854798" y="45610"/>
                      </a:moveTo>
                      <a:cubicBezTo>
                        <a:pt x="867235" y="45610"/>
                        <a:pt x="876774" y="49973"/>
                        <a:pt x="883415" y="58698"/>
                      </a:cubicBezTo>
                      <a:cubicBezTo>
                        <a:pt x="890057" y="67423"/>
                        <a:pt x="893378" y="79338"/>
                        <a:pt x="893378" y="94444"/>
                      </a:cubicBezTo>
                      <a:lnTo>
                        <a:pt x="893378" y="98449"/>
                      </a:lnTo>
                      <a:lnTo>
                        <a:pt x="819345" y="98449"/>
                      </a:lnTo>
                      <a:cubicBezTo>
                        <a:pt x="819345" y="112187"/>
                        <a:pt x="822519" y="122931"/>
                        <a:pt x="828868" y="130679"/>
                      </a:cubicBezTo>
                      <a:cubicBezTo>
                        <a:pt x="835216" y="138428"/>
                        <a:pt x="843925" y="142302"/>
                        <a:pt x="854994" y="142302"/>
                      </a:cubicBezTo>
                      <a:cubicBezTo>
                        <a:pt x="866193" y="142302"/>
                        <a:pt x="877132" y="138167"/>
                        <a:pt x="887810" y="129898"/>
                      </a:cubicBezTo>
                      <a:lnTo>
                        <a:pt x="887810" y="139469"/>
                      </a:lnTo>
                      <a:cubicBezTo>
                        <a:pt x="877458" y="146827"/>
                        <a:pt x="865900" y="150506"/>
                        <a:pt x="853138" y="150506"/>
                      </a:cubicBezTo>
                      <a:cubicBezTo>
                        <a:pt x="840246" y="150506"/>
                        <a:pt x="829828" y="145883"/>
                        <a:pt x="821884" y="136637"/>
                      </a:cubicBezTo>
                      <a:cubicBezTo>
                        <a:pt x="813941" y="127391"/>
                        <a:pt x="809969" y="114336"/>
                        <a:pt x="809969" y="97472"/>
                      </a:cubicBezTo>
                      <a:cubicBezTo>
                        <a:pt x="809969" y="82887"/>
                        <a:pt x="814120" y="70597"/>
                        <a:pt x="822421" y="60602"/>
                      </a:cubicBezTo>
                      <a:cubicBezTo>
                        <a:pt x="830723" y="50607"/>
                        <a:pt x="841516" y="45610"/>
                        <a:pt x="854798" y="45610"/>
                      </a:cubicBezTo>
                      <a:close/>
                      <a:moveTo>
                        <a:pt x="698831" y="45610"/>
                      </a:moveTo>
                      <a:cubicBezTo>
                        <a:pt x="709640" y="45610"/>
                        <a:pt x="717909" y="49207"/>
                        <a:pt x="723639" y="56402"/>
                      </a:cubicBezTo>
                      <a:cubicBezTo>
                        <a:pt x="729369" y="63597"/>
                        <a:pt x="732234" y="73869"/>
                        <a:pt x="732234" y="87217"/>
                      </a:cubicBezTo>
                      <a:lnTo>
                        <a:pt x="732234" y="148064"/>
                      </a:lnTo>
                      <a:lnTo>
                        <a:pt x="723248" y="148064"/>
                      </a:lnTo>
                      <a:lnTo>
                        <a:pt x="723248" y="89854"/>
                      </a:lnTo>
                      <a:cubicBezTo>
                        <a:pt x="723248" y="65827"/>
                        <a:pt x="714588" y="53814"/>
                        <a:pt x="697269" y="53814"/>
                      </a:cubicBezTo>
                      <a:cubicBezTo>
                        <a:pt x="687632" y="53814"/>
                        <a:pt x="679721" y="57347"/>
                        <a:pt x="673535" y="64411"/>
                      </a:cubicBezTo>
                      <a:cubicBezTo>
                        <a:pt x="667350" y="71476"/>
                        <a:pt x="664257" y="80217"/>
                        <a:pt x="664257" y="90635"/>
                      </a:cubicBezTo>
                      <a:lnTo>
                        <a:pt x="664257" y="148064"/>
                      </a:lnTo>
                      <a:lnTo>
                        <a:pt x="655271" y="148064"/>
                      </a:lnTo>
                      <a:lnTo>
                        <a:pt x="655271" y="48052"/>
                      </a:lnTo>
                      <a:lnTo>
                        <a:pt x="664257" y="48052"/>
                      </a:lnTo>
                      <a:lnTo>
                        <a:pt x="664257" y="66218"/>
                      </a:lnTo>
                      <a:lnTo>
                        <a:pt x="664647" y="66218"/>
                      </a:lnTo>
                      <a:cubicBezTo>
                        <a:pt x="671940" y="52479"/>
                        <a:pt x="683335" y="45610"/>
                        <a:pt x="698831" y="45610"/>
                      </a:cubicBezTo>
                      <a:close/>
                      <a:moveTo>
                        <a:pt x="482979" y="45610"/>
                      </a:moveTo>
                      <a:cubicBezTo>
                        <a:pt x="495676" y="45610"/>
                        <a:pt x="505590" y="49989"/>
                        <a:pt x="512719" y="58746"/>
                      </a:cubicBezTo>
                      <a:cubicBezTo>
                        <a:pt x="519849" y="67504"/>
                        <a:pt x="523414" y="79403"/>
                        <a:pt x="523414" y="94444"/>
                      </a:cubicBezTo>
                      <a:cubicBezTo>
                        <a:pt x="523414" y="111178"/>
                        <a:pt x="519328" y="124705"/>
                        <a:pt x="511157" y="135025"/>
                      </a:cubicBezTo>
                      <a:cubicBezTo>
                        <a:pt x="502985" y="145346"/>
                        <a:pt x="492193" y="150506"/>
                        <a:pt x="478780" y="150506"/>
                      </a:cubicBezTo>
                      <a:cubicBezTo>
                        <a:pt x="463804" y="150506"/>
                        <a:pt x="452735" y="143767"/>
                        <a:pt x="445572" y="130289"/>
                      </a:cubicBezTo>
                      <a:lnTo>
                        <a:pt x="445182" y="130289"/>
                      </a:lnTo>
                      <a:lnTo>
                        <a:pt x="445182" y="194066"/>
                      </a:lnTo>
                      <a:lnTo>
                        <a:pt x="436196" y="194066"/>
                      </a:lnTo>
                      <a:lnTo>
                        <a:pt x="436196" y="48052"/>
                      </a:lnTo>
                      <a:lnTo>
                        <a:pt x="445182" y="48052"/>
                      </a:lnTo>
                      <a:lnTo>
                        <a:pt x="445182" y="68660"/>
                      </a:lnTo>
                      <a:lnTo>
                        <a:pt x="445572" y="68660"/>
                      </a:lnTo>
                      <a:cubicBezTo>
                        <a:pt x="449154" y="61302"/>
                        <a:pt x="454281" y="55621"/>
                        <a:pt x="460955" y="51617"/>
                      </a:cubicBezTo>
                      <a:cubicBezTo>
                        <a:pt x="467629" y="47612"/>
                        <a:pt x="474970" y="45610"/>
                        <a:pt x="482979" y="45610"/>
                      </a:cubicBezTo>
                      <a:close/>
                      <a:moveTo>
                        <a:pt x="1716206" y="19044"/>
                      </a:moveTo>
                      <a:lnTo>
                        <a:pt x="1716206" y="48052"/>
                      </a:lnTo>
                      <a:lnTo>
                        <a:pt x="1742576" y="48052"/>
                      </a:lnTo>
                      <a:lnTo>
                        <a:pt x="1742576" y="56256"/>
                      </a:lnTo>
                      <a:lnTo>
                        <a:pt x="1716206" y="56256"/>
                      </a:lnTo>
                      <a:lnTo>
                        <a:pt x="1716206" y="122280"/>
                      </a:lnTo>
                      <a:cubicBezTo>
                        <a:pt x="1716206" y="129182"/>
                        <a:pt x="1717296" y="134179"/>
                        <a:pt x="1719478" y="137272"/>
                      </a:cubicBezTo>
                      <a:cubicBezTo>
                        <a:pt x="1721660" y="140365"/>
                        <a:pt x="1725354" y="141911"/>
                        <a:pt x="1730564" y="141911"/>
                      </a:cubicBezTo>
                      <a:cubicBezTo>
                        <a:pt x="1734276" y="141911"/>
                        <a:pt x="1738280" y="140707"/>
                        <a:pt x="1742576" y="138297"/>
                      </a:cubicBezTo>
                      <a:lnTo>
                        <a:pt x="1742576" y="146697"/>
                      </a:lnTo>
                      <a:cubicBezTo>
                        <a:pt x="1737888" y="148911"/>
                        <a:pt x="1733494" y="150018"/>
                        <a:pt x="1729392" y="150018"/>
                      </a:cubicBezTo>
                      <a:cubicBezTo>
                        <a:pt x="1714612" y="150018"/>
                        <a:pt x="1707220" y="141162"/>
                        <a:pt x="1707220" y="123452"/>
                      </a:cubicBezTo>
                      <a:lnTo>
                        <a:pt x="1707220" y="56256"/>
                      </a:lnTo>
                      <a:lnTo>
                        <a:pt x="1689250" y="56256"/>
                      </a:lnTo>
                      <a:lnTo>
                        <a:pt x="1689250" y="48052"/>
                      </a:lnTo>
                      <a:lnTo>
                        <a:pt x="1707220" y="48052"/>
                      </a:lnTo>
                      <a:lnTo>
                        <a:pt x="1707220" y="22072"/>
                      </a:lnTo>
                      <a:cubicBezTo>
                        <a:pt x="1708654" y="21551"/>
                        <a:pt x="1710150" y="21030"/>
                        <a:pt x="1711714" y="20509"/>
                      </a:cubicBezTo>
                      <a:cubicBezTo>
                        <a:pt x="1713276" y="20053"/>
                        <a:pt x="1714774" y="19565"/>
                        <a:pt x="1716206" y="19044"/>
                      </a:cubicBezTo>
                      <a:close/>
                      <a:moveTo>
                        <a:pt x="773231" y="19044"/>
                      </a:moveTo>
                      <a:lnTo>
                        <a:pt x="773231" y="48052"/>
                      </a:lnTo>
                      <a:lnTo>
                        <a:pt x="799602" y="48052"/>
                      </a:lnTo>
                      <a:lnTo>
                        <a:pt x="799602" y="56256"/>
                      </a:lnTo>
                      <a:lnTo>
                        <a:pt x="773231" y="56256"/>
                      </a:lnTo>
                      <a:lnTo>
                        <a:pt x="773231" y="122280"/>
                      </a:lnTo>
                      <a:cubicBezTo>
                        <a:pt x="773231" y="129182"/>
                        <a:pt x="774322" y="134179"/>
                        <a:pt x="776503" y="137272"/>
                      </a:cubicBezTo>
                      <a:cubicBezTo>
                        <a:pt x="778685" y="140365"/>
                        <a:pt x="782380" y="141911"/>
                        <a:pt x="787589" y="141911"/>
                      </a:cubicBezTo>
                      <a:cubicBezTo>
                        <a:pt x="791300" y="141911"/>
                        <a:pt x="795305" y="140707"/>
                        <a:pt x="799602" y="138297"/>
                      </a:cubicBezTo>
                      <a:lnTo>
                        <a:pt x="799602" y="146697"/>
                      </a:lnTo>
                      <a:cubicBezTo>
                        <a:pt x="794914" y="148911"/>
                        <a:pt x="790519" y="150018"/>
                        <a:pt x="786417" y="150018"/>
                      </a:cubicBezTo>
                      <a:cubicBezTo>
                        <a:pt x="771636" y="150018"/>
                        <a:pt x="764246" y="141162"/>
                        <a:pt x="764246" y="123452"/>
                      </a:cubicBezTo>
                      <a:lnTo>
                        <a:pt x="764246" y="56256"/>
                      </a:lnTo>
                      <a:lnTo>
                        <a:pt x="746275" y="56256"/>
                      </a:lnTo>
                      <a:lnTo>
                        <a:pt x="746275" y="48052"/>
                      </a:lnTo>
                      <a:lnTo>
                        <a:pt x="764246" y="48052"/>
                      </a:lnTo>
                      <a:lnTo>
                        <a:pt x="764246" y="22072"/>
                      </a:lnTo>
                      <a:cubicBezTo>
                        <a:pt x="765678" y="21551"/>
                        <a:pt x="767176" y="21030"/>
                        <a:pt x="768739" y="20509"/>
                      </a:cubicBezTo>
                      <a:cubicBezTo>
                        <a:pt x="770301" y="20053"/>
                        <a:pt x="771799" y="19565"/>
                        <a:pt x="773231" y="19044"/>
                      </a:cubicBezTo>
                      <a:close/>
                      <a:moveTo>
                        <a:pt x="257319" y="16896"/>
                      </a:moveTo>
                      <a:lnTo>
                        <a:pt x="257319" y="139274"/>
                      </a:lnTo>
                      <a:lnTo>
                        <a:pt x="279294" y="139274"/>
                      </a:lnTo>
                      <a:cubicBezTo>
                        <a:pt x="300065" y="139274"/>
                        <a:pt x="316017" y="133886"/>
                        <a:pt x="327152" y="123110"/>
                      </a:cubicBezTo>
                      <a:cubicBezTo>
                        <a:pt x="338286" y="112334"/>
                        <a:pt x="343853" y="96788"/>
                        <a:pt x="343853" y="76473"/>
                      </a:cubicBezTo>
                      <a:cubicBezTo>
                        <a:pt x="343853" y="36755"/>
                        <a:pt x="322984" y="16896"/>
                        <a:pt x="281248" y="16896"/>
                      </a:cubicBezTo>
                      <a:close/>
                      <a:moveTo>
                        <a:pt x="1764566" y="8009"/>
                      </a:moveTo>
                      <a:cubicBezTo>
                        <a:pt x="1766584" y="8009"/>
                        <a:pt x="1768360" y="8660"/>
                        <a:pt x="1769890" y="9962"/>
                      </a:cubicBezTo>
                      <a:cubicBezTo>
                        <a:pt x="1771420" y="11264"/>
                        <a:pt x="1772184" y="13022"/>
                        <a:pt x="1772184" y="15236"/>
                      </a:cubicBezTo>
                      <a:cubicBezTo>
                        <a:pt x="1772184" y="17320"/>
                        <a:pt x="1771436" y="19110"/>
                        <a:pt x="1769938" y="20608"/>
                      </a:cubicBezTo>
                      <a:cubicBezTo>
                        <a:pt x="1768440" y="22105"/>
                        <a:pt x="1766650" y="22854"/>
                        <a:pt x="1764566" y="22854"/>
                      </a:cubicBezTo>
                      <a:cubicBezTo>
                        <a:pt x="1762612" y="22854"/>
                        <a:pt x="1760888" y="22138"/>
                        <a:pt x="1759390" y="20706"/>
                      </a:cubicBezTo>
                      <a:cubicBezTo>
                        <a:pt x="1757892" y="19273"/>
                        <a:pt x="1757144" y="17450"/>
                        <a:pt x="1757144" y="15236"/>
                      </a:cubicBezTo>
                      <a:cubicBezTo>
                        <a:pt x="1757144" y="13087"/>
                        <a:pt x="1757908" y="11346"/>
                        <a:pt x="1759438" y="10011"/>
                      </a:cubicBezTo>
                      <a:cubicBezTo>
                        <a:pt x="1760968" y="8676"/>
                        <a:pt x="1762678" y="8009"/>
                        <a:pt x="1764566" y="8009"/>
                      </a:cubicBezTo>
                      <a:close/>
                      <a:moveTo>
                        <a:pt x="621566" y="8009"/>
                      </a:moveTo>
                      <a:cubicBezTo>
                        <a:pt x="623585" y="8009"/>
                        <a:pt x="625359" y="8660"/>
                        <a:pt x="626889" y="9962"/>
                      </a:cubicBezTo>
                      <a:cubicBezTo>
                        <a:pt x="628419" y="11264"/>
                        <a:pt x="629184" y="13022"/>
                        <a:pt x="629184" y="15236"/>
                      </a:cubicBezTo>
                      <a:cubicBezTo>
                        <a:pt x="629184" y="17320"/>
                        <a:pt x="628436" y="19110"/>
                        <a:pt x="626938" y="20608"/>
                      </a:cubicBezTo>
                      <a:cubicBezTo>
                        <a:pt x="625440" y="22105"/>
                        <a:pt x="623650" y="22854"/>
                        <a:pt x="621566" y="22854"/>
                      </a:cubicBezTo>
                      <a:cubicBezTo>
                        <a:pt x="619613" y="22854"/>
                        <a:pt x="617887" y="22138"/>
                        <a:pt x="616390" y="20706"/>
                      </a:cubicBezTo>
                      <a:cubicBezTo>
                        <a:pt x="614892" y="19273"/>
                        <a:pt x="614143" y="17450"/>
                        <a:pt x="614143" y="15236"/>
                      </a:cubicBezTo>
                      <a:cubicBezTo>
                        <a:pt x="614143" y="13087"/>
                        <a:pt x="614908" y="11346"/>
                        <a:pt x="616439" y="10011"/>
                      </a:cubicBezTo>
                      <a:cubicBezTo>
                        <a:pt x="617969" y="8676"/>
                        <a:pt x="619678" y="8009"/>
                        <a:pt x="621566" y="8009"/>
                      </a:cubicBezTo>
                      <a:close/>
                      <a:moveTo>
                        <a:pt x="247650" y="8008"/>
                      </a:moveTo>
                      <a:lnTo>
                        <a:pt x="282713" y="8008"/>
                      </a:lnTo>
                      <a:cubicBezTo>
                        <a:pt x="305958" y="8008"/>
                        <a:pt x="323636" y="13803"/>
                        <a:pt x="335746" y="25393"/>
                      </a:cubicBezTo>
                      <a:cubicBezTo>
                        <a:pt x="347857" y="36983"/>
                        <a:pt x="353913" y="53879"/>
                        <a:pt x="353913" y="76083"/>
                      </a:cubicBezTo>
                      <a:cubicBezTo>
                        <a:pt x="353913" y="97439"/>
                        <a:pt x="347418" y="114776"/>
                        <a:pt x="334428" y="128091"/>
                      </a:cubicBezTo>
                      <a:cubicBezTo>
                        <a:pt x="321438" y="141407"/>
                        <a:pt x="303516" y="148064"/>
                        <a:pt x="280661" y="148064"/>
                      </a:cubicBezTo>
                      <a:lnTo>
                        <a:pt x="247650" y="148064"/>
                      </a:lnTo>
                      <a:close/>
                      <a:moveTo>
                        <a:pt x="170710" y="5664"/>
                      </a:moveTo>
                      <a:cubicBezTo>
                        <a:pt x="181779" y="5664"/>
                        <a:pt x="190553" y="8659"/>
                        <a:pt x="197032" y="14649"/>
                      </a:cubicBezTo>
                      <a:cubicBezTo>
                        <a:pt x="203510" y="20639"/>
                        <a:pt x="206750" y="28583"/>
                        <a:pt x="206750" y="38480"/>
                      </a:cubicBezTo>
                      <a:cubicBezTo>
                        <a:pt x="206750" y="57428"/>
                        <a:pt x="197667" y="69474"/>
                        <a:pt x="179500" y="74618"/>
                      </a:cubicBezTo>
                      <a:lnTo>
                        <a:pt x="179500" y="75008"/>
                      </a:lnTo>
                      <a:cubicBezTo>
                        <a:pt x="189267" y="75985"/>
                        <a:pt x="197080" y="79615"/>
                        <a:pt x="202941" y="85898"/>
                      </a:cubicBezTo>
                      <a:cubicBezTo>
                        <a:pt x="208801" y="92182"/>
                        <a:pt x="211731" y="100109"/>
                        <a:pt x="211731" y="109681"/>
                      </a:cubicBezTo>
                      <a:cubicBezTo>
                        <a:pt x="211731" y="121922"/>
                        <a:pt x="207498" y="131786"/>
                        <a:pt x="199034" y="139274"/>
                      </a:cubicBezTo>
                      <a:cubicBezTo>
                        <a:pt x="190569" y="146762"/>
                        <a:pt x="179598" y="150506"/>
                        <a:pt x="166120" y="150506"/>
                      </a:cubicBezTo>
                      <a:cubicBezTo>
                        <a:pt x="155702" y="150506"/>
                        <a:pt x="145707" y="148032"/>
                        <a:pt x="136135" y="143083"/>
                      </a:cubicBezTo>
                      <a:lnTo>
                        <a:pt x="136135" y="132828"/>
                      </a:lnTo>
                      <a:cubicBezTo>
                        <a:pt x="146814" y="139144"/>
                        <a:pt x="156874" y="142302"/>
                        <a:pt x="166315" y="142302"/>
                      </a:cubicBezTo>
                      <a:cubicBezTo>
                        <a:pt x="177579" y="142302"/>
                        <a:pt x="186402" y="139421"/>
                        <a:pt x="192783" y="133658"/>
                      </a:cubicBezTo>
                      <a:cubicBezTo>
                        <a:pt x="199164" y="127896"/>
                        <a:pt x="202355" y="120359"/>
                        <a:pt x="202355" y="111048"/>
                      </a:cubicBezTo>
                      <a:cubicBezTo>
                        <a:pt x="202355" y="100695"/>
                        <a:pt x="198692" y="92849"/>
                        <a:pt x="191367" y="87510"/>
                      </a:cubicBezTo>
                      <a:cubicBezTo>
                        <a:pt x="184042" y="82171"/>
                        <a:pt x="173608" y="79501"/>
                        <a:pt x="160064" y="79501"/>
                      </a:cubicBezTo>
                      <a:lnTo>
                        <a:pt x="149321" y="79501"/>
                      </a:lnTo>
                      <a:lnTo>
                        <a:pt x="149321" y="71297"/>
                      </a:lnTo>
                      <a:lnTo>
                        <a:pt x="158892" y="71297"/>
                      </a:lnTo>
                      <a:cubicBezTo>
                        <a:pt x="171394" y="71297"/>
                        <a:pt x="180916" y="68644"/>
                        <a:pt x="187460" y="63337"/>
                      </a:cubicBezTo>
                      <a:cubicBezTo>
                        <a:pt x="194004" y="58030"/>
                        <a:pt x="197276" y="50526"/>
                        <a:pt x="197276" y="40824"/>
                      </a:cubicBezTo>
                      <a:cubicBezTo>
                        <a:pt x="197276" y="32425"/>
                        <a:pt x="194899" y="25832"/>
                        <a:pt x="190146" y="21046"/>
                      </a:cubicBezTo>
                      <a:cubicBezTo>
                        <a:pt x="185393" y="16261"/>
                        <a:pt x="178458" y="13868"/>
                        <a:pt x="169343" y="13868"/>
                      </a:cubicBezTo>
                      <a:cubicBezTo>
                        <a:pt x="160552" y="13868"/>
                        <a:pt x="151339" y="16928"/>
                        <a:pt x="141702" y="23049"/>
                      </a:cubicBezTo>
                      <a:lnTo>
                        <a:pt x="141702" y="13477"/>
                      </a:lnTo>
                      <a:cubicBezTo>
                        <a:pt x="152251" y="8268"/>
                        <a:pt x="161920" y="5664"/>
                        <a:pt x="170710" y="5664"/>
                      </a:cubicBezTo>
                      <a:close/>
                      <a:moveTo>
                        <a:pt x="1469226" y="0"/>
                      </a:moveTo>
                      <a:lnTo>
                        <a:pt x="1478212" y="0"/>
                      </a:lnTo>
                      <a:lnTo>
                        <a:pt x="1478212" y="148065"/>
                      </a:lnTo>
                      <a:lnTo>
                        <a:pt x="1469226" y="148065"/>
                      </a:lnTo>
                      <a:lnTo>
                        <a:pt x="1469226" y="129899"/>
                      </a:lnTo>
                      <a:lnTo>
                        <a:pt x="1468836" y="129899"/>
                      </a:lnTo>
                      <a:cubicBezTo>
                        <a:pt x="1465580" y="136215"/>
                        <a:pt x="1460762" y="141228"/>
                        <a:pt x="1454380" y="144940"/>
                      </a:cubicBezTo>
                      <a:cubicBezTo>
                        <a:pt x="1448000" y="148651"/>
                        <a:pt x="1440804" y="150507"/>
                        <a:pt x="1432796" y="150507"/>
                      </a:cubicBezTo>
                      <a:cubicBezTo>
                        <a:pt x="1420490" y="150507"/>
                        <a:pt x="1410446" y="146014"/>
                        <a:pt x="1402664" y="137029"/>
                      </a:cubicBezTo>
                      <a:cubicBezTo>
                        <a:pt x="1394884" y="128043"/>
                        <a:pt x="1390994" y="115639"/>
                        <a:pt x="1390994" y="99817"/>
                      </a:cubicBezTo>
                      <a:cubicBezTo>
                        <a:pt x="1390994" y="83669"/>
                        <a:pt x="1395242" y="70598"/>
                        <a:pt x="1403740" y="60603"/>
                      </a:cubicBezTo>
                      <a:cubicBezTo>
                        <a:pt x="1412236" y="50608"/>
                        <a:pt x="1423256" y="45611"/>
                        <a:pt x="1436800" y="45611"/>
                      </a:cubicBezTo>
                      <a:cubicBezTo>
                        <a:pt x="1451776" y="45611"/>
                        <a:pt x="1462454" y="51764"/>
                        <a:pt x="1468836" y="64070"/>
                      </a:cubicBezTo>
                      <a:lnTo>
                        <a:pt x="1469226" y="64070"/>
                      </a:lnTo>
                      <a:close/>
                      <a:moveTo>
                        <a:pt x="992976" y="0"/>
                      </a:moveTo>
                      <a:lnTo>
                        <a:pt x="1001962" y="0"/>
                      </a:lnTo>
                      <a:lnTo>
                        <a:pt x="1001962" y="148065"/>
                      </a:lnTo>
                      <a:lnTo>
                        <a:pt x="992976" y="148065"/>
                      </a:lnTo>
                      <a:lnTo>
                        <a:pt x="992976" y="129899"/>
                      </a:lnTo>
                      <a:lnTo>
                        <a:pt x="992586" y="129899"/>
                      </a:lnTo>
                      <a:cubicBezTo>
                        <a:pt x="989330" y="136215"/>
                        <a:pt x="984512" y="141228"/>
                        <a:pt x="978131" y="144940"/>
                      </a:cubicBezTo>
                      <a:cubicBezTo>
                        <a:pt x="971750" y="148651"/>
                        <a:pt x="964555" y="150507"/>
                        <a:pt x="956546" y="150507"/>
                      </a:cubicBezTo>
                      <a:cubicBezTo>
                        <a:pt x="944240" y="150507"/>
                        <a:pt x="934196" y="146014"/>
                        <a:pt x="926415" y="137029"/>
                      </a:cubicBezTo>
                      <a:cubicBezTo>
                        <a:pt x="918634" y="128043"/>
                        <a:pt x="914744" y="115639"/>
                        <a:pt x="914744" y="99817"/>
                      </a:cubicBezTo>
                      <a:cubicBezTo>
                        <a:pt x="914744" y="83669"/>
                        <a:pt x="918992" y="70598"/>
                        <a:pt x="927489" y="60603"/>
                      </a:cubicBezTo>
                      <a:cubicBezTo>
                        <a:pt x="935987" y="50608"/>
                        <a:pt x="947007" y="45611"/>
                        <a:pt x="960550" y="45611"/>
                      </a:cubicBezTo>
                      <a:cubicBezTo>
                        <a:pt x="975526" y="45611"/>
                        <a:pt x="986204" y="51764"/>
                        <a:pt x="992586" y="64070"/>
                      </a:cubicBezTo>
                      <a:lnTo>
                        <a:pt x="992976" y="64070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kern="0" dirty="0">
                      <a:solidFill>
                        <a:prstClr val="white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3D</a:t>
                  </a:r>
                  <a:r>
                    <a:rPr lang="ru-RU" kern="0" dirty="0">
                      <a:solidFill>
                        <a:prstClr val="white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 принтеры для производства автомобилей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Первый</a:t>
                  </a:r>
                  <a:r>
                    <a:rPr kumimoji="0" lang="ru-RU" sz="1800" b="0" i="0" u="none" strike="noStrike" kern="0" cap="none" spc="0" normalizeH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 опыт 3</a:t>
                  </a:r>
                  <a:r>
                    <a:rPr kumimoji="0" lang="en-US" sz="1800" b="0" i="0" u="none" strike="noStrike" kern="0" cap="none" spc="0" normalizeH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D</a:t>
                  </a:r>
                  <a:r>
                    <a:rPr kumimoji="0" lang="ru-RU" sz="1800" b="0" i="0" u="none" strike="noStrike" kern="0" cap="none" spc="0" normalizeH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-печати органов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1" name="Driverless cars"/>
              <p:cNvGrpSpPr/>
              <p:nvPr/>
            </p:nvGrpSpPr>
            <p:grpSpPr>
              <a:xfrm>
                <a:off x="9502475" y="2430105"/>
                <a:ext cx="3311939" cy="1989080"/>
                <a:chOff x="7141208" y="3305857"/>
                <a:chExt cx="3311939" cy="1989080"/>
              </a:xfrm>
            </p:grpSpPr>
            <p:grpSp>
              <p:nvGrpSpPr>
                <p:cNvPr id="12" name="Group 11"/>
                <p:cNvGrpSpPr/>
                <p:nvPr/>
              </p:nvGrpSpPr>
              <p:grpSpPr>
                <a:xfrm>
                  <a:off x="7853979" y="3305857"/>
                  <a:ext cx="1837549" cy="1246136"/>
                  <a:chOff x="8268466" y="4893414"/>
                  <a:chExt cx="1596986" cy="1082998"/>
                </a:xfrm>
              </p:grpSpPr>
              <p:sp>
                <p:nvSpPr>
                  <p:cNvPr id="14" name="Freeform 33"/>
                  <p:cNvSpPr>
                    <a:spLocks noEditPoints="1"/>
                  </p:cNvSpPr>
                  <p:nvPr/>
                </p:nvSpPr>
                <p:spPr bwMode="auto">
                  <a:xfrm>
                    <a:off x="9338930" y="5660218"/>
                    <a:ext cx="314801" cy="316194"/>
                  </a:xfrm>
                  <a:custGeom>
                    <a:avLst/>
                    <a:gdLst>
                      <a:gd name="T0" fmla="*/ 0 w 241"/>
                      <a:gd name="T1" fmla="*/ 121 h 242"/>
                      <a:gd name="T2" fmla="*/ 120 w 241"/>
                      <a:gd name="T3" fmla="*/ 0 h 242"/>
                      <a:gd name="T4" fmla="*/ 241 w 241"/>
                      <a:gd name="T5" fmla="*/ 121 h 242"/>
                      <a:gd name="T6" fmla="*/ 120 w 241"/>
                      <a:gd name="T7" fmla="*/ 242 h 242"/>
                      <a:gd name="T8" fmla="*/ 0 w 241"/>
                      <a:gd name="T9" fmla="*/ 121 h 242"/>
                      <a:gd name="T10" fmla="*/ 61 w 241"/>
                      <a:gd name="T11" fmla="*/ 121 h 242"/>
                      <a:gd name="T12" fmla="*/ 120 w 241"/>
                      <a:gd name="T13" fmla="*/ 181 h 242"/>
                      <a:gd name="T14" fmla="*/ 180 w 241"/>
                      <a:gd name="T15" fmla="*/ 121 h 242"/>
                      <a:gd name="T16" fmla="*/ 120 w 241"/>
                      <a:gd name="T17" fmla="*/ 62 h 242"/>
                      <a:gd name="T18" fmla="*/ 61 w 241"/>
                      <a:gd name="T19" fmla="*/ 121 h 2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41" h="242">
                        <a:moveTo>
                          <a:pt x="0" y="121"/>
                        </a:moveTo>
                        <a:cubicBezTo>
                          <a:pt x="0" y="54"/>
                          <a:pt x="54" y="0"/>
                          <a:pt x="120" y="0"/>
                        </a:cubicBezTo>
                        <a:cubicBezTo>
                          <a:pt x="187" y="0"/>
                          <a:pt x="241" y="54"/>
                          <a:pt x="241" y="121"/>
                        </a:cubicBezTo>
                        <a:cubicBezTo>
                          <a:pt x="241" y="188"/>
                          <a:pt x="187" y="242"/>
                          <a:pt x="120" y="242"/>
                        </a:cubicBezTo>
                        <a:cubicBezTo>
                          <a:pt x="54" y="242"/>
                          <a:pt x="0" y="188"/>
                          <a:pt x="0" y="121"/>
                        </a:cubicBezTo>
                        <a:close/>
                        <a:moveTo>
                          <a:pt x="61" y="121"/>
                        </a:moveTo>
                        <a:cubicBezTo>
                          <a:pt x="61" y="154"/>
                          <a:pt x="88" y="181"/>
                          <a:pt x="120" y="181"/>
                        </a:cubicBezTo>
                        <a:cubicBezTo>
                          <a:pt x="153" y="181"/>
                          <a:pt x="180" y="154"/>
                          <a:pt x="180" y="121"/>
                        </a:cubicBezTo>
                        <a:cubicBezTo>
                          <a:pt x="180" y="88"/>
                          <a:pt x="153" y="62"/>
                          <a:pt x="120" y="62"/>
                        </a:cubicBezTo>
                        <a:cubicBezTo>
                          <a:pt x="88" y="62"/>
                          <a:pt x="61" y="88"/>
                          <a:pt x="61" y="121"/>
                        </a:cubicBezTo>
                        <a:close/>
                      </a:path>
                    </a:pathLst>
                  </a:custGeom>
                  <a:solidFill>
                    <a:schemeClr val="accent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" name="Freeform 34"/>
                  <p:cNvSpPr>
                    <a:spLocks noEditPoints="1"/>
                  </p:cNvSpPr>
                  <p:nvPr/>
                </p:nvSpPr>
                <p:spPr bwMode="auto">
                  <a:xfrm>
                    <a:off x="8465561" y="5660218"/>
                    <a:ext cx="316194" cy="316194"/>
                  </a:xfrm>
                  <a:custGeom>
                    <a:avLst/>
                    <a:gdLst>
                      <a:gd name="T0" fmla="*/ 0 w 242"/>
                      <a:gd name="T1" fmla="*/ 121 h 242"/>
                      <a:gd name="T2" fmla="*/ 121 w 242"/>
                      <a:gd name="T3" fmla="*/ 0 h 242"/>
                      <a:gd name="T4" fmla="*/ 242 w 242"/>
                      <a:gd name="T5" fmla="*/ 121 h 242"/>
                      <a:gd name="T6" fmla="*/ 121 w 242"/>
                      <a:gd name="T7" fmla="*/ 242 h 242"/>
                      <a:gd name="T8" fmla="*/ 0 w 242"/>
                      <a:gd name="T9" fmla="*/ 121 h 242"/>
                      <a:gd name="T10" fmla="*/ 62 w 242"/>
                      <a:gd name="T11" fmla="*/ 121 h 242"/>
                      <a:gd name="T12" fmla="*/ 121 w 242"/>
                      <a:gd name="T13" fmla="*/ 181 h 242"/>
                      <a:gd name="T14" fmla="*/ 181 w 242"/>
                      <a:gd name="T15" fmla="*/ 121 h 242"/>
                      <a:gd name="T16" fmla="*/ 121 w 242"/>
                      <a:gd name="T17" fmla="*/ 62 h 242"/>
                      <a:gd name="T18" fmla="*/ 62 w 242"/>
                      <a:gd name="T19" fmla="*/ 121 h 2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42" h="242">
                        <a:moveTo>
                          <a:pt x="0" y="121"/>
                        </a:moveTo>
                        <a:cubicBezTo>
                          <a:pt x="0" y="54"/>
                          <a:pt x="55" y="0"/>
                          <a:pt x="121" y="0"/>
                        </a:cubicBezTo>
                        <a:cubicBezTo>
                          <a:pt x="188" y="0"/>
                          <a:pt x="242" y="54"/>
                          <a:pt x="242" y="121"/>
                        </a:cubicBezTo>
                        <a:cubicBezTo>
                          <a:pt x="242" y="188"/>
                          <a:pt x="188" y="242"/>
                          <a:pt x="121" y="242"/>
                        </a:cubicBezTo>
                        <a:cubicBezTo>
                          <a:pt x="55" y="242"/>
                          <a:pt x="0" y="188"/>
                          <a:pt x="0" y="121"/>
                        </a:cubicBezTo>
                        <a:close/>
                        <a:moveTo>
                          <a:pt x="62" y="121"/>
                        </a:moveTo>
                        <a:cubicBezTo>
                          <a:pt x="62" y="154"/>
                          <a:pt x="89" y="181"/>
                          <a:pt x="121" y="181"/>
                        </a:cubicBezTo>
                        <a:cubicBezTo>
                          <a:pt x="154" y="181"/>
                          <a:pt x="181" y="154"/>
                          <a:pt x="181" y="121"/>
                        </a:cubicBezTo>
                        <a:cubicBezTo>
                          <a:pt x="181" y="88"/>
                          <a:pt x="154" y="62"/>
                          <a:pt x="121" y="62"/>
                        </a:cubicBezTo>
                        <a:cubicBezTo>
                          <a:pt x="89" y="62"/>
                          <a:pt x="62" y="88"/>
                          <a:pt x="62" y="121"/>
                        </a:cubicBezTo>
                        <a:close/>
                      </a:path>
                    </a:pathLst>
                  </a:custGeom>
                  <a:solidFill>
                    <a:schemeClr val="accent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6" name="Freeform 35"/>
                  <p:cNvSpPr>
                    <a:spLocks noEditPoints="1"/>
                  </p:cNvSpPr>
                  <p:nvPr/>
                </p:nvSpPr>
                <p:spPr bwMode="auto">
                  <a:xfrm>
                    <a:off x="8268466" y="5297362"/>
                    <a:ext cx="1596986" cy="530007"/>
                  </a:xfrm>
                  <a:custGeom>
                    <a:avLst/>
                    <a:gdLst>
                      <a:gd name="T0" fmla="*/ 0 w 1223"/>
                      <a:gd name="T1" fmla="*/ 338 h 406"/>
                      <a:gd name="T2" fmla="*/ 0 w 1223"/>
                      <a:gd name="T3" fmla="*/ 367 h 406"/>
                      <a:gd name="T4" fmla="*/ 39 w 1223"/>
                      <a:gd name="T5" fmla="*/ 406 h 406"/>
                      <a:gd name="T6" fmla="*/ 95 w 1223"/>
                      <a:gd name="T7" fmla="*/ 406 h 406"/>
                      <a:gd name="T8" fmla="*/ 114 w 1223"/>
                      <a:gd name="T9" fmla="*/ 388 h 406"/>
                      <a:gd name="T10" fmla="*/ 272 w 1223"/>
                      <a:gd name="T11" fmla="*/ 240 h 406"/>
                      <a:gd name="T12" fmla="*/ 431 w 1223"/>
                      <a:gd name="T13" fmla="*/ 388 h 406"/>
                      <a:gd name="T14" fmla="*/ 450 w 1223"/>
                      <a:gd name="T15" fmla="*/ 406 h 406"/>
                      <a:gd name="T16" fmla="*/ 763 w 1223"/>
                      <a:gd name="T17" fmla="*/ 406 h 406"/>
                      <a:gd name="T18" fmla="*/ 782 w 1223"/>
                      <a:gd name="T19" fmla="*/ 388 h 406"/>
                      <a:gd name="T20" fmla="*/ 940 w 1223"/>
                      <a:gd name="T21" fmla="*/ 240 h 406"/>
                      <a:gd name="T22" fmla="*/ 1099 w 1223"/>
                      <a:gd name="T23" fmla="*/ 388 h 406"/>
                      <a:gd name="T24" fmla="*/ 1118 w 1223"/>
                      <a:gd name="T25" fmla="*/ 406 h 406"/>
                      <a:gd name="T26" fmla="*/ 1185 w 1223"/>
                      <a:gd name="T27" fmla="*/ 406 h 406"/>
                      <a:gd name="T28" fmla="*/ 1223 w 1223"/>
                      <a:gd name="T29" fmla="*/ 367 h 406"/>
                      <a:gd name="T30" fmla="*/ 1223 w 1223"/>
                      <a:gd name="T31" fmla="*/ 338 h 406"/>
                      <a:gd name="T32" fmla="*/ 1185 w 1223"/>
                      <a:gd name="T33" fmla="*/ 300 h 406"/>
                      <a:gd name="T34" fmla="*/ 1161 w 1223"/>
                      <a:gd name="T35" fmla="*/ 185 h 406"/>
                      <a:gd name="T36" fmla="*/ 1123 w 1223"/>
                      <a:gd name="T37" fmla="*/ 154 h 406"/>
                      <a:gd name="T38" fmla="*/ 1055 w 1223"/>
                      <a:gd name="T39" fmla="*/ 154 h 406"/>
                      <a:gd name="T40" fmla="*/ 999 w 1223"/>
                      <a:gd name="T41" fmla="*/ 135 h 406"/>
                      <a:gd name="T42" fmla="*/ 696 w 1223"/>
                      <a:gd name="T43" fmla="*/ 0 h 406"/>
                      <a:gd name="T44" fmla="*/ 375 w 1223"/>
                      <a:gd name="T45" fmla="*/ 132 h 406"/>
                      <a:gd name="T46" fmla="*/ 304 w 1223"/>
                      <a:gd name="T47" fmla="*/ 164 h 406"/>
                      <a:gd name="T48" fmla="*/ 159 w 1223"/>
                      <a:gd name="T49" fmla="*/ 181 h 406"/>
                      <a:gd name="T50" fmla="*/ 70 w 1223"/>
                      <a:gd name="T51" fmla="*/ 228 h 406"/>
                      <a:gd name="T52" fmla="*/ 39 w 1223"/>
                      <a:gd name="T53" fmla="*/ 300 h 406"/>
                      <a:gd name="T54" fmla="*/ 0 w 1223"/>
                      <a:gd name="T55" fmla="*/ 338 h 406"/>
                      <a:gd name="T56" fmla="*/ 727 w 1223"/>
                      <a:gd name="T57" fmla="*/ 63 h 406"/>
                      <a:gd name="T58" fmla="*/ 885 w 1223"/>
                      <a:gd name="T59" fmla="*/ 125 h 406"/>
                      <a:gd name="T60" fmla="*/ 938 w 1223"/>
                      <a:gd name="T61" fmla="*/ 167 h 406"/>
                      <a:gd name="T62" fmla="*/ 727 w 1223"/>
                      <a:gd name="T63" fmla="*/ 167 h 406"/>
                      <a:gd name="T64" fmla="*/ 727 w 1223"/>
                      <a:gd name="T65" fmla="*/ 63 h 406"/>
                      <a:gd name="T66" fmla="*/ 430 w 1223"/>
                      <a:gd name="T67" fmla="*/ 167 h 406"/>
                      <a:gd name="T68" fmla="*/ 666 w 1223"/>
                      <a:gd name="T69" fmla="*/ 63 h 406"/>
                      <a:gd name="T70" fmla="*/ 666 w 1223"/>
                      <a:gd name="T71" fmla="*/ 167 h 406"/>
                      <a:gd name="T72" fmla="*/ 430 w 1223"/>
                      <a:gd name="T73" fmla="*/ 167 h 4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1223" h="406">
                        <a:moveTo>
                          <a:pt x="0" y="338"/>
                        </a:moveTo>
                        <a:cubicBezTo>
                          <a:pt x="0" y="367"/>
                          <a:pt x="0" y="367"/>
                          <a:pt x="0" y="367"/>
                        </a:cubicBezTo>
                        <a:cubicBezTo>
                          <a:pt x="0" y="389"/>
                          <a:pt x="17" y="406"/>
                          <a:pt x="39" y="406"/>
                        </a:cubicBezTo>
                        <a:cubicBezTo>
                          <a:pt x="95" y="406"/>
                          <a:pt x="95" y="406"/>
                          <a:pt x="95" y="406"/>
                        </a:cubicBezTo>
                        <a:cubicBezTo>
                          <a:pt x="105" y="406"/>
                          <a:pt x="113" y="398"/>
                          <a:pt x="114" y="388"/>
                        </a:cubicBezTo>
                        <a:cubicBezTo>
                          <a:pt x="121" y="304"/>
                          <a:pt x="200" y="240"/>
                          <a:pt x="272" y="240"/>
                        </a:cubicBezTo>
                        <a:cubicBezTo>
                          <a:pt x="345" y="240"/>
                          <a:pt x="424" y="304"/>
                          <a:pt x="431" y="388"/>
                        </a:cubicBezTo>
                        <a:cubicBezTo>
                          <a:pt x="432" y="398"/>
                          <a:pt x="440" y="406"/>
                          <a:pt x="450" y="406"/>
                        </a:cubicBezTo>
                        <a:cubicBezTo>
                          <a:pt x="763" y="406"/>
                          <a:pt x="763" y="406"/>
                          <a:pt x="763" y="406"/>
                        </a:cubicBezTo>
                        <a:cubicBezTo>
                          <a:pt x="773" y="406"/>
                          <a:pt x="781" y="398"/>
                          <a:pt x="782" y="388"/>
                        </a:cubicBezTo>
                        <a:cubicBezTo>
                          <a:pt x="789" y="304"/>
                          <a:pt x="868" y="240"/>
                          <a:pt x="940" y="240"/>
                        </a:cubicBezTo>
                        <a:cubicBezTo>
                          <a:pt x="1013" y="240"/>
                          <a:pt x="1092" y="304"/>
                          <a:pt x="1099" y="388"/>
                        </a:cubicBezTo>
                        <a:cubicBezTo>
                          <a:pt x="1100" y="398"/>
                          <a:pt x="1108" y="406"/>
                          <a:pt x="1118" y="406"/>
                        </a:cubicBezTo>
                        <a:cubicBezTo>
                          <a:pt x="1185" y="406"/>
                          <a:pt x="1185" y="406"/>
                          <a:pt x="1185" y="406"/>
                        </a:cubicBezTo>
                        <a:cubicBezTo>
                          <a:pt x="1206" y="406"/>
                          <a:pt x="1223" y="389"/>
                          <a:pt x="1223" y="367"/>
                        </a:cubicBezTo>
                        <a:cubicBezTo>
                          <a:pt x="1223" y="338"/>
                          <a:pt x="1223" y="338"/>
                          <a:pt x="1223" y="338"/>
                        </a:cubicBezTo>
                        <a:cubicBezTo>
                          <a:pt x="1223" y="317"/>
                          <a:pt x="1206" y="300"/>
                          <a:pt x="1185" y="300"/>
                        </a:cubicBezTo>
                        <a:cubicBezTo>
                          <a:pt x="1161" y="185"/>
                          <a:pt x="1161" y="185"/>
                          <a:pt x="1161" y="185"/>
                        </a:cubicBezTo>
                        <a:cubicBezTo>
                          <a:pt x="1157" y="167"/>
                          <a:pt x="1141" y="154"/>
                          <a:pt x="1123" y="154"/>
                        </a:cubicBezTo>
                        <a:cubicBezTo>
                          <a:pt x="1055" y="154"/>
                          <a:pt x="1055" y="154"/>
                          <a:pt x="1055" y="154"/>
                        </a:cubicBezTo>
                        <a:cubicBezTo>
                          <a:pt x="1035" y="154"/>
                          <a:pt x="1015" y="148"/>
                          <a:pt x="999" y="135"/>
                        </a:cubicBezTo>
                        <a:cubicBezTo>
                          <a:pt x="918" y="73"/>
                          <a:pt x="841" y="0"/>
                          <a:pt x="696" y="0"/>
                        </a:cubicBezTo>
                        <a:cubicBezTo>
                          <a:pt x="536" y="0"/>
                          <a:pt x="436" y="77"/>
                          <a:pt x="375" y="132"/>
                        </a:cubicBezTo>
                        <a:cubicBezTo>
                          <a:pt x="355" y="150"/>
                          <a:pt x="330" y="161"/>
                          <a:pt x="304" y="164"/>
                        </a:cubicBezTo>
                        <a:cubicBezTo>
                          <a:pt x="159" y="181"/>
                          <a:pt x="159" y="181"/>
                          <a:pt x="159" y="181"/>
                        </a:cubicBezTo>
                        <a:cubicBezTo>
                          <a:pt x="126" y="185"/>
                          <a:pt x="94" y="201"/>
                          <a:pt x="70" y="228"/>
                        </a:cubicBezTo>
                        <a:cubicBezTo>
                          <a:pt x="55" y="245"/>
                          <a:pt x="44" y="279"/>
                          <a:pt x="39" y="300"/>
                        </a:cubicBezTo>
                        <a:cubicBezTo>
                          <a:pt x="17" y="300"/>
                          <a:pt x="0" y="317"/>
                          <a:pt x="0" y="338"/>
                        </a:cubicBezTo>
                        <a:close/>
                        <a:moveTo>
                          <a:pt x="727" y="63"/>
                        </a:moveTo>
                        <a:cubicBezTo>
                          <a:pt x="784" y="69"/>
                          <a:pt x="839" y="90"/>
                          <a:pt x="885" y="125"/>
                        </a:cubicBezTo>
                        <a:cubicBezTo>
                          <a:pt x="938" y="167"/>
                          <a:pt x="938" y="167"/>
                          <a:pt x="938" y="167"/>
                        </a:cubicBezTo>
                        <a:cubicBezTo>
                          <a:pt x="727" y="167"/>
                          <a:pt x="727" y="167"/>
                          <a:pt x="727" y="167"/>
                        </a:cubicBezTo>
                        <a:lnTo>
                          <a:pt x="727" y="63"/>
                        </a:lnTo>
                        <a:close/>
                        <a:moveTo>
                          <a:pt x="430" y="167"/>
                        </a:moveTo>
                        <a:cubicBezTo>
                          <a:pt x="464" y="136"/>
                          <a:pt x="538" y="63"/>
                          <a:pt x="666" y="63"/>
                        </a:cubicBezTo>
                        <a:cubicBezTo>
                          <a:pt x="666" y="167"/>
                          <a:pt x="666" y="167"/>
                          <a:pt x="666" y="167"/>
                        </a:cubicBezTo>
                        <a:lnTo>
                          <a:pt x="430" y="167"/>
                        </a:lnTo>
                        <a:close/>
                      </a:path>
                    </a:pathLst>
                  </a:custGeom>
                  <a:solidFill>
                    <a:schemeClr val="accent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7" name="Freeform 36"/>
                  <p:cNvSpPr>
                    <a:spLocks/>
                  </p:cNvSpPr>
                  <p:nvPr/>
                </p:nvSpPr>
                <p:spPr bwMode="auto">
                  <a:xfrm>
                    <a:off x="8957961" y="5127425"/>
                    <a:ext cx="219385" cy="91237"/>
                  </a:xfrm>
                  <a:custGeom>
                    <a:avLst/>
                    <a:gdLst>
                      <a:gd name="T0" fmla="*/ 12 w 168"/>
                      <a:gd name="T1" fmla="*/ 22 h 70"/>
                      <a:gd name="T2" fmla="*/ 1 w 168"/>
                      <a:gd name="T3" fmla="*/ 41 h 70"/>
                      <a:gd name="T4" fmla="*/ 8 w 168"/>
                      <a:gd name="T5" fmla="*/ 61 h 70"/>
                      <a:gd name="T6" fmla="*/ 9 w 168"/>
                      <a:gd name="T7" fmla="*/ 61 h 70"/>
                      <a:gd name="T8" fmla="*/ 39 w 168"/>
                      <a:gd name="T9" fmla="*/ 64 h 70"/>
                      <a:gd name="T10" fmla="*/ 84 w 168"/>
                      <a:gd name="T11" fmla="*/ 50 h 70"/>
                      <a:gd name="T12" fmla="*/ 129 w 168"/>
                      <a:gd name="T13" fmla="*/ 64 h 70"/>
                      <a:gd name="T14" fmla="*/ 159 w 168"/>
                      <a:gd name="T15" fmla="*/ 61 h 70"/>
                      <a:gd name="T16" fmla="*/ 159 w 168"/>
                      <a:gd name="T17" fmla="*/ 61 h 70"/>
                      <a:gd name="T18" fmla="*/ 167 w 168"/>
                      <a:gd name="T19" fmla="*/ 41 h 70"/>
                      <a:gd name="T20" fmla="*/ 156 w 168"/>
                      <a:gd name="T21" fmla="*/ 22 h 70"/>
                      <a:gd name="T22" fmla="*/ 84 w 168"/>
                      <a:gd name="T23" fmla="*/ 0 h 70"/>
                      <a:gd name="T24" fmla="*/ 12 w 168"/>
                      <a:gd name="T25" fmla="*/ 22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68" h="70">
                        <a:moveTo>
                          <a:pt x="12" y="22"/>
                        </a:moveTo>
                        <a:cubicBezTo>
                          <a:pt x="5" y="26"/>
                          <a:pt x="1" y="33"/>
                          <a:pt x="1" y="41"/>
                        </a:cubicBezTo>
                        <a:cubicBezTo>
                          <a:pt x="0" y="48"/>
                          <a:pt x="3" y="56"/>
                          <a:pt x="8" y="61"/>
                        </a:cubicBezTo>
                        <a:cubicBezTo>
                          <a:pt x="9" y="61"/>
                          <a:pt x="9" y="61"/>
                          <a:pt x="9" y="61"/>
                        </a:cubicBezTo>
                        <a:cubicBezTo>
                          <a:pt x="17" y="69"/>
                          <a:pt x="29" y="70"/>
                          <a:pt x="39" y="64"/>
                        </a:cubicBezTo>
                        <a:cubicBezTo>
                          <a:pt x="53" y="55"/>
                          <a:pt x="68" y="50"/>
                          <a:pt x="84" y="50"/>
                        </a:cubicBezTo>
                        <a:cubicBezTo>
                          <a:pt x="100" y="50"/>
                          <a:pt x="115" y="55"/>
                          <a:pt x="129" y="64"/>
                        </a:cubicBezTo>
                        <a:cubicBezTo>
                          <a:pt x="138" y="70"/>
                          <a:pt x="151" y="69"/>
                          <a:pt x="159" y="61"/>
                        </a:cubicBezTo>
                        <a:cubicBezTo>
                          <a:pt x="159" y="61"/>
                          <a:pt x="159" y="61"/>
                          <a:pt x="159" y="61"/>
                        </a:cubicBezTo>
                        <a:cubicBezTo>
                          <a:pt x="165" y="56"/>
                          <a:pt x="168" y="48"/>
                          <a:pt x="167" y="41"/>
                        </a:cubicBezTo>
                        <a:cubicBezTo>
                          <a:pt x="166" y="33"/>
                          <a:pt x="162" y="26"/>
                          <a:pt x="156" y="22"/>
                        </a:cubicBezTo>
                        <a:cubicBezTo>
                          <a:pt x="134" y="8"/>
                          <a:pt x="109" y="0"/>
                          <a:pt x="84" y="0"/>
                        </a:cubicBezTo>
                        <a:cubicBezTo>
                          <a:pt x="58" y="0"/>
                          <a:pt x="34" y="8"/>
                          <a:pt x="12" y="2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" name="Freeform 37"/>
                  <p:cNvSpPr>
                    <a:spLocks/>
                  </p:cNvSpPr>
                  <p:nvPr/>
                </p:nvSpPr>
                <p:spPr bwMode="auto">
                  <a:xfrm>
                    <a:off x="8872994" y="5011116"/>
                    <a:ext cx="387929" cy="129542"/>
                  </a:xfrm>
                  <a:custGeom>
                    <a:avLst/>
                    <a:gdLst>
                      <a:gd name="T0" fmla="*/ 149 w 297"/>
                      <a:gd name="T1" fmla="*/ 0 h 99"/>
                      <a:gd name="T2" fmla="*/ 9 w 297"/>
                      <a:gd name="T3" fmla="*/ 53 h 99"/>
                      <a:gd name="T4" fmla="*/ 0 w 297"/>
                      <a:gd name="T5" fmla="*/ 71 h 99"/>
                      <a:gd name="T6" fmla="*/ 8 w 297"/>
                      <a:gd name="T7" fmla="*/ 90 h 99"/>
                      <a:gd name="T8" fmla="*/ 8 w 297"/>
                      <a:gd name="T9" fmla="*/ 90 h 99"/>
                      <a:gd name="T10" fmla="*/ 41 w 297"/>
                      <a:gd name="T11" fmla="*/ 91 h 99"/>
                      <a:gd name="T12" fmla="*/ 149 w 297"/>
                      <a:gd name="T13" fmla="*/ 49 h 99"/>
                      <a:gd name="T14" fmla="*/ 256 w 297"/>
                      <a:gd name="T15" fmla="*/ 91 h 99"/>
                      <a:gd name="T16" fmla="*/ 289 w 297"/>
                      <a:gd name="T17" fmla="*/ 90 h 99"/>
                      <a:gd name="T18" fmla="*/ 289 w 297"/>
                      <a:gd name="T19" fmla="*/ 90 h 99"/>
                      <a:gd name="T20" fmla="*/ 297 w 297"/>
                      <a:gd name="T21" fmla="*/ 71 h 99"/>
                      <a:gd name="T22" fmla="*/ 288 w 297"/>
                      <a:gd name="T23" fmla="*/ 53 h 99"/>
                      <a:gd name="T24" fmla="*/ 149 w 297"/>
                      <a:gd name="T25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97" h="99">
                        <a:moveTo>
                          <a:pt x="149" y="0"/>
                        </a:moveTo>
                        <a:cubicBezTo>
                          <a:pt x="98" y="0"/>
                          <a:pt x="50" y="18"/>
                          <a:pt x="9" y="53"/>
                        </a:cubicBezTo>
                        <a:cubicBezTo>
                          <a:pt x="4" y="57"/>
                          <a:pt x="1" y="64"/>
                          <a:pt x="0" y="71"/>
                        </a:cubicBezTo>
                        <a:cubicBezTo>
                          <a:pt x="0" y="78"/>
                          <a:pt x="3" y="85"/>
                          <a:pt x="8" y="90"/>
                        </a:cubicBezTo>
                        <a:cubicBezTo>
                          <a:pt x="8" y="90"/>
                          <a:pt x="8" y="90"/>
                          <a:pt x="8" y="90"/>
                        </a:cubicBezTo>
                        <a:cubicBezTo>
                          <a:pt x="18" y="98"/>
                          <a:pt x="32" y="99"/>
                          <a:pt x="41" y="91"/>
                        </a:cubicBezTo>
                        <a:cubicBezTo>
                          <a:pt x="73" y="64"/>
                          <a:pt x="110" y="49"/>
                          <a:pt x="149" y="49"/>
                        </a:cubicBezTo>
                        <a:cubicBezTo>
                          <a:pt x="188" y="49"/>
                          <a:pt x="225" y="64"/>
                          <a:pt x="256" y="91"/>
                        </a:cubicBezTo>
                        <a:cubicBezTo>
                          <a:pt x="266" y="99"/>
                          <a:pt x="280" y="98"/>
                          <a:pt x="289" y="90"/>
                        </a:cubicBezTo>
                        <a:cubicBezTo>
                          <a:pt x="289" y="90"/>
                          <a:pt x="289" y="90"/>
                          <a:pt x="289" y="90"/>
                        </a:cubicBezTo>
                        <a:cubicBezTo>
                          <a:pt x="295" y="85"/>
                          <a:pt x="297" y="78"/>
                          <a:pt x="297" y="71"/>
                        </a:cubicBezTo>
                        <a:cubicBezTo>
                          <a:pt x="297" y="64"/>
                          <a:pt x="294" y="57"/>
                          <a:pt x="288" y="53"/>
                        </a:cubicBezTo>
                        <a:cubicBezTo>
                          <a:pt x="248" y="18"/>
                          <a:pt x="200" y="0"/>
                          <a:pt x="14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" name="Freeform 38"/>
                  <p:cNvSpPr>
                    <a:spLocks/>
                  </p:cNvSpPr>
                  <p:nvPr/>
                </p:nvSpPr>
                <p:spPr bwMode="auto">
                  <a:xfrm>
                    <a:off x="8788028" y="4893414"/>
                    <a:ext cx="557865" cy="168544"/>
                  </a:xfrm>
                  <a:custGeom>
                    <a:avLst/>
                    <a:gdLst>
                      <a:gd name="T0" fmla="*/ 214 w 427"/>
                      <a:gd name="T1" fmla="*/ 0 h 129"/>
                      <a:gd name="T2" fmla="*/ 8 w 427"/>
                      <a:gd name="T3" fmla="*/ 84 h 129"/>
                      <a:gd name="T4" fmla="*/ 0 w 427"/>
                      <a:gd name="T5" fmla="*/ 102 h 129"/>
                      <a:gd name="T6" fmla="*/ 8 w 427"/>
                      <a:gd name="T7" fmla="*/ 120 h 129"/>
                      <a:gd name="T8" fmla="*/ 9 w 427"/>
                      <a:gd name="T9" fmla="*/ 120 h 129"/>
                      <a:gd name="T10" fmla="*/ 43 w 427"/>
                      <a:gd name="T11" fmla="*/ 120 h 129"/>
                      <a:gd name="T12" fmla="*/ 214 w 427"/>
                      <a:gd name="T13" fmla="*/ 50 h 129"/>
                      <a:gd name="T14" fmla="*/ 385 w 427"/>
                      <a:gd name="T15" fmla="*/ 120 h 129"/>
                      <a:gd name="T16" fmla="*/ 419 w 427"/>
                      <a:gd name="T17" fmla="*/ 120 h 129"/>
                      <a:gd name="T18" fmla="*/ 419 w 427"/>
                      <a:gd name="T19" fmla="*/ 120 h 129"/>
                      <a:gd name="T20" fmla="*/ 427 w 427"/>
                      <a:gd name="T21" fmla="*/ 102 h 129"/>
                      <a:gd name="T22" fmla="*/ 419 w 427"/>
                      <a:gd name="T23" fmla="*/ 84 h 129"/>
                      <a:gd name="T24" fmla="*/ 214 w 427"/>
                      <a:gd name="T25" fmla="*/ 0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27" h="129">
                        <a:moveTo>
                          <a:pt x="214" y="0"/>
                        </a:moveTo>
                        <a:cubicBezTo>
                          <a:pt x="131" y="0"/>
                          <a:pt x="55" y="40"/>
                          <a:pt x="8" y="84"/>
                        </a:cubicBezTo>
                        <a:cubicBezTo>
                          <a:pt x="3" y="88"/>
                          <a:pt x="0" y="95"/>
                          <a:pt x="0" y="102"/>
                        </a:cubicBezTo>
                        <a:cubicBezTo>
                          <a:pt x="1" y="109"/>
                          <a:pt x="3" y="115"/>
                          <a:pt x="8" y="120"/>
                        </a:cubicBezTo>
                        <a:cubicBezTo>
                          <a:pt x="9" y="120"/>
                          <a:pt x="9" y="120"/>
                          <a:pt x="9" y="120"/>
                        </a:cubicBezTo>
                        <a:cubicBezTo>
                          <a:pt x="18" y="129"/>
                          <a:pt x="33" y="129"/>
                          <a:pt x="43" y="120"/>
                        </a:cubicBezTo>
                        <a:cubicBezTo>
                          <a:pt x="78" y="87"/>
                          <a:pt x="141" y="50"/>
                          <a:pt x="214" y="50"/>
                        </a:cubicBezTo>
                        <a:cubicBezTo>
                          <a:pt x="286" y="50"/>
                          <a:pt x="349" y="87"/>
                          <a:pt x="385" y="120"/>
                        </a:cubicBezTo>
                        <a:cubicBezTo>
                          <a:pt x="395" y="129"/>
                          <a:pt x="409" y="129"/>
                          <a:pt x="419" y="120"/>
                        </a:cubicBezTo>
                        <a:cubicBezTo>
                          <a:pt x="419" y="120"/>
                          <a:pt x="419" y="120"/>
                          <a:pt x="419" y="120"/>
                        </a:cubicBezTo>
                        <a:cubicBezTo>
                          <a:pt x="424" y="115"/>
                          <a:pt x="427" y="109"/>
                          <a:pt x="427" y="102"/>
                        </a:cubicBezTo>
                        <a:cubicBezTo>
                          <a:pt x="427" y="95"/>
                          <a:pt x="424" y="88"/>
                          <a:pt x="419" y="84"/>
                        </a:cubicBezTo>
                        <a:cubicBezTo>
                          <a:pt x="372" y="40"/>
                          <a:pt x="297" y="0"/>
                          <a:pt x="214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3" name="Freeform: Shape 12"/>
                <p:cNvSpPr>
                  <a:spLocks noChangeAspect="1"/>
                </p:cNvSpPr>
                <p:nvPr/>
              </p:nvSpPr>
              <p:spPr>
                <a:xfrm>
                  <a:off x="7141208" y="4792017"/>
                  <a:ext cx="3311939" cy="502920"/>
                </a:xfrm>
                <a:custGeom>
                  <a:avLst/>
                  <a:gdLst>
                    <a:gd name="connsiteX0" fmla="*/ 1607224 w 2569598"/>
                    <a:gd name="connsiteY0" fmla="*/ 293503 h 390195"/>
                    <a:gd name="connsiteX1" fmla="*/ 1583930 w 2569598"/>
                    <a:gd name="connsiteY1" fmla="*/ 302928 h 390195"/>
                    <a:gd name="connsiteX2" fmla="*/ 1572552 w 2569598"/>
                    <a:gd name="connsiteY2" fmla="*/ 329934 h 390195"/>
                    <a:gd name="connsiteX3" fmla="*/ 1636816 w 2569598"/>
                    <a:gd name="connsiteY3" fmla="*/ 329934 h 390195"/>
                    <a:gd name="connsiteX4" fmla="*/ 1628516 w 2569598"/>
                    <a:gd name="connsiteY4" fmla="*/ 303075 h 390195"/>
                    <a:gd name="connsiteX5" fmla="*/ 1607224 w 2569598"/>
                    <a:gd name="connsiteY5" fmla="*/ 293503 h 390195"/>
                    <a:gd name="connsiteX6" fmla="*/ 1397674 w 2569598"/>
                    <a:gd name="connsiteY6" fmla="*/ 293503 h 390195"/>
                    <a:gd name="connsiteX7" fmla="*/ 1374380 w 2569598"/>
                    <a:gd name="connsiteY7" fmla="*/ 302928 h 390195"/>
                    <a:gd name="connsiteX8" fmla="*/ 1363000 w 2569598"/>
                    <a:gd name="connsiteY8" fmla="*/ 329934 h 390195"/>
                    <a:gd name="connsiteX9" fmla="*/ 1427266 w 2569598"/>
                    <a:gd name="connsiteY9" fmla="*/ 329934 h 390195"/>
                    <a:gd name="connsiteX10" fmla="*/ 1418964 w 2569598"/>
                    <a:gd name="connsiteY10" fmla="*/ 303075 h 390195"/>
                    <a:gd name="connsiteX11" fmla="*/ 1397674 w 2569598"/>
                    <a:gd name="connsiteY11" fmla="*/ 293503 h 390195"/>
                    <a:gd name="connsiteX12" fmla="*/ 1084520 w 2569598"/>
                    <a:gd name="connsiteY12" fmla="*/ 293503 h 390195"/>
                    <a:gd name="connsiteX13" fmla="*/ 1058540 w 2569598"/>
                    <a:gd name="connsiteY13" fmla="*/ 305565 h 390195"/>
                    <a:gd name="connsiteX14" fmla="*/ 1048286 w 2569598"/>
                    <a:gd name="connsiteY14" fmla="*/ 338724 h 390195"/>
                    <a:gd name="connsiteX15" fmla="*/ 1057516 w 2569598"/>
                    <a:gd name="connsiteY15" fmla="*/ 370710 h 390195"/>
                    <a:gd name="connsiteX16" fmla="*/ 1081298 w 2569598"/>
                    <a:gd name="connsiteY16" fmla="*/ 381991 h 390195"/>
                    <a:gd name="connsiteX17" fmla="*/ 1107766 w 2569598"/>
                    <a:gd name="connsiteY17" fmla="*/ 371394 h 390195"/>
                    <a:gd name="connsiteX18" fmla="*/ 1117142 w 2569598"/>
                    <a:gd name="connsiteY18" fmla="*/ 345560 h 390195"/>
                    <a:gd name="connsiteX19" fmla="*/ 1117142 w 2569598"/>
                    <a:gd name="connsiteY19" fmla="*/ 326906 h 390195"/>
                    <a:gd name="connsiteX20" fmla="*/ 1108302 w 2569598"/>
                    <a:gd name="connsiteY20" fmla="*/ 303221 h 390195"/>
                    <a:gd name="connsiteX21" fmla="*/ 1084520 w 2569598"/>
                    <a:gd name="connsiteY21" fmla="*/ 293503 h 390195"/>
                    <a:gd name="connsiteX22" fmla="*/ 921424 w 2569598"/>
                    <a:gd name="connsiteY22" fmla="*/ 293503 h 390195"/>
                    <a:gd name="connsiteX23" fmla="*/ 898130 w 2569598"/>
                    <a:gd name="connsiteY23" fmla="*/ 302928 h 390195"/>
                    <a:gd name="connsiteX24" fmla="*/ 886752 w 2569598"/>
                    <a:gd name="connsiteY24" fmla="*/ 329934 h 390195"/>
                    <a:gd name="connsiteX25" fmla="*/ 951016 w 2569598"/>
                    <a:gd name="connsiteY25" fmla="*/ 329934 h 390195"/>
                    <a:gd name="connsiteX26" fmla="*/ 942716 w 2569598"/>
                    <a:gd name="connsiteY26" fmla="*/ 303075 h 390195"/>
                    <a:gd name="connsiteX27" fmla="*/ 921424 w 2569598"/>
                    <a:gd name="connsiteY27" fmla="*/ 293503 h 390195"/>
                    <a:gd name="connsiteX28" fmla="*/ 815522 w 2569598"/>
                    <a:gd name="connsiteY28" fmla="*/ 293503 h 390195"/>
                    <a:gd name="connsiteX29" fmla="*/ 788468 w 2569598"/>
                    <a:gd name="connsiteY29" fmla="*/ 305223 h 390195"/>
                    <a:gd name="connsiteX30" fmla="*/ 778898 w 2569598"/>
                    <a:gd name="connsiteY30" fmla="*/ 332766 h 390195"/>
                    <a:gd name="connsiteX31" fmla="*/ 778898 w 2569598"/>
                    <a:gd name="connsiteY31" fmla="*/ 345365 h 390195"/>
                    <a:gd name="connsiteX32" fmla="*/ 788372 w 2569598"/>
                    <a:gd name="connsiteY32" fmla="*/ 371198 h 390195"/>
                    <a:gd name="connsiteX33" fmla="*/ 813276 w 2569598"/>
                    <a:gd name="connsiteY33" fmla="*/ 381991 h 390195"/>
                    <a:gd name="connsiteX34" fmla="*/ 838182 w 2569598"/>
                    <a:gd name="connsiteY34" fmla="*/ 368854 h 390195"/>
                    <a:gd name="connsiteX35" fmla="*/ 847754 w 2569598"/>
                    <a:gd name="connsiteY35" fmla="*/ 334329 h 390195"/>
                    <a:gd name="connsiteX36" fmla="*/ 838964 w 2569598"/>
                    <a:gd name="connsiteY36" fmla="*/ 304540 h 390195"/>
                    <a:gd name="connsiteX37" fmla="*/ 815522 w 2569598"/>
                    <a:gd name="connsiteY37" fmla="*/ 293503 h 390195"/>
                    <a:gd name="connsiteX38" fmla="*/ 1251148 w 2569598"/>
                    <a:gd name="connsiteY38" fmla="*/ 287741 h 390195"/>
                    <a:gd name="connsiteX39" fmla="*/ 1261208 w 2569598"/>
                    <a:gd name="connsiteY39" fmla="*/ 287741 h 390195"/>
                    <a:gd name="connsiteX40" fmla="*/ 1290996 w 2569598"/>
                    <a:gd name="connsiteY40" fmla="*/ 367341 h 390195"/>
                    <a:gd name="connsiteX41" fmla="*/ 1294024 w 2569598"/>
                    <a:gd name="connsiteY41" fmla="*/ 377791 h 390195"/>
                    <a:gd name="connsiteX42" fmla="*/ 1294414 w 2569598"/>
                    <a:gd name="connsiteY42" fmla="*/ 377791 h 390195"/>
                    <a:gd name="connsiteX43" fmla="*/ 1297246 w 2569598"/>
                    <a:gd name="connsiteY43" fmla="*/ 367731 h 390195"/>
                    <a:gd name="connsiteX44" fmla="*/ 1328012 w 2569598"/>
                    <a:gd name="connsiteY44" fmla="*/ 287741 h 390195"/>
                    <a:gd name="connsiteX45" fmla="*/ 1337780 w 2569598"/>
                    <a:gd name="connsiteY45" fmla="*/ 287741 h 390195"/>
                    <a:gd name="connsiteX46" fmla="*/ 1298028 w 2569598"/>
                    <a:gd name="connsiteY46" fmla="*/ 387753 h 390195"/>
                    <a:gd name="connsiteX47" fmla="*/ 1289824 w 2569598"/>
                    <a:gd name="connsiteY47" fmla="*/ 387753 h 390195"/>
                    <a:gd name="connsiteX48" fmla="*/ 1227112 w 2569598"/>
                    <a:gd name="connsiteY48" fmla="*/ 287741 h 390195"/>
                    <a:gd name="connsiteX49" fmla="*/ 1236098 w 2569598"/>
                    <a:gd name="connsiteY49" fmla="*/ 287741 h 390195"/>
                    <a:gd name="connsiteX50" fmla="*/ 1236098 w 2569598"/>
                    <a:gd name="connsiteY50" fmla="*/ 387753 h 390195"/>
                    <a:gd name="connsiteX51" fmla="*/ 1227112 w 2569598"/>
                    <a:gd name="connsiteY51" fmla="*/ 387753 h 390195"/>
                    <a:gd name="connsiteX52" fmla="*/ 1502448 w 2569598"/>
                    <a:gd name="connsiteY52" fmla="*/ 285787 h 390195"/>
                    <a:gd name="connsiteX53" fmla="*/ 1512410 w 2569598"/>
                    <a:gd name="connsiteY53" fmla="*/ 287545 h 390195"/>
                    <a:gd name="connsiteX54" fmla="*/ 1512410 w 2569598"/>
                    <a:gd name="connsiteY54" fmla="*/ 297117 h 390195"/>
                    <a:gd name="connsiteX55" fmla="*/ 1501862 w 2569598"/>
                    <a:gd name="connsiteY55" fmla="*/ 293894 h 390195"/>
                    <a:gd name="connsiteX56" fmla="*/ 1482036 w 2569598"/>
                    <a:gd name="connsiteY56" fmla="*/ 306102 h 390195"/>
                    <a:gd name="connsiteX57" fmla="*/ 1474026 w 2569598"/>
                    <a:gd name="connsiteY57" fmla="*/ 340775 h 390195"/>
                    <a:gd name="connsiteX58" fmla="*/ 1474026 w 2569598"/>
                    <a:gd name="connsiteY58" fmla="*/ 387753 h 390195"/>
                    <a:gd name="connsiteX59" fmla="*/ 1465236 w 2569598"/>
                    <a:gd name="connsiteY59" fmla="*/ 387753 h 390195"/>
                    <a:gd name="connsiteX60" fmla="*/ 1465236 w 2569598"/>
                    <a:gd name="connsiteY60" fmla="*/ 287741 h 390195"/>
                    <a:gd name="connsiteX61" fmla="*/ 1474026 w 2569598"/>
                    <a:gd name="connsiteY61" fmla="*/ 287741 h 390195"/>
                    <a:gd name="connsiteX62" fmla="*/ 1474026 w 2569598"/>
                    <a:gd name="connsiteY62" fmla="*/ 309911 h 390195"/>
                    <a:gd name="connsiteX63" fmla="*/ 1474418 w 2569598"/>
                    <a:gd name="connsiteY63" fmla="*/ 309911 h 390195"/>
                    <a:gd name="connsiteX64" fmla="*/ 1485258 w 2569598"/>
                    <a:gd name="connsiteY64" fmla="*/ 292136 h 390195"/>
                    <a:gd name="connsiteX65" fmla="*/ 1502448 w 2569598"/>
                    <a:gd name="connsiteY65" fmla="*/ 285787 h 390195"/>
                    <a:gd name="connsiteX66" fmla="*/ 1197648 w 2569598"/>
                    <a:gd name="connsiteY66" fmla="*/ 285787 h 390195"/>
                    <a:gd name="connsiteX67" fmla="*/ 1207610 w 2569598"/>
                    <a:gd name="connsiteY67" fmla="*/ 287545 h 390195"/>
                    <a:gd name="connsiteX68" fmla="*/ 1207610 w 2569598"/>
                    <a:gd name="connsiteY68" fmla="*/ 297117 h 390195"/>
                    <a:gd name="connsiteX69" fmla="*/ 1197062 w 2569598"/>
                    <a:gd name="connsiteY69" fmla="*/ 293894 h 390195"/>
                    <a:gd name="connsiteX70" fmla="*/ 1177236 w 2569598"/>
                    <a:gd name="connsiteY70" fmla="*/ 306102 h 390195"/>
                    <a:gd name="connsiteX71" fmla="*/ 1169226 w 2569598"/>
                    <a:gd name="connsiteY71" fmla="*/ 340775 h 390195"/>
                    <a:gd name="connsiteX72" fmla="*/ 1169226 w 2569598"/>
                    <a:gd name="connsiteY72" fmla="*/ 387753 h 390195"/>
                    <a:gd name="connsiteX73" fmla="*/ 1160436 w 2569598"/>
                    <a:gd name="connsiteY73" fmla="*/ 387753 h 390195"/>
                    <a:gd name="connsiteX74" fmla="*/ 1160436 w 2569598"/>
                    <a:gd name="connsiteY74" fmla="*/ 287741 h 390195"/>
                    <a:gd name="connsiteX75" fmla="*/ 1169226 w 2569598"/>
                    <a:gd name="connsiteY75" fmla="*/ 287741 h 390195"/>
                    <a:gd name="connsiteX76" fmla="*/ 1169226 w 2569598"/>
                    <a:gd name="connsiteY76" fmla="*/ 309911 h 390195"/>
                    <a:gd name="connsiteX77" fmla="*/ 1169618 w 2569598"/>
                    <a:gd name="connsiteY77" fmla="*/ 309911 h 390195"/>
                    <a:gd name="connsiteX78" fmla="*/ 1180458 w 2569598"/>
                    <a:gd name="connsiteY78" fmla="*/ 292136 h 390195"/>
                    <a:gd name="connsiteX79" fmla="*/ 1197648 w 2569598"/>
                    <a:gd name="connsiteY79" fmla="*/ 285787 h 390195"/>
                    <a:gd name="connsiteX80" fmla="*/ 1778530 w 2569598"/>
                    <a:gd name="connsiteY80" fmla="*/ 285299 h 390195"/>
                    <a:gd name="connsiteX81" fmla="*/ 1800602 w 2569598"/>
                    <a:gd name="connsiteY81" fmla="*/ 290573 h 390195"/>
                    <a:gd name="connsiteX82" fmla="*/ 1800602 w 2569598"/>
                    <a:gd name="connsiteY82" fmla="*/ 300731 h 390195"/>
                    <a:gd name="connsiteX83" fmla="*/ 1777552 w 2569598"/>
                    <a:gd name="connsiteY83" fmla="*/ 293503 h 390195"/>
                    <a:gd name="connsiteX84" fmla="*/ 1761632 w 2569598"/>
                    <a:gd name="connsiteY84" fmla="*/ 298631 h 390195"/>
                    <a:gd name="connsiteX85" fmla="*/ 1755578 w 2569598"/>
                    <a:gd name="connsiteY85" fmla="*/ 311963 h 390195"/>
                    <a:gd name="connsiteX86" fmla="*/ 1759386 w 2569598"/>
                    <a:gd name="connsiteY86" fmla="*/ 323536 h 390195"/>
                    <a:gd name="connsiteX87" fmla="*/ 1776186 w 2569598"/>
                    <a:gd name="connsiteY87" fmla="*/ 333743 h 390195"/>
                    <a:gd name="connsiteX88" fmla="*/ 1797672 w 2569598"/>
                    <a:gd name="connsiteY88" fmla="*/ 346781 h 390195"/>
                    <a:gd name="connsiteX89" fmla="*/ 1803532 w 2569598"/>
                    <a:gd name="connsiteY89" fmla="*/ 362750 h 390195"/>
                    <a:gd name="connsiteX90" fmla="*/ 1794596 w 2569598"/>
                    <a:gd name="connsiteY90" fmla="*/ 382430 h 390195"/>
                    <a:gd name="connsiteX91" fmla="*/ 1769934 w 2569598"/>
                    <a:gd name="connsiteY91" fmla="*/ 390195 h 390195"/>
                    <a:gd name="connsiteX92" fmla="*/ 1745810 w 2569598"/>
                    <a:gd name="connsiteY92" fmla="*/ 383358 h 390195"/>
                    <a:gd name="connsiteX93" fmla="*/ 1745810 w 2569598"/>
                    <a:gd name="connsiteY93" fmla="*/ 372517 h 390195"/>
                    <a:gd name="connsiteX94" fmla="*/ 1758116 w 2569598"/>
                    <a:gd name="connsiteY94" fmla="*/ 379451 h 390195"/>
                    <a:gd name="connsiteX95" fmla="*/ 1770618 w 2569598"/>
                    <a:gd name="connsiteY95" fmla="*/ 381991 h 390195"/>
                    <a:gd name="connsiteX96" fmla="*/ 1794156 w 2569598"/>
                    <a:gd name="connsiteY96" fmla="*/ 362750 h 390195"/>
                    <a:gd name="connsiteX97" fmla="*/ 1788980 w 2569598"/>
                    <a:gd name="connsiteY97" fmla="*/ 351421 h 390195"/>
                    <a:gd name="connsiteX98" fmla="*/ 1772180 w 2569598"/>
                    <a:gd name="connsiteY98" fmla="*/ 341751 h 390195"/>
                    <a:gd name="connsiteX99" fmla="*/ 1752012 w 2569598"/>
                    <a:gd name="connsiteY99" fmla="*/ 328810 h 390195"/>
                    <a:gd name="connsiteX100" fmla="*/ 1746200 w 2569598"/>
                    <a:gd name="connsiteY100" fmla="*/ 312549 h 390195"/>
                    <a:gd name="connsiteX101" fmla="*/ 1755528 w 2569598"/>
                    <a:gd name="connsiteY101" fmla="*/ 292819 h 390195"/>
                    <a:gd name="connsiteX102" fmla="*/ 1778530 w 2569598"/>
                    <a:gd name="connsiteY102" fmla="*/ 285299 h 390195"/>
                    <a:gd name="connsiteX103" fmla="*/ 1702330 w 2569598"/>
                    <a:gd name="connsiteY103" fmla="*/ 285299 h 390195"/>
                    <a:gd name="connsiteX104" fmla="*/ 1724402 w 2569598"/>
                    <a:gd name="connsiteY104" fmla="*/ 290573 h 390195"/>
                    <a:gd name="connsiteX105" fmla="*/ 1724402 w 2569598"/>
                    <a:gd name="connsiteY105" fmla="*/ 300731 h 390195"/>
                    <a:gd name="connsiteX106" fmla="*/ 1701352 w 2569598"/>
                    <a:gd name="connsiteY106" fmla="*/ 293503 h 390195"/>
                    <a:gd name="connsiteX107" fmla="*/ 1685432 w 2569598"/>
                    <a:gd name="connsiteY107" fmla="*/ 298631 h 390195"/>
                    <a:gd name="connsiteX108" fmla="*/ 1679378 w 2569598"/>
                    <a:gd name="connsiteY108" fmla="*/ 311963 h 390195"/>
                    <a:gd name="connsiteX109" fmla="*/ 1683186 w 2569598"/>
                    <a:gd name="connsiteY109" fmla="*/ 323536 h 390195"/>
                    <a:gd name="connsiteX110" fmla="*/ 1699986 w 2569598"/>
                    <a:gd name="connsiteY110" fmla="*/ 333743 h 390195"/>
                    <a:gd name="connsiteX111" fmla="*/ 1721472 w 2569598"/>
                    <a:gd name="connsiteY111" fmla="*/ 346781 h 390195"/>
                    <a:gd name="connsiteX112" fmla="*/ 1727332 w 2569598"/>
                    <a:gd name="connsiteY112" fmla="*/ 362750 h 390195"/>
                    <a:gd name="connsiteX113" fmla="*/ 1718396 w 2569598"/>
                    <a:gd name="connsiteY113" fmla="*/ 382430 h 390195"/>
                    <a:gd name="connsiteX114" fmla="*/ 1693734 w 2569598"/>
                    <a:gd name="connsiteY114" fmla="*/ 390195 h 390195"/>
                    <a:gd name="connsiteX115" fmla="*/ 1669610 w 2569598"/>
                    <a:gd name="connsiteY115" fmla="*/ 383358 h 390195"/>
                    <a:gd name="connsiteX116" fmla="*/ 1669610 w 2569598"/>
                    <a:gd name="connsiteY116" fmla="*/ 372517 h 390195"/>
                    <a:gd name="connsiteX117" fmla="*/ 1681916 w 2569598"/>
                    <a:gd name="connsiteY117" fmla="*/ 379451 h 390195"/>
                    <a:gd name="connsiteX118" fmla="*/ 1694418 w 2569598"/>
                    <a:gd name="connsiteY118" fmla="*/ 381991 h 390195"/>
                    <a:gd name="connsiteX119" fmla="*/ 1717956 w 2569598"/>
                    <a:gd name="connsiteY119" fmla="*/ 362750 h 390195"/>
                    <a:gd name="connsiteX120" fmla="*/ 1712780 w 2569598"/>
                    <a:gd name="connsiteY120" fmla="*/ 351421 h 390195"/>
                    <a:gd name="connsiteX121" fmla="*/ 1695980 w 2569598"/>
                    <a:gd name="connsiteY121" fmla="*/ 341751 h 390195"/>
                    <a:gd name="connsiteX122" fmla="*/ 1675812 w 2569598"/>
                    <a:gd name="connsiteY122" fmla="*/ 328810 h 390195"/>
                    <a:gd name="connsiteX123" fmla="*/ 1670000 w 2569598"/>
                    <a:gd name="connsiteY123" fmla="*/ 312549 h 390195"/>
                    <a:gd name="connsiteX124" fmla="*/ 1679328 w 2569598"/>
                    <a:gd name="connsiteY124" fmla="*/ 292819 h 390195"/>
                    <a:gd name="connsiteX125" fmla="*/ 1702330 w 2569598"/>
                    <a:gd name="connsiteY125" fmla="*/ 285299 h 390195"/>
                    <a:gd name="connsiteX126" fmla="*/ 1607614 w 2569598"/>
                    <a:gd name="connsiteY126" fmla="*/ 285299 h 390195"/>
                    <a:gd name="connsiteX127" fmla="*/ 1636230 w 2569598"/>
                    <a:gd name="connsiteY127" fmla="*/ 298387 h 390195"/>
                    <a:gd name="connsiteX128" fmla="*/ 1646192 w 2569598"/>
                    <a:gd name="connsiteY128" fmla="*/ 334133 h 390195"/>
                    <a:gd name="connsiteX129" fmla="*/ 1646192 w 2569598"/>
                    <a:gd name="connsiteY129" fmla="*/ 338138 h 390195"/>
                    <a:gd name="connsiteX130" fmla="*/ 1572160 w 2569598"/>
                    <a:gd name="connsiteY130" fmla="*/ 338138 h 390195"/>
                    <a:gd name="connsiteX131" fmla="*/ 1581684 w 2569598"/>
                    <a:gd name="connsiteY131" fmla="*/ 370368 h 390195"/>
                    <a:gd name="connsiteX132" fmla="*/ 1607810 w 2569598"/>
                    <a:gd name="connsiteY132" fmla="*/ 381991 h 390195"/>
                    <a:gd name="connsiteX133" fmla="*/ 1640626 w 2569598"/>
                    <a:gd name="connsiteY133" fmla="*/ 369587 h 390195"/>
                    <a:gd name="connsiteX134" fmla="*/ 1640626 w 2569598"/>
                    <a:gd name="connsiteY134" fmla="*/ 379158 h 390195"/>
                    <a:gd name="connsiteX135" fmla="*/ 1605954 w 2569598"/>
                    <a:gd name="connsiteY135" fmla="*/ 390195 h 390195"/>
                    <a:gd name="connsiteX136" fmla="*/ 1574700 w 2569598"/>
                    <a:gd name="connsiteY136" fmla="*/ 376326 h 390195"/>
                    <a:gd name="connsiteX137" fmla="*/ 1562784 w 2569598"/>
                    <a:gd name="connsiteY137" fmla="*/ 337161 h 390195"/>
                    <a:gd name="connsiteX138" fmla="*/ 1575236 w 2569598"/>
                    <a:gd name="connsiteY138" fmla="*/ 300291 h 390195"/>
                    <a:gd name="connsiteX139" fmla="*/ 1607614 w 2569598"/>
                    <a:gd name="connsiteY139" fmla="*/ 285299 h 390195"/>
                    <a:gd name="connsiteX140" fmla="*/ 1398064 w 2569598"/>
                    <a:gd name="connsiteY140" fmla="*/ 285299 h 390195"/>
                    <a:gd name="connsiteX141" fmla="*/ 1426680 w 2569598"/>
                    <a:gd name="connsiteY141" fmla="*/ 298387 h 390195"/>
                    <a:gd name="connsiteX142" fmla="*/ 1436644 w 2569598"/>
                    <a:gd name="connsiteY142" fmla="*/ 334133 h 390195"/>
                    <a:gd name="connsiteX143" fmla="*/ 1436644 w 2569598"/>
                    <a:gd name="connsiteY143" fmla="*/ 338138 h 390195"/>
                    <a:gd name="connsiteX144" fmla="*/ 1362610 w 2569598"/>
                    <a:gd name="connsiteY144" fmla="*/ 338138 h 390195"/>
                    <a:gd name="connsiteX145" fmla="*/ 1372132 w 2569598"/>
                    <a:gd name="connsiteY145" fmla="*/ 370368 h 390195"/>
                    <a:gd name="connsiteX146" fmla="*/ 1398260 w 2569598"/>
                    <a:gd name="connsiteY146" fmla="*/ 381991 h 390195"/>
                    <a:gd name="connsiteX147" fmla="*/ 1431076 w 2569598"/>
                    <a:gd name="connsiteY147" fmla="*/ 369587 h 390195"/>
                    <a:gd name="connsiteX148" fmla="*/ 1431076 w 2569598"/>
                    <a:gd name="connsiteY148" fmla="*/ 379158 h 390195"/>
                    <a:gd name="connsiteX149" fmla="*/ 1396404 w 2569598"/>
                    <a:gd name="connsiteY149" fmla="*/ 390195 h 390195"/>
                    <a:gd name="connsiteX150" fmla="*/ 1365150 w 2569598"/>
                    <a:gd name="connsiteY150" fmla="*/ 376326 h 390195"/>
                    <a:gd name="connsiteX151" fmla="*/ 1353234 w 2569598"/>
                    <a:gd name="connsiteY151" fmla="*/ 337161 h 390195"/>
                    <a:gd name="connsiteX152" fmla="*/ 1365686 w 2569598"/>
                    <a:gd name="connsiteY152" fmla="*/ 300291 h 390195"/>
                    <a:gd name="connsiteX153" fmla="*/ 1398064 w 2569598"/>
                    <a:gd name="connsiteY153" fmla="*/ 285299 h 390195"/>
                    <a:gd name="connsiteX154" fmla="*/ 921814 w 2569598"/>
                    <a:gd name="connsiteY154" fmla="*/ 285299 h 390195"/>
                    <a:gd name="connsiteX155" fmla="*/ 950430 w 2569598"/>
                    <a:gd name="connsiteY155" fmla="*/ 298387 h 390195"/>
                    <a:gd name="connsiteX156" fmla="*/ 960392 w 2569598"/>
                    <a:gd name="connsiteY156" fmla="*/ 334133 h 390195"/>
                    <a:gd name="connsiteX157" fmla="*/ 960392 w 2569598"/>
                    <a:gd name="connsiteY157" fmla="*/ 338138 h 390195"/>
                    <a:gd name="connsiteX158" fmla="*/ 886360 w 2569598"/>
                    <a:gd name="connsiteY158" fmla="*/ 338138 h 390195"/>
                    <a:gd name="connsiteX159" fmla="*/ 895884 w 2569598"/>
                    <a:gd name="connsiteY159" fmla="*/ 370368 h 390195"/>
                    <a:gd name="connsiteX160" fmla="*/ 922010 w 2569598"/>
                    <a:gd name="connsiteY160" fmla="*/ 381991 h 390195"/>
                    <a:gd name="connsiteX161" fmla="*/ 954826 w 2569598"/>
                    <a:gd name="connsiteY161" fmla="*/ 369587 h 390195"/>
                    <a:gd name="connsiteX162" fmla="*/ 954826 w 2569598"/>
                    <a:gd name="connsiteY162" fmla="*/ 379158 h 390195"/>
                    <a:gd name="connsiteX163" fmla="*/ 920154 w 2569598"/>
                    <a:gd name="connsiteY163" fmla="*/ 390195 h 390195"/>
                    <a:gd name="connsiteX164" fmla="*/ 888900 w 2569598"/>
                    <a:gd name="connsiteY164" fmla="*/ 376326 h 390195"/>
                    <a:gd name="connsiteX165" fmla="*/ 876984 w 2569598"/>
                    <a:gd name="connsiteY165" fmla="*/ 337161 h 390195"/>
                    <a:gd name="connsiteX166" fmla="*/ 889436 w 2569598"/>
                    <a:gd name="connsiteY166" fmla="*/ 300291 h 390195"/>
                    <a:gd name="connsiteX167" fmla="*/ 921814 w 2569598"/>
                    <a:gd name="connsiteY167" fmla="*/ 285299 h 390195"/>
                    <a:gd name="connsiteX168" fmla="*/ 1231506 w 2569598"/>
                    <a:gd name="connsiteY168" fmla="*/ 247697 h 390195"/>
                    <a:gd name="connsiteX169" fmla="*/ 1236830 w 2569598"/>
                    <a:gd name="connsiteY169" fmla="*/ 249650 h 390195"/>
                    <a:gd name="connsiteX170" fmla="*/ 1239124 w 2569598"/>
                    <a:gd name="connsiteY170" fmla="*/ 254924 h 390195"/>
                    <a:gd name="connsiteX171" fmla="*/ 1236878 w 2569598"/>
                    <a:gd name="connsiteY171" fmla="*/ 260296 h 390195"/>
                    <a:gd name="connsiteX172" fmla="*/ 1231506 w 2569598"/>
                    <a:gd name="connsiteY172" fmla="*/ 262542 h 390195"/>
                    <a:gd name="connsiteX173" fmla="*/ 1226330 w 2569598"/>
                    <a:gd name="connsiteY173" fmla="*/ 260394 h 390195"/>
                    <a:gd name="connsiteX174" fmla="*/ 1224084 w 2569598"/>
                    <a:gd name="connsiteY174" fmla="*/ 254924 h 390195"/>
                    <a:gd name="connsiteX175" fmla="*/ 1226380 w 2569598"/>
                    <a:gd name="connsiteY175" fmla="*/ 249699 h 390195"/>
                    <a:gd name="connsiteX176" fmla="*/ 1231506 w 2569598"/>
                    <a:gd name="connsiteY176" fmla="*/ 247697 h 390195"/>
                    <a:gd name="connsiteX177" fmla="*/ 1531912 w 2569598"/>
                    <a:gd name="connsiteY177" fmla="*/ 239688 h 390195"/>
                    <a:gd name="connsiteX178" fmla="*/ 1540898 w 2569598"/>
                    <a:gd name="connsiteY178" fmla="*/ 239688 h 390195"/>
                    <a:gd name="connsiteX179" fmla="*/ 1540898 w 2569598"/>
                    <a:gd name="connsiteY179" fmla="*/ 387753 h 390195"/>
                    <a:gd name="connsiteX180" fmla="*/ 1531912 w 2569598"/>
                    <a:gd name="connsiteY180" fmla="*/ 387753 h 390195"/>
                    <a:gd name="connsiteX181" fmla="*/ 1117142 w 2569598"/>
                    <a:gd name="connsiteY181" fmla="*/ 239688 h 390195"/>
                    <a:gd name="connsiteX182" fmla="*/ 1126128 w 2569598"/>
                    <a:gd name="connsiteY182" fmla="*/ 239688 h 390195"/>
                    <a:gd name="connsiteX183" fmla="*/ 1126128 w 2569598"/>
                    <a:gd name="connsiteY183" fmla="*/ 387753 h 390195"/>
                    <a:gd name="connsiteX184" fmla="*/ 1117142 w 2569598"/>
                    <a:gd name="connsiteY184" fmla="*/ 387753 h 390195"/>
                    <a:gd name="connsiteX185" fmla="*/ 1117142 w 2569598"/>
                    <a:gd name="connsiteY185" fmla="*/ 369587 h 390195"/>
                    <a:gd name="connsiteX186" fmla="*/ 1116752 w 2569598"/>
                    <a:gd name="connsiteY186" fmla="*/ 369587 h 390195"/>
                    <a:gd name="connsiteX187" fmla="*/ 1102296 w 2569598"/>
                    <a:gd name="connsiteY187" fmla="*/ 384628 h 390195"/>
                    <a:gd name="connsiteX188" fmla="*/ 1080712 w 2569598"/>
                    <a:gd name="connsiteY188" fmla="*/ 390195 h 390195"/>
                    <a:gd name="connsiteX189" fmla="*/ 1050580 w 2569598"/>
                    <a:gd name="connsiteY189" fmla="*/ 376717 h 390195"/>
                    <a:gd name="connsiteX190" fmla="*/ 1038910 w 2569598"/>
                    <a:gd name="connsiteY190" fmla="*/ 339505 h 390195"/>
                    <a:gd name="connsiteX191" fmla="*/ 1051654 w 2569598"/>
                    <a:gd name="connsiteY191" fmla="*/ 300291 h 390195"/>
                    <a:gd name="connsiteX192" fmla="*/ 1084716 w 2569598"/>
                    <a:gd name="connsiteY192" fmla="*/ 285299 h 390195"/>
                    <a:gd name="connsiteX193" fmla="*/ 1116752 w 2569598"/>
                    <a:gd name="connsiteY193" fmla="*/ 303758 h 390195"/>
                    <a:gd name="connsiteX194" fmla="*/ 1117142 w 2569598"/>
                    <a:gd name="connsiteY194" fmla="*/ 303758 h 390195"/>
                    <a:gd name="connsiteX195" fmla="*/ 769912 w 2569598"/>
                    <a:gd name="connsiteY195" fmla="*/ 239688 h 390195"/>
                    <a:gd name="connsiteX196" fmla="*/ 778898 w 2569598"/>
                    <a:gd name="connsiteY196" fmla="*/ 239688 h 390195"/>
                    <a:gd name="connsiteX197" fmla="*/ 778898 w 2569598"/>
                    <a:gd name="connsiteY197" fmla="*/ 308349 h 390195"/>
                    <a:gd name="connsiteX198" fmla="*/ 779288 w 2569598"/>
                    <a:gd name="connsiteY198" fmla="*/ 308349 h 390195"/>
                    <a:gd name="connsiteX199" fmla="*/ 794670 w 2569598"/>
                    <a:gd name="connsiteY199" fmla="*/ 291306 h 390195"/>
                    <a:gd name="connsiteX200" fmla="*/ 816694 w 2569598"/>
                    <a:gd name="connsiteY200" fmla="*/ 285299 h 390195"/>
                    <a:gd name="connsiteX201" fmla="*/ 846434 w 2569598"/>
                    <a:gd name="connsiteY201" fmla="*/ 298435 h 390195"/>
                    <a:gd name="connsiteX202" fmla="*/ 857130 w 2569598"/>
                    <a:gd name="connsiteY202" fmla="*/ 334133 h 390195"/>
                    <a:gd name="connsiteX203" fmla="*/ 844726 w 2569598"/>
                    <a:gd name="connsiteY203" fmla="*/ 374714 h 390195"/>
                    <a:gd name="connsiteX204" fmla="*/ 812496 w 2569598"/>
                    <a:gd name="connsiteY204" fmla="*/ 390195 h 390195"/>
                    <a:gd name="connsiteX205" fmla="*/ 779288 w 2569598"/>
                    <a:gd name="connsiteY205" fmla="*/ 369978 h 390195"/>
                    <a:gd name="connsiteX206" fmla="*/ 778898 w 2569598"/>
                    <a:gd name="connsiteY206" fmla="*/ 369978 h 390195"/>
                    <a:gd name="connsiteX207" fmla="*/ 778898 w 2569598"/>
                    <a:gd name="connsiteY207" fmla="*/ 387753 h 390195"/>
                    <a:gd name="connsiteX208" fmla="*/ 769912 w 2569598"/>
                    <a:gd name="connsiteY208" fmla="*/ 387753 h 390195"/>
                    <a:gd name="connsiteX209" fmla="*/ 2058410 w 2569598"/>
                    <a:gd name="connsiteY209" fmla="*/ 95813 h 390195"/>
                    <a:gd name="connsiteX210" fmla="*/ 2030868 w 2569598"/>
                    <a:gd name="connsiteY210" fmla="*/ 99817 h 390195"/>
                    <a:gd name="connsiteX211" fmla="*/ 2008794 w 2569598"/>
                    <a:gd name="connsiteY211" fmla="*/ 107094 h 390195"/>
                    <a:gd name="connsiteX212" fmla="*/ 2002446 w 2569598"/>
                    <a:gd name="connsiteY212" fmla="*/ 123453 h 390195"/>
                    <a:gd name="connsiteX213" fmla="*/ 2008354 w 2569598"/>
                    <a:gd name="connsiteY213" fmla="*/ 138103 h 390195"/>
                    <a:gd name="connsiteX214" fmla="*/ 2024812 w 2569598"/>
                    <a:gd name="connsiteY214" fmla="*/ 143866 h 390195"/>
                    <a:gd name="connsiteX215" fmla="*/ 2048838 w 2569598"/>
                    <a:gd name="connsiteY215" fmla="*/ 133171 h 390195"/>
                    <a:gd name="connsiteX216" fmla="*/ 2058410 w 2569598"/>
                    <a:gd name="connsiteY216" fmla="*/ 105580 h 390195"/>
                    <a:gd name="connsiteX217" fmla="*/ 1001134 w 2569598"/>
                    <a:gd name="connsiteY217" fmla="*/ 95813 h 390195"/>
                    <a:gd name="connsiteX218" fmla="*/ 973592 w 2569598"/>
                    <a:gd name="connsiteY218" fmla="*/ 99817 h 390195"/>
                    <a:gd name="connsiteX219" fmla="*/ 951520 w 2569598"/>
                    <a:gd name="connsiteY219" fmla="*/ 107094 h 390195"/>
                    <a:gd name="connsiteX220" fmla="*/ 945170 w 2569598"/>
                    <a:gd name="connsiteY220" fmla="*/ 123453 h 390195"/>
                    <a:gd name="connsiteX221" fmla="*/ 951080 w 2569598"/>
                    <a:gd name="connsiteY221" fmla="*/ 138103 h 390195"/>
                    <a:gd name="connsiteX222" fmla="*/ 967536 w 2569598"/>
                    <a:gd name="connsiteY222" fmla="*/ 143866 h 390195"/>
                    <a:gd name="connsiteX223" fmla="*/ 991564 w 2569598"/>
                    <a:gd name="connsiteY223" fmla="*/ 133171 h 390195"/>
                    <a:gd name="connsiteX224" fmla="*/ 1001134 w 2569598"/>
                    <a:gd name="connsiteY224" fmla="*/ 105580 h 390195"/>
                    <a:gd name="connsiteX225" fmla="*/ 677284 w 2569598"/>
                    <a:gd name="connsiteY225" fmla="*/ 95813 h 390195"/>
                    <a:gd name="connsiteX226" fmla="*/ 649742 w 2569598"/>
                    <a:gd name="connsiteY226" fmla="*/ 99817 h 390195"/>
                    <a:gd name="connsiteX227" fmla="*/ 627670 w 2569598"/>
                    <a:gd name="connsiteY227" fmla="*/ 107094 h 390195"/>
                    <a:gd name="connsiteX228" fmla="*/ 621320 w 2569598"/>
                    <a:gd name="connsiteY228" fmla="*/ 123453 h 390195"/>
                    <a:gd name="connsiteX229" fmla="*/ 627230 w 2569598"/>
                    <a:gd name="connsiteY229" fmla="*/ 138103 h 390195"/>
                    <a:gd name="connsiteX230" fmla="*/ 643686 w 2569598"/>
                    <a:gd name="connsiteY230" fmla="*/ 143866 h 390195"/>
                    <a:gd name="connsiteX231" fmla="*/ 667714 w 2569598"/>
                    <a:gd name="connsiteY231" fmla="*/ 133171 h 390195"/>
                    <a:gd name="connsiteX232" fmla="*/ 677284 w 2569598"/>
                    <a:gd name="connsiteY232" fmla="*/ 105580 h 390195"/>
                    <a:gd name="connsiteX233" fmla="*/ 281132 w 2569598"/>
                    <a:gd name="connsiteY233" fmla="*/ 88390 h 390195"/>
                    <a:gd name="connsiteX234" fmla="*/ 263454 w 2569598"/>
                    <a:gd name="connsiteY234" fmla="*/ 96008 h 390195"/>
                    <a:gd name="connsiteX235" fmla="*/ 256910 w 2569598"/>
                    <a:gd name="connsiteY235" fmla="*/ 116812 h 390195"/>
                    <a:gd name="connsiteX236" fmla="*/ 263210 w 2569598"/>
                    <a:gd name="connsiteY236" fmla="*/ 136834 h 390195"/>
                    <a:gd name="connsiteX237" fmla="*/ 280546 w 2569598"/>
                    <a:gd name="connsiteY237" fmla="*/ 144256 h 390195"/>
                    <a:gd name="connsiteX238" fmla="*/ 298078 w 2569598"/>
                    <a:gd name="connsiteY238" fmla="*/ 136687 h 390195"/>
                    <a:gd name="connsiteX239" fmla="*/ 304378 w 2569598"/>
                    <a:gd name="connsiteY239" fmla="*/ 116226 h 390195"/>
                    <a:gd name="connsiteX240" fmla="*/ 298126 w 2569598"/>
                    <a:gd name="connsiteY240" fmla="*/ 95422 h 390195"/>
                    <a:gd name="connsiteX241" fmla="*/ 281132 w 2569598"/>
                    <a:gd name="connsiteY241" fmla="*/ 88390 h 390195"/>
                    <a:gd name="connsiteX242" fmla="*/ 281328 w 2569598"/>
                    <a:gd name="connsiteY242" fmla="*/ 80381 h 390195"/>
                    <a:gd name="connsiteX243" fmla="*/ 304572 w 2569598"/>
                    <a:gd name="connsiteY243" fmla="*/ 89953 h 390195"/>
                    <a:gd name="connsiteX244" fmla="*/ 313168 w 2569598"/>
                    <a:gd name="connsiteY244" fmla="*/ 116421 h 390195"/>
                    <a:gd name="connsiteX245" fmla="*/ 304230 w 2569598"/>
                    <a:gd name="connsiteY245" fmla="*/ 141864 h 390195"/>
                    <a:gd name="connsiteX246" fmla="*/ 280350 w 2569598"/>
                    <a:gd name="connsiteY246" fmla="*/ 152070 h 390195"/>
                    <a:gd name="connsiteX247" fmla="*/ 256666 w 2569598"/>
                    <a:gd name="connsiteY247" fmla="*/ 142205 h 390195"/>
                    <a:gd name="connsiteX248" fmla="*/ 247924 w 2569598"/>
                    <a:gd name="connsiteY248" fmla="*/ 116616 h 390195"/>
                    <a:gd name="connsiteX249" fmla="*/ 257302 w 2569598"/>
                    <a:gd name="connsiteY249" fmla="*/ 89855 h 390195"/>
                    <a:gd name="connsiteX250" fmla="*/ 281328 w 2569598"/>
                    <a:gd name="connsiteY250" fmla="*/ 80381 h 390195"/>
                    <a:gd name="connsiteX251" fmla="*/ 2132270 w 2569598"/>
                    <a:gd name="connsiteY251" fmla="*/ 55378 h 390195"/>
                    <a:gd name="connsiteX252" fmla="*/ 2106290 w 2569598"/>
                    <a:gd name="connsiteY252" fmla="*/ 67440 h 390195"/>
                    <a:gd name="connsiteX253" fmla="*/ 2096036 w 2569598"/>
                    <a:gd name="connsiteY253" fmla="*/ 100599 h 390195"/>
                    <a:gd name="connsiteX254" fmla="*/ 2105264 w 2569598"/>
                    <a:gd name="connsiteY254" fmla="*/ 132585 h 390195"/>
                    <a:gd name="connsiteX255" fmla="*/ 2129048 w 2569598"/>
                    <a:gd name="connsiteY255" fmla="*/ 143866 h 390195"/>
                    <a:gd name="connsiteX256" fmla="*/ 2155516 w 2569598"/>
                    <a:gd name="connsiteY256" fmla="*/ 133269 h 390195"/>
                    <a:gd name="connsiteX257" fmla="*/ 2164892 w 2569598"/>
                    <a:gd name="connsiteY257" fmla="*/ 107435 h 390195"/>
                    <a:gd name="connsiteX258" fmla="*/ 2164892 w 2569598"/>
                    <a:gd name="connsiteY258" fmla="*/ 88781 h 390195"/>
                    <a:gd name="connsiteX259" fmla="*/ 2156052 w 2569598"/>
                    <a:gd name="connsiteY259" fmla="*/ 65096 h 390195"/>
                    <a:gd name="connsiteX260" fmla="*/ 2132270 w 2569598"/>
                    <a:gd name="connsiteY260" fmla="*/ 55378 h 390195"/>
                    <a:gd name="connsiteX261" fmla="*/ 1925162 w 2569598"/>
                    <a:gd name="connsiteY261" fmla="*/ 55378 h 390195"/>
                    <a:gd name="connsiteX262" fmla="*/ 1896984 w 2569598"/>
                    <a:gd name="connsiteY262" fmla="*/ 67294 h 390195"/>
                    <a:gd name="connsiteX263" fmla="*/ 1886486 w 2569598"/>
                    <a:gd name="connsiteY263" fmla="*/ 100403 h 390195"/>
                    <a:gd name="connsiteX264" fmla="*/ 1896740 w 2569598"/>
                    <a:gd name="connsiteY264" fmla="*/ 131950 h 390195"/>
                    <a:gd name="connsiteX265" fmla="*/ 1924772 w 2569598"/>
                    <a:gd name="connsiteY265" fmla="*/ 143866 h 390195"/>
                    <a:gd name="connsiteX266" fmla="*/ 1952608 w 2569598"/>
                    <a:gd name="connsiteY266" fmla="*/ 132146 h 390195"/>
                    <a:gd name="connsiteX267" fmla="*/ 1962374 w 2569598"/>
                    <a:gd name="connsiteY267" fmla="*/ 99622 h 390195"/>
                    <a:gd name="connsiteX268" fmla="*/ 1952656 w 2569598"/>
                    <a:gd name="connsiteY268" fmla="*/ 66805 h 390195"/>
                    <a:gd name="connsiteX269" fmla="*/ 1925162 w 2569598"/>
                    <a:gd name="connsiteY269" fmla="*/ 55378 h 390195"/>
                    <a:gd name="connsiteX270" fmla="*/ 1296512 w 2569598"/>
                    <a:gd name="connsiteY270" fmla="*/ 55378 h 390195"/>
                    <a:gd name="connsiteX271" fmla="*/ 1268334 w 2569598"/>
                    <a:gd name="connsiteY271" fmla="*/ 67294 h 390195"/>
                    <a:gd name="connsiteX272" fmla="*/ 1257836 w 2569598"/>
                    <a:gd name="connsiteY272" fmla="*/ 100403 h 390195"/>
                    <a:gd name="connsiteX273" fmla="*/ 1268090 w 2569598"/>
                    <a:gd name="connsiteY273" fmla="*/ 131950 h 390195"/>
                    <a:gd name="connsiteX274" fmla="*/ 1296122 w 2569598"/>
                    <a:gd name="connsiteY274" fmla="*/ 143866 h 390195"/>
                    <a:gd name="connsiteX275" fmla="*/ 1323956 w 2569598"/>
                    <a:gd name="connsiteY275" fmla="*/ 132146 h 390195"/>
                    <a:gd name="connsiteX276" fmla="*/ 1333724 w 2569598"/>
                    <a:gd name="connsiteY276" fmla="*/ 99622 h 390195"/>
                    <a:gd name="connsiteX277" fmla="*/ 1324006 w 2569598"/>
                    <a:gd name="connsiteY277" fmla="*/ 66805 h 390195"/>
                    <a:gd name="connsiteX278" fmla="*/ 1296512 w 2569598"/>
                    <a:gd name="connsiteY278" fmla="*/ 55378 h 390195"/>
                    <a:gd name="connsiteX279" fmla="*/ 439262 w 2569598"/>
                    <a:gd name="connsiteY279" fmla="*/ 55378 h 390195"/>
                    <a:gd name="connsiteX280" fmla="*/ 411084 w 2569598"/>
                    <a:gd name="connsiteY280" fmla="*/ 67294 h 390195"/>
                    <a:gd name="connsiteX281" fmla="*/ 400586 w 2569598"/>
                    <a:gd name="connsiteY281" fmla="*/ 100403 h 390195"/>
                    <a:gd name="connsiteX282" fmla="*/ 410840 w 2569598"/>
                    <a:gd name="connsiteY282" fmla="*/ 131950 h 390195"/>
                    <a:gd name="connsiteX283" fmla="*/ 438872 w 2569598"/>
                    <a:gd name="connsiteY283" fmla="*/ 143866 h 390195"/>
                    <a:gd name="connsiteX284" fmla="*/ 466706 w 2569598"/>
                    <a:gd name="connsiteY284" fmla="*/ 132146 h 390195"/>
                    <a:gd name="connsiteX285" fmla="*/ 476474 w 2569598"/>
                    <a:gd name="connsiteY285" fmla="*/ 99622 h 390195"/>
                    <a:gd name="connsiteX286" fmla="*/ 466756 w 2569598"/>
                    <a:gd name="connsiteY286" fmla="*/ 66805 h 390195"/>
                    <a:gd name="connsiteX287" fmla="*/ 439262 w 2569598"/>
                    <a:gd name="connsiteY287" fmla="*/ 55378 h 390195"/>
                    <a:gd name="connsiteX288" fmla="*/ 2484412 w 2569598"/>
                    <a:gd name="connsiteY288" fmla="*/ 49616 h 390195"/>
                    <a:gd name="connsiteX289" fmla="*/ 2493398 w 2569598"/>
                    <a:gd name="connsiteY289" fmla="*/ 49616 h 390195"/>
                    <a:gd name="connsiteX290" fmla="*/ 2493398 w 2569598"/>
                    <a:gd name="connsiteY290" fmla="*/ 149628 h 390195"/>
                    <a:gd name="connsiteX291" fmla="*/ 2484412 w 2569598"/>
                    <a:gd name="connsiteY291" fmla="*/ 149628 h 390195"/>
                    <a:gd name="connsiteX292" fmla="*/ 2338658 w 2569598"/>
                    <a:gd name="connsiteY292" fmla="*/ 49616 h 390195"/>
                    <a:gd name="connsiteX293" fmla="*/ 2348620 w 2569598"/>
                    <a:gd name="connsiteY293" fmla="*/ 49616 h 390195"/>
                    <a:gd name="connsiteX294" fmla="*/ 2371864 w 2569598"/>
                    <a:gd name="connsiteY294" fmla="*/ 129411 h 390195"/>
                    <a:gd name="connsiteX295" fmla="*/ 2373232 w 2569598"/>
                    <a:gd name="connsiteY295" fmla="*/ 137810 h 390195"/>
                    <a:gd name="connsiteX296" fmla="*/ 2374014 w 2569598"/>
                    <a:gd name="connsiteY296" fmla="*/ 137810 h 390195"/>
                    <a:gd name="connsiteX297" fmla="*/ 2375870 w 2569598"/>
                    <a:gd name="connsiteY297" fmla="*/ 129411 h 390195"/>
                    <a:gd name="connsiteX298" fmla="*/ 2401264 w 2569598"/>
                    <a:gd name="connsiteY298" fmla="*/ 49616 h 390195"/>
                    <a:gd name="connsiteX299" fmla="*/ 2407416 w 2569598"/>
                    <a:gd name="connsiteY299" fmla="*/ 49616 h 390195"/>
                    <a:gd name="connsiteX300" fmla="*/ 2430076 w 2569598"/>
                    <a:gd name="connsiteY300" fmla="*/ 129411 h 390195"/>
                    <a:gd name="connsiteX301" fmla="*/ 2431442 w 2569598"/>
                    <a:gd name="connsiteY301" fmla="*/ 137810 h 390195"/>
                    <a:gd name="connsiteX302" fmla="*/ 2432224 w 2569598"/>
                    <a:gd name="connsiteY302" fmla="*/ 137810 h 390195"/>
                    <a:gd name="connsiteX303" fmla="*/ 2433884 w 2569598"/>
                    <a:gd name="connsiteY303" fmla="*/ 129411 h 390195"/>
                    <a:gd name="connsiteX304" fmla="*/ 2457618 w 2569598"/>
                    <a:gd name="connsiteY304" fmla="*/ 49616 h 390195"/>
                    <a:gd name="connsiteX305" fmla="*/ 2466896 w 2569598"/>
                    <a:gd name="connsiteY305" fmla="*/ 49616 h 390195"/>
                    <a:gd name="connsiteX306" fmla="*/ 2435838 w 2569598"/>
                    <a:gd name="connsiteY306" fmla="*/ 149628 h 390195"/>
                    <a:gd name="connsiteX307" fmla="*/ 2427438 w 2569598"/>
                    <a:gd name="connsiteY307" fmla="*/ 149628 h 390195"/>
                    <a:gd name="connsiteX308" fmla="*/ 2405658 w 2569598"/>
                    <a:gd name="connsiteY308" fmla="*/ 74228 h 390195"/>
                    <a:gd name="connsiteX309" fmla="*/ 2404096 w 2569598"/>
                    <a:gd name="connsiteY309" fmla="*/ 65829 h 390195"/>
                    <a:gd name="connsiteX310" fmla="*/ 2403608 w 2569598"/>
                    <a:gd name="connsiteY310" fmla="*/ 65829 h 390195"/>
                    <a:gd name="connsiteX311" fmla="*/ 2401654 w 2569598"/>
                    <a:gd name="connsiteY311" fmla="*/ 74033 h 390195"/>
                    <a:gd name="connsiteX312" fmla="*/ 2377236 w 2569598"/>
                    <a:gd name="connsiteY312" fmla="*/ 149628 h 390195"/>
                    <a:gd name="connsiteX313" fmla="*/ 2368838 w 2569598"/>
                    <a:gd name="connsiteY313" fmla="*/ 149628 h 390195"/>
                    <a:gd name="connsiteX314" fmla="*/ 1854874 w 2569598"/>
                    <a:gd name="connsiteY314" fmla="*/ 47662 h 390195"/>
                    <a:gd name="connsiteX315" fmla="*/ 1864836 w 2569598"/>
                    <a:gd name="connsiteY315" fmla="*/ 49420 h 390195"/>
                    <a:gd name="connsiteX316" fmla="*/ 1864836 w 2569598"/>
                    <a:gd name="connsiteY316" fmla="*/ 58992 h 390195"/>
                    <a:gd name="connsiteX317" fmla="*/ 1854288 w 2569598"/>
                    <a:gd name="connsiteY317" fmla="*/ 55769 h 390195"/>
                    <a:gd name="connsiteX318" fmla="*/ 1834460 w 2569598"/>
                    <a:gd name="connsiteY318" fmla="*/ 67977 h 390195"/>
                    <a:gd name="connsiteX319" fmla="*/ 1826452 w 2569598"/>
                    <a:gd name="connsiteY319" fmla="*/ 102650 h 390195"/>
                    <a:gd name="connsiteX320" fmla="*/ 1826452 w 2569598"/>
                    <a:gd name="connsiteY320" fmla="*/ 149628 h 390195"/>
                    <a:gd name="connsiteX321" fmla="*/ 1817662 w 2569598"/>
                    <a:gd name="connsiteY321" fmla="*/ 149628 h 390195"/>
                    <a:gd name="connsiteX322" fmla="*/ 1817662 w 2569598"/>
                    <a:gd name="connsiteY322" fmla="*/ 49616 h 390195"/>
                    <a:gd name="connsiteX323" fmla="*/ 1826452 w 2569598"/>
                    <a:gd name="connsiteY323" fmla="*/ 49616 h 390195"/>
                    <a:gd name="connsiteX324" fmla="*/ 1826452 w 2569598"/>
                    <a:gd name="connsiteY324" fmla="*/ 71786 h 390195"/>
                    <a:gd name="connsiteX325" fmla="*/ 1826842 w 2569598"/>
                    <a:gd name="connsiteY325" fmla="*/ 71786 h 390195"/>
                    <a:gd name="connsiteX326" fmla="*/ 1837684 w 2569598"/>
                    <a:gd name="connsiteY326" fmla="*/ 54011 h 390195"/>
                    <a:gd name="connsiteX327" fmla="*/ 1854874 w 2569598"/>
                    <a:gd name="connsiteY327" fmla="*/ 47662 h 390195"/>
                    <a:gd name="connsiteX328" fmla="*/ 1073824 w 2569598"/>
                    <a:gd name="connsiteY328" fmla="*/ 47662 h 390195"/>
                    <a:gd name="connsiteX329" fmla="*/ 1083786 w 2569598"/>
                    <a:gd name="connsiteY329" fmla="*/ 49420 h 390195"/>
                    <a:gd name="connsiteX330" fmla="*/ 1083786 w 2569598"/>
                    <a:gd name="connsiteY330" fmla="*/ 58992 h 390195"/>
                    <a:gd name="connsiteX331" fmla="*/ 1073238 w 2569598"/>
                    <a:gd name="connsiteY331" fmla="*/ 55769 h 390195"/>
                    <a:gd name="connsiteX332" fmla="*/ 1053410 w 2569598"/>
                    <a:gd name="connsiteY332" fmla="*/ 67977 h 390195"/>
                    <a:gd name="connsiteX333" fmla="*/ 1045402 w 2569598"/>
                    <a:gd name="connsiteY333" fmla="*/ 102650 h 390195"/>
                    <a:gd name="connsiteX334" fmla="*/ 1045402 w 2569598"/>
                    <a:gd name="connsiteY334" fmla="*/ 149628 h 390195"/>
                    <a:gd name="connsiteX335" fmla="*/ 1036612 w 2569598"/>
                    <a:gd name="connsiteY335" fmla="*/ 149628 h 390195"/>
                    <a:gd name="connsiteX336" fmla="*/ 1036612 w 2569598"/>
                    <a:gd name="connsiteY336" fmla="*/ 49616 h 390195"/>
                    <a:gd name="connsiteX337" fmla="*/ 1045402 w 2569598"/>
                    <a:gd name="connsiteY337" fmla="*/ 49616 h 390195"/>
                    <a:gd name="connsiteX338" fmla="*/ 1045402 w 2569598"/>
                    <a:gd name="connsiteY338" fmla="*/ 71786 h 390195"/>
                    <a:gd name="connsiteX339" fmla="*/ 1045792 w 2569598"/>
                    <a:gd name="connsiteY339" fmla="*/ 71786 h 390195"/>
                    <a:gd name="connsiteX340" fmla="*/ 1056634 w 2569598"/>
                    <a:gd name="connsiteY340" fmla="*/ 54011 h 390195"/>
                    <a:gd name="connsiteX341" fmla="*/ 1073824 w 2569598"/>
                    <a:gd name="connsiteY341" fmla="*/ 47662 h 390195"/>
                    <a:gd name="connsiteX342" fmla="*/ 2235730 w 2569598"/>
                    <a:gd name="connsiteY342" fmla="*/ 47174 h 390195"/>
                    <a:gd name="connsiteX343" fmla="*/ 2257802 w 2569598"/>
                    <a:gd name="connsiteY343" fmla="*/ 52448 h 390195"/>
                    <a:gd name="connsiteX344" fmla="*/ 2257802 w 2569598"/>
                    <a:gd name="connsiteY344" fmla="*/ 62606 h 390195"/>
                    <a:gd name="connsiteX345" fmla="*/ 2234752 w 2569598"/>
                    <a:gd name="connsiteY345" fmla="*/ 55378 h 390195"/>
                    <a:gd name="connsiteX346" fmla="*/ 2218832 w 2569598"/>
                    <a:gd name="connsiteY346" fmla="*/ 60506 h 390195"/>
                    <a:gd name="connsiteX347" fmla="*/ 2212776 w 2569598"/>
                    <a:gd name="connsiteY347" fmla="*/ 73838 h 390195"/>
                    <a:gd name="connsiteX348" fmla="*/ 2216586 w 2569598"/>
                    <a:gd name="connsiteY348" fmla="*/ 85411 h 390195"/>
                    <a:gd name="connsiteX349" fmla="*/ 2233384 w 2569598"/>
                    <a:gd name="connsiteY349" fmla="*/ 95618 h 390195"/>
                    <a:gd name="connsiteX350" fmla="*/ 2254872 w 2569598"/>
                    <a:gd name="connsiteY350" fmla="*/ 108656 h 390195"/>
                    <a:gd name="connsiteX351" fmla="*/ 2260732 w 2569598"/>
                    <a:gd name="connsiteY351" fmla="*/ 124625 h 390195"/>
                    <a:gd name="connsiteX352" fmla="*/ 2251796 w 2569598"/>
                    <a:gd name="connsiteY352" fmla="*/ 144305 h 390195"/>
                    <a:gd name="connsiteX353" fmla="*/ 2227134 w 2569598"/>
                    <a:gd name="connsiteY353" fmla="*/ 152070 h 390195"/>
                    <a:gd name="connsiteX354" fmla="*/ 2203010 w 2569598"/>
                    <a:gd name="connsiteY354" fmla="*/ 145233 h 390195"/>
                    <a:gd name="connsiteX355" fmla="*/ 2203010 w 2569598"/>
                    <a:gd name="connsiteY355" fmla="*/ 134392 h 390195"/>
                    <a:gd name="connsiteX356" fmla="*/ 2215316 w 2569598"/>
                    <a:gd name="connsiteY356" fmla="*/ 141326 h 390195"/>
                    <a:gd name="connsiteX357" fmla="*/ 2227818 w 2569598"/>
                    <a:gd name="connsiteY357" fmla="*/ 143866 h 390195"/>
                    <a:gd name="connsiteX358" fmla="*/ 2251356 w 2569598"/>
                    <a:gd name="connsiteY358" fmla="*/ 124625 h 390195"/>
                    <a:gd name="connsiteX359" fmla="*/ 2246180 w 2569598"/>
                    <a:gd name="connsiteY359" fmla="*/ 113296 h 390195"/>
                    <a:gd name="connsiteX360" fmla="*/ 2229380 w 2569598"/>
                    <a:gd name="connsiteY360" fmla="*/ 103626 h 390195"/>
                    <a:gd name="connsiteX361" fmla="*/ 2209212 w 2569598"/>
                    <a:gd name="connsiteY361" fmla="*/ 90685 h 390195"/>
                    <a:gd name="connsiteX362" fmla="*/ 2203400 w 2569598"/>
                    <a:gd name="connsiteY362" fmla="*/ 74424 h 390195"/>
                    <a:gd name="connsiteX363" fmla="*/ 2212728 w 2569598"/>
                    <a:gd name="connsiteY363" fmla="*/ 54695 h 390195"/>
                    <a:gd name="connsiteX364" fmla="*/ 2235730 w 2569598"/>
                    <a:gd name="connsiteY364" fmla="*/ 47174 h 390195"/>
                    <a:gd name="connsiteX365" fmla="*/ 2035068 w 2569598"/>
                    <a:gd name="connsiteY365" fmla="*/ 47174 h 390195"/>
                    <a:gd name="connsiteX366" fmla="*/ 2058948 w 2569598"/>
                    <a:gd name="connsiteY366" fmla="*/ 56746 h 390195"/>
                    <a:gd name="connsiteX367" fmla="*/ 2067396 w 2569598"/>
                    <a:gd name="connsiteY367" fmla="*/ 84581 h 390195"/>
                    <a:gd name="connsiteX368" fmla="*/ 2067396 w 2569598"/>
                    <a:gd name="connsiteY368" fmla="*/ 149628 h 390195"/>
                    <a:gd name="connsiteX369" fmla="*/ 2058410 w 2569598"/>
                    <a:gd name="connsiteY369" fmla="*/ 149628 h 390195"/>
                    <a:gd name="connsiteX370" fmla="*/ 2058410 w 2569598"/>
                    <a:gd name="connsiteY370" fmla="*/ 129606 h 390195"/>
                    <a:gd name="connsiteX371" fmla="*/ 2058020 w 2569598"/>
                    <a:gd name="connsiteY371" fmla="*/ 129606 h 390195"/>
                    <a:gd name="connsiteX372" fmla="*/ 2044102 w 2569598"/>
                    <a:gd name="connsiteY372" fmla="*/ 145966 h 390195"/>
                    <a:gd name="connsiteX373" fmla="*/ 2023836 w 2569598"/>
                    <a:gd name="connsiteY373" fmla="*/ 152070 h 390195"/>
                    <a:gd name="connsiteX374" fmla="*/ 2001274 w 2569598"/>
                    <a:gd name="connsiteY374" fmla="*/ 144061 h 390195"/>
                    <a:gd name="connsiteX375" fmla="*/ 1992972 w 2569598"/>
                    <a:gd name="connsiteY375" fmla="*/ 123844 h 390195"/>
                    <a:gd name="connsiteX376" fmla="*/ 2027644 w 2569598"/>
                    <a:gd name="connsiteY376" fmla="*/ 92199 h 390195"/>
                    <a:gd name="connsiteX377" fmla="*/ 2058410 w 2569598"/>
                    <a:gd name="connsiteY377" fmla="*/ 87609 h 390195"/>
                    <a:gd name="connsiteX378" fmla="*/ 2034188 w 2569598"/>
                    <a:gd name="connsiteY378" fmla="*/ 55378 h 390195"/>
                    <a:gd name="connsiteX379" fmla="*/ 2002056 w 2569598"/>
                    <a:gd name="connsiteY379" fmla="*/ 68661 h 390195"/>
                    <a:gd name="connsiteX380" fmla="*/ 2002056 w 2569598"/>
                    <a:gd name="connsiteY380" fmla="*/ 57820 h 390195"/>
                    <a:gd name="connsiteX381" fmla="*/ 2017144 w 2569598"/>
                    <a:gd name="connsiteY381" fmla="*/ 50299 h 390195"/>
                    <a:gd name="connsiteX382" fmla="*/ 2035068 w 2569598"/>
                    <a:gd name="connsiteY382" fmla="*/ 47174 h 390195"/>
                    <a:gd name="connsiteX383" fmla="*/ 1925552 w 2569598"/>
                    <a:gd name="connsiteY383" fmla="*/ 47174 h 390195"/>
                    <a:gd name="connsiteX384" fmla="*/ 1959346 w 2569598"/>
                    <a:gd name="connsiteY384" fmla="*/ 61141 h 390195"/>
                    <a:gd name="connsiteX385" fmla="*/ 1971750 w 2569598"/>
                    <a:gd name="connsiteY385" fmla="*/ 99817 h 390195"/>
                    <a:gd name="connsiteX386" fmla="*/ 1959102 w 2569598"/>
                    <a:gd name="connsiteY386" fmla="*/ 137615 h 390195"/>
                    <a:gd name="connsiteX387" fmla="*/ 1924478 w 2569598"/>
                    <a:gd name="connsiteY387" fmla="*/ 152070 h 390195"/>
                    <a:gd name="connsiteX388" fmla="*/ 1889856 w 2569598"/>
                    <a:gd name="connsiteY388" fmla="*/ 137664 h 390195"/>
                    <a:gd name="connsiteX389" fmla="*/ 1877110 w 2569598"/>
                    <a:gd name="connsiteY389" fmla="*/ 100208 h 390195"/>
                    <a:gd name="connsiteX390" fmla="*/ 1890442 w 2569598"/>
                    <a:gd name="connsiteY390" fmla="*/ 61238 h 390195"/>
                    <a:gd name="connsiteX391" fmla="*/ 1925552 w 2569598"/>
                    <a:gd name="connsiteY391" fmla="*/ 47174 h 390195"/>
                    <a:gd name="connsiteX392" fmla="*/ 1413546 w 2569598"/>
                    <a:gd name="connsiteY392" fmla="*/ 47174 h 390195"/>
                    <a:gd name="connsiteX393" fmla="*/ 1438354 w 2569598"/>
                    <a:gd name="connsiteY393" fmla="*/ 57966 h 390195"/>
                    <a:gd name="connsiteX394" fmla="*/ 1446950 w 2569598"/>
                    <a:gd name="connsiteY394" fmla="*/ 88781 h 390195"/>
                    <a:gd name="connsiteX395" fmla="*/ 1446950 w 2569598"/>
                    <a:gd name="connsiteY395" fmla="*/ 149628 h 390195"/>
                    <a:gd name="connsiteX396" fmla="*/ 1437964 w 2569598"/>
                    <a:gd name="connsiteY396" fmla="*/ 149628 h 390195"/>
                    <a:gd name="connsiteX397" fmla="*/ 1437964 w 2569598"/>
                    <a:gd name="connsiteY397" fmla="*/ 91418 h 390195"/>
                    <a:gd name="connsiteX398" fmla="*/ 1411984 w 2569598"/>
                    <a:gd name="connsiteY398" fmla="*/ 55378 h 390195"/>
                    <a:gd name="connsiteX399" fmla="*/ 1388250 w 2569598"/>
                    <a:gd name="connsiteY399" fmla="*/ 65975 h 390195"/>
                    <a:gd name="connsiteX400" fmla="*/ 1378972 w 2569598"/>
                    <a:gd name="connsiteY400" fmla="*/ 92199 h 390195"/>
                    <a:gd name="connsiteX401" fmla="*/ 1378972 w 2569598"/>
                    <a:gd name="connsiteY401" fmla="*/ 149628 h 390195"/>
                    <a:gd name="connsiteX402" fmla="*/ 1369986 w 2569598"/>
                    <a:gd name="connsiteY402" fmla="*/ 149628 h 390195"/>
                    <a:gd name="connsiteX403" fmla="*/ 1369986 w 2569598"/>
                    <a:gd name="connsiteY403" fmla="*/ 49616 h 390195"/>
                    <a:gd name="connsiteX404" fmla="*/ 1378972 w 2569598"/>
                    <a:gd name="connsiteY404" fmla="*/ 49616 h 390195"/>
                    <a:gd name="connsiteX405" fmla="*/ 1378972 w 2569598"/>
                    <a:gd name="connsiteY405" fmla="*/ 67782 h 390195"/>
                    <a:gd name="connsiteX406" fmla="*/ 1379362 w 2569598"/>
                    <a:gd name="connsiteY406" fmla="*/ 67782 h 390195"/>
                    <a:gd name="connsiteX407" fmla="*/ 1413546 w 2569598"/>
                    <a:gd name="connsiteY407" fmla="*/ 47174 h 390195"/>
                    <a:gd name="connsiteX408" fmla="*/ 1296902 w 2569598"/>
                    <a:gd name="connsiteY408" fmla="*/ 47174 h 390195"/>
                    <a:gd name="connsiteX409" fmla="*/ 1330696 w 2569598"/>
                    <a:gd name="connsiteY409" fmla="*/ 61141 h 390195"/>
                    <a:gd name="connsiteX410" fmla="*/ 1343100 w 2569598"/>
                    <a:gd name="connsiteY410" fmla="*/ 99817 h 390195"/>
                    <a:gd name="connsiteX411" fmla="*/ 1330452 w 2569598"/>
                    <a:gd name="connsiteY411" fmla="*/ 137615 h 390195"/>
                    <a:gd name="connsiteX412" fmla="*/ 1295828 w 2569598"/>
                    <a:gd name="connsiteY412" fmla="*/ 152070 h 390195"/>
                    <a:gd name="connsiteX413" fmla="*/ 1261204 w 2569598"/>
                    <a:gd name="connsiteY413" fmla="*/ 137664 h 390195"/>
                    <a:gd name="connsiteX414" fmla="*/ 1248460 w 2569598"/>
                    <a:gd name="connsiteY414" fmla="*/ 100208 h 390195"/>
                    <a:gd name="connsiteX415" fmla="*/ 1261790 w 2569598"/>
                    <a:gd name="connsiteY415" fmla="*/ 61238 h 390195"/>
                    <a:gd name="connsiteX416" fmla="*/ 1296902 w 2569598"/>
                    <a:gd name="connsiteY416" fmla="*/ 47174 h 390195"/>
                    <a:gd name="connsiteX417" fmla="*/ 1130830 w 2569598"/>
                    <a:gd name="connsiteY417" fmla="*/ 47174 h 390195"/>
                    <a:gd name="connsiteX418" fmla="*/ 1152902 w 2569598"/>
                    <a:gd name="connsiteY418" fmla="*/ 52448 h 390195"/>
                    <a:gd name="connsiteX419" fmla="*/ 1152902 w 2569598"/>
                    <a:gd name="connsiteY419" fmla="*/ 62606 h 390195"/>
                    <a:gd name="connsiteX420" fmla="*/ 1129852 w 2569598"/>
                    <a:gd name="connsiteY420" fmla="*/ 55378 h 390195"/>
                    <a:gd name="connsiteX421" fmla="*/ 1113932 w 2569598"/>
                    <a:gd name="connsiteY421" fmla="*/ 60506 h 390195"/>
                    <a:gd name="connsiteX422" fmla="*/ 1107878 w 2569598"/>
                    <a:gd name="connsiteY422" fmla="*/ 73838 h 390195"/>
                    <a:gd name="connsiteX423" fmla="*/ 1111686 w 2569598"/>
                    <a:gd name="connsiteY423" fmla="*/ 85411 h 390195"/>
                    <a:gd name="connsiteX424" fmla="*/ 1128486 w 2569598"/>
                    <a:gd name="connsiteY424" fmla="*/ 95618 h 390195"/>
                    <a:gd name="connsiteX425" fmla="*/ 1149972 w 2569598"/>
                    <a:gd name="connsiteY425" fmla="*/ 108656 h 390195"/>
                    <a:gd name="connsiteX426" fmla="*/ 1155832 w 2569598"/>
                    <a:gd name="connsiteY426" fmla="*/ 124625 h 390195"/>
                    <a:gd name="connsiteX427" fmla="*/ 1146896 w 2569598"/>
                    <a:gd name="connsiteY427" fmla="*/ 144305 h 390195"/>
                    <a:gd name="connsiteX428" fmla="*/ 1122234 w 2569598"/>
                    <a:gd name="connsiteY428" fmla="*/ 152070 h 390195"/>
                    <a:gd name="connsiteX429" fmla="*/ 1098110 w 2569598"/>
                    <a:gd name="connsiteY429" fmla="*/ 145233 h 390195"/>
                    <a:gd name="connsiteX430" fmla="*/ 1098110 w 2569598"/>
                    <a:gd name="connsiteY430" fmla="*/ 134392 h 390195"/>
                    <a:gd name="connsiteX431" fmla="*/ 1110416 w 2569598"/>
                    <a:gd name="connsiteY431" fmla="*/ 141326 h 390195"/>
                    <a:gd name="connsiteX432" fmla="*/ 1122918 w 2569598"/>
                    <a:gd name="connsiteY432" fmla="*/ 143866 h 390195"/>
                    <a:gd name="connsiteX433" fmla="*/ 1146456 w 2569598"/>
                    <a:gd name="connsiteY433" fmla="*/ 124625 h 390195"/>
                    <a:gd name="connsiteX434" fmla="*/ 1141280 w 2569598"/>
                    <a:gd name="connsiteY434" fmla="*/ 113296 h 390195"/>
                    <a:gd name="connsiteX435" fmla="*/ 1124480 w 2569598"/>
                    <a:gd name="connsiteY435" fmla="*/ 103626 h 390195"/>
                    <a:gd name="connsiteX436" fmla="*/ 1104312 w 2569598"/>
                    <a:gd name="connsiteY436" fmla="*/ 90685 h 390195"/>
                    <a:gd name="connsiteX437" fmla="*/ 1098500 w 2569598"/>
                    <a:gd name="connsiteY437" fmla="*/ 74424 h 390195"/>
                    <a:gd name="connsiteX438" fmla="*/ 1107828 w 2569598"/>
                    <a:gd name="connsiteY438" fmla="*/ 54695 h 390195"/>
                    <a:gd name="connsiteX439" fmla="*/ 1130830 w 2569598"/>
                    <a:gd name="connsiteY439" fmla="*/ 47174 h 390195"/>
                    <a:gd name="connsiteX440" fmla="*/ 977792 w 2569598"/>
                    <a:gd name="connsiteY440" fmla="*/ 47174 h 390195"/>
                    <a:gd name="connsiteX441" fmla="*/ 1001672 w 2569598"/>
                    <a:gd name="connsiteY441" fmla="*/ 56746 h 390195"/>
                    <a:gd name="connsiteX442" fmla="*/ 1010120 w 2569598"/>
                    <a:gd name="connsiteY442" fmla="*/ 84581 h 390195"/>
                    <a:gd name="connsiteX443" fmla="*/ 1010120 w 2569598"/>
                    <a:gd name="connsiteY443" fmla="*/ 149628 h 390195"/>
                    <a:gd name="connsiteX444" fmla="*/ 1001134 w 2569598"/>
                    <a:gd name="connsiteY444" fmla="*/ 149628 h 390195"/>
                    <a:gd name="connsiteX445" fmla="*/ 1001134 w 2569598"/>
                    <a:gd name="connsiteY445" fmla="*/ 129606 h 390195"/>
                    <a:gd name="connsiteX446" fmla="*/ 1000744 w 2569598"/>
                    <a:gd name="connsiteY446" fmla="*/ 129606 h 390195"/>
                    <a:gd name="connsiteX447" fmla="*/ 986826 w 2569598"/>
                    <a:gd name="connsiteY447" fmla="*/ 145966 h 390195"/>
                    <a:gd name="connsiteX448" fmla="*/ 966560 w 2569598"/>
                    <a:gd name="connsiteY448" fmla="*/ 152070 h 390195"/>
                    <a:gd name="connsiteX449" fmla="*/ 943998 w 2569598"/>
                    <a:gd name="connsiteY449" fmla="*/ 144061 h 390195"/>
                    <a:gd name="connsiteX450" fmla="*/ 935696 w 2569598"/>
                    <a:gd name="connsiteY450" fmla="*/ 123844 h 390195"/>
                    <a:gd name="connsiteX451" fmla="*/ 970370 w 2569598"/>
                    <a:gd name="connsiteY451" fmla="*/ 92199 h 390195"/>
                    <a:gd name="connsiteX452" fmla="*/ 1001134 w 2569598"/>
                    <a:gd name="connsiteY452" fmla="*/ 87609 h 390195"/>
                    <a:gd name="connsiteX453" fmla="*/ 976912 w 2569598"/>
                    <a:gd name="connsiteY453" fmla="*/ 55378 h 390195"/>
                    <a:gd name="connsiteX454" fmla="*/ 944780 w 2569598"/>
                    <a:gd name="connsiteY454" fmla="*/ 68661 h 390195"/>
                    <a:gd name="connsiteX455" fmla="*/ 944780 w 2569598"/>
                    <a:gd name="connsiteY455" fmla="*/ 57820 h 390195"/>
                    <a:gd name="connsiteX456" fmla="*/ 959870 w 2569598"/>
                    <a:gd name="connsiteY456" fmla="*/ 50299 h 390195"/>
                    <a:gd name="connsiteX457" fmla="*/ 977792 w 2569598"/>
                    <a:gd name="connsiteY457" fmla="*/ 47174 h 390195"/>
                    <a:gd name="connsiteX458" fmla="*/ 898610 w 2569598"/>
                    <a:gd name="connsiteY458" fmla="*/ 47174 h 390195"/>
                    <a:gd name="connsiteX459" fmla="*/ 920782 w 2569598"/>
                    <a:gd name="connsiteY459" fmla="*/ 51862 h 390195"/>
                    <a:gd name="connsiteX460" fmla="*/ 920782 w 2569598"/>
                    <a:gd name="connsiteY460" fmla="*/ 62020 h 390195"/>
                    <a:gd name="connsiteX461" fmla="*/ 897244 w 2569598"/>
                    <a:gd name="connsiteY461" fmla="*/ 55378 h 390195"/>
                    <a:gd name="connsiteX462" fmla="*/ 868724 w 2569598"/>
                    <a:gd name="connsiteY462" fmla="*/ 68026 h 390195"/>
                    <a:gd name="connsiteX463" fmla="*/ 857786 w 2569598"/>
                    <a:gd name="connsiteY463" fmla="*/ 100794 h 390195"/>
                    <a:gd name="connsiteX464" fmla="*/ 867796 w 2569598"/>
                    <a:gd name="connsiteY464" fmla="*/ 132048 h 390195"/>
                    <a:gd name="connsiteX465" fmla="*/ 894216 w 2569598"/>
                    <a:gd name="connsiteY465" fmla="*/ 143866 h 390195"/>
                    <a:gd name="connsiteX466" fmla="*/ 920390 w 2569598"/>
                    <a:gd name="connsiteY466" fmla="*/ 135857 h 390195"/>
                    <a:gd name="connsiteX467" fmla="*/ 920390 w 2569598"/>
                    <a:gd name="connsiteY467" fmla="*/ 145233 h 390195"/>
                    <a:gd name="connsiteX468" fmla="*/ 893824 w 2569598"/>
                    <a:gd name="connsiteY468" fmla="*/ 152070 h 390195"/>
                    <a:gd name="connsiteX469" fmla="*/ 860910 w 2569598"/>
                    <a:gd name="connsiteY469" fmla="*/ 138055 h 390195"/>
                    <a:gd name="connsiteX470" fmla="*/ 848410 w 2569598"/>
                    <a:gd name="connsiteY470" fmla="*/ 101380 h 390195"/>
                    <a:gd name="connsiteX471" fmla="*/ 862474 w 2569598"/>
                    <a:gd name="connsiteY471" fmla="*/ 62361 h 390195"/>
                    <a:gd name="connsiteX472" fmla="*/ 898610 w 2569598"/>
                    <a:gd name="connsiteY472" fmla="*/ 47174 h 390195"/>
                    <a:gd name="connsiteX473" fmla="*/ 653942 w 2569598"/>
                    <a:gd name="connsiteY473" fmla="*/ 47174 h 390195"/>
                    <a:gd name="connsiteX474" fmla="*/ 677822 w 2569598"/>
                    <a:gd name="connsiteY474" fmla="*/ 56746 h 390195"/>
                    <a:gd name="connsiteX475" fmla="*/ 686270 w 2569598"/>
                    <a:gd name="connsiteY475" fmla="*/ 84581 h 390195"/>
                    <a:gd name="connsiteX476" fmla="*/ 686270 w 2569598"/>
                    <a:gd name="connsiteY476" fmla="*/ 149628 h 390195"/>
                    <a:gd name="connsiteX477" fmla="*/ 677284 w 2569598"/>
                    <a:gd name="connsiteY477" fmla="*/ 149628 h 390195"/>
                    <a:gd name="connsiteX478" fmla="*/ 677284 w 2569598"/>
                    <a:gd name="connsiteY478" fmla="*/ 129606 h 390195"/>
                    <a:gd name="connsiteX479" fmla="*/ 676894 w 2569598"/>
                    <a:gd name="connsiteY479" fmla="*/ 129606 h 390195"/>
                    <a:gd name="connsiteX480" fmla="*/ 662976 w 2569598"/>
                    <a:gd name="connsiteY480" fmla="*/ 145966 h 390195"/>
                    <a:gd name="connsiteX481" fmla="*/ 642710 w 2569598"/>
                    <a:gd name="connsiteY481" fmla="*/ 152070 h 390195"/>
                    <a:gd name="connsiteX482" fmla="*/ 620148 w 2569598"/>
                    <a:gd name="connsiteY482" fmla="*/ 144061 h 390195"/>
                    <a:gd name="connsiteX483" fmla="*/ 611846 w 2569598"/>
                    <a:gd name="connsiteY483" fmla="*/ 123844 h 390195"/>
                    <a:gd name="connsiteX484" fmla="*/ 646520 w 2569598"/>
                    <a:gd name="connsiteY484" fmla="*/ 92199 h 390195"/>
                    <a:gd name="connsiteX485" fmla="*/ 677284 w 2569598"/>
                    <a:gd name="connsiteY485" fmla="*/ 87609 h 390195"/>
                    <a:gd name="connsiteX486" fmla="*/ 653064 w 2569598"/>
                    <a:gd name="connsiteY486" fmla="*/ 55378 h 390195"/>
                    <a:gd name="connsiteX487" fmla="*/ 620930 w 2569598"/>
                    <a:gd name="connsiteY487" fmla="*/ 68661 h 390195"/>
                    <a:gd name="connsiteX488" fmla="*/ 620930 w 2569598"/>
                    <a:gd name="connsiteY488" fmla="*/ 57820 h 390195"/>
                    <a:gd name="connsiteX489" fmla="*/ 636020 w 2569598"/>
                    <a:gd name="connsiteY489" fmla="*/ 50299 h 390195"/>
                    <a:gd name="connsiteX490" fmla="*/ 653942 w 2569598"/>
                    <a:gd name="connsiteY490" fmla="*/ 47174 h 390195"/>
                    <a:gd name="connsiteX491" fmla="*/ 439652 w 2569598"/>
                    <a:gd name="connsiteY491" fmla="*/ 47174 h 390195"/>
                    <a:gd name="connsiteX492" fmla="*/ 473446 w 2569598"/>
                    <a:gd name="connsiteY492" fmla="*/ 61141 h 390195"/>
                    <a:gd name="connsiteX493" fmla="*/ 485850 w 2569598"/>
                    <a:gd name="connsiteY493" fmla="*/ 99817 h 390195"/>
                    <a:gd name="connsiteX494" fmla="*/ 473202 w 2569598"/>
                    <a:gd name="connsiteY494" fmla="*/ 137615 h 390195"/>
                    <a:gd name="connsiteX495" fmla="*/ 438578 w 2569598"/>
                    <a:gd name="connsiteY495" fmla="*/ 152070 h 390195"/>
                    <a:gd name="connsiteX496" fmla="*/ 403954 w 2569598"/>
                    <a:gd name="connsiteY496" fmla="*/ 137664 h 390195"/>
                    <a:gd name="connsiteX497" fmla="*/ 391210 w 2569598"/>
                    <a:gd name="connsiteY497" fmla="*/ 100208 h 390195"/>
                    <a:gd name="connsiteX498" fmla="*/ 404540 w 2569598"/>
                    <a:gd name="connsiteY498" fmla="*/ 61238 h 390195"/>
                    <a:gd name="connsiteX499" fmla="*/ 439652 w 2569598"/>
                    <a:gd name="connsiteY499" fmla="*/ 47174 h 390195"/>
                    <a:gd name="connsiteX500" fmla="*/ 111212 w 2569598"/>
                    <a:gd name="connsiteY500" fmla="*/ 15432 h 390195"/>
                    <a:gd name="connsiteX501" fmla="*/ 86112 w 2569598"/>
                    <a:gd name="connsiteY501" fmla="*/ 31938 h 390195"/>
                    <a:gd name="connsiteX502" fmla="*/ 77126 w 2569598"/>
                    <a:gd name="connsiteY502" fmla="*/ 81456 h 390195"/>
                    <a:gd name="connsiteX503" fmla="*/ 85720 w 2569598"/>
                    <a:gd name="connsiteY503" fmla="*/ 127702 h 390195"/>
                    <a:gd name="connsiteX504" fmla="*/ 110138 w 2569598"/>
                    <a:gd name="connsiteY504" fmla="*/ 143866 h 390195"/>
                    <a:gd name="connsiteX505" fmla="*/ 134310 w 2569598"/>
                    <a:gd name="connsiteY505" fmla="*/ 127409 h 390195"/>
                    <a:gd name="connsiteX506" fmla="*/ 142954 w 2569598"/>
                    <a:gd name="connsiteY506" fmla="*/ 80381 h 390195"/>
                    <a:gd name="connsiteX507" fmla="*/ 111212 w 2569598"/>
                    <a:gd name="connsiteY507" fmla="*/ 15432 h 390195"/>
                    <a:gd name="connsiteX508" fmla="*/ 204560 w 2569598"/>
                    <a:gd name="connsiteY508" fmla="*/ 14846 h 390195"/>
                    <a:gd name="connsiteX509" fmla="*/ 186834 w 2569598"/>
                    <a:gd name="connsiteY509" fmla="*/ 22317 h 390195"/>
                    <a:gd name="connsiteX510" fmla="*/ 180338 w 2569598"/>
                    <a:gd name="connsiteY510" fmla="*/ 43170 h 390195"/>
                    <a:gd name="connsiteX511" fmla="*/ 186638 w 2569598"/>
                    <a:gd name="connsiteY511" fmla="*/ 63192 h 390195"/>
                    <a:gd name="connsiteX512" fmla="*/ 203974 w 2569598"/>
                    <a:gd name="connsiteY512" fmla="*/ 70614 h 390195"/>
                    <a:gd name="connsiteX513" fmla="*/ 221408 w 2569598"/>
                    <a:gd name="connsiteY513" fmla="*/ 62996 h 390195"/>
                    <a:gd name="connsiteX514" fmla="*/ 227708 w 2569598"/>
                    <a:gd name="connsiteY514" fmla="*/ 42584 h 390195"/>
                    <a:gd name="connsiteX515" fmla="*/ 221456 w 2569598"/>
                    <a:gd name="connsiteY515" fmla="*/ 21829 h 390195"/>
                    <a:gd name="connsiteX516" fmla="*/ 204560 w 2569598"/>
                    <a:gd name="connsiteY516" fmla="*/ 14846 h 390195"/>
                    <a:gd name="connsiteX517" fmla="*/ 278592 w 2569598"/>
                    <a:gd name="connsiteY517" fmla="*/ 9767 h 390195"/>
                    <a:gd name="connsiteX518" fmla="*/ 287968 w 2569598"/>
                    <a:gd name="connsiteY518" fmla="*/ 9767 h 390195"/>
                    <a:gd name="connsiteX519" fmla="*/ 203974 w 2569598"/>
                    <a:gd name="connsiteY519" fmla="*/ 152851 h 390195"/>
                    <a:gd name="connsiteX520" fmla="*/ 194304 w 2569598"/>
                    <a:gd name="connsiteY520" fmla="*/ 152851 h 390195"/>
                    <a:gd name="connsiteX521" fmla="*/ 2488806 w 2569598"/>
                    <a:gd name="connsiteY521" fmla="*/ 9572 h 390195"/>
                    <a:gd name="connsiteX522" fmla="*/ 2494130 w 2569598"/>
                    <a:gd name="connsiteY522" fmla="*/ 11525 h 390195"/>
                    <a:gd name="connsiteX523" fmla="*/ 2496424 w 2569598"/>
                    <a:gd name="connsiteY523" fmla="*/ 16799 h 390195"/>
                    <a:gd name="connsiteX524" fmla="*/ 2494178 w 2569598"/>
                    <a:gd name="connsiteY524" fmla="*/ 22171 h 390195"/>
                    <a:gd name="connsiteX525" fmla="*/ 2488806 w 2569598"/>
                    <a:gd name="connsiteY525" fmla="*/ 24417 h 390195"/>
                    <a:gd name="connsiteX526" fmla="*/ 2483630 w 2569598"/>
                    <a:gd name="connsiteY526" fmla="*/ 22269 h 390195"/>
                    <a:gd name="connsiteX527" fmla="*/ 2481384 w 2569598"/>
                    <a:gd name="connsiteY527" fmla="*/ 16799 h 390195"/>
                    <a:gd name="connsiteX528" fmla="*/ 2483680 w 2569598"/>
                    <a:gd name="connsiteY528" fmla="*/ 11574 h 390195"/>
                    <a:gd name="connsiteX529" fmla="*/ 2488806 w 2569598"/>
                    <a:gd name="connsiteY529" fmla="*/ 9572 h 390195"/>
                    <a:gd name="connsiteX530" fmla="*/ 1532108 w 2569598"/>
                    <a:gd name="connsiteY530" fmla="*/ 9572 h 390195"/>
                    <a:gd name="connsiteX531" fmla="*/ 1541678 w 2569598"/>
                    <a:gd name="connsiteY531" fmla="*/ 9572 h 390195"/>
                    <a:gd name="connsiteX532" fmla="*/ 1541678 w 2569598"/>
                    <a:gd name="connsiteY532" fmla="*/ 94446 h 390195"/>
                    <a:gd name="connsiteX533" fmla="*/ 1581332 w 2569598"/>
                    <a:gd name="connsiteY533" fmla="*/ 143182 h 390195"/>
                    <a:gd name="connsiteX534" fmla="*/ 1619716 w 2569598"/>
                    <a:gd name="connsiteY534" fmla="*/ 95813 h 390195"/>
                    <a:gd name="connsiteX535" fmla="*/ 1619716 w 2569598"/>
                    <a:gd name="connsiteY535" fmla="*/ 9572 h 390195"/>
                    <a:gd name="connsiteX536" fmla="*/ 1629288 w 2569598"/>
                    <a:gd name="connsiteY536" fmla="*/ 9572 h 390195"/>
                    <a:gd name="connsiteX537" fmla="*/ 1629288 w 2569598"/>
                    <a:gd name="connsiteY537" fmla="*/ 93664 h 390195"/>
                    <a:gd name="connsiteX538" fmla="*/ 1579476 w 2569598"/>
                    <a:gd name="connsiteY538" fmla="*/ 152070 h 390195"/>
                    <a:gd name="connsiteX539" fmla="*/ 1532108 w 2569598"/>
                    <a:gd name="connsiteY539" fmla="*/ 95813 h 390195"/>
                    <a:gd name="connsiteX540" fmla="*/ 1705892 w 2569598"/>
                    <a:gd name="connsiteY540" fmla="*/ 7228 h 390195"/>
                    <a:gd name="connsiteX541" fmla="*/ 1730894 w 2569598"/>
                    <a:gd name="connsiteY541" fmla="*/ 11427 h 390195"/>
                    <a:gd name="connsiteX542" fmla="*/ 1730894 w 2569598"/>
                    <a:gd name="connsiteY542" fmla="*/ 21585 h 390195"/>
                    <a:gd name="connsiteX543" fmla="*/ 1704622 w 2569598"/>
                    <a:gd name="connsiteY543" fmla="*/ 16018 h 390195"/>
                    <a:gd name="connsiteX544" fmla="*/ 1682012 w 2569598"/>
                    <a:gd name="connsiteY544" fmla="*/ 23245 h 390195"/>
                    <a:gd name="connsiteX545" fmla="*/ 1673662 w 2569598"/>
                    <a:gd name="connsiteY545" fmla="*/ 41607 h 390195"/>
                    <a:gd name="connsiteX546" fmla="*/ 1679374 w 2569598"/>
                    <a:gd name="connsiteY546" fmla="*/ 58699 h 390195"/>
                    <a:gd name="connsiteX547" fmla="*/ 1704036 w 2569598"/>
                    <a:gd name="connsiteY547" fmla="*/ 75986 h 390195"/>
                    <a:gd name="connsiteX548" fmla="*/ 1730162 w 2569598"/>
                    <a:gd name="connsiteY548" fmla="*/ 95764 h 390195"/>
                    <a:gd name="connsiteX549" fmla="*/ 1736658 w 2569598"/>
                    <a:gd name="connsiteY549" fmla="*/ 115640 h 390195"/>
                    <a:gd name="connsiteX550" fmla="*/ 1725474 w 2569598"/>
                    <a:gd name="connsiteY550" fmla="*/ 141912 h 390195"/>
                    <a:gd name="connsiteX551" fmla="*/ 1693878 w 2569598"/>
                    <a:gd name="connsiteY551" fmla="*/ 152070 h 390195"/>
                    <a:gd name="connsiteX552" fmla="*/ 1677226 w 2569598"/>
                    <a:gd name="connsiteY552" fmla="*/ 149824 h 390195"/>
                    <a:gd name="connsiteX553" fmla="*/ 1662820 w 2569598"/>
                    <a:gd name="connsiteY553" fmla="*/ 144647 h 390195"/>
                    <a:gd name="connsiteX554" fmla="*/ 1662820 w 2569598"/>
                    <a:gd name="connsiteY554" fmla="*/ 133611 h 390195"/>
                    <a:gd name="connsiteX555" fmla="*/ 1693292 w 2569598"/>
                    <a:gd name="connsiteY555" fmla="*/ 143182 h 390195"/>
                    <a:gd name="connsiteX556" fmla="*/ 1718198 w 2569598"/>
                    <a:gd name="connsiteY556" fmla="*/ 136394 h 390195"/>
                    <a:gd name="connsiteX557" fmla="*/ 1726696 w 2569598"/>
                    <a:gd name="connsiteY557" fmla="*/ 117398 h 390195"/>
                    <a:gd name="connsiteX558" fmla="*/ 1720982 w 2569598"/>
                    <a:gd name="connsiteY558" fmla="*/ 100257 h 390195"/>
                    <a:gd name="connsiteX559" fmla="*/ 1696222 w 2569598"/>
                    <a:gd name="connsiteY559" fmla="*/ 82823 h 390195"/>
                    <a:gd name="connsiteX560" fmla="*/ 1669266 w 2569598"/>
                    <a:gd name="connsiteY560" fmla="*/ 62068 h 390195"/>
                    <a:gd name="connsiteX561" fmla="*/ 1663602 w 2569598"/>
                    <a:gd name="connsiteY561" fmla="*/ 42779 h 390195"/>
                    <a:gd name="connsiteX562" fmla="*/ 1675126 w 2569598"/>
                    <a:gd name="connsiteY562" fmla="*/ 17580 h 390195"/>
                    <a:gd name="connsiteX563" fmla="*/ 1705892 w 2569598"/>
                    <a:gd name="connsiteY563" fmla="*/ 7228 h 390195"/>
                    <a:gd name="connsiteX564" fmla="*/ 111994 w 2569598"/>
                    <a:gd name="connsiteY564" fmla="*/ 7228 h 390195"/>
                    <a:gd name="connsiteX565" fmla="*/ 152428 w 2569598"/>
                    <a:gd name="connsiteY565" fmla="*/ 79014 h 390195"/>
                    <a:gd name="connsiteX566" fmla="*/ 141002 w 2569598"/>
                    <a:gd name="connsiteY566" fmla="*/ 133415 h 390195"/>
                    <a:gd name="connsiteX567" fmla="*/ 108966 w 2569598"/>
                    <a:gd name="connsiteY567" fmla="*/ 152070 h 390195"/>
                    <a:gd name="connsiteX568" fmla="*/ 78688 w 2569598"/>
                    <a:gd name="connsiteY568" fmla="*/ 134294 h 390195"/>
                    <a:gd name="connsiteX569" fmla="*/ 67750 w 2569598"/>
                    <a:gd name="connsiteY569" fmla="*/ 82628 h 390195"/>
                    <a:gd name="connsiteX570" fmla="*/ 79226 w 2569598"/>
                    <a:gd name="connsiteY570" fmla="*/ 26224 h 390195"/>
                    <a:gd name="connsiteX571" fmla="*/ 111994 w 2569598"/>
                    <a:gd name="connsiteY571" fmla="*/ 7228 h 390195"/>
                    <a:gd name="connsiteX572" fmla="*/ 204756 w 2569598"/>
                    <a:gd name="connsiteY572" fmla="*/ 6837 h 390195"/>
                    <a:gd name="connsiteX573" fmla="*/ 228000 w 2569598"/>
                    <a:gd name="connsiteY573" fmla="*/ 16311 h 390195"/>
                    <a:gd name="connsiteX574" fmla="*/ 236596 w 2569598"/>
                    <a:gd name="connsiteY574" fmla="*/ 42779 h 390195"/>
                    <a:gd name="connsiteX575" fmla="*/ 227658 w 2569598"/>
                    <a:gd name="connsiteY575" fmla="*/ 68222 h 390195"/>
                    <a:gd name="connsiteX576" fmla="*/ 203778 w 2569598"/>
                    <a:gd name="connsiteY576" fmla="*/ 78428 h 390195"/>
                    <a:gd name="connsiteX577" fmla="*/ 180046 w 2569598"/>
                    <a:gd name="connsiteY577" fmla="*/ 68563 h 390195"/>
                    <a:gd name="connsiteX578" fmla="*/ 171352 w 2569598"/>
                    <a:gd name="connsiteY578" fmla="*/ 42974 h 390195"/>
                    <a:gd name="connsiteX579" fmla="*/ 180582 w 2569598"/>
                    <a:gd name="connsiteY579" fmla="*/ 16360 h 390195"/>
                    <a:gd name="connsiteX580" fmla="*/ 204756 w 2569598"/>
                    <a:gd name="connsiteY580" fmla="*/ 6837 h 390195"/>
                    <a:gd name="connsiteX581" fmla="*/ 40142 w 2569598"/>
                    <a:gd name="connsiteY581" fmla="*/ 6446 h 390195"/>
                    <a:gd name="connsiteX582" fmla="*/ 43268 w 2569598"/>
                    <a:gd name="connsiteY582" fmla="*/ 6446 h 390195"/>
                    <a:gd name="connsiteX583" fmla="*/ 43268 w 2569598"/>
                    <a:gd name="connsiteY583" fmla="*/ 149628 h 390195"/>
                    <a:gd name="connsiteX584" fmla="*/ 34282 w 2569598"/>
                    <a:gd name="connsiteY584" fmla="*/ 149628 h 390195"/>
                    <a:gd name="connsiteX585" fmla="*/ 34282 w 2569598"/>
                    <a:gd name="connsiteY585" fmla="*/ 20608 h 390195"/>
                    <a:gd name="connsiteX586" fmla="*/ 18900 w 2569598"/>
                    <a:gd name="connsiteY586" fmla="*/ 31742 h 390195"/>
                    <a:gd name="connsiteX587" fmla="*/ 0 w 2569598"/>
                    <a:gd name="connsiteY587" fmla="*/ 40044 h 390195"/>
                    <a:gd name="connsiteX588" fmla="*/ 0 w 2569598"/>
                    <a:gd name="connsiteY588" fmla="*/ 31840 h 390195"/>
                    <a:gd name="connsiteX589" fmla="*/ 11428 w 2569598"/>
                    <a:gd name="connsiteY589" fmla="*/ 27201 h 390195"/>
                    <a:gd name="connsiteX590" fmla="*/ 21536 w 2569598"/>
                    <a:gd name="connsiteY590" fmla="*/ 21487 h 390195"/>
                    <a:gd name="connsiteX591" fmla="*/ 30912 w 2569598"/>
                    <a:gd name="connsiteY591" fmla="*/ 14602 h 390195"/>
                    <a:gd name="connsiteX592" fmla="*/ 40142 w 2569598"/>
                    <a:gd name="connsiteY592" fmla="*/ 6446 h 390195"/>
                    <a:gd name="connsiteX593" fmla="*/ 2560612 w 2569598"/>
                    <a:gd name="connsiteY593" fmla="*/ 1563 h 390195"/>
                    <a:gd name="connsiteX594" fmla="*/ 2569598 w 2569598"/>
                    <a:gd name="connsiteY594" fmla="*/ 1563 h 390195"/>
                    <a:gd name="connsiteX595" fmla="*/ 2569598 w 2569598"/>
                    <a:gd name="connsiteY595" fmla="*/ 149628 h 390195"/>
                    <a:gd name="connsiteX596" fmla="*/ 2560612 w 2569598"/>
                    <a:gd name="connsiteY596" fmla="*/ 149628 h 390195"/>
                    <a:gd name="connsiteX597" fmla="*/ 2522512 w 2569598"/>
                    <a:gd name="connsiteY597" fmla="*/ 1563 h 390195"/>
                    <a:gd name="connsiteX598" fmla="*/ 2531498 w 2569598"/>
                    <a:gd name="connsiteY598" fmla="*/ 1563 h 390195"/>
                    <a:gd name="connsiteX599" fmla="*/ 2531498 w 2569598"/>
                    <a:gd name="connsiteY599" fmla="*/ 149628 h 390195"/>
                    <a:gd name="connsiteX600" fmla="*/ 2522512 w 2569598"/>
                    <a:gd name="connsiteY600" fmla="*/ 149628 h 390195"/>
                    <a:gd name="connsiteX601" fmla="*/ 2164892 w 2569598"/>
                    <a:gd name="connsiteY601" fmla="*/ 1563 h 390195"/>
                    <a:gd name="connsiteX602" fmla="*/ 2173876 w 2569598"/>
                    <a:gd name="connsiteY602" fmla="*/ 1563 h 390195"/>
                    <a:gd name="connsiteX603" fmla="*/ 2173876 w 2569598"/>
                    <a:gd name="connsiteY603" fmla="*/ 149628 h 390195"/>
                    <a:gd name="connsiteX604" fmla="*/ 2164892 w 2569598"/>
                    <a:gd name="connsiteY604" fmla="*/ 149628 h 390195"/>
                    <a:gd name="connsiteX605" fmla="*/ 2164892 w 2569598"/>
                    <a:gd name="connsiteY605" fmla="*/ 131462 h 390195"/>
                    <a:gd name="connsiteX606" fmla="*/ 2164500 w 2569598"/>
                    <a:gd name="connsiteY606" fmla="*/ 131462 h 390195"/>
                    <a:gd name="connsiteX607" fmla="*/ 2150046 w 2569598"/>
                    <a:gd name="connsiteY607" fmla="*/ 146503 h 390195"/>
                    <a:gd name="connsiteX608" fmla="*/ 2128462 w 2569598"/>
                    <a:gd name="connsiteY608" fmla="*/ 152070 h 390195"/>
                    <a:gd name="connsiteX609" fmla="*/ 2098330 w 2569598"/>
                    <a:gd name="connsiteY609" fmla="*/ 138592 h 390195"/>
                    <a:gd name="connsiteX610" fmla="*/ 2086660 w 2569598"/>
                    <a:gd name="connsiteY610" fmla="*/ 101380 h 390195"/>
                    <a:gd name="connsiteX611" fmla="*/ 2099404 w 2569598"/>
                    <a:gd name="connsiteY611" fmla="*/ 62166 h 390195"/>
                    <a:gd name="connsiteX612" fmla="*/ 2132466 w 2569598"/>
                    <a:gd name="connsiteY612" fmla="*/ 47174 h 390195"/>
                    <a:gd name="connsiteX613" fmla="*/ 2164500 w 2569598"/>
                    <a:gd name="connsiteY613" fmla="*/ 65633 h 390195"/>
                    <a:gd name="connsiteX614" fmla="*/ 2164892 w 2569598"/>
                    <a:gd name="connsiteY614" fmla="*/ 65633 h 390195"/>
                    <a:gd name="connsiteX615" fmla="*/ 750862 w 2569598"/>
                    <a:gd name="connsiteY615" fmla="*/ 1563 h 390195"/>
                    <a:gd name="connsiteX616" fmla="*/ 759848 w 2569598"/>
                    <a:gd name="connsiteY616" fmla="*/ 1563 h 390195"/>
                    <a:gd name="connsiteX617" fmla="*/ 759848 w 2569598"/>
                    <a:gd name="connsiteY617" fmla="*/ 149628 h 390195"/>
                    <a:gd name="connsiteX618" fmla="*/ 750862 w 2569598"/>
                    <a:gd name="connsiteY618" fmla="*/ 149628 h 390195"/>
                    <a:gd name="connsiteX619" fmla="*/ 712762 w 2569598"/>
                    <a:gd name="connsiteY619" fmla="*/ 1563 h 390195"/>
                    <a:gd name="connsiteX620" fmla="*/ 721748 w 2569598"/>
                    <a:gd name="connsiteY620" fmla="*/ 1563 h 390195"/>
                    <a:gd name="connsiteX621" fmla="*/ 721748 w 2569598"/>
                    <a:gd name="connsiteY621" fmla="*/ 149628 h 390195"/>
                    <a:gd name="connsiteX622" fmla="*/ 712762 w 2569598"/>
                    <a:gd name="connsiteY622" fmla="*/ 149628 h 390195"/>
                    <a:gd name="connsiteX623" fmla="*/ 536418 w 2569598"/>
                    <a:gd name="connsiteY623" fmla="*/ 0 h 390195"/>
                    <a:gd name="connsiteX624" fmla="*/ 546968 w 2569598"/>
                    <a:gd name="connsiteY624" fmla="*/ 1856 h 390195"/>
                    <a:gd name="connsiteX625" fmla="*/ 546968 w 2569598"/>
                    <a:gd name="connsiteY625" fmla="*/ 11037 h 390195"/>
                    <a:gd name="connsiteX626" fmla="*/ 536028 w 2569598"/>
                    <a:gd name="connsiteY626" fmla="*/ 8204 h 390195"/>
                    <a:gd name="connsiteX627" fmla="*/ 517568 w 2569598"/>
                    <a:gd name="connsiteY627" fmla="*/ 33012 h 390195"/>
                    <a:gd name="connsiteX628" fmla="*/ 517568 w 2569598"/>
                    <a:gd name="connsiteY628" fmla="*/ 49616 h 390195"/>
                    <a:gd name="connsiteX629" fmla="*/ 544038 w 2569598"/>
                    <a:gd name="connsiteY629" fmla="*/ 49616 h 390195"/>
                    <a:gd name="connsiteX630" fmla="*/ 544038 w 2569598"/>
                    <a:gd name="connsiteY630" fmla="*/ 57820 h 390195"/>
                    <a:gd name="connsiteX631" fmla="*/ 517568 w 2569598"/>
                    <a:gd name="connsiteY631" fmla="*/ 57820 h 390195"/>
                    <a:gd name="connsiteX632" fmla="*/ 517568 w 2569598"/>
                    <a:gd name="connsiteY632" fmla="*/ 149628 h 390195"/>
                    <a:gd name="connsiteX633" fmla="*/ 508584 w 2569598"/>
                    <a:gd name="connsiteY633" fmla="*/ 149628 h 390195"/>
                    <a:gd name="connsiteX634" fmla="*/ 508584 w 2569598"/>
                    <a:gd name="connsiteY634" fmla="*/ 57820 h 390195"/>
                    <a:gd name="connsiteX635" fmla="*/ 490612 w 2569598"/>
                    <a:gd name="connsiteY635" fmla="*/ 57820 h 390195"/>
                    <a:gd name="connsiteX636" fmla="*/ 490612 w 2569598"/>
                    <a:gd name="connsiteY636" fmla="*/ 49616 h 390195"/>
                    <a:gd name="connsiteX637" fmla="*/ 508584 w 2569598"/>
                    <a:gd name="connsiteY637" fmla="*/ 49616 h 390195"/>
                    <a:gd name="connsiteX638" fmla="*/ 508584 w 2569598"/>
                    <a:gd name="connsiteY638" fmla="*/ 32231 h 390195"/>
                    <a:gd name="connsiteX639" fmla="*/ 516544 w 2569598"/>
                    <a:gd name="connsiteY639" fmla="*/ 8204 h 390195"/>
                    <a:gd name="connsiteX640" fmla="*/ 536418 w 2569598"/>
                    <a:gd name="connsiteY640" fmla="*/ 0 h 390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</a:cxnLst>
                  <a:rect l="l" t="t" r="r" b="b"/>
                  <a:pathLst>
                    <a:path w="2569598" h="390195">
                      <a:moveTo>
                        <a:pt x="1607224" y="293503"/>
                      </a:moveTo>
                      <a:cubicBezTo>
                        <a:pt x="1597848" y="293503"/>
                        <a:pt x="1590082" y="296645"/>
                        <a:pt x="1583930" y="302928"/>
                      </a:cubicBezTo>
                      <a:cubicBezTo>
                        <a:pt x="1577776" y="309212"/>
                        <a:pt x="1573984" y="318213"/>
                        <a:pt x="1572552" y="329934"/>
                      </a:cubicBezTo>
                      <a:lnTo>
                        <a:pt x="1636816" y="329934"/>
                      </a:lnTo>
                      <a:cubicBezTo>
                        <a:pt x="1636426" y="318409"/>
                        <a:pt x="1633658" y="309456"/>
                        <a:pt x="1628516" y="303075"/>
                      </a:cubicBezTo>
                      <a:cubicBezTo>
                        <a:pt x="1623372" y="296694"/>
                        <a:pt x="1616274" y="293503"/>
                        <a:pt x="1607224" y="293503"/>
                      </a:cubicBezTo>
                      <a:close/>
                      <a:moveTo>
                        <a:pt x="1397674" y="293503"/>
                      </a:moveTo>
                      <a:cubicBezTo>
                        <a:pt x="1388298" y="293503"/>
                        <a:pt x="1380532" y="296645"/>
                        <a:pt x="1374380" y="302928"/>
                      </a:cubicBezTo>
                      <a:cubicBezTo>
                        <a:pt x="1368226" y="309212"/>
                        <a:pt x="1364434" y="318213"/>
                        <a:pt x="1363000" y="329934"/>
                      </a:cubicBezTo>
                      <a:lnTo>
                        <a:pt x="1427266" y="329934"/>
                      </a:lnTo>
                      <a:cubicBezTo>
                        <a:pt x="1426876" y="318409"/>
                        <a:pt x="1424108" y="309456"/>
                        <a:pt x="1418964" y="303075"/>
                      </a:cubicBezTo>
                      <a:cubicBezTo>
                        <a:pt x="1413822" y="296694"/>
                        <a:pt x="1406724" y="293503"/>
                        <a:pt x="1397674" y="293503"/>
                      </a:cubicBezTo>
                      <a:close/>
                      <a:moveTo>
                        <a:pt x="1084520" y="293503"/>
                      </a:moveTo>
                      <a:cubicBezTo>
                        <a:pt x="1074038" y="293503"/>
                        <a:pt x="1065378" y="297524"/>
                        <a:pt x="1058540" y="305565"/>
                      </a:cubicBezTo>
                      <a:cubicBezTo>
                        <a:pt x="1051704" y="313607"/>
                        <a:pt x="1048286" y="324659"/>
                        <a:pt x="1048286" y="338724"/>
                      </a:cubicBezTo>
                      <a:cubicBezTo>
                        <a:pt x="1048286" y="352527"/>
                        <a:pt x="1051362" y="363190"/>
                        <a:pt x="1057516" y="370710"/>
                      </a:cubicBezTo>
                      <a:cubicBezTo>
                        <a:pt x="1063668" y="378231"/>
                        <a:pt x="1071596" y="381991"/>
                        <a:pt x="1081298" y="381991"/>
                      </a:cubicBezTo>
                      <a:cubicBezTo>
                        <a:pt x="1092692" y="381991"/>
                        <a:pt x="1101514" y="378458"/>
                        <a:pt x="1107766" y="371394"/>
                      </a:cubicBezTo>
                      <a:cubicBezTo>
                        <a:pt x="1114016" y="364329"/>
                        <a:pt x="1117142" y="355718"/>
                        <a:pt x="1117142" y="345560"/>
                      </a:cubicBezTo>
                      <a:lnTo>
                        <a:pt x="1117142" y="326906"/>
                      </a:lnTo>
                      <a:cubicBezTo>
                        <a:pt x="1117142" y="317595"/>
                        <a:pt x="1114196" y="309700"/>
                        <a:pt x="1108302" y="303221"/>
                      </a:cubicBezTo>
                      <a:cubicBezTo>
                        <a:pt x="1102410" y="296743"/>
                        <a:pt x="1094482" y="293503"/>
                        <a:pt x="1084520" y="293503"/>
                      </a:cubicBezTo>
                      <a:close/>
                      <a:moveTo>
                        <a:pt x="921424" y="293503"/>
                      </a:moveTo>
                      <a:cubicBezTo>
                        <a:pt x="912048" y="293503"/>
                        <a:pt x="904282" y="296645"/>
                        <a:pt x="898130" y="302928"/>
                      </a:cubicBezTo>
                      <a:cubicBezTo>
                        <a:pt x="891976" y="309212"/>
                        <a:pt x="888184" y="318213"/>
                        <a:pt x="886752" y="329934"/>
                      </a:cubicBezTo>
                      <a:lnTo>
                        <a:pt x="951016" y="329934"/>
                      </a:lnTo>
                      <a:cubicBezTo>
                        <a:pt x="950626" y="318409"/>
                        <a:pt x="947858" y="309456"/>
                        <a:pt x="942716" y="303075"/>
                      </a:cubicBezTo>
                      <a:cubicBezTo>
                        <a:pt x="937572" y="296694"/>
                        <a:pt x="930474" y="293503"/>
                        <a:pt x="921424" y="293503"/>
                      </a:cubicBezTo>
                      <a:close/>
                      <a:moveTo>
                        <a:pt x="815522" y="293503"/>
                      </a:moveTo>
                      <a:cubicBezTo>
                        <a:pt x="803868" y="293503"/>
                        <a:pt x="794850" y="297410"/>
                        <a:pt x="788468" y="305223"/>
                      </a:cubicBezTo>
                      <a:cubicBezTo>
                        <a:pt x="782088" y="313037"/>
                        <a:pt x="778898" y="322218"/>
                        <a:pt x="778898" y="332766"/>
                      </a:cubicBezTo>
                      <a:lnTo>
                        <a:pt x="778898" y="345365"/>
                      </a:lnTo>
                      <a:cubicBezTo>
                        <a:pt x="778898" y="355392"/>
                        <a:pt x="782056" y="364004"/>
                        <a:pt x="788372" y="371198"/>
                      </a:cubicBezTo>
                      <a:cubicBezTo>
                        <a:pt x="794686" y="378393"/>
                        <a:pt x="802988" y="381991"/>
                        <a:pt x="813276" y="381991"/>
                      </a:cubicBezTo>
                      <a:cubicBezTo>
                        <a:pt x="823500" y="381991"/>
                        <a:pt x="831800" y="377612"/>
                        <a:pt x="838182" y="368854"/>
                      </a:cubicBezTo>
                      <a:cubicBezTo>
                        <a:pt x="844562" y="360097"/>
                        <a:pt x="847754" y="348588"/>
                        <a:pt x="847754" y="334329"/>
                      </a:cubicBezTo>
                      <a:cubicBezTo>
                        <a:pt x="847754" y="321827"/>
                        <a:pt x="844824" y="311897"/>
                        <a:pt x="838964" y="304540"/>
                      </a:cubicBezTo>
                      <a:cubicBezTo>
                        <a:pt x="833104" y="297182"/>
                        <a:pt x="825290" y="293503"/>
                        <a:pt x="815522" y="293503"/>
                      </a:cubicBezTo>
                      <a:close/>
                      <a:moveTo>
                        <a:pt x="1251148" y="287741"/>
                      </a:moveTo>
                      <a:lnTo>
                        <a:pt x="1261208" y="287741"/>
                      </a:lnTo>
                      <a:lnTo>
                        <a:pt x="1290996" y="367341"/>
                      </a:lnTo>
                      <a:cubicBezTo>
                        <a:pt x="1292428" y="371182"/>
                        <a:pt x="1293438" y="374666"/>
                        <a:pt x="1294024" y="377791"/>
                      </a:cubicBezTo>
                      <a:lnTo>
                        <a:pt x="1294414" y="377791"/>
                      </a:lnTo>
                      <a:cubicBezTo>
                        <a:pt x="1295260" y="373689"/>
                        <a:pt x="1296206" y="370336"/>
                        <a:pt x="1297246" y="367731"/>
                      </a:cubicBezTo>
                      <a:lnTo>
                        <a:pt x="1328012" y="287741"/>
                      </a:lnTo>
                      <a:lnTo>
                        <a:pt x="1337780" y="287741"/>
                      </a:lnTo>
                      <a:lnTo>
                        <a:pt x="1298028" y="387753"/>
                      </a:lnTo>
                      <a:lnTo>
                        <a:pt x="1289824" y="387753"/>
                      </a:lnTo>
                      <a:close/>
                      <a:moveTo>
                        <a:pt x="1227112" y="287741"/>
                      </a:moveTo>
                      <a:lnTo>
                        <a:pt x="1236098" y="287741"/>
                      </a:lnTo>
                      <a:lnTo>
                        <a:pt x="1236098" y="387753"/>
                      </a:lnTo>
                      <a:lnTo>
                        <a:pt x="1227112" y="387753"/>
                      </a:lnTo>
                      <a:close/>
                      <a:moveTo>
                        <a:pt x="1502448" y="285787"/>
                      </a:moveTo>
                      <a:cubicBezTo>
                        <a:pt x="1506160" y="285787"/>
                        <a:pt x="1509480" y="286373"/>
                        <a:pt x="1512410" y="287545"/>
                      </a:cubicBezTo>
                      <a:lnTo>
                        <a:pt x="1512410" y="297117"/>
                      </a:lnTo>
                      <a:cubicBezTo>
                        <a:pt x="1509416" y="294968"/>
                        <a:pt x="1505900" y="293894"/>
                        <a:pt x="1501862" y="293894"/>
                      </a:cubicBezTo>
                      <a:cubicBezTo>
                        <a:pt x="1493984" y="293894"/>
                        <a:pt x="1487374" y="297963"/>
                        <a:pt x="1482036" y="306102"/>
                      </a:cubicBezTo>
                      <a:cubicBezTo>
                        <a:pt x="1476696" y="314241"/>
                        <a:pt x="1474026" y="325799"/>
                        <a:pt x="1474026" y="340775"/>
                      </a:cubicBezTo>
                      <a:lnTo>
                        <a:pt x="1474026" y="387753"/>
                      </a:lnTo>
                      <a:lnTo>
                        <a:pt x="1465236" y="387753"/>
                      </a:lnTo>
                      <a:lnTo>
                        <a:pt x="1465236" y="287741"/>
                      </a:lnTo>
                      <a:lnTo>
                        <a:pt x="1474026" y="287741"/>
                      </a:lnTo>
                      <a:lnTo>
                        <a:pt x="1474026" y="309911"/>
                      </a:lnTo>
                      <a:lnTo>
                        <a:pt x="1474418" y="309911"/>
                      </a:lnTo>
                      <a:cubicBezTo>
                        <a:pt x="1476696" y="302293"/>
                        <a:pt x="1480310" y="296368"/>
                        <a:pt x="1485258" y="292136"/>
                      </a:cubicBezTo>
                      <a:cubicBezTo>
                        <a:pt x="1490208" y="287904"/>
                        <a:pt x="1495938" y="285787"/>
                        <a:pt x="1502448" y="285787"/>
                      </a:cubicBezTo>
                      <a:close/>
                      <a:moveTo>
                        <a:pt x="1197648" y="285787"/>
                      </a:moveTo>
                      <a:cubicBezTo>
                        <a:pt x="1201360" y="285787"/>
                        <a:pt x="1204680" y="286373"/>
                        <a:pt x="1207610" y="287545"/>
                      </a:cubicBezTo>
                      <a:lnTo>
                        <a:pt x="1207610" y="297117"/>
                      </a:lnTo>
                      <a:cubicBezTo>
                        <a:pt x="1204616" y="294968"/>
                        <a:pt x="1201100" y="293894"/>
                        <a:pt x="1197062" y="293894"/>
                      </a:cubicBezTo>
                      <a:cubicBezTo>
                        <a:pt x="1189184" y="293894"/>
                        <a:pt x="1182574" y="297963"/>
                        <a:pt x="1177236" y="306102"/>
                      </a:cubicBezTo>
                      <a:cubicBezTo>
                        <a:pt x="1171896" y="314241"/>
                        <a:pt x="1169226" y="325799"/>
                        <a:pt x="1169226" y="340775"/>
                      </a:cubicBezTo>
                      <a:lnTo>
                        <a:pt x="1169226" y="387753"/>
                      </a:lnTo>
                      <a:lnTo>
                        <a:pt x="1160436" y="387753"/>
                      </a:lnTo>
                      <a:lnTo>
                        <a:pt x="1160436" y="287741"/>
                      </a:lnTo>
                      <a:lnTo>
                        <a:pt x="1169226" y="287741"/>
                      </a:lnTo>
                      <a:lnTo>
                        <a:pt x="1169226" y="309911"/>
                      </a:lnTo>
                      <a:lnTo>
                        <a:pt x="1169618" y="309911"/>
                      </a:lnTo>
                      <a:cubicBezTo>
                        <a:pt x="1171896" y="302293"/>
                        <a:pt x="1175510" y="296368"/>
                        <a:pt x="1180458" y="292136"/>
                      </a:cubicBezTo>
                      <a:cubicBezTo>
                        <a:pt x="1185408" y="287904"/>
                        <a:pt x="1191138" y="285787"/>
                        <a:pt x="1197648" y="285787"/>
                      </a:cubicBezTo>
                      <a:close/>
                      <a:moveTo>
                        <a:pt x="1778530" y="285299"/>
                      </a:moveTo>
                      <a:cubicBezTo>
                        <a:pt x="1787124" y="285299"/>
                        <a:pt x="1794482" y="287057"/>
                        <a:pt x="1800602" y="290573"/>
                      </a:cubicBezTo>
                      <a:lnTo>
                        <a:pt x="1800602" y="300731"/>
                      </a:lnTo>
                      <a:cubicBezTo>
                        <a:pt x="1793180" y="295912"/>
                        <a:pt x="1785496" y="293503"/>
                        <a:pt x="1777552" y="293503"/>
                      </a:cubicBezTo>
                      <a:cubicBezTo>
                        <a:pt x="1770976" y="293503"/>
                        <a:pt x="1765670" y="295212"/>
                        <a:pt x="1761632" y="298631"/>
                      </a:cubicBezTo>
                      <a:cubicBezTo>
                        <a:pt x="1757596" y="302049"/>
                        <a:pt x="1755578" y="306493"/>
                        <a:pt x="1755578" y="311963"/>
                      </a:cubicBezTo>
                      <a:cubicBezTo>
                        <a:pt x="1755578" y="316716"/>
                        <a:pt x="1756846" y="320574"/>
                        <a:pt x="1759386" y="323536"/>
                      </a:cubicBezTo>
                      <a:cubicBezTo>
                        <a:pt x="1761926" y="326499"/>
                        <a:pt x="1767526" y="329901"/>
                        <a:pt x="1776186" y="333743"/>
                      </a:cubicBezTo>
                      <a:cubicBezTo>
                        <a:pt x="1786604" y="338431"/>
                        <a:pt x="1793766" y="342777"/>
                        <a:pt x="1797672" y="346781"/>
                      </a:cubicBezTo>
                      <a:cubicBezTo>
                        <a:pt x="1801578" y="350786"/>
                        <a:pt x="1803532" y="356109"/>
                        <a:pt x="1803532" y="362750"/>
                      </a:cubicBezTo>
                      <a:cubicBezTo>
                        <a:pt x="1803532" y="370694"/>
                        <a:pt x="1800554" y="377254"/>
                        <a:pt x="1794596" y="382430"/>
                      </a:cubicBezTo>
                      <a:cubicBezTo>
                        <a:pt x="1788638" y="387607"/>
                        <a:pt x="1780418" y="390195"/>
                        <a:pt x="1769934" y="390195"/>
                      </a:cubicBezTo>
                      <a:cubicBezTo>
                        <a:pt x="1760298" y="390195"/>
                        <a:pt x="1752256" y="387916"/>
                        <a:pt x="1745810" y="383358"/>
                      </a:cubicBezTo>
                      <a:lnTo>
                        <a:pt x="1745810" y="372517"/>
                      </a:lnTo>
                      <a:cubicBezTo>
                        <a:pt x="1749196" y="375447"/>
                        <a:pt x="1753298" y="377758"/>
                        <a:pt x="1758116" y="379451"/>
                      </a:cubicBezTo>
                      <a:cubicBezTo>
                        <a:pt x="1762934" y="381144"/>
                        <a:pt x="1767102" y="381991"/>
                        <a:pt x="1770618" y="381991"/>
                      </a:cubicBezTo>
                      <a:cubicBezTo>
                        <a:pt x="1786310" y="381991"/>
                        <a:pt x="1794156" y="375577"/>
                        <a:pt x="1794156" y="362750"/>
                      </a:cubicBezTo>
                      <a:cubicBezTo>
                        <a:pt x="1794156" y="358322"/>
                        <a:pt x="1792430" y="354546"/>
                        <a:pt x="1788980" y="351421"/>
                      </a:cubicBezTo>
                      <a:cubicBezTo>
                        <a:pt x="1785528" y="348295"/>
                        <a:pt x="1779930" y="345072"/>
                        <a:pt x="1772180" y="341751"/>
                      </a:cubicBezTo>
                      <a:cubicBezTo>
                        <a:pt x="1762610" y="337584"/>
                        <a:pt x="1755886" y="333271"/>
                        <a:pt x="1752012" y="328810"/>
                      </a:cubicBezTo>
                      <a:cubicBezTo>
                        <a:pt x="1748138" y="324350"/>
                        <a:pt x="1746200" y="318930"/>
                        <a:pt x="1746200" y="312549"/>
                      </a:cubicBezTo>
                      <a:cubicBezTo>
                        <a:pt x="1746200" y="304409"/>
                        <a:pt x="1749310" y="297833"/>
                        <a:pt x="1755528" y="292819"/>
                      </a:cubicBezTo>
                      <a:cubicBezTo>
                        <a:pt x="1761746" y="287806"/>
                        <a:pt x="1769414" y="285299"/>
                        <a:pt x="1778530" y="285299"/>
                      </a:cubicBezTo>
                      <a:close/>
                      <a:moveTo>
                        <a:pt x="1702330" y="285299"/>
                      </a:moveTo>
                      <a:cubicBezTo>
                        <a:pt x="1710924" y="285299"/>
                        <a:pt x="1718282" y="287057"/>
                        <a:pt x="1724402" y="290573"/>
                      </a:cubicBezTo>
                      <a:lnTo>
                        <a:pt x="1724402" y="300731"/>
                      </a:lnTo>
                      <a:cubicBezTo>
                        <a:pt x="1716980" y="295912"/>
                        <a:pt x="1709296" y="293503"/>
                        <a:pt x="1701352" y="293503"/>
                      </a:cubicBezTo>
                      <a:cubicBezTo>
                        <a:pt x="1694776" y="293503"/>
                        <a:pt x="1689470" y="295212"/>
                        <a:pt x="1685432" y="298631"/>
                      </a:cubicBezTo>
                      <a:cubicBezTo>
                        <a:pt x="1681396" y="302049"/>
                        <a:pt x="1679378" y="306493"/>
                        <a:pt x="1679378" y="311963"/>
                      </a:cubicBezTo>
                      <a:cubicBezTo>
                        <a:pt x="1679378" y="316716"/>
                        <a:pt x="1680646" y="320574"/>
                        <a:pt x="1683186" y="323536"/>
                      </a:cubicBezTo>
                      <a:cubicBezTo>
                        <a:pt x="1685726" y="326499"/>
                        <a:pt x="1691326" y="329901"/>
                        <a:pt x="1699986" y="333743"/>
                      </a:cubicBezTo>
                      <a:cubicBezTo>
                        <a:pt x="1710404" y="338431"/>
                        <a:pt x="1717566" y="342777"/>
                        <a:pt x="1721472" y="346781"/>
                      </a:cubicBezTo>
                      <a:cubicBezTo>
                        <a:pt x="1725378" y="350786"/>
                        <a:pt x="1727332" y="356109"/>
                        <a:pt x="1727332" y="362750"/>
                      </a:cubicBezTo>
                      <a:cubicBezTo>
                        <a:pt x="1727332" y="370694"/>
                        <a:pt x="1724354" y="377254"/>
                        <a:pt x="1718396" y="382430"/>
                      </a:cubicBezTo>
                      <a:cubicBezTo>
                        <a:pt x="1712438" y="387607"/>
                        <a:pt x="1704218" y="390195"/>
                        <a:pt x="1693734" y="390195"/>
                      </a:cubicBezTo>
                      <a:cubicBezTo>
                        <a:pt x="1684098" y="390195"/>
                        <a:pt x="1676056" y="387916"/>
                        <a:pt x="1669610" y="383358"/>
                      </a:cubicBezTo>
                      <a:lnTo>
                        <a:pt x="1669610" y="372517"/>
                      </a:lnTo>
                      <a:cubicBezTo>
                        <a:pt x="1672996" y="375447"/>
                        <a:pt x="1677098" y="377758"/>
                        <a:pt x="1681916" y="379451"/>
                      </a:cubicBezTo>
                      <a:cubicBezTo>
                        <a:pt x="1686734" y="381144"/>
                        <a:pt x="1690902" y="381991"/>
                        <a:pt x="1694418" y="381991"/>
                      </a:cubicBezTo>
                      <a:cubicBezTo>
                        <a:pt x="1710110" y="381991"/>
                        <a:pt x="1717956" y="375577"/>
                        <a:pt x="1717956" y="362750"/>
                      </a:cubicBezTo>
                      <a:cubicBezTo>
                        <a:pt x="1717956" y="358322"/>
                        <a:pt x="1716230" y="354546"/>
                        <a:pt x="1712780" y="351421"/>
                      </a:cubicBezTo>
                      <a:cubicBezTo>
                        <a:pt x="1709328" y="348295"/>
                        <a:pt x="1703730" y="345072"/>
                        <a:pt x="1695980" y="341751"/>
                      </a:cubicBezTo>
                      <a:cubicBezTo>
                        <a:pt x="1686410" y="337584"/>
                        <a:pt x="1679686" y="333271"/>
                        <a:pt x="1675812" y="328810"/>
                      </a:cubicBezTo>
                      <a:cubicBezTo>
                        <a:pt x="1671938" y="324350"/>
                        <a:pt x="1670000" y="318930"/>
                        <a:pt x="1670000" y="312549"/>
                      </a:cubicBezTo>
                      <a:cubicBezTo>
                        <a:pt x="1670000" y="304409"/>
                        <a:pt x="1673110" y="297833"/>
                        <a:pt x="1679328" y="292819"/>
                      </a:cubicBezTo>
                      <a:cubicBezTo>
                        <a:pt x="1685546" y="287806"/>
                        <a:pt x="1693214" y="285299"/>
                        <a:pt x="1702330" y="285299"/>
                      </a:cubicBezTo>
                      <a:close/>
                      <a:moveTo>
                        <a:pt x="1607614" y="285299"/>
                      </a:moveTo>
                      <a:cubicBezTo>
                        <a:pt x="1620050" y="285299"/>
                        <a:pt x="1629590" y="289662"/>
                        <a:pt x="1636230" y="298387"/>
                      </a:cubicBezTo>
                      <a:cubicBezTo>
                        <a:pt x="1642872" y="307112"/>
                        <a:pt x="1646192" y="319027"/>
                        <a:pt x="1646192" y="334133"/>
                      </a:cubicBezTo>
                      <a:lnTo>
                        <a:pt x="1646192" y="338138"/>
                      </a:lnTo>
                      <a:lnTo>
                        <a:pt x="1572160" y="338138"/>
                      </a:lnTo>
                      <a:cubicBezTo>
                        <a:pt x="1572160" y="351876"/>
                        <a:pt x="1575334" y="362620"/>
                        <a:pt x="1581684" y="370368"/>
                      </a:cubicBezTo>
                      <a:cubicBezTo>
                        <a:pt x="1588032" y="378117"/>
                        <a:pt x="1596740" y="381991"/>
                        <a:pt x="1607810" y="381991"/>
                      </a:cubicBezTo>
                      <a:cubicBezTo>
                        <a:pt x="1619008" y="381991"/>
                        <a:pt x="1629948" y="377856"/>
                        <a:pt x="1640626" y="369587"/>
                      </a:cubicBezTo>
                      <a:lnTo>
                        <a:pt x="1640626" y="379158"/>
                      </a:lnTo>
                      <a:cubicBezTo>
                        <a:pt x="1630274" y="386516"/>
                        <a:pt x="1618716" y="390195"/>
                        <a:pt x="1605954" y="390195"/>
                      </a:cubicBezTo>
                      <a:cubicBezTo>
                        <a:pt x="1593062" y="390195"/>
                        <a:pt x="1582644" y="385572"/>
                        <a:pt x="1574700" y="376326"/>
                      </a:cubicBezTo>
                      <a:cubicBezTo>
                        <a:pt x="1566756" y="367080"/>
                        <a:pt x="1562784" y="354025"/>
                        <a:pt x="1562784" y="337161"/>
                      </a:cubicBezTo>
                      <a:cubicBezTo>
                        <a:pt x="1562784" y="322576"/>
                        <a:pt x="1566936" y="310286"/>
                        <a:pt x="1575236" y="300291"/>
                      </a:cubicBezTo>
                      <a:cubicBezTo>
                        <a:pt x="1583538" y="290296"/>
                        <a:pt x="1594332" y="285299"/>
                        <a:pt x="1607614" y="285299"/>
                      </a:cubicBezTo>
                      <a:close/>
                      <a:moveTo>
                        <a:pt x="1398064" y="285299"/>
                      </a:moveTo>
                      <a:cubicBezTo>
                        <a:pt x="1410500" y="285299"/>
                        <a:pt x="1420040" y="289662"/>
                        <a:pt x="1426680" y="298387"/>
                      </a:cubicBezTo>
                      <a:cubicBezTo>
                        <a:pt x="1433322" y="307112"/>
                        <a:pt x="1436644" y="319027"/>
                        <a:pt x="1436644" y="334133"/>
                      </a:cubicBezTo>
                      <a:lnTo>
                        <a:pt x="1436644" y="338138"/>
                      </a:lnTo>
                      <a:lnTo>
                        <a:pt x="1362610" y="338138"/>
                      </a:lnTo>
                      <a:cubicBezTo>
                        <a:pt x="1362610" y="351876"/>
                        <a:pt x="1365784" y="362620"/>
                        <a:pt x="1372132" y="370368"/>
                      </a:cubicBezTo>
                      <a:cubicBezTo>
                        <a:pt x="1378482" y="378117"/>
                        <a:pt x="1387190" y="381991"/>
                        <a:pt x="1398260" y="381991"/>
                      </a:cubicBezTo>
                      <a:cubicBezTo>
                        <a:pt x="1409458" y="381991"/>
                        <a:pt x="1420398" y="377856"/>
                        <a:pt x="1431076" y="369587"/>
                      </a:cubicBezTo>
                      <a:lnTo>
                        <a:pt x="1431076" y="379158"/>
                      </a:lnTo>
                      <a:cubicBezTo>
                        <a:pt x="1420724" y="386516"/>
                        <a:pt x="1409166" y="390195"/>
                        <a:pt x="1396404" y="390195"/>
                      </a:cubicBezTo>
                      <a:cubicBezTo>
                        <a:pt x="1383512" y="390195"/>
                        <a:pt x="1373094" y="385572"/>
                        <a:pt x="1365150" y="376326"/>
                      </a:cubicBezTo>
                      <a:cubicBezTo>
                        <a:pt x="1357206" y="367080"/>
                        <a:pt x="1353234" y="354025"/>
                        <a:pt x="1353234" y="337161"/>
                      </a:cubicBezTo>
                      <a:cubicBezTo>
                        <a:pt x="1353234" y="322576"/>
                        <a:pt x="1357386" y="310286"/>
                        <a:pt x="1365686" y="300291"/>
                      </a:cubicBezTo>
                      <a:cubicBezTo>
                        <a:pt x="1373988" y="290296"/>
                        <a:pt x="1384782" y="285299"/>
                        <a:pt x="1398064" y="285299"/>
                      </a:cubicBezTo>
                      <a:close/>
                      <a:moveTo>
                        <a:pt x="921814" y="285299"/>
                      </a:moveTo>
                      <a:cubicBezTo>
                        <a:pt x="934250" y="285299"/>
                        <a:pt x="943790" y="289662"/>
                        <a:pt x="950430" y="298387"/>
                      </a:cubicBezTo>
                      <a:cubicBezTo>
                        <a:pt x="957072" y="307112"/>
                        <a:pt x="960392" y="319027"/>
                        <a:pt x="960392" y="334133"/>
                      </a:cubicBezTo>
                      <a:lnTo>
                        <a:pt x="960392" y="338138"/>
                      </a:lnTo>
                      <a:lnTo>
                        <a:pt x="886360" y="338138"/>
                      </a:lnTo>
                      <a:cubicBezTo>
                        <a:pt x="886360" y="351876"/>
                        <a:pt x="889534" y="362620"/>
                        <a:pt x="895884" y="370368"/>
                      </a:cubicBezTo>
                      <a:cubicBezTo>
                        <a:pt x="902232" y="378117"/>
                        <a:pt x="910940" y="381991"/>
                        <a:pt x="922010" y="381991"/>
                      </a:cubicBezTo>
                      <a:cubicBezTo>
                        <a:pt x="933208" y="381991"/>
                        <a:pt x="944148" y="377856"/>
                        <a:pt x="954826" y="369587"/>
                      </a:cubicBezTo>
                      <a:lnTo>
                        <a:pt x="954826" y="379158"/>
                      </a:lnTo>
                      <a:cubicBezTo>
                        <a:pt x="944474" y="386516"/>
                        <a:pt x="932916" y="390195"/>
                        <a:pt x="920154" y="390195"/>
                      </a:cubicBezTo>
                      <a:cubicBezTo>
                        <a:pt x="907262" y="390195"/>
                        <a:pt x="896844" y="385572"/>
                        <a:pt x="888900" y="376326"/>
                      </a:cubicBezTo>
                      <a:cubicBezTo>
                        <a:pt x="880956" y="367080"/>
                        <a:pt x="876984" y="354025"/>
                        <a:pt x="876984" y="337161"/>
                      </a:cubicBezTo>
                      <a:cubicBezTo>
                        <a:pt x="876984" y="322576"/>
                        <a:pt x="881136" y="310286"/>
                        <a:pt x="889436" y="300291"/>
                      </a:cubicBezTo>
                      <a:cubicBezTo>
                        <a:pt x="897738" y="290296"/>
                        <a:pt x="908532" y="285299"/>
                        <a:pt x="921814" y="285299"/>
                      </a:cubicBezTo>
                      <a:close/>
                      <a:moveTo>
                        <a:pt x="1231506" y="247697"/>
                      </a:moveTo>
                      <a:cubicBezTo>
                        <a:pt x="1233526" y="247697"/>
                        <a:pt x="1235300" y="248348"/>
                        <a:pt x="1236830" y="249650"/>
                      </a:cubicBezTo>
                      <a:cubicBezTo>
                        <a:pt x="1238360" y="250952"/>
                        <a:pt x="1239124" y="252710"/>
                        <a:pt x="1239124" y="254924"/>
                      </a:cubicBezTo>
                      <a:cubicBezTo>
                        <a:pt x="1239124" y="257008"/>
                        <a:pt x="1238376" y="258798"/>
                        <a:pt x="1236878" y="260296"/>
                      </a:cubicBezTo>
                      <a:cubicBezTo>
                        <a:pt x="1235380" y="261793"/>
                        <a:pt x="1233590" y="262542"/>
                        <a:pt x="1231506" y="262542"/>
                      </a:cubicBezTo>
                      <a:cubicBezTo>
                        <a:pt x="1229554" y="262542"/>
                        <a:pt x="1227828" y="261826"/>
                        <a:pt x="1226330" y="260394"/>
                      </a:cubicBezTo>
                      <a:cubicBezTo>
                        <a:pt x="1224832" y="258961"/>
                        <a:pt x="1224084" y="257138"/>
                        <a:pt x="1224084" y="254924"/>
                      </a:cubicBezTo>
                      <a:cubicBezTo>
                        <a:pt x="1224084" y="252775"/>
                        <a:pt x="1224848" y="251034"/>
                        <a:pt x="1226380" y="249699"/>
                      </a:cubicBezTo>
                      <a:cubicBezTo>
                        <a:pt x="1227910" y="248364"/>
                        <a:pt x="1229618" y="247697"/>
                        <a:pt x="1231506" y="247697"/>
                      </a:cubicBezTo>
                      <a:close/>
                      <a:moveTo>
                        <a:pt x="1531912" y="239688"/>
                      </a:moveTo>
                      <a:lnTo>
                        <a:pt x="1540898" y="239688"/>
                      </a:lnTo>
                      <a:lnTo>
                        <a:pt x="1540898" y="387753"/>
                      </a:lnTo>
                      <a:lnTo>
                        <a:pt x="1531912" y="387753"/>
                      </a:lnTo>
                      <a:close/>
                      <a:moveTo>
                        <a:pt x="1117142" y="239688"/>
                      </a:moveTo>
                      <a:lnTo>
                        <a:pt x="1126128" y="239688"/>
                      </a:lnTo>
                      <a:lnTo>
                        <a:pt x="1126128" y="387753"/>
                      </a:lnTo>
                      <a:lnTo>
                        <a:pt x="1117142" y="387753"/>
                      </a:lnTo>
                      <a:lnTo>
                        <a:pt x="1117142" y="369587"/>
                      </a:lnTo>
                      <a:lnTo>
                        <a:pt x="1116752" y="369587"/>
                      </a:lnTo>
                      <a:cubicBezTo>
                        <a:pt x="1113496" y="375903"/>
                        <a:pt x="1108676" y="380916"/>
                        <a:pt x="1102296" y="384628"/>
                      </a:cubicBezTo>
                      <a:cubicBezTo>
                        <a:pt x="1095916" y="388339"/>
                        <a:pt x="1088720" y="390195"/>
                        <a:pt x="1080712" y="390195"/>
                      </a:cubicBezTo>
                      <a:cubicBezTo>
                        <a:pt x="1068406" y="390195"/>
                        <a:pt x="1058362" y="385702"/>
                        <a:pt x="1050580" y="376717"/>
                      </a:cubicBezTo>
                      <a:cubicBezTo>
                        <a:pt x="1042800" y="367731"/>
                        <a:pt x="1038910" y="355327"/>
                        <a:pt x="1038910" y="339505"/>
                      </a:cubicBezTo>
                      <a:cubicBezTo>
                        <a:pt x="1038910" y="323357"/>
                        <a:pt x="1043158" y="310286"/>
                        <a:pt x="1051654" y="300291"/>
                      </a:cubicBezTo>
                      <a:cubicBezTo>
                        <a:pt x="1060152" y="290296"/>
                        <a:pt x="1071172" y="285299"/>
                        <a:pt x="1084716" y="285299"/>
                      </a:cubicBezTo>
                      <a:cubicBezTo>
                        <a:pt x="1099692" y="285299"/>
                        <a:pt x="1110370" y="291452"/>
                        <a:pt x="1116752" y="303758"/>
                      </a:cubicBezTo>
                      <a:lnTo>
                        <a:pt x="1117142" y="303758"/>
                      </a:lnTo>
                      <a:close/>
                      <a:moveTo>
                        <a:pt x="769912" y="239688"/>
                      </a:moveTo>
                      <a:lnTo>
                        <a:pt x="778898" y="239688"/>
                      </a:lnTo>
                      <a:lnTo>
                        <a:pt x="778898" y="308349"/>
                      </a:lnTo>
                      <a:lnTo>
                        <a:pt x="779288" y="308349"/>
                      </a:lnTo>
                      <a:cubicBezTo>
                        <a:pt x="782868" y="300991"/>
                        <a:pt x="787996" y="295310"/>
                        <a:pt x="794670" y="291306"/>
                      </a:cubicBezTo>
                      <a:cubicBezTo>
                        <a:pt x="801344" y="287301"/>
                        <a:pt x="808686" y="285299"/>
                        <a:pt x="816694" y="285299"/>
                      </a:cubicBezTo>
                      <a:cubicBezTo>
                        <a:pt x="829392" y="285299"/>
                        <a:pt x="839306" y="289678"/>
                        <a:pt x="846434" y="298435"/>
                      </a:cubicBezTo>
                      <a:cubicBezTo>
                        <a:pt x="853564" y="307193"/>
                        <a:pt x="857130" y="319092"/>
                        <a:pt x="857130" y="334133"/>
                      </a:cubicBezTo>
                      <a:cubicBezTo>
                        <a:pt x="857130" y="350867"/>
                        <a:pt x="852994" y="364394"/>
                        <a:pt x="844726" y="374714"/>
                      </a:cubicBezTo>
                      <a:cubicBezTo>
                        <a:pt x="836456" y="385035"/>
                        <a:pt x="825712" y="390195"/>
                        <a:pt x="812496" y="390195"/>
                      </a:cubicBezTo>
                      <a:cubicBezTo>
                        <a:pt x="797520" y="390195"/>
                        <a:pt x="786450" y="383456"/>
                        <a:pt x="779288" y="369978"/>
                      </a:cubicBezTo>
                      <a:lnTo>
                        <a:pt x="778898" y="369978"/>
                      </a:lnTo>
                      <a:lnTo>
                        <a:pt x="778898" y="387753"/>
                      </a:lnTo>
                      <a:lnTo>
                        <a:pt x="769912" y="387753"/>
                      </a:lnTo>
                      <a:close/>
                      <a:moveTo>
                        <a:pt x="2058410" y="95813"/>
                      </a:moveTo>
                      <a:lnTo>
                        <a:pt x="2030868" y="99817"/>
                      </a:lnTo>
                      <a:cubicBezTo>
                        <a:pt x="2020384" y="101315"/>
                        <a:pt x="2013026" y="103740"/>
                        <a:pt x="2008794" y="107094"/>
                      </a:cubicBezTo>
                      <a:cubicBezTo>
                        <a:pt x="2004562" y="110447"/>
                        <a:pt x="2002446" y="115900"/>
                        <a:pt x="2002446" y="123453"/>
                      </a:cubicBezTo>
                      <a:cubicBezTo>
                        <a:pt x="2002446" y="129378"/>
                        <a:pt x="2004416" y="134262"/>
                        <a:pt x="2008354" y="138103"/>
                      </a:cubicBezTo>
                      <a:cubicBezTo>
                        <a:pt x="2012294" y="141945"/>
                        <a:pt x="2017780" y="143866"/>
                        <a:pt x="2024812" y="143866"/>
                      </a:cubicBezTo>
                      <a:cubicBezTo>
                        <a:pt x="2034448" y="143866"/>
                        <a:pt x="2042458" y="140301"/>
                        <a:pt x="2048838" y="133171"/>
                      </a:cubicBezTo>
                      <a:cubicBezTo>
                        <a:pt x="2055220" y="126041"/>
                        <a:pt x="2058410" y="116844"/>
                        <a:pt x="2058410" y="105580"/>
                      </a:cubicBezTo>
                      <a:close/>
                      <a:moveTo>
                        <a:pt x="1001134" y="95813"/>
                      </a:moveTo>
                      <a:lnTo>
                        <a:pt x="973592" y="99817"/>
                      </a:lnTo>
                      <a:cubicBezTo>
                        <a:pt x="963110" y="101315"/>
                        <a:pt x="955752" y="103740"/>
                        <a:pt x="951520" y="107094"/>
                      </a:cubicBezTo>
                      <a:cubicBezTo>
                        <a:pt x="947288" y="110447"/>
                        <a:pt x="945170" y="115900"/>
                        <a:pt x="945170" y="123453"/>
                      </a:cubicBezTo>
                      <a:cubicBezTo>
                        <a:pt x="945170" y="129378"/>
                        <a:pt x="947140" y="134262"/>
                        <a:pt x="951080" y="138103"/>
                      </a:cubicBezTo>
                      <a:cubicBezTo>
                        <a:pt x="955020" y="141945"/>
                        <a:pt x="960504" y="143866"/>
                        <a:pt x="967536" y="143866"/>
                      </a:cubicBezTo>
                      <a:cubicBezTo>
                        <a:pt x="977174" y="143866"/>
                        <a:pt x="985182" y="140301"/>
                        <a:pt x="991564" y="133171"/>
                      </a:cubicBezTo>
                      <a:cubicBezTo>
                        <a:pt x="997944" y="126041"/>
                        <a:pt x="1001134" y="116844"/>
                        <a:pt x="1001134" y="105580"/>
                      </a:cubicBezTo>
                      <a:close/>
                      <a:moveTo>
                        <a:pt x="677284" y="95813"/>
                      </a:moveTo>
                      <a:lnTo>
                        <a:pt x="649742" y="99817"/>
                      </a:lnTo>
                      <a:cubicBezTo>
                        <a:pt x="639260" y="101315"/>
                        <a:pt x="631902" y="103740"/>
                        <a:pt x="627670" y="107094"/>
                      </a:cubicBezTo>
                      <a:cubicBezTo>
                        <a:pt x="623436" y="110447"/>
                        <a:pt x="621320" y="115900"/>
                        <a:pt x="621320" y="123453"/>
                      </a:cubicBezTo>
                      <a:cubicBezTo>
                        <a:pt x="621320" y="129378"/>
                        <a:pt x="623290" y="134262"/>
                        <a:pt x="627230" y="138103"/>
                      </a:cubicBezTo>
                      <a:cubicBezTo>
                        <a:pt x="631168" y="141945"/>
                        <a:pt x="636654" y="143866"/>
                        <a:pt x="643686" y="143866"/>
                      </a:cubicBezTo>
                      <a:cubicBezTo>
                        <a:pt x="653324" y="143866"/>
                        <a:pt x="661332" y="140301"/>
                        <a:pt x="667714" y="133171"/>
                      </a:cubicBezTo>
                      <a:cubicBezTo>
                        <a:pt x="674094" y="126041"/>
                        <a:pt x="677284" y="116844"/>
                        <a:pt x="677284" y="105580"/>
                      </a:cubicBezTo>
                      <a:close/>
                      <a:moveTo>
                        <a:pt x="281132" y="88390"/>
                      </a:moveTo>
                      <a:cubicBezTo>
                        <a:pt x="273710" y="88390"/>
                        <a:pt x="267816" y="90929"/>
                        <a:pt x="263454" y="96008"/>
                      </a:cubicBezTo>
                      <a:cubicBezTo>
                        <a:pt x="259092" y="101087"/>
                        <a:pt x="256910" y="108021"/>
                        <a:pt x="256910" y="116812"/>
                      </a:cubicBezTo>
                      <a:cubicBezTo>
                        <a:pt x="256910" y="125211"/>
                        <a:pt x="259010" y="131885"/>
                        <a:pt x="263210" y="136834"/>
                      </a:cubicBezTo>
                      <a:cubicBezTo>
                        <a:pt x="267410" y="141782"/>
                        <a:pt x="273188" y="144256"/>
                        <a:pt x="280546" y="144256"/>
                      </a:cubicBezTo>
                      <a:cubicBezTo>
                        <a:pt x="288034" y="144256"/>
                        <a:pt x="293878" y="141733"/>
                        <a:pt x="298078" y="136687"/>
                      </a:cubicBezTo>
                      <a:cubicBezTo>
                        <a:pt x="302278" y="131641"/>
                        <a:pt x="304378" y="124820"/>
                        <a:pt x="304378" y="116226"/>
                      </a:cubicBezTo>
                      <a:cubicBezTo>
                        <a:pt x="304378" y="107045"/>
                        <a:pt x="302294" y="100110"/>
                        <a:pt x="298126" y="95422"/>
                      </a:cubicBezTo>
                      <a:cubicBezTo>
                        <a:pt x="293960" y="90734"/>
                        <a:pt x="288294" y="88390"/>
                        <a:pt x="281132" y="88390"/>
                      </a:cubicBezTo>
                      <a:close/>
                      <a:moveTo>
                        <a:pt x="281328" y="80381"/>
                      </a:moveTo>
                      <a:cubicBezTo>
                        <a:pt x="291094" y="80381"/>
                        <a:pt x="298842" y="83572"/>
                        <a:pt x="304572" y="89953"/>
                      </a:cubicBezTo>
                      <a:cubicBezTo>
                        <a:pt x="310302" y="96334"/>
                        <a:pt x="313168" y="105157"/>
                        <a:pt x="313168" y="116421"/>
                      </a:cubicBezTo>
                      <a:cubicBezTo>
                        <a:pt x="313168" y="126578"/>
                        <a:pt x="310188" y="135059"/>
                        <a:pt x="304230" y="141864"/>
                      </a:cubicBezTo>
                      <a:cubicBezTo>
                        <a:pt x="298272" y="148668"/>
                        <a:pt x="290312" y="152070"/>
                        <a:pt x="280350" y="152070"/>
                      </a:cubicBezTo>
                      <a:cubicBezTo>
                        <a:pt x="270388" y="152070"/>
                        <a:pt x="262494" y="148782"/>
                        <a:pt x="256666" y="142205"/>
                      </a:cubicBezTo>
                      <a:cubicBezTo>
                        <a:pt x="250838" y="135629"/>
                        <a:pt x="247924" y="127099"/>
                        <a:pt x="247924" y="116616"/>
                      </a:cubicBezTo>
                      <a:cubicBezTo>
                        <a:pt x="247924" y="105091"/>
                        <a:pt x="251050" y="96171"/>
                        <a:pt x="257302" y="89855"/>
                      </a:cubicBezTo>
                      <a:cubicBezTo>
                        <a:pt x="263552" y="83539"/>
                        <a:pt x="271560" y="80381"/>
                        <a:pt x="281328" y="80381"/>
                      </a:cubicBezTo>
                      <a:close/>
                      <a:moveTo>
                        <a:pt x="2132270" y="55378"/>
                      </a:moveTo>
                      <a:cubicBezTo>
                        <a:pt x="2121788" y="55378"/>
                        <a:pt x="2113128" y="59399"/>
                        <a:pt x="2106290" y="67440"/>
                      </a:cubicBezTo>
                      <a:cubicBezTo>
                        <a:pt x="2099454" y="75482"/>
                        <a:pt x="2096036" y="86534"/>
                        <a:pt x="2096036" y="100599"/>
                      </a:cubicBezTo>
                      <a:cubicBezTo>
                        <a:pt x="2096036" y="114402"/>
                        <a:pt x="2099112" y="125065"/>
                        <a:pt x="2105264" y="132585"/>
                      </a:cubicBezTo>
                      <a:cubicBezTo>
                        <a:pt x="2111418" y="140106"/>
                        <a:pt x="2119346" y="143866"/>
                        <a:pt x="2129048" y="143866"/>
                      </a:cubicBezTo>
                      <a:cubicBezTo>
                        <a:pt x="2140442" y="143866"/>
                        <a:pt x="2149264" y="140333"/>
                        <a:pt x="2155516" y="133269"/>
                      </a:cubicBezTo>
                      <a:cubicBezTo>
                        <a:pt x="2161766" y="126204"/>
                        <a:pt x="2164892" y="117593"/>
                        <a:pt x="2164892" y="107435"/>
                      </a:cubicBezTo>
                      <a:lnTo>
                        <a:pt x="2164892" y="88781"/>
                      </a:lnTo>
                      <a:cubicBezTo>
                        <a:pt x="2164892" y="79470"/>
                        <a:pt x="2161946" y="71575"/>
                        <a:pt x="2156052" y="65096"/>
                      </a:cubicBezTo>
                      <a:cubicBezTo>
                        <a:pt x="2150160" y="58618"/>
                        <a:pt x="2142232" y="55378"/>
                        <a:pt x="2132270" y="55378"/>
                      </a:cubicBezTo>
                      <a:close/>
                      <a:moveTo>
                        <a:pt x="1925162" y="55378"/>
                      </a:moveTo>
                      <a:cubicBezTo>
                        <a:pt x="1913376" y="55378"/>
                        <a:pt x="1903984" y="59350"/>
                        <a:pt x="1896984" y="67294"/>
                      </a:cubicBezTo>
                      <a:cubicBezTo>
                        <a:pt x="1889986" y="75237"/>
                        <a:pt x="1886486" y="86274"/>
                        <a:pt x="1886486" y="100403"/>
                      </a:cubicBezTo>
                      <a:cubicBezTo>
                        <a:pt x="1886486" y="113491"/>
                        <a:pt x="1889904" y="124007"/>
                        <a:pt x="1896740" y="131950"/>
                      </a:cubicBezTo>
                      <a:cubicBezTo>
                        <a:pt x="1903578" y="139894"/>
                        <a:pt x="1912920" y="143866"/>
                        <a:pt x="1924772" y="143866"/>
                      </a:cubicBezTo>
                      <a:cubicBezTo>
                        <a:pt x="1936818" y="143866"/>
                        <a:pt x="1946096" y="139959"/>
                        <a:pt x="1952608" y="132146"/>
                      </a:cubicBezTo>
                      <a:cubicBezTo>
                        <a:pt x="1959118" y="124332"/>
                        <a:pt x="1962374" y="113491"/>
                        <a:pt x="1962374" y="99622"/>
                      </a:cubicBezTo>
                      <a:cubicBezTo>
                        <a:pt x="1962374" y="85362"/>
                        <a:pt x="1959134" y="74424"/>
                        <a:pt x="1952656" y="66805"/>
                      </a:cubicBezTo>
                      <a:cubicBezTo>
                        <a:pt x="1946178" y="59187"/>
                        <a:pt x="1937012" y="55378"/>
                        <a:pt x="1925162" y="55378"/>
                      </a:cubicBezTo>
                      <a:close/>
                      <a:moveTo>
                        <a:pt x="1296512" y="55378"/>
                      </a:moveTo>
                      <a:cubicBezTo>
                        <a:pt x="1284726" y="55378"/>
                        <a:pt x="1275334" y="59350"/>
                        <a:pt x="1268334" y="67294"/>
                      </a:cubicBezTo>
                      <a:cubicBezTo>
                        <a:pt x="1261336" y="75237"/>
                        <a:pt x="1257836" y="86274"/>
                        <a:pt x="1257836" y="100403"/>
                      </a:cubicBezTo>
                      <a:cubicBezTo>
                        <a:pt x="1257836" y="113491"/>
                        <a:pt x="1261254" y="124007"/>
                        <a:pt x="1268090" y="131950"/>
                      </a:cubicBezTo>
                      <a:cubicBezTo>
                        <a:pt x="1274928" y="139894"/>
                        <a:pt x="1284272" y="143866"/>
                        <a:pt x="1296122" y="143866"/>
                      </a:cubicBezTo>
                      <a:cubicBezTo>
                        <a:pt x="1308168" y="143866"/>
                        <a:pt x="1317446" y="139959"/>
                        <a:pt x="1323956" y="132146"/>
                      </a:cubicBezTo>
                      <a:cubicBezTo>
                        <a:pt x="1330468" y="124332"/>
                        <a:pt x="1333724" y="113491"/>
                        <a:pt x="1333724" y="99622"/>
                      </a:cubicBezTo>
                      <a:cubicBezTo>
                        <a:pt x="1333724" y="85362"/>
                        <a:pt x="1330484" y="74424"/>
                        <a:pt x="1324006" y="66805"/>
                      </a:cubicBezTo>
                      <a:cubicBezTo>
                        <a:pt x="1317528" y="59187"/>
                        <a:pt x="1308362" y="55378"/>
                        <a:pt x="1296512" y="55378"/>
                      </a:cubicBezTo>
                      <a:close/>
                      <a:moveTo>
                        <a:pt x="439262" y="55378"/>
                      </a:moveTo>
                      <a:cubicBezTo>
                        <a:pt x="427476" y="55378"/>
                        <a:pt x="418084" y="59350"/>
                        <a:pt x="411084" y="67294"/>
                      </a:cubicBezTo>
                      <a:cubicBezTo>
                        <a:pt x="404086" y="75237"/>
                        <a:pt x="400586" y="86274"/>
                        <a:pt x="400586" y="100403"/>
                      </a:cubicBezTo>
                      <a:cubicBezTo>
                        <a:pt x="400586" y="113491"/>
                        <a:pt x="404004" y="124007"/>
                        <a:pt x="410840" y="131950"/>
                      </a:cubicBezTo>
                      <a:cubicBezTo>
                        <a:pt x="417678" y="139894"/>
                        <a:pt x="427020" y="143866"/>
                        <a:pt x="438872" y="143866"/>
                      </a:cubicBezTo>
                      <a:cubicBezTo>
                        <a:pt x="450918" y="143866"/>
                        <a:pt x="460196" y="139959"/>
                        <a:pt x="466706" y="132146"/>
                      </a:cubicBezTo>
                      <a:cubicBezTo>
                        <a:pt x="473218" y="124332"/>
                        <a:pt x="476474" y="113491"/>
                        <a:pt x="476474" y="99622"/>
                      </a:cubicBezTo>
                      <a:cubicBezTo>
                        <a:pt x="476474" y="85362"/>
                        <a:pt x="473234" y="74424"/>
                        <a:pt x="466756" y="66805"/>
                      </a:cubicBezTo>
                      <a:cubicBezTo>
                        <a:pt x="460278" y="59187"/>
                        <a:pt x="451112" y="55378"/>
                        <a:pt x="439262" y="55378"/>
                      </a:cubicBezTo>
                      <a:close/>
                      <a:moveTo>
                        <a:pt x="2484412" y="49616"/>
                      </a:moveTo>
                      <a:lnTo>
                        <a:pt x="2493398" y="49616"/>
                      </a:lnTo>
                      <a:lnTo>
                        <a:pt x="2493398" y="149628"/>
                      </a:lnTo>
                      <a:lnTo>
                        <a:pt x="2484412" y="149628"/>
                      </a:lnTo>
                      <a:close/>
                      <a:moveTo>
                        <a:pt x="2338658" y="49616"/>
                      </a:moveTo>
                      <a:lnTo>
                        <a:pt x="2348620" y="49616"/>
                      </a:lnTo>
                      <a:lnTo>
                        <a:pt x="2371864" y="129411"/>
                      </a:lnTo>
                      <a:cubicBezTo>
                        <a:pt x="2372452" y="131494"/>
                        <a:pt x="2372906" y="134294"/>
                        <a:pt x="2373232" y="137810"/>
                      </a:cubicBezTo>
                      <a:lnTo>
                        <a:pt x="2374014" y="137810"/>
                      </a:lnTo>
                      <a:cubicBezTo>
                        <a:pt x="2374144" y="135922"/>
                        <a:pt x="2374762" y="133122"/>
                        <a:pt x="2375870" y="129411"/>
                      </a:cubicBezTo>
                      <a:lnTo>
                        <a:pt x="2401264" y="49616"/>
                      </a:lnTo>
                      <a:lnTo>
                        <a:pt x="2407416" y="49616"/>
                      </a:lnTo>
                      <a:lnTo>
                        <a:pt x="2430076" y="129411"/>
                      </a:lnTo>
                      <a:cubicBezTo>
                        <a:pt x="2430596" y="131299"/>
                        <a:pt x="2431052" y="134099"/>
                        <a:pt x="2431442" y="137810"/>
                      </a:cubicBezTo>
                      <a:lnTo>
                        <a:pt x="2432224" y="137810"/>
                      </a:lnTo>
                      <a:cubicBezTo>
                        <a:pt x="2432224" y="135922"/>
                        <a:pt x="2432778" y="133122"/>
                        <a:pt x="2433884" y="129411"/>
                      </a:cubicBezTo>
                      <a:lnTo>
                        <a:pt x="2457618" y="49616"/>
                      </a:lnTo>
                      <a:lnTo>
                        <a:pt x="2466896" y="49616"/>
                      </a:lnTo>
                      <a:lnTo>
                        <a:pt x="2435838" y="149628"/>
                      </a:lnTo>
                      <a:lnTo>
                        <a:pt x="2427438" y="149628"/>
                      </a:lnTo>
                      <a:lnTo>
                        <a:pt x="2405658" y="74228"/>
                      </a:lnTo>
                      <a:cubicBezTo>
                        <a:pt x="2405072" y="72145"/>
                        <a:pt x="2404552" y="69345"/>
                        <a:pt x="2404096" y="65829"/>
                      </a:cubicBezTo>
                      <a:lnTo>
                        <a:pt x="2403608" y="65829"/>
                      </a:lnTo>
                      <a:cubicBezTo>
                        <a:pt x="2403476" y="67326"/>
                        <a:pt x="2402826" y="70061"/>
                        <a:pt x="2401654" y="74033"/>
                      </a:cubicBezTo>
                      <a:lnTo>
                        <a:pt x="2377236" y="149628"/>
                      </a:lnTo>
                      <a:lnTo>
                        <a:pt x="2368838" y="149628"/>
                      </a:lnTo>
                      <a:close/>
                      <a:moveTo>
                        <a:pt x="1854874" y="47662"/>
                      </a:moveTo>
                      <a:cubicBezTo>
                        <a:pt x="1858584" y="47662"/>
                        <a:pt x="1861906" y="48248"/>
                        <a:pt x="1864836" y="49420"/>
                      </a:cubicBezTo>
                      <a:lnTo>
                        <a:pt x="1864836" y="58992"/>
                      </a:lnTo>
                      <a:cubicBezTo>
                        <a:pt x="1861840" y="56843"/>
                        <a:pt x="1858324" y="55769"/>
                        <a:pt x="1854288" y="55769"/>
                      </a:cubicBezTo>
                      <a:cubicBezTo>
                        <a:pt x="1846408" y="55769"/>
                        <a:pt x="1839800" y="59838"/>
                        <a:pt x="1834460" y="67977"/>
                      </a:cubicBezTo>
                      <a:cubicBezTo>
                        <a:pt x="1829122" y="76116"/>
                        <a:pt x="1826452" y="87674"/>
                        <a:pt x="1826452" y="102650"/>
                      </a:cubicBezTo>
                      <a:lnTo>
                        <a:pt x="1826452" y="149628"/>
                      </a:lnTo>
                      <a:lnTo>
                        <a:pt x="1817662" y="149628"/>
                      </a:lnTo>
                      <a:lnTo>
                        <a:pt x="1817662" y="49616"/>
                      </a:lnTo>
                      <a:lnTo>
                        <a:pt x="1826452" y="49616"/>
                      </a:lnTo>
                      <a:lnTo>
                        <a:pt x="1826452" y="71786"/>
                      </a:lnTo>
                      <a:lnTo>
                        <a:pt x="1826842" y="71786"/>
                      </a:lnTo>
                      <a:cubicBezTo>
                        <a:pt x="1829122" y="64168"/>
                        <a:pt x="1832736" y="58243"/>
                        <a:pt x="1837684" y="54011"/>
                      </a:cubicBezTo>
                      <a:cubicBezTo>
                        <a:pt x="1842632" y="49779"/>
                        <a:pt x="1848362" y="47662"/>
                        <a:pt x="1854874" y="47662"/>
                      </a:cubicBezTo>
                      <a:close/>
                      <a:moveTo>
                        <a:pt x="1073824" y="47662"/>
                      </a:moveTo>
                      <a:cubicBezTo>
                        <a:pt x="1077534" y="47662"/>
                        <a:pt x="1080856" y="48248"/>
                        <a:pt x="1083786" y="49420"/>
                      </a:cubicBezTo>
                      <a:lnTo>
                        <a:pt x="1083786" y="58992"/>
                      </a:lnTo>
                      <a:cubicBezTo>
                        <a:pt x="1080790" y="56843"/>
                        <a:pt x="1077274" y="55769"/>
                        <a:pt x="1073238" y="55769"/>
                      </a:cubicBezTo>
                      <a:cubicBezTo>
                        <a:pt x="1065358" y="55769"/>
                        <a:pt x="1058750" y="59838"/>
                        <a:pt x="1053410" y="67977"/>
                      </a:cubicBezTo>
                      <a:cubicBezTo>
                        <a:pt x="1048072" y="76116"/>
                        <a:pt x="1045402" y="87674"/>
                        <a:pt x="1045402" y="102650"/>
                      </a:cubicBezTo>
                      <a:lnTo>
                        <a:pt x="1045402" y="149628"/>
                      </a:lnTo>
                      <a:lnTo>
                        <a:pt x="1036612" y="149628"/>
                      </a:lnTo>
                      <a:lnTo>
                        <a:pt x="1036612" y="49616"/>
                      </a:lnTo>
                      <a:lnTo>
                        <a:pt x="1045402" y="49616"/>
                      </a:lnTo>
                      <a:lnTo>
                        <a:pt x="1045402" y="71786"/>
                      </a:lnTo>
                      <a:lnTo>
                        <a:pt x="1045792" y="71786"/>
                      </a:lnTo>
                      <a:cubicBezTo>
                        <a:pt x="1048072" y="64168"/>
                        <a:pt x="1051686" y="58243"/>
                        <a:pt x="1056634" y="54011"/>
                      </a:cubicBezTo>
                      <a:cubicBezTo>
                        <a:pt x="1061582" y="49779"/>
                        <a:pt x="1067312" y="47662"/>
                        <a:pt x="1073824" y="47662"/>
                      </a:cubicBezTo>
                      <a:close/>
                      <a:moveTo>
                        <a:pt x="2235730" y="47174"/>
                      </a:moveTo>
                      <a:cubicBezTo>
                        <a:pt x="2244324" y="47174"/>
                        <a:pt x="2251682" y="48932"/>
                        <a:pt x="2257802" y="52448"/>
                      </a:cubicBezTo>
                      <a:lnTo>
                        <a:pt x="2257802" y="62606"/>
                      </a:lnTo>
                      <a:cubicBezTo>
                        <a:pt x="2250380" y="57787"/>
                        <a:pt x="2242696" y="55378"/>
                        <a:pt x="2234752" y="55378"/>
                      </a:cubicBezTo>
                      <a:cubicBezTo>
                        <a:pt x="2228176" y="55378"/>
                        <a:pt x="2222870" y="57087"/>
                        <a:pt x="2218832" y="60506"/>
                      </a:cubicBezTo>
                      <a:cubicBezTo>
                        <a:pt x="2214796" y="63924"/>
                        <a:pt x="2212776" y="68368"/>
                        <a:pt x="2212776" y="73838"/>
                      </a:cubicBezTo>
                      <a:cubicBezTo>
                        <a:pt x="2212776" y="78591"/>
                        <a:pt x="2214046" y="82449"/>
                        <a:pt x="2216586" y="85411"/>
                      </a:cubicBezTo>
                      <a:cubicBezTo>
                        <a:pt x="2219126" y="88374"/>
                        <a:pt x="2224726" y="91776"/>
                        <a:pt x="2233384" y="95618"/>
                      </a:cubicBezTo>
                      <a:cubicBezTo>
                        <a:pt x="2243804" y="100306"/>
                        <a:pt x="2250966" y="104652"/>
                        <a:pt x="2254872" y="108656"/>
                      </a:cubicBezTo>
                      <a:cubicBezTo>
                        <a:pt x="2258780" y="112661"/>
                        <a:pt x="2260732" y="117984"/>
                        <a:pt x="2260732" y="124625"/>
                      </a:cubicBezTo>
                      <a:cubicBezTo>
                        <a:pt x="2260732" y="132569"/>
                        <a:pt x="2257754" y="139129"/>
                        <a:pt x="2251796" y="144305"/>
                      </a:cubicBezTo>
                      <a:cubicBezTo>
                        <a:pt x="2245838" y="149482"/>
                        <a:pt x="2237618" y="152070"/>
                        <a:pt x="2227134" y="152070"/>
                      </a:cubicBezTo>
                      <a:cubicBezTo>
                        <a:pt x="2217498" y="152070"/>
                        <a:pt x="2209456" y="149791"/>
                        <a:pt x="2203010" y="145233"/>
                      </a:cubicBezTo>
                      <a:lnTo>
                        <a:pt x="2203010" y="134392"/>
                      </a:lnTo>
                      <a:cubicBezTo>
                        <a:pt x="2206396" y="137322"/>
                        <a:pt x="2210498" y="139633"/>
                        <a:pt x="2215316" y="141326"/>
                      </a:cubicBezTo>
                      <a:cubicBezTo>
                        <a:pt x="2220134" y="143019"/>
                        <a:pt x="2224302" y="143866"/>
                        <a:pt x="2227818" y="143866"/>
                      </a:cubicBezTo>
                      <a:cubicBezTo>
                        <a:pt x="2243510" y="143866"/>
                        <a:pt x="2251356" y="137452"/>
                        <a:pt x="2251356" y="124625"/>
                      </a:cubicBezTo>
                      <a:cubicBezTo>
                        <a:pt x="2251356" y="120197"/>
                        <a:pt x="2249630" y="116421"/>
                        <a:pt x="2246180" y="113296"/>
                      </a:cubicBezTo>
                      <a:cubicBezTo>
                        <a:pt x="2242728" y="110170"/>
                        <a:pt x="2237128" y="106947"/>
                        <a:pt x="2229380" y="103626"/>
                      </a:cubicBezTo>
                      <a:cubicBezTo>
                        <a:pt x="2219810" y="99459"/>
                        <a:pt x="2213086" y="95146"/>
                        <a:pt x="2209212" y="90685"/>
                      </a:cubicBezTo>
                      <a:cubicBezTo>
                        <a:pt x="2205338" y="86225"/>
                        <a:pt x="2203400" y="80805"/>
                        <a:pt x="2203400" y="74424"/>
                      </a:cubicBezTo>
                      <a:cubicBezTo>
                        <a:pt x="2203400" y="66284"/>
                        <a:pt x="2206510" y="59708"/>
                        <a:pt x="2212728" y="54695"/>
                      </a:cubicBezTo>
                      <a:cubicBezTo>
                        <a:pt x="2218946" y="49681"/>
                        <a:pt x="2226614" y="47174"/>
                        <a:pt x="2235730" y="47174"/>
                      </a:cubicBezTo>
                      <a:close/>
                      <a:moveTo>
                        <a:pt x="2035068" y="47174"/>
                      </a:moveTo>
                      <a:cubicBezTo>
                        <a:pt x="2045354" y="47174"/>
                        <a:pt x="2053314" y="50365"/>
                        <a:pt x="2058948" y="56746"/>
                      </a:cubicBezTo>
                      <a:cubicBezTo>
                        <a:pt x="2064580" y="63127"/>
                        <a:pt x="2067396" y="72405"/>
                        <a:pt x="2067396" y="84581"/>
                      </a:cubicBezTo>
                      <a:lnTo>
                        <a:pt x="2067396" y="149628"/>
                      </a:lnTo>
                      <a:lnTo>
                        <a:pt x="2058410" y="149628"/>
                      </a:lnTo>
                      <a:lnTo>
                        <a:pt x="2058410" y="129606"/>
                      </a:lnTo>
                      <a:lnTo>
                        <a:pt x="2058020" y="129606"/>
                      </a:lnTo>
                      <a:cubicBezTo>
                        <a:pt x="2054828" y="136443"/>
                        <a:pt x="2050190" y="141896"/>
                        <a:pt x="2044102" y="145966"/>
                      </a:cubicBezTo>
                      <a:cubicBezTo>
                        <a:pt x="2038014" y="150035"/>
                        <a:pt x="2031258" y="152070"/>
                        <a:pt x="2023836" y="152070"/>
                      </a:cubicBezTo>
                      <a:cubicBezTo>
                        <a:pt x="2014328" y="152070"/>
                        <a:pt x="2006808" y="149400"/>
                        <a:pt x="2001274" y="144061"/>
                      </a:cubicBezTo>
                      <a:cubicBezTo>
                        <a:pt x="1995740" y="138722"/>
                        <a:pt x="1992972" y="131983"/>
                        <a:pt x="1992972" y="123844"/>
                      </a:cubicBezTo>
                      <a:cubicBezTo>
                        <a:pt x="1992972" y="106394"/>
                        <a:pt x="2004530" y="95845"/>
                        <a:pt x="2027644" y="92199"/>
                      </a:cubicBezTo>
                      <a:lnTo>
                        <a:pt x="2058410" y="87609"/>
                      </a:lnTo>
                      <a:cubicBezTo>
                        <a:pt x="2058410" y="66122"/>
                        <a:pt x="2050336" y="55378"/>
                        <a:pt x="2034188" y="55378"/>
                      </a:cubicBezTo>
                      <a:cubicBezTo>
                        <a:pt x="2023184" y="55378"/>
                        <a:pt x="2012472" y="59806"/>
                        <a:pt x="2002056" y="68661"/>
                      </a:cubicBezTo>
                      <a:lnTo>
                        <a:pt x="2002056" y="57820"/>
                      </a:lnTo>
                      <a:cubicBezTo>
                        <a:pt x="2005766" y="54890"/>
                        <a:pt x="2010796" y="52383"/>
                        <a:pt x="2017144" y="50299"/>
                      </a:cubicBezTo>
                      <a:cubicBezTo>
                        <a:pt x="2023494" y="48216"/>
                        <a:pt x="2029468" y="47174"/>
                        <a:pt x="2035068" y="47174"/>
                      </a:cubicBezTo>
                      <a:close/>
                      <a:moveTo>
                        <a:pt x="1925552" y="47174"/>
                      </a:moveTo>
                      <a:cubicBezTo>
                        <a:pt x="1939812" y="47174"/>
                        <a:pt x="1951076" y="51830"/>
                        <a:pt x="1959346" y="61141"/>
                      </a:cubicBezTo>
                      <a:cubicBezTo>
                        <a:pt x="1967616" y="70452"/>
                        <a:pt x="1971750" y="83344"/>
                        <a:pt x="1971750" y="99817"/>
                      </a:cubicBezTo>
                      <a:cubicBezTo>
                        <a:pt x="1971750" y="115379"/>
                        <a:pt x="1967534" y="127978"/>
                        <a:pt x="1959102" y="137615"/>
                      </a:cubicBezTo>
                      <a:cubicBezTo>
                        <a:pt x="1950670" y="147252"/>
                        <a:pt x="1939128" y="152070"/>
                        <a:pt x="1924478" y="152070"/>
                      </a:cubicBezTo>
                      <a:cubicBezTo>
                        <a:pt x="1909894" y="152070"/>
                        <a:pt x="1898352" y="147268"/>
                        <a:pt x="1889856" y="137664"/>
                      </a:cubicBezTo>
                      <a:cubicBezTo>
                        <a:pt x="1881358" y="128060"/>
                        <a:pt x="1877110" y="115574"/>
                        <a:pt x="1877110" y="100208"/>
                      </a:cubicBezTo>
                      <a:cubicBezTo>
                        <a:pt x="1877110" y="83604"/>
                        <a:pt x="1881554" y="70614"/>
                        <a:pt x="1890442" y="61238"/>
                      </a:cubicBezTo>
                      <a:cubicBezTo>
                        <a:pt x="1899328" y="51862"/>
                        <a:pt x="1911032" y="47174"/>
                        <a:pt x="1925552" y="47174"/>
                      </a:cubicBezTo>
                      <a:close/>
                      <a:moveTo>
                        <a:pt x="1413546" y="47174"/>
                      </a:moveTo>
                      <a:cubicBezTo>
                        <a:pt x="1424356" y="47174"/>
                        <a:pt x="1432624" y="50771"/>
                        <a:pt x="1438354" y="57966"/>
                      </a:cubicBezTo>
                      <a:cubicBezTo>
                        <a:pt x="1444084" y="65161"/>
                        <a:pt x="1446950" y="75433"/>
                        <a:pt x="1446950" y="88781"/>
                      </a:cubicBezTo>
                      <a:lnTo>
                        <a:pt x="1446950" y="149628"/>
                      </a:lnTo>
                      <a:lnTo>
                        <a:pt x="1437964" y="149628"/>
                      </a:lnTo>
                      <a:lnTo>
                        <a:pt x="1437964" y="91418"/>
                      </a:lnTo>
                      <a:cubicBezTo>
                        <a:pt x="1437964" y="67391"/>
                        <a:pt x="1429304" y="55378"/>
                        <a:pt x="1411984" y="55378"/>
                      </a:cubicBezTo>
                      <a:cubicBezTo>
                        <a:pt x="1402348" y="55378"/>
                        <a:pt x="1394436" y="58911"/>
                        <a:pt x="1388250" y="65975"/>
                      </a:cubicBezTo>
                      <a:cubicBezTo>
                        <a:pt x="1382064" y="73040"/>
                        <a:pt x="1378972" y="81781"/>
                        <a:pt x="1378972" y="92199"/>
                      </a:cubicBezTo>
                      <a:lnTo>
                        <a:pt x="1378972" y="149628"/>
                      </a:lnTo>
                      <a:lnTo>
                        <a:pt x="1369986" y="149628"/>
                      </a:lnTo>
                      <a:lnTo>
                        <a:pt x="1369986" y="49616"/>
                      </a:lnTo>
                      <a:lnTo>
                        <a:pt x="1378972" y="49616"/>
                      </a:lnTo>
                      <a:lnTo>
                        <a:pt x="1378972" y="67782"/>
                      </a:lnTo>
                      <a:lnTo>
                        <a:pt x="1379362" y="67782"/>
                      </a:lnTo>
                      <a:cubicBezTo>
                        <a:pt x="1386656" y="54043"/>
                        <a:pt x="1398050" y="47174"/>
                        <a:pt x="1413546" y="47174"/>
                      </a:cubicBezTo>
                      <a:close/>
                      <a:moveTo>
                        <a:pt x="1296902" y="47174"/>
                      </a:moveTo>
                      <a:cubicBezTo>
                        <a:pt x="1311162" y="47174"/>
                        <a:pt x="1322426" y="51830"/>
                        <a:pt x="1330696" y="61141"/>
                      </a:cubicBezTo>
                      <a:cubicBezTo>
                        <a:pt x="1338966" y="70452"/>
                        <a:pt x="1343100" y="83344"/>
                        <a:pt x="1343100" y="99817"/>
                      </a:cubicBezTo>
                      <a:cubicBezTo>
                        <a:pt x="1343100" y="115379"/>
                        <a:pt x="1338884" y="127978"/>
                        <a:pt x="1330452" y="137615"/>
                      </a:cubicBezTo>
                      <a:cubicBezTo>
                        <a:pt x="1322020" y="147252"/>
                        <a:pt x="1310478" y="152070"/>
                        <a:pt x="1295828" y="152070"/>
                      </a:cubicBezTo>
                      <a:cubicBezTo>
                        <a:pt x="1281244" y="152070"/>
                        <a:pt x="1269702" y="147268"/>
                        <a:pt x="1261204" y="137664"/>
                      </a:cubicBezTo>
                      <a:cubicBezTo>
                        <a:pt x="1252708" y="128060"/>
                        <a:pt x="1248460" y="115574"/>
                        <a:pt x="1248460" y="100208"/>
                      </a:cubicBezTo>
                      <a:cubicBezTo>
                        <a:pt x="1248460" y="83604"/>
                        <a:pt x="1252904" y="70614"/>
                        <a:pt x="1261790" y="61238"/>
                      </a:cubicBezTo>
                      <a:cubicBezTo>
                        <a:pt x="1270678" y="51862"/>
                        <a:pt x="1282382" y="47174"/>
                        <a:pt x="1296902" y="47174"/>
                      </a:cubicBezTo>
                      <a:close/>
                      <a:moveTo>
                        <a:pt x="1130830" y="47174"/>
                      </a:moveTo>
                      <a:cubicBezTo>
                        <a:pt x="1139424" y="47174"/>
                        <a:pt x="1146782" y="48932"/>
                        <a:pt x="1152902" y="52448"/>
                      </a:cubicBezTo>
                      <a:lnTo>
                        <a:pt x="1152902" y="62606"/>
                      </a:lnTo>
                      <a:cubicBezTo>
                        <a:pt x="1145480" y="57787"/>
                        <a:pt x="1137796" y="55378"/>
                        <a:pt x="1129852" y="55378"/>
                      </a:cubicBezTo>
                      <a:cubicBezTo>
                        <a:pt x="1123276" y="55378"/>
                        <a:pt x="1117970" y="57087"/>
                        <a:pt x="1113932" y="60506"/>
                      </a:cubicBezTo>
                      <a:cubicBezTo>
                        <a:pt x="1109896" y="63924"/>
                        <a:pt x="1107878" y="68368"/>
                        <a:pt x="1107878" y="73838"/>
                      </a:cubicBezTo>
                      <a:cubicBezTo>
                        <a:pt x="1107878" y="78591"/>
                        <a:pt x="1109146" y="82449"/>
                        <a:pt x="1111686" y="85411"/>
                      </a:cubicBezTo>
                      <a:cubicBezTo>
                        <a:pt x="1114226" y="88374"/>
                        <a:pt x="1119826" y="91776"/>
                        <a:pt x="1128486" y="95618"/>
                      </a:cubicBezTo>
                      <a:cubicBezTo>
                        <a:pt x="1138904" y="100306"/>
                        <a:pt x="1146066" y="104652"/>
                        <a:pt x="1149972" y="108656"/>
                      </a:cubicBezTo>
                      <a:cubicBezTo>
                        <a:pt x="1153878" y="112661"/>
                        <a:pt x="1155832" y="117984"/>
                        <a:pt x="1155832" y="124625"/>
                      </a:cubicBezTo>
                      <a:cubicBezTo>
                        <a:pt x="1155832" y="132569"/>
                        <a:pt x="1152854" y="139129"/>
                        <a:pt x="1146896" y="144305"/>
                      </a:cubicBezTo>
                      <a:cubicBezTo>
                        <a:pt x="1140938" y="149482"/>
                        <a:pt x="1132718" y="152070"/>
                        <a:pt x="1122234" y="152070"/>
                      </a:cubicBezTo>
                      <a:cubicBezTo>
                        <a:pt x="1112598" y="152070"/>
                        <a:pt x="1104556" y="149791"/>
                        <a:pt x="1098110" y="145233"/>
                      </a:cubicBezTo>
                      <a:lnTo>
                        <a:pt x="1098110" y="134392"/>
                      </a:lnTo>
                      <a:cubicBezTo>
                        <a:pt x="1101496" y="137322"/>
                        <a:pt x="1105598" y="139633"/>
                        <a:pt x="1110416" y="141326"/>
                      </a:cubicBezTo>
                      <a:cubicBezTo>
                        <a:pt x="1115234" y="143019"/>
                        <a:pt x="1119402" y="143866"/>
                        <a:pt x="1122918" y="143866"/>
                      </a:cubicBezTo>
                      <a:cubicBezTo>
                        <a:pt x="1138610" y="143866"/>
                        <a:pt x="1146456" y="137452"/>
                        <a:pt x="1146456" y="124625"/>
                      </a:cubicBezTo>
                      <a:cubicBezTo>
                        <a:pt x="1146456" y="120197"/>
                        <a:pt x="1144730" y="116421"/>
                        <a:pt x="1141280" y="113296"/>
                      </a:cubicBezTo>
                      <a:cubicBezTo>
                        <a:pt x="1137828" y="110170"/>
                        <a:pt x="1132230" y="106947"/>
                        <a:pt x="1124480" y="103626"/>
                      </a:cubicBezTo>
                      <a:cubicBezTo>
                        <a:pt x="1114910" y="99459"/>
                        <a:pt x="1108186" y="95146"/>
                        <a:pt x="1104312" y="90685"/>
                      </a:cubicBezTo>
                      <a:cubicBezTo>
                        <a:pt x="1100438" y="86225"/>
                        <a:pt x="1098500" y="80805"/>
                        <a:pt x="1098500" y="74424"/>
                      </a:cubicBezTo>
                      <a:cubicBezTo>
                        <a:pt x="1098500" y="66284"/>
                        <a:pt x="1101610" y="59708"/>
                        <a:pt x="1107828" y="54695"/>
                      </a:cubicBezTo>
                      <a:cubicBezTo>
                        <a:pt x="1114046" y="49681"/>
                        <a:pt x="1121714" y="47174"/>
                        <a:pt x="1130830" y="47174"/>
                      </a:cubicBezTo>
                      <a:close/>
                      <a:moveTo>
                        <a:pt x="977792" y="47174"/>
                      </a:moveTo>
                      <a:cubicBezTo>
                        <a:pt x="988080" y="47174"/>
                        <a:pt x="996040" y="50365"/>
                        <a:pt x="1001672" y="56746"/>
                      </a:cubicBezTo>
                      <a:cubicBezTo>
                        <a:pt x="1007304" y="63127"/>
                        <a:pt x="1010120" y="72405"/>
                        <a:pt x="1010120" y="84581"/>
                      </a:cubicBezTo>
                      <a:lnTo>
                        <a:pt x="1010120" y="149628"/>
                      </a:lnTo>
                      <a:lnTo>
                        <a:pt x="1001134" y="149628"/>
                      </a:lnTo>
                      <a:lnTo>
                        <a:pt x="1001134" y="129606"/>
                      </a:lnTo>
                      <a:lnTo>
                        <a:pt x="1000744" y="129606"/>
                      </a:lnTo>
                      <a:cubicBezTo>
                        <a:pt x="997554" y="136443"/>
                        <a:pt x="992914" y="141896"/>
                        <a:pt x="986826" y="145966"/>
                      </a:cubicBezTo>
                      <a:cubicBezTo>
                        <a:pt x="980738" y="150035"/>
                        <a:pt x="973984" y="152070"/>
                        <a:pt x="966560" y="152070"/>
                      </a:cubicBezTo>
                      <a:cubicBezTo>
                        <a:pt x="957054" y="152070"/>
                        <a:pt x="949534" y="149400"/>
                        <a:pt x="943998" y="144061"/>
                      </a:cubicBezTo>
                      <a:cubicBezTo>
                        <a:pt x="938464" y="138722"/>
                        <a:pt x="935696" y="131983"/>
                        <a:pt x="935696" y="123844"/>
                      </a:cubicBezTo>
                      <a:cubicBezTo>
                        <a:pt x="935696" y="106394"/>
                        <a:pt x="947254" y="95845"/>
                        <a:pt x="970370" y="92199"/>
                      </a:cubicBezTo>
                      <a:lnTo>
                        <a:pt x="1001134" y="87609"/>
                      </a:lnTo>
                      <a:cubicBezTo>
                        <a:pt x="1001134" y="66122"/>
                        <a:pt x="993060" y="55378"/>
                        <a:pt x="976912" y="55378"/>
                      </a:cubicBezTo>
                      <a:cubicBezTo>
                        <a:pt x="965908" y="55378"/>
                        <a:pt x="955198" y="59806"/>
                        <a:pt x="944780" y="68661"/>
                      </a:cubicBezTo>
                      <a:lnTo>
                        <a:pt x="944780" y="57820"/>
                      </a:lnTo>
                      <a:cubicBezTo>
                        <a:pt x="948492" y="54890"/>
                        <a:pt x="953522" y="52383"/>
                        <a:pt x="959870" y="50299"/>
                      </a:cubicBezTo>
                      <a:cubicBezTo>
                        <a:pt x="966218" y="48216"/>
                        <a:pt x="972192" y="47174"/>
                        <a:pt x="977792" y="47174"/>
                      </a:cubicBezTo>
                      <a:close/>
                      <a:moveTo>
                        <a:pt x="898610" y="47174"/>
                      </a:moveTo>
                      <a:cubicBezTo>
                        <a:pt x="906228" y="47174"/>
                        <a:pt x="913620" y="48737"/>
                        <a:pt x="920782" y="51862"/>
                      </a:cubicBezTo>
                      <a:lnTo>
                        <a:pt x="920782" y="62020"/>
                      </a:lnTo>
                      <a:cubicBezTo>
                        <a:pt x="913620" y="57592"/>
                        <a:pt x="905774" y="55378"/>
                        <a:pt x="897244" y="55378"/>
                      </a:cubicBezTo>
                      <a:cubicBezTo>
                        <a:pt x="885524" y="55378"/>
                        <a:pt x="876016" y="59594"/>
                        <a:pt x="868724" y="68026"/>
                      </a:cubicBezTo>
                      <a:cubicBezTo>
                        <a:pt x="861432" y="76458"/>
                        <a:pt x="857786" y="87381"/>
                        <a:pt x="857786" y="100794"/>
                      </a:cubicBezTo>
                      <a:cubicBezTo>
                        <a:pt x="857786" y="113751"/>
                        <a:pt x="861122" y="124169"/>
                        <a:pt x="867796" y="132048"/>
                      </a:cubicBezTo>
                      <a:cubicBezTo>
                        <a:pt x="874470" y="139927"/>
                        <a:pt x="883276" y="143866"/>
                        <a:pt x="894216" y="143866"/>
                      </a:cubicBezTo>
                      <a:cubicBezTo>
                        <a:pt x="904244" y="143866"/>
                        <a:pt x="912968" y="141196"/>
                        <a:pt x="920390" y="135857"/>
                      </a:cubicBezTo>
                      <a:lnTo>
                        <a:pt x="920390" y="145233"/>
                      </a:lnTo>
                      <a:cubicBezTo>
                        <a:pt x="912968" y="149791"/>
                        <a:pt x="904112" y="152070"/>
                        <a:pt x="893824" y="152070"/>
                      </a:cubicBezTo>
                      <a:cubicBezTo>
                        <a:pt x="880216" y="152070"/>
                        <a:pt x="869246" y="147398"/>
                        <a:pt x="860910" y="138055"/>
                      </a:cubicBezTo>
                      <a:cubicBezTo>
                        <a:pt x="852576" y="128711"/>
                        <a:pt x="848410" y="116486"/>
                        <a:pt x="848410" y="101380"/>
                      </a:cubicBezTo>
                      <a:cubicBezTo>
                        <a:pt x="848410" y="85493"/>
                        <a:pt x="853098" y="72486"/>
                        <a:pt x="862474" y="62361"/>
                      </a:cubicBezTo>
                      <a:cubicBezTo>
                        <a:pt x="871850" y="52237"/>
                        <a:pt x="883896" y="47174"/>
                        <a:pt x="898610" y="47174"/>
                      </a:cubicBezTo>
                      <a:close/>
                      <a:moveTo>
                        <a:pt x="653942" y="47174"/>
                      </a:moveTo>
                      <a:cubicBezTo>
                        <a:pt x="664230" y="47174"/>
                        <a:pt x="672190" y="50365"/>
                        <a:pt x="677822" y="56746"/>
                      </a:cubicBezTo>
                      <a:cubicBezTo>
                        <a:pt x="683454" y="63127"/>
                        <a:pt x="686270" y="72405"/>
                        <a:pt x="686270" y="84581"/>
                      </a:cubicBezTo>
                      <a:lnTo>
                        <a:pt x="686270" y="149628"/>
                      </a:lnTo>
                      <a:lnTo>
                        <a:pt x="677284" y="149628"/>
                      </a:lnTo>
                      <a:lnTo>
                        <a:pt x="677284" y="129606"/>
                      </a:lnTo>
                      <a:lnTo>
                        <a:pt x="676894" y="129606"/>
                      </a:lnTo>
                      <a:cubicBezTo>
                        <a:pt x="673704" y="136443"/>
                        <a:pt x="669064" y="141896"/>
                        <a:pt x="662976" y="145966"/>
                      </a:cubicBezTo>
                      <a:cubicBezTo>
                        <a:pt x="656888" y="150035"/>
                        <a:pt x="650132" y="152070"/>
                        <a:pt x="642710" y="152070"/>
                      </a:cubicBezTo>
                      <a:cubicBezTo>
                        <a:pt x="633204" y="152070"/>
                        <a:pt x="625684" y="149400"/>
                        <a:pt x="620148" y="144061"/>
                      </a:cubicBezTo>
                      <a:cubicBezTo>
                        <a:pt x="614614" y="138722"/>
                        <a:pt x="611846" y="131983"/>
                        <a:pt x="611846" y="123844"/>
                      </a:cubicBezTo>
                      <a:cubicBezTo>
                        <a:pt x="611846" y="106394"/>
                        <a:pt x="623404" y="95845"/>
                        <a:pt x="646520" y="92199"/>
                      </a:cubicBezTo>
                      <a:lnTo>
                        <a:pt x="677284" y="87609"/>
                      </a:lnTo>
                      <a:cubicBezTo>
                        <a:pt x="677284" y="66122"/>
                        <a:pt x="669210" y="55378"/>
                        <a:pt x="653064" y="55378"/>
                      </a:cubicBezTo>
                      <a:cubicBezTo>
                        <a:pt x="642060" y="55378"/>
                        <a:pt x="631348" y="59806"/>
                        <a:pt x="620930" y="68661"/>
                      </a:cubicBezTo>
                      <a:lnTo>
                        <a:pt x="620930" y="57820"/>
                      </a:lnTo>
                      <a:cubicBezTo>
                        <a:pt x="624642" y="54890"/>
                        <a:pt x="629672" y="52383"/>
                        <a:pt x="636020" y="50299"/>
                      </a:cubicBezTo>
                      <a:cubicBezTo>
                        <a:pt x="642368" y="48216"/>
                        <a:pt x="648342" y="47174"/>
                        <a:pt x="653942" y="47174"/>
                      </a:cubicBezTo>
                      <a:close/>
                      <a:moveTo>
                        <a:pt x="439652" y="47174"/>
                      </a:moveTo>
                      <a:cubicBezTo>
                        <a:pt x="453912" y="47174"/>
                        <a:pt x="465176" y="51830"/>
                        <a:pt x="473446" y="61141"/>
                      </a:cubicBezTo>
                      <a:cubicBezTo>
                        <a:pt x="481716" y="70452"/>
                        <a:pt x="485850" y="83344"/>
                        <a:pt x="485850" y="99817"/>
                      </a:cubicBezTo>
                      <a:cubicBezTo>
                        <a:pt x="485850" y="115379"/>
                        <a:pt x="481634" y="127978"/>
                        <a:pt x="473202" y="137615"/>
                      </a:cubicBezTo>
                      <a:cubicBezTo>
                        <a:pt x="464770" y="147252"/>
                        <a:pt x="453228" y="152070"/>
                        <a:pt x="438578" y="152070"/>
                      </a:cubicBezTo>
                      <a:cubicBezTo>
                        <a:pt x="423994" y="152070"/>
                        <a:pt x="412452" y="147268"/>
                        <a:pt x="403954" y="137664"/>
                      </a:cubicBezTo>
                      <a:cubicBezTo>
                        <a:pt x="395458" y="128060"/>
                        <a:pt x="391210" y="115574"/>
                        <a:pt x="391210" y="100208"/>
                      </a:cubicBezTo>
                      <a:cubicBezTo>
                        <a:pt x="391210" y="83604"/>
                        <a:pt x="395654" y="70614"/>
                        <a:pt x="404540" y="61238"/>
                      </a:cubicBezTo>
                      <a:cubicBezTo>
                        <a:pt x="413428" y="51862"/>
                        <a:pt x="425132" y="47174"/>
                        <a:pt x="439652" y="47174"/>
                      </a:cubicBezTo>
                      <a:close/>
                      <a:moveTo>
                        <a:pt x="111212" y="15432"/>
                      </a:moveTo>
                      <a:cubicBezTo>
                        <a:pt x="100468" y="15432"/>
                        <a:pt x="92102" y="20934"/>
                        <a:pt x="86112" y="31938"/>
                      </a:cubicBezTo>
                      <a:cubicBezTo>
                        <a:pt x="80122" y="42942"/>
                        <a:pt x="77126" y="59448"/>
                        <a:pt x="77126" y="81456"/>
                      </a:cubicBezTo>
                      <a:cubicBezTo>
                        <a:pt x="77126" y="101510"/>
                        <a:pt x="79992" y="116926"/>
                        <a:pt x="85720" y="127702"/>
                      </a:cubicBezTo>
                      <a:cubicBezTo>
                        <a:pt x="91450" y="138478"/>
                        <a:pt x="99590" y="143866"/>
                        <a:pt x="110138" y="143866"/>
                      </a:cubicBezTo>
                      <a:cubicBezTo>
                        <a:pt x="120490" y="143866"/>
                        <a:pt x="128548" y="138380"/>
                        <a:pt x="134310" y="127409"/>
                      </a:cubicBezTo>
                      <a:cubicBezTo>
                        <a:pt x="140074" y="116437"/>
                        <a:pt x="142954" y="100761"/>
                        <a:pt x="142954" y="80381"/>
                      </a:cubicBezTo>
                      <a:cubicBezTo>
                        <a:pt x="142954" y="37082"/>
                        <a:pt x="132374" y="15432"/>
                        <a:pt x="111212" y="15432"/>
                      </a:cubicBezTo>
                      <a:close/>
                      <a:moveTo>
                        <a:pt x="204560" y="14846"/>
                      </a:moveTo>
                      <a:cubicBezTo>
                        <a:pt x="197072" y="14846"/>
                        <a:pt x="191164" y="17336"/>
                        <a:pt x="186834" y="22317"/>
                      </a:cubicBezTo>
                      <a:cubicBezTo>
                        <a:pt x="182504" y="27299"/>
                        <a:pt x="180338" y="34249"/>
                        <a:pt x="180338" y="43170"/>
                      </a:cubicBezTo>
                      <a:cubicBezTo>
                        <a:pt x="180338" y="51569"/>
                        <a:pt x="182438" y="58243"/>
                        <a:pt x="186638" y="63192"/>
                      </a:cubicBezTo>
                      <a:cubicBezTo>
                        <a:pt x="190838" y="68140"/>
                        <a:pt x="196616" y="70614"/>
                        <a:pt x="203974" y="70614"/>
                      </a:cubicBezTo>
                      <a:cubicBezTo>
                        <a:pt x="211396" y="70614"/>
                        <a:pt x="217208" y="68075"/>
                        <a:pt x="221408" y="62996"/>
                      </a:cubicBezTo>
                      <a:cubicBezTo>
                        <a:pt x="225608" y="57918"/>
                        <a:pt x="227708" y="51113"/>
                        <a:pt x="227708" y="42584"/>
                      </a:cubicBezTo>
                      <a:cubicBezTo>
                        <a:pt x="227708" y="33403"/>
                        <a:pt x="225624" y="26485"/>
                        <a:pt x="221456" y="21829"/>
                      </a:cubicBezTo>
                      <a:cubicBezTo>
                        <a:pt x="217290" y="17174"/>
                        <a:pt x="211658" y="14846"/>
                        <a:pt x="204560" y="14846"/>
                      </a:cubicBezTo>
                      <a:close/>
                      <a:moveTo>
                        <a:pt x="278592" y="9767"/>
                      </a:moveTo>
                      <a:lnTo>
                        <a:pt x="287968" y="9767"/>
                      </a:lnTo>
                      <a:lnTo>
                        <a:pt x="203974" y="152851"/>
                      </a:lnTo>
                      <a:lnTo>
                        <a:pt x="194304" y="152851"/>
                      </a:lnTo>
                      <a:close/>
                      <a:moveTo>
                        <a:pt x="2488806" y="9572"/>
                      </a:moveTo>
                      <a:cubicBezTo>
                        <a:pt x="2490826" y="9572"/>
                        <a:pt x="2492600" y="10223"/>
                        <a:pt x="2494130" y="11525"/>
                      </a:cubicBezTo>
                      <a:cubicBezTo>
                        <a:pt x="2495660" y="12827"/>
                        <a:pt x="2496424" y="14585"/>
                        <a:pt x="2496424" y="16799"/>
                      </a:cubicBezTo>
                      <a:cubicBezTo>
                        <a:pt x="2496424" y="18883"/>
                        <a:pt x="2495676" y="20673"/>
                        <a:pt x="2494178" y="22171"/>
                      </a:cubicBezTo>
                      <a:cubicBezTo>
                        <a:pt x="2492680" y="23668"/>
                        <a:pt x="2490890" y="24417"/>
                        <a:pt x="2488806" y="24417"/>
                      </a:cubicBezTo>
                      <a:cubicBezTo>
                        <a:pt x="2486854" y="24417"/>
                        <a:pt x="2485128" y="23701"/>
                        <a:pt x="2483630" y="22269"/>
                      </a:cubicBezTo>
                      <a:cubicBezTo>
                        <a:pt x="2482132" y="20836"/>
                        <a:pt x="2481384" y="19013"/>
                        <a:pt x="2481384" y="16799"/>
                      </a:cubicBezTo>
                      <a:cubicBezTo>
                        <a:pt x="2481384" y="14650"/>
                        <a:pt x="2482148" y="12909"/>
                        <a:pt x="2483680" y="11574"/>
                      </a:cubicBezTo>
                      <a:cubicBezTo>
                        <a:pt x="2485210" y="10239"/>
                        <a:pt x="2486918" y="9572"/>
                        <a:pt x="2488806" y="9572"/>
                      </a:cubicBezTo>
                      <a:close/>
                      <a:moveTo>
                        <a:pt x="1532108" y="9572"/>
                      </a:moveTo>
                      <a:lnTo>
                        <a:pt x="1541678" y="9572"/>
                      </a:lnTo>
                      <a:lnTo>
                        <a:pt x="1541678" y="94446"/>
                      </a:lnTo>
                      <a:cubicBezTo>
                        <a:pt x="1541678" y="126937"/>
                        <a:pt x="1554896" y="143182"/>
                        <a:pt x="1581332" y="143182"/>
                      </a:cubicBezTo>
                      <a:cubicBezTo>
                        <a:pt x="1606920" y="143182"/>
                        <a:pt x="1619716" y="127392"/>
                        <a:pt x="1619716" y="95813"/>
                      </a:cubicBezTo>
                      <a:lnTo>
                        <a:pt x="1619716" y="9572"/>
                      </a:lnTo>
                      <a:lnTo>
                        <a:pt x="1629288" y="9572"/>
                      </a:lnTo>
                      <a:lnTo>
                        <a:pt x="1629288" y="93664"/>
                      </a:lnTo>
                      <a:cubicBezTo>
                        <a:pt x="1629288" y="132601"/>
                        <a:pt x="1612684" y="152070"/>
                        <a:pt x="1579476" y="152070"/>
                      </a:cubicBezTo>
                      <a:cubicBezTo>
                        <a:pt x="1547896" y="152070"/>
                        <a:pt x="1532108" y="133318"/>
                        <a:pt x="1532108" y="95813"/>
                      </a:cubicBezTo>
                      <a:close/>
                      <a:moveTo>
                        <a:pt x="1705892" y="7228"/>
                      </a:moveTo>
                      <a:cubicBezTo>
                        <a:pt x="1714226" y="7228"/>
                        <a:pt x="1722560" y="8628"/>
                        <a:pt x="1730894" y="11427"/>
                      </a:cubicBezTo>
                      <a:lnTo>
                        <a:pt x="1730894" y="21585"/>
                      </a:lnTo>
                      <a:cubicBezTo>
                        <a:pt x="1722690" y="17873"/>
                        <a:pt x="1713934" y="16018"/>
                        <a:pt x="1704622" y="16018"/>
                      </a:cubicBezTo>
                      <a:cubicBezTo>
                        <a:pt x="1695116" y="16018"/>
                        <a:pt x="1687578" y="18427"/>
                        <a:pt x="1682012" y="23245"/>
                      </a:cubicBezTo>
                      <a:cubicBezTo>
                        <a:pt x="1676444" y="28064"/>
                        <a:pt x="1673662" y="34184"/>
                        <a:pt x="1673662" y="41607"/>
                      </a:cubicBezTo>
                      <a:cubicBezTo>
                        <a:pt x="1673662" y="48769"/>
                        <a:pt x="1675566" y="54467"/>
                        <a:pt x="1679374" y="58699"/>
                      </a:cubicBezTo>
                      <a:cubicBezTo>
                        <a:pt x="1683184" y="62931"/>
                        <a:pt x="1691404" y="68694"/>
                        <a:pt x="1704036" y="75986"/>
                      </a:cubicBezTo>
                      <a:cubicBezTo>
                        <a:pt x="1717124" y="83409"/>
                        <a:pt x="1725832" y="90002"/>
                        <a:pt x="1730162" y="95764"/>
                      </a:cubicBezTo>
                      <a:cubicBezTo>
                        <a:pt x="1734492" y="101527"/>
                        <a:pt x="1736658" y="108152"/>
                        <a:pt x="1736658" y="115640"/>
                      </a:cubicBezTo>
                      <a:cubicBezTo>
                        <a:pt x="1736658" y="126383"/>
                        <a:pt x="1732930" y="135141"/>
                        <a:pt x="1725474" y="141912"/>
                      </a:cubicBezTo>
                      <a:cubicBezTo>
                        <a:pt x="1718018" y="148684"/>
                        <a:pt x="1707488" y="152070"/>
                        <a:pt x="1693878" y="152070"/>
                      </a:cubicBezTo>
                      <a:cubicBezTo>
                        <a:pt x="1689060" y="152070"/>
                        <a:pt x="1683510" y="151321"/>
                        <a:pt x="1677226" y="149824"/>
                      </a:cubicBezTo>
                      <a:cubicBezTo>
                        <a:pt x="1670942" y="148326"/>
                        <a:pt x="1666140" y="146601"/>
                        <a:pt x="1662820" y="144647"/>
                      </a:cubicBezTo>
                      <a:lnTo>
                        <a:pt x="1662820" y="133611"/>
                      </a:lnTo>
                      <a:cubicBezTo>
                        <a:pt x="1672848" y="139992"/>
                        <a:pt x="1683004" y="143182"/>
                        <a:pt x="1693292" y="143182"/>
                      </a:cubicBezTo>
                      <a:cubicBezTo>
                        <a:pt x="1704232" y="143182"/>
                        <a:pt x="1712534" y="140919"/>
                        <a:pt x="1718198" y="136394"/>
                      </a:cubicBezTo>
                      <a:cubicBezTo>
                        <a:pt x="1723862" y="131869"/>
                        <a:pt x="1726696" y="125537"/>
                        <a:pt x="1726696" y="117398"/>
                      </a:cubicBezTo>
                      <a:cubicBezTo>
                        <a:pt x="1726696" y="110235"/>
                        <a:pt x="1724790" y="104522"/>
                        <a:pt x="1720982" y="100257"/>
                      </a:cubicBezTo>
                      <a:cubicBezTo>
                        <a:pt x="1717172" y="95992"/>
                        <a:pt x="1708920" y="90181"/>
                        <a:pt x="1696222" y="82823"/>
                      </a:cubicBezTo>
                      <a:cubicBezTo>
                        <a:pt x="1682028" y="74554"/>
                        <a:pt x="1673042" y="67636"/>
                        <a:pt x="1669266" y="62068"/>
                      </a:cubicBezTo>
                      <a:cubicBezTo>
                        <a:pt x="1665490" y="56501"/>
                        <a:pt x="1663602" y="50072"/>
                        <a:pt x="1663602" y="42779"/>
                      </a:cubicBezTo>
                      <a:cubicBezTo>
                        <a:pt x="1663602" y="32882"/>
                        <a:pt x="1667442" y="24482"/>
                        <a:pt x="1675126" y="17580"/>
                      </a:cubicBezTo>
                      <a:cubicBezTo>
                        <a:pt x="1682810" y="10679"/>
                        <a:pt x="1693064" y="7228"/>
                        <a:pt x="1705892" y="7228"/>
                      </a:cubicBezTo>
                      <a:close/>
                      <a:moveTo>
                        <a:pt x="111994" y="7228"/>
                      </a:moveTo>
                      <a:cubicBezTo>
                        <a:pt x="138950" y="7228"/>
                        <a:pt x="152428" y="31156"/>
                        <a:pt x="152428" y="79014"/>
                      </a:cubicBezTo>
                      <a:cubicBezTo>
                        <a:pt x="152428" y="102845"/>
                        <a:pt x="148620" y="120979"/>
                        <a:pt x="141002" y="133415"/>
                      </a:cubicBezTo>
                      <a:cubicBezTo>
                        <a:pt x="133384" y="145852"/>
                        <a:pt x="122704" y="152070"/>
                        <a:pt x="108966" y="152070"/>
                      </a:cubicBezTo>
                      <a:cubicBezTo>
                        <a:pt x="96074" y="152070"/>
                        <a:pt x="85982" y="146145"/>
                        <a:pt x="78688" y="134294"/>
                      </a:cubicBezTo>
                      <a:cubicBezTo>
                        <a:pt x="71396" y="122444"/>
                        <a:pt x="67750" y="105222"/>
                        <a:pt x="67750" y="82628"/>
                      </a:cubicBezTo>
                      <a:cubicBezTo>
                        <a:pt x="67750" y="57690"/>
                        <a:pt x="71576" y="38888"/>
                        <a:pt x="79226" y="26224"/>
                      </a:cubicBezTo>
                      <a:cubicBezTo>
                        <a:pt x="86876" y="13560"/>
                        <a:pt x="97800" y="7228"/>
                        <a:pt x="111994" y="7228"/>
                      </a:cubicBezTo>
                      <a:close/>
                      <a:moveTo>
                        <a:pt x="204756" y="6837"/>
                      </a:moveTo>
                      <a:cubicBezTo>
                        <a:pt x="214522" y="6837"/>
                        <a:pt x="222270" y="9995"/>
                        <a:pt x="228000" y="16311"/>
                      </a:cubicBezTo>
                      <a:cubicBezTo>
                        <a:pt x="233730" y="22627"/>
                        <a:pt x="236596" y="31449"/>
                        <a:pt x="236596" y="42779"/>
                      </a:cubicBezTo>
                      <a:cubicBezTo>
                        <a:pt x="236596" y="52936"/>
                        <a:pt x="233616" y="61417"/>
                        <a:pt x="227658" y="68222"/>
                      </a:cubicBezTo>
                      <a:cubicBezTo>
                        <a:pt x="221700" y="75026"/>
                        <a:pt x="213740" y="78428"/>
                        <a:pt x="203778" y="78428"/>
                      </a:cubicBezTo>
                      <a:cubicBezTo>
                        <a:pt x="193752" y="78428"/>
                        <a:pt x="185840" y="75140"/>
                        <a:pt x="180046" y="68563"/>
                      </a:cubicBezTo>
                      <a:cubicBezTo>
                        <a:pt x="174250" y="61987"/>
                        <a:pt x="171352" y="53457"/>
                        <a:pt x="171352" y="42974"/>
                      </a:cubicBezTo>
                      <a:cubicBezTo>
                        <a:pt x="171352" y="31580"/>
                        <a:pt x="174430" y="22708"/>
                        <a:pt x="180582" y="16360"/>
                      </a:cubicBezTo>
                      <a:cubicBezTo>
                        <a:pt x="186736" y="10011"/>
                        <a:pt x="194794" y="6837"/>
                        <a:pt x="204756" y="6837"/>
                      </a:cubicBezTo>
                      <a:close/>
                      <a:moveTo>
                        <a:pt x="40142" y="6446"/>
                      </a:moveTo>
                      <a:lnTo>
                        <a:pt x="43268" y="6446"/>
                      </a:lnTo>
                      <a:lnTo>
                        <a:pt x="43268" y="149628"/>
                      </a:lnTo>
                      <a:lnTo>
                        <a:pt x="34282" y="149628"/>
                      </a:lnTo>
                      <a:lnTo>
                        <a:pt x="34282" y="20608"/>
                      </a:lnTo>
                      <a:cubicBezTo>
                        <a:pt x="29790" y="24906"/>
                        <a:pt x="24662" y="28617"/>
                        <a:pt x="18900" y="31742"/>
                      </a:cubicBezTo>
                      <a:cubicBezTo>
                        <a:pt x="13136" y="34868"/>
                        <a:pt x="6838" y="37635"/>
                        <a:pt x="0" y="40044"/>
                      </a:cubicBezTo>
                      <a:lnTo>
                        <a:pt x="0" y="31840"/>
                      </a:lnTo>
                      <a:cubicBezTo>
                        <a:pt x="4102" y="30473"/>
                        <a:pt x="7912" y="28926"/>
                        <a:pt x="11428" y="27201"/>
                      </a:cubicBezTo>
                      <a:cubicBezTo>
                        <a:pt x="14944" y="25475"/>
                        <a:pt x="18314" y="23571"/>
                        <a:pt x="21536" y="21487"/>
                      </a:cubicBezTo>
                      <a:cubicBezTo>
                        <a:pt x="24760" y="19404"/>
                        <a:pt x="27884" y="17108"/>
                        <a:pt x="30912" y="14602"/>
                      </a:cubicBezTo>
                      <a:cubicBezTo>
                        <a:pt x="33940" y="12095"/>
                        <a:pt x="37016" y="9376"/>
                        <a:pt x="40142" y="6446"/>
                      </a:cubicBezTo>
                      <a:close/>
                      <a:moveTo>
                        <a:pt x="2560612" y="1563"/>
                      </a:moveTo>
                      <a:lnTo>
                        <a:pt x="2569598" y="1563"/>
                      </a:lnTo>
                      <a:lnTo>
                        <a:pt x="2569598" y="149628"/>
                      </a:lnTo>
                      <a:lnTo>
                        <a:pt x="2560612" y="149628"/>
                      </a:lnTo>
                      <a:close/>
                      <a:moveTo>
                        <a:pt x="2522512" y="1563"/>
                      </a:moveTo>
                      <a:lnTo>
                        <a:pt x="2531498" y="1563"/>
                      </a:lnTo>
                      <a:lnTo>
                        <a:pt x="2531498" y="149628"/>
                      </a:lnTo>
                      <a:lnTo>
                        <a:pt x="2522512" y="149628"/>
                      </a:lnTo>
                      <a:close/>
                      <a:moveTo>
                        <a:pt x="2164892" y="1563"/>
                      </a:moveTo>
                      <a:lnTo>
                        <a:pt x="2173876" y="1563"/>
                      </a:lnTo>
                      <a:lnTo>
                        <a:pt x="2173876" y="149628"/>
                      </a:lnTo>
                      <a:lnTo>
                        <a:pt x="2164892" y="149628"/>
                      </a:lnTo>
                      <a:lnTo>
                        <a:pt x="2164892" y="131462"/>
                      </a:lnTo>
                      <a:lnTo>
                        <a:pt x="2164500" y="131462"/>
                      </a:lnTo>
                      <a:cubicBezTo>
                        <a:pt x="2161246" y="137778"/>
                        <a:pt x="2156428" y="142791"/>
                        <a:pt x="2150046" y="146503"/>
                      </a:cubicBezTo>
                      <a:cubicBezTo>
                        <a:pt x="2143664" y="150214"/>
                        <a:pt x="2136470" y="152070"/>
                        <a:pt x="2128462" y="152070"/>
                      </a:cubicBezTo>
                      <a:cubicBezTo>
                        <a:pt x="2116156" y="152070"/>
                        <a:pt x="2106112" y="147577"/>
                        <a:pt x="2098330" y="138592"/>
                      </a:cubicBezTo>
                      <a:cubicBezTo>
                        <a:pt x="2090550" y="129606"/>
                        <a:pt x="2086660" y="117202"/>
                        <a:pt x="2086660" y="101380"/>
                      </a:cubicBezTo>
                      <a:cubicBezTo>
                        <a:pt x="2086660" y="85232"/>
                        <a:pt x="2090908" y="72161"/>
                        <a:pt x="2099404" y="62166"/>
                      </a:cubicBezTo>
                      <a:cubicBezTo>
                        <a:pt x="2107902" y="52171"/>
                        <a:pt x="2118922" y="47174"/>
                        <a:pt x="2132466" y="47174"/>
                      </a:cubicBezTo>
                      <a:cubicBezTo>
                        <a:pt x="2147442" y="47174"/>
                        <a:pt x="2158120" y="53327"/>
                        <a:pt x="2164500" y="65633"/>
                      </a:cubicBezTo>
                      <a:lnTo>
                        <a:pt x="2164892" y="65633"/>
                      </a:lnTo>
                      <a:close/>
                      <a:moveTo>
                        <a:pt x="750862" y="1563"/>
                      </a:moveTo>
                      <a:lnTo>
                        <a:pt x="759848" y="1563"/>
                      </a:lnTo>
                      <a:lnTo>
                        <a:pt x="759848" y="149628"/>
                      </a:lnTo>
                      <a:lnTo>
                        <a:pt x="750862" y="149628"/>
                      </a:lnTo>
                      <a:close/>
                      <a:moveTo>
                        <a:pt x="712762" y="1563"/>
                      </a:moveTo>
                      <a:lnTo>
                        <a:pt x="721748" y="1563"/>
                      </a:lnTo>
                      <a:lnTo>
                        <a:pt x="721748" y="149628"/>
                      </a:lnTo>
                      <a:lnTo>
                        <a:pt x="712762" y="149628"/>
                      </a:lnTo>
                      <a:close/>
                      <a:moveTo>
                        <a:pt x="536418" y="0"/>
                      </a:moveTo>
                      <a:cubicBezTo>
                        <a:pt x="540652" y="0"/>
                        <a:pt x="544168" y="619"/>
                        <a:pt x="546968" y="1856"/>
                      </a:cubicBezTo>
                      <a:lnTo>
                        <a:pt x="546968" y="11037"/>
                      </a:lnTo>
                      <a:cubicBezTo>
                        <a:pt x="544558" y="9148"/>
                        <a:pt x="540912" y="8204"/>
                        <a:pt x="536028" y="8204"/>
                      </a:cubicBezTo>
                      <a:cubicBezTo>
                        <a:pt x="523722" y="8204"/>
                        <a:pt x="517568" y="16474"/>
                        <a:pt x="517568" y="33012"/>
                      </a:cubicBezTo>
                      <a:lnTo>
                        <a:pt x="517568" y="49616"/>
                      </a:lnTo>
                      <a:lnTo>
                        <a:pt x="544038" y="49616"/>
                      </a:lnTo>
                      <a:lnTo>
                        <a:pt x="544038" y="57820"/>
                      </a:lnTo>
                      <a:lnTo>
                        <a:pt x="517568" y="57820"/>
                      </a:lnTo>
                      <a:lnTo>
                        <a:pt x="517568" y="149628"/>
                      </a:lnTo>
                      <a:lnTo>
                        <a:pt x="508584" y="149628"/>
                      </a:lnTo>
                      <a:lnTo>
                        <a:pt x="508584" y="57820"/>
                      </a:lnTo>
                      <a:lnTo>
                        <a:pt x="490612" y="57820"/>
                      </a:lnTo>
                      <a:lnTo>
                        <a:pt x="490612" y="49616"/>
                      </a:lnTo>
                      <a:lnTo>
                        <a:pt x="508584" y="49616"/>
                      </a:lnTo>
                      <a:lnTo>
                        <a:pt x="508584" y="32231"/>
                      </a:lnTo>
                      <a:cubicBezTo>
                        <a:pt x="508584" y="21683"/>
                        <a:pt x="511236" y="13674"/>
                        <a:pt x="516544" y="8204"/>
                      </a:cubicBezTo>
                      <a:cubicBezTo>
                        <a:pt x="521850" y="2735"/>
                        <a:pt x="528476" y="0"/>
                        <a:pt x="536418" y="0"/>
                      </a:cubicBez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10% автомобилей будут управляться</a:t>
                  </a:r>
                  <a:r>
                    <a:rPr kumimoji="0" lang="ru-RU" sz="1800" b="0" i="0" u="none" strike="noStrike" kern="0" cap="none" spc="0" normalizeH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 без участия человека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27" name="Blockchain taxes"/>
              <p:cNvGrpSpPr/>
              <p:nvPr/>
            </p:nvGrpSpPr>
            <p:grpSpPr>
              <a:xfrm>
                <a:off x="14621345" y="2457875"/>
                <a:ext cx="3214556" cy="1933540"/>
                <a:chOff x="8979294" y="7240017"/>
                <a:chExt cx="3214556" cy="1933540"/>
              </a:xfrm>
            </p:grpSpPr>
            <p:grpSp>
              <p:nvGrpSpPr>
                <p:cNvPr id="21" name="Group 20"/>
                <p:cNvGrpSpPr/>
                <p:nvPr/>
              </p:nvGrpSpPr>
              <p:grpSpPr>
                <a:xfrm>
                  <a:off x="10370729" y="7240017"/>
                  <a:ext cx="1188749" cy="1246136"/>
                  <a:chOff x="12584113" y="1905000"/>
                  <a:chExt cx="3452813" cy="3619500"/>
                </a:xfrm>
              </p:grpSpPr>
              <p:sp>
                <p:nvSpPr>
                  <p:cNvPr id="22" name="Freeform 42"/>
                  <p:cNvSpPr>
                    <a:spLocks noEditPoints="1"/>
                  </p:cNvSpPr>
                  <p:nvPr/>
                </p:nvSpPr>
                <p:spPr bwMode="auto">
                  <a:xfrm>
                    <a:off x="12584113" y="1905000"/>
                    <a:ext cx="2084388" cy="3619500"/>
                  </a:xfrm>
                  <a:custGeom>
                    <a:avLst/>
                    <a:gdLst>
                      <a:gd name="T0" fmla="*/ 622 w 700"/>
                      <a:gd name="T1" fmla="*/ 930 h 1217"/>
                      <a:gd name="T2" fmla="*/ 622 w 700"/>
                      <a:gd name="T3" fmla="*/ 994 h 1217"/>
                      <a:gd name="T4" fmla="*/ 596 w 700"/>
                      <a:gd name="T5" fmla="*/ 1020 h 1217"/>
                      <a:gd name="T6" fmla="*/ 103 w 700"/>
                      <a:gd name="T7" fmla="*/ 1020 h 1217"/>
                      <a:gd name="T8" fmla="*/ 77 w 700"/>
                      <a:gd name="T9" fmla="*/ 994 h 1217"/>
                      <a:gd name="T10" fmla="*/ 77 w 700"/>
                      <a:gd name="T11" fmla="*/ 177 h 1217"/>
                      <a:gd name="T12" fmla="*/ 103 w 700"/>
                      <a:gd name="T13" fmla="*/ 152 h 1217"/>
                      <a:gd name="T14" fmla="*/ 379 w 700"/>
                      <a:gd name="T15" fmla="*/ 152 h 1217"/>
                      <a:gd name="T16" fmla="*/ 596 w 700"/>
                      <a:gd name="T17" fmla="*/ 152 h 1217"/>
                      <a:gd name="T18" fmla="*/ 622 w 700"/>
                      <a:gd name="T19" fmla="*/ 177 h 1217"/>
                      <a:gd name="T20" fmla="*/ 622 w 700"/>
                      <a:gd name="T21" fmla="*/ 235 h 1217"/>
                      <a:gd name="T22" fmla="*/ 627 w 700"/>
                      <a:gd name="T23" fmla="*/ 238 h 1217"/>
                      <a:gd name="T24" fmla="*/ 645 w 700"/>
                      <a:gd name="T25" fmla="*/ 244 h 1217"/>
                      <a:gd name="T26" fmla="*/ 700 w 700"/>
                      <a:gd name="T27" fmla="*/ 274 h 1217"/>
                      <a:gd name="T28" fmla="*/ 700 w 700"/>
                      <a:gd name="T29" fmla="*/ 142 h 1217"/>
                      <a:gd name="T30" fmla="*/ 558 w 700"/>
                      <a:gd name="T31" fmla="*/ 0 h 1217"/>
                      <a:gd name="T32" fmla="*/ 142 w 700"/>
                      <a:gd name="T33" fmla="*/ 0 h 1217"/>
                      <a:gd name="T34" fmla="*/ 0 w 700"/>
                      <a:gd name="T35" fmla="*/ 142 h 1217"/>
                      <a:gd name="T36" fmla="*/ 0 w 700"/>
                      <a:gd name="T37" fmla="*/ 1075 h 1217"/>
                      <a:gd name="T38" fmla="*/ 142 w 700"/>
                      <a:gd name="T39" fmla="*/ 1217 h 1217"/>
                      <a:gd name="T40" fmla="*/ 558 w 700"/>
                      <a:gd name="T41" fmla="*/ 1217 h 1217"/>
                      <a:gd name="T42" fmla="*/ 700 w 700"/>
                      <a:gd name="T43" fmla="*/ 1075 h 1217"/>
                      <a:gd name="T44" fmla="*/ 700 w 700"/>
                      <a:gd name="T45" fmla="*/ 892 h 1217"/>
                      <a:gd name="T46" fmla="*/ 645 w 700"/>
                      <a:gd name="T47" fmla="*/ 922 h 1217"/>
                      <a:gd name="T48" fmla="*/ 622 w 700"/>
                      <a:gd name="T49" fmla="*/ 930 h 1217"/>
                      <a:gd name="T50" fmla="*/ 286 w 700"/>
                      <a:gd name="T51" fmla="*/ 51 h 1217"/>
                      <a:gd name="T52" fmla="*/ 415 w 700"/>
                      <a:gd name="T53" fmla="*/ 51 h 1217"/>
                      <a:gd name="T54" fmla="*/ 441 w 700"/>
                      <a:gd name="T55" fmla="*/ 77 h 1217"/>
                      <a:gd name="T56" fmla="*/ 415 w 700"/>
                      <a:gd name="T57" fmla="*/ 102 h 1217"/>
                      <a:gd name="T58" fmla="*/ 286 w 700"/>
                      <a:gd name="T59" fmla="*/ 102 h 1217"/>
                      <a:gd name="T60" fmla="*/ 260 w 700"/>
                      <a:gd name="T61" fmla="*/ 77 h 1217"/>
                      <a:gd name="T62" fmla="*/ 286 w 700"/>
                      <a:gd name="T63" fmla="*/ 51 h 1217"/>
                      <a:gd name="T64" fmla="*/ 351 w 700"/>
                      <a:gd name="T65" fmla="*/ 1152 h 1217"/>
                      <a:gd name="T66" fmla="*/ 295 w 700"/>
                      <a:gd name="T67" fmla="*/ 1111 h 1217"/>
                      <a:gd name="T68" fmla="*/ 351 w 700"/>
                      <a:gd name="T69" fmla="*/ 1069 h 1217"/>
                      <a:gd name="T70" fmla="*/ 406 w 700"/>
                      <a:gd name="T71" fmla="*/ 1111 h 1217"/>
                      <a:gd name="T72" fmla="*/ 351 w 700"/>
                      <a:gd name="T73" fmla="*/ 1152 h 12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700" h="1217">
                        <a:moveTo>
                          <a:pt x="622" y="930"/>
                        </a:moveTo>
                        <a:cubicBezTo>
                          <a:pt x="622" y="994"/>
                          <a:pt x="622" y="994"/>
                          <a:pt x="622" y="994"/>
                        </a:cubicBezTo>
                        <a:cubicBezTo>
                          <a:pt x="622" y="1008"/>
                          <a:pt x="610" y="1020"/>
                          <a:pt x="596" y="1020"/>
                        </a:cubicBezTo>
                        <a:cubicBezTo>
                          <a:pt x="103" y="1020"/>
                          <a:pt x="103" y="1020"/>
                          <a:pt x="103" y="1020"/>
                        </a:cubicBezTo>
                        <a:cubicBezTo>
                          <a:pt x="88" y="1020"/>
                          <a:pt x="77" y="1008"/>
                          <a:pt x="77" y="994"/>
                        </a:cubicBezTo>
                        <a:cubicBezTo>
                          <a:pt x="77" y="177"/>
                          <a:pt x="77" y="177"/>
                          <a:pt x="77" y="177"/>
                        </a:cubicBezTo>
                        <a:cubicBezTo>
                          <a:pt x="77" y="163"/>
                          <a:pt x="88" y="152"/>
                          <a:pt x="103" y="152"/>
                        </a:cubicBezTo>
                        <a:cubicBezTo>
                          <a:pt x="379" y="152"/>
                          <a:pt x="379" y="152"/>
                          <a:pt x="379" y="152"/>
                        </a:cubicBezTo>
                        <a:cubicBezTo>
                          <a:pt x="596" y="152"/>
                          <a:pt x="596" y="152"/>
                          <a:pt x="596" y="152"/>
                        </a:cubicBezTo>
                        <a:cubicBezTo>
                          <a:pt x="610" y="152"/>
                          <a:pt x="622" y="163"/>
                          <a:pt x="622" y="177"/>
                        </a:cubicBezTo>
                        <a:cubicBezTo>
                          <a:pt x="622" y="235"/>
                          <a:pt x="622" y="235"/>
                          <a:pt x="622" y="235"/>
                        </a:cubicBezTo>
                        <a:cubicBezTo>
                          <a:pt x="624" y="236"/>
                          <a:pt x="625" y="237"/>
                          <a:pt x="627" y="238"/>
                        </a:cubicBezTo>
                        <a:cubicBezTo>
                          <a:pt x="633" y="240"/>
                          <a:pt x="639" y="242"/>
                          <a:pt x="645" y="244"/>
                        </a:cubicBezTo>
                        <a:cubicBezTo>
                          <a:pt x="664" y="252"/>
                          <a:pt x="683" y="262"/>
                          <a:pt x="700" y="274"/>
                        </a:cubicBezTo>
                        <a:cubicBezTo>
                          <a:pt x="700" y="142"/>
                          <a:pt x="700" y="142"/>
                          <a:pt x="700" y="142"/>
                        </a:cubicBezTo>
                        <a:cubicBezTo>
                          <a:pt x="700" y="63"/>
                          <a:pt x="637" y="0"/>
                          <a:pt x="558" y="0"/>
                        </a:cubicBezTo>
                        <a:cubicBezTo>
                          <a:pt x="142" y="0"/>
                          <a:pt x="142" y="0"/>
                          <a:pt x="142" y="0"/>
                        </a:cubicBezTo>
                        <a:cubicBezTo>
                          <a:pt x="64" y="0"/>
                          <a:pt x="0" y="63"/>
                          <a:pt x="0" y="142"/>
                        </a:cubicBezTo>
                        <a:cubicBezTo>
                          <a:pt x="0" y="1075"/>
                          <a:pt x="0" y="1075"/>
                          <a:pt x="0" y="1075"/>
                        </a:cubicBezTo>
                        <a:cubicBezTo>
                          <a:pt x="0" y="1154"/>
                          <a:pt x="64" y="1217"/>
                          <a:pt x="142" y="1217"/>
                        </a:cubicBezTo>
                        <a:cubicBezTo>
                          <a:pt x="558" y="1217"/>
                          <a:pt x="558" y="1217"/>
                          <a:pt x="558" y="1217"/>
                        </a:cubicBezTo>
                        <a:cubicBezTo>
                          <a:pt x="637" y="1217"/>
                          <a:pt x="700" y="1154"/>
                          <a:pt x="700" y="1075"/>
                        </a:cubicBezTo>
                        <a:cubicBezTo>
                          <a:pt x="700" y="892"/>
                          <a:pt x="700" y="892"/>
                          <a:pt x="700" y="892"/>
                        </a:cubicBezTo>
                        <a:cubicBezTo>
                          <a:pt x="683" y="903"/>
                          <a:pt x="664" y="913"/>
                          <a:pt x="645" y="922"/>
                        </a:cubicBezTo>
                        <a:cubicBezTo>
                          <a:pt x="637" y="925"/>
                          <a:pt x="629" y="928"/>
                          <a:pt x="622" y="930"/>
                        </a:cubicBezTo>
                        <a:close/>
                        <a:moveTo>
                          <a:pt x="286" y="51"/>
                        </a:moveTo>
                        <a:cubicBezTo>
                          <a:pt x="415" y="51"/>
                          <a:pt x="415" y="51"/>
                          <a:pt x="415" y="51"/>
                        </a:cubicBezTo>
                        <a:cubicBezTo>
                          <a:pt x="430" y="51"/>
                          <a:pt x="441" y="62"/>
                          <a:pt x="441" y="77"/>
                        </a:cubicBezTo>
                        <a:cubicBezTo>
                          <a:pt x="441" y="91"/>
                          <a:pt x="430" y="102"/>
                          <a:pt x="415" y="102"/>
                        </a:cubicBezTo>
                        <a:cubicBezTo>
                          <a:pt x="286" y="102"/>
                          <a:pt x="286" y="102"/>
                          <a:pt x="286" y="102"/>
                        </a:cubicBezTo>
                        <a:cubicBezTo>
                          <a:pt x="272" y="102"/>
                          <a:pt x="260" y="91"/>
                          <a:pt x="260" y="77"/>
                        </a:cubicBezTo>
                        <a:cubicBezTo>
                          <a:pt x="260" y="62"/>
                          <a:pt x="272" y="51"/>
                          <a:pt x="286" y="51"/>
                        </a:cubicBezTo>
                        <a:close/>
                        <a:moveTo>
                          <a:pt x="351" y="1152"/>
                        </a:moveTo>
                        <a:cubicBezTo>
                          <a:pt x="320" y="1152"/>
                          <a:pt x="295" y="1141"/>
                          <a:pt x="295" y="1111"/>
                        </a:cubicBezTo>
                        <a:cubicBezTo>
                          <a:pt x="295" y="1080"/>
                          <a:pt x="320" y="1069"/>
                          <a:pt x="351" y="1069"/>
                        </a:cubicBezTo>
                        <a:cubicBezTo>
                          <a:pt x="381" y="1069"/>
                          <a:pt x="406" y="1080"/>
                          <a:pt x="406" y="1111"/>
                        </a:cubicBezTo>
                        <a:cubicBezTo>
                          <a:pt x="406" y="1141"/>
                          <a:pt x="381" y="1152"/>
                          <a:pt x="351" y="1152"/>
                        </a:cubicBezTo>
                        <a:close/>
                      </a:path>
                    </a:pathLst>
                  </a:cu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" name="Freeform 43"/>
                  <p:cNvSpPr>
                    <a:spLocks noEditPoints="1"/>
                  </p:cNvSpPr>
                  <p:nvPr/>
                </p:nvSpPr>
                <p:spPr bwMode="auto">
                  <a:xfrm>
                    <a:off x="13482638" y="2609850"/>
                    <a:ext cx="1471613" cy="2054225"/>
                  </a:xfrm>
                  <a:custGeom>
                    <a:avLst/>
                    <a:gdLst>
                      <a:gd name="T0" fmla="*/ 417 w 494"/>
                      <a:gd name="T1" fmla="*/ 148 h 691"/>
                      <a:gd name="T2" fmla="*/ 101 w 494"/>
                      <a:gd name="T3" fmla="*/ 68 h 691"/>
                      <a:gd name="T4" fmla="*/ 95 w 494"/>
                      <a:gd name="T5" fmla="*/ 46 h 691"/>
                      <a:gd name="T6" fmla="*/ 76 w 494"/>
                      <a:gd name="T7" fmla="*/ 10 h 691"/>
                      <a:gd name="T8" fmla="*/ 46 w 494"/>
                      <a:gd name="T9" fmla="*/ 0 h 691"/>
                      <a:gd name="T10" fmla="*/ 0 w 494"/>
                      <a:gd name="T11" fmla="*/ 646 h 691"/>
                      <a:gd name="T12" fmla="*/ 48 w 494"/>
                      <a:gd name="T13" fmla="*/ 691 h 691"/>
                      <a:gd name="T14" fmla="*/ 77 w 494"/>
                      <a:gd name="T15" fmla="*/ 682 h 691"/>
                      <a:gd name="T16" fmla="*/ 95 w 494"/>
                      <a:gd name="T17" fmla="*/ 622 h 691"/>
                      <a:gd name="T18" fmla="*/ 352 w 494"/>
                      <a:gd name="T19" fmla="*/ 598 h 691"/>
                      <a:gd name="T20" fmla="*/ 398 w 494"/>
                      <a:gd name="T21" fmla="*/ 563 h 691"/>
                      <a:gd name="T22" fmla="*/ 408 w 494"/>
                      <a:gd name="T23" fmla="*/ 554 h 691"/>
                      <a:gd name="T24" fmla="*/ 493 w 494"/>
                      <a:gd name="T25" fmla="*/ 368 h 691"/>
                      <a:gd name="T26" fmla="*/ 442 w 494"/>
                      <a:gd name="T27" fmla="*/ 179 h 691"/>
                      <a:gd name="T28" fmla="*/ 357 w 494"/>
                      <a:gd name="T29" fmla="*/ 504 h 691"/>
                      <a:gd name="T30" fmla="*/ 200 w 494"/>
                      <a:gd name="T31" fmla="*/ 569 h 691"/>
                      <a:gd name="T32" fmla="*/ 101 w 494"/>
                      <a:gd name="T33" fmla="*/ 546 h 691"/>
                      <a:gd name="T34" fmla="*/ 95 w 494"/>
                      <a:gd name="T35" fmla="*/ 491 h 691"/>
                      <a:gd name="T36" fmla="*/ 200 w 494"/>
                      <a:gd name="T37" fmla="*/ 525 h 691"/>
                      <a:gd name="T38" fmla="*/ 233 w 494"/>
                      <a:gd name="T39" fmla="*/ 522 h 691"/>
                      <a:gd name="T40" fmla="*/ 379 w 494"/>
                      <a:gd name="T41" fmla="*/ 346 h 691"/>
                      <a:gd name="T42" fmla="*/ 233 w 494"/>
                      <a:gd name="T43" fmla="*/ 170 h 691"/>
                      <a:gd name="T44" fmla="*/ 200 w 494"/>
                      <a:gd name="T45" fmla="*/ 167 h 691"/>
                      <a:gd name="T46" fmla="*/ 95 w 494"/>
                      <a:gd name="T47" fmla="*/ 200 h 691"/>
                      <a:gd name="T48" fmla="*/ 101 w 494"/>
                      <a:gd name="T49" fmla="*/ 146 h 691"/>
                      <a:gd name="T50" fmla="*/ 200 w 494"/>
                      <a:gd name="T51" fmla="*/ 123 h 691"/>
                      <a:gd name="T52" fmla="*/ 357 w 494"/>
                      <a:gd name="T53" fmla="*/ 188 h 691"/>
                      <a:gd name="T54" fmla="*/ 357 w 494"/>
                      <a:gd name="T55" fmla="*/ 504 h 691"/>
                      <a:gd name="T56" fmla="*/ 153 w 494"/>
                      <a:gd name="T57" fmla="*/ 338 h 691"/>
                      <a:gd name="T58" fmla="*/ 183 w 494"/>
                      <a:gd name="T59" fmla="*/ 240 h 691"/>
                      <a:gd name="T60" fmla="*/ 193 w 494"/>
                      <a:gd name="T61" fmla="*/ 209 h 691"/>
                      <a:gd name="T62" fmla="*/ 223 w 494"/>
                      <a:gd name="T63" fmla="*/ 217 h 691"/>
                      <a:gd name="T64" fmla="*/ 257 w 494"/>
                      <a:gd name="T65" fmla="*/ 249 h 691"/>
                      <a:gd name="T66" fmla="*/ 254 w 494"/>
                      <a:gd name="T67" fmla="*/ 282 h 691"/>
                      <a:gd name="T68" fmla="*/ 239 w 494"/>
                      <a:gd name="T69" fmla="*/ 288 h 691"/>
                      <a:gd name="T70" fmla="*/ 184 w 494"/>
                      <a:gd name="T71" fmla="*/ 294 h 691"/>
                      <a:gd name="T72" fmla="*/ 255 w 494"/>
                      <a:gd name="T73" fmla="*/ 345 h 691"/>
                      <a:gd name="T74" fmla="*/ 223 w 494"/>
                      <a:gd name="T75" fmla="*/ 447 h 691"/>
                      <a:gd name="T76" fmla="*/ 210 w 494"/>
                      <a:gd name="T77" fmla="*/ 479 h 691"/>
                      <a:gd name="T78" fmla="*/ 177 w 494"/>
                      <a:gd name="T79" fmla="*/ 470 h 691"/>
                      <a:gd name="T80" fmla="*/ 136 w 494"/>
                      <a:gd name="T81" fmla="*/ 434 h 691"/>
                      <a:gd name="T82" fmla="*/ 141 w 494"/>
                      <a:gd name="T83" fmla="*/ 401 h 691"/>
                      <a:gd name="T84" fmla="*/ 157 w 494"/>
                      <a:gd name="T85" fmla="*/ 396 h 691"/>
                      <a:gd name="T86" fmla="*/ 221 w 494"/>
                      <a:gd name="T87" fmla="*/ 388 h 6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494" h="691">
                        <a:moveTo>
                          <a:pt x="432" y="165"/>
                        </a:moveTo>
                        <a:cubicBezTo>
                          <a:pt x="427" y="159"/>
                          <a:pt x="422" y="153"/>
                          <a:pt x="417" y="148"/>
                        </a:cubicBezTo>
                        <a:cubicBezTo>
                          <a:pt x="363" y="89"/>
                          <a:pt x="286" y="51"/>
                          <a:pt x="200" y="51"/>
                        </a:cubicBezTo>
                        <a:cubicBezTo>
                          <a:pt x="165" y="51"/>
                          <a:pt x="132" y="57"/>
                          <a:pt x="101" y="68"/>
                        </a:cubicBezTo>
                        <a:cubicBezTo>
                          <a:pt x="99" y="69"/>
                          <a:pt x="97" y="70"/>
                          <a:pt x="95" y="71"/>
                        </a:cubicBezTo>
                        <a:cubicBezTo>
                          <a:pt x="95" y="46"/>
                          <a:pt x="95" y="46"/>
                          <a:pt x="95" y="46"/>
                        </a:cubicBezTo>
                        <a:cubicBezTo>
                          <a:pt x="95" y="31"/>
                          <a:pt x="88" y="19"/>
                          <a:pt x="77" y="10"/>
                        </a:cubicBezTo>
                        <a:cubicBezTo>
                          <a:pt x="77" y="10"/>
                          <a:pt x="77" y="10"/>
                          <a:pt x="76" y="10"/>
                        </a:cubicBezTo>
                        <a:cubicBezTo>
                          <a:pt x="69" y="4"/>
                          <a:pt x="59" y="0"/>
                          <a:pt x="48" y="0"/>
                        </a:cubicBezTo>
                        <a:cubicBezTo>
                          <a:pt x="46" y="0"/>
                          <a:pt x="46" y="0"/>
                          <a:pt x="46" y="0"/>
                        </a:cubicBezTo>
                        <a:cubicBezTo>
                          <a:pt x="21" y="0"/>
                          <a:pt x="0" y="21"/>
                          <a:pt x="0" y="46"/>
                        </a:cubicBezTo>
                        <a:cubicBezTo>
                          <a:pt x="0" y="646"/>
                          <a:pt x="0" y="646"/>
                          <a:pt x="0" y="646"/>
                        </a:cubicBezTo>
                        <a:cubicBezTo>
                          <a:pt x="0" y="671"/>
                          <a:pt x="21" y="691"/>
                          <a:pt x="46" y="691"/>
                        </a:cubicBezTo>
                        <a:cubicBezTo>
                          <a:pt x="48" y="691"/>
                          <a:pt x="48" y="691"/>
                          <a:pt x="48" y="691"/>
                        </a:cubicBezTo>
                        <a:cubicBezTo>
                          <a:pt x="59" y="691"/>
                          <a:pt x="69" y="688"/>
                          <a:pt x="76" y="682"/>
                        </a:cubicBezTo>
                        <a:cubicBezTo>
                          <a:pt x="77" y="682"/>
                          <a:pt x="77" y="682"/>
                          <a:pt x="77" y="682"/>
                        </a:cubicBezTo>
                        <a:cubicBezTo>
                          <a:pt x="88" y="673"/>
                          <a:pt x="95" y="660"/>
                          <a:pt x="95" y="646"/>
                        </a:cubicBezTo>
                        <a:cubicBezTo>
                          <a:pt x="95" y="622"/>
                          <a:pt x="95" y="622"/>
                          <a:pt x="95" y="622"/>
                        </a:cubicBezTo>
                        <a:cubicBezTo>
                          <a:pt x="127" y="633"/>
                          <a:pt x="163" y="641"/>
                          <a:pt x="199" y="641"/>
                        </a:cubicBezTo>
                        <a:cubicBezTo>
                          <a:pt x="255" y="641"/>
                          <a:pt x="308" y="625"/>
                          <a:pt x="352" y="598"/>
                        </a:cubicBezTo>
                        <a:cubicBezTo>
                          <a:pt x="366" y="589"/>
                          <a:pt x="380" y="580"/>
                          <a:pt x="392" y="569"/>
                        </a:cubicBezTo>
                        <a:cubicBezTo>
                          <a:pt x="394" y="567"/>
                          <a:pt x="396" y="565"/>
                          <a:pt x="398" y="563"/>
                        </a:cubicBezTo>
                        <a:cubicBezTo>
                          <a:pt x="398" y="563"/>
                          <a:pt x="398" y="563"/>
                          <a:pt x="398" y="563"/>
                        </a:cubicBezTo>
                        <a:cubicBezTo>
                          <a:pt x="401" y="560"/>
                          <a:pt x="405" y="557"/>
                          <a:pt x="408" y="554"/>
                        </a:cubicBezTo>
                        <a:cubicBezTo>
                          <a:pt x="409" y="553"/>
                          <a:pt x="411" y="551"/>
                          <a:pt x="413" y="549"/>
                        </a:cubicBezTo>
                        <a:cubicBezTo>
                          <a:pt x="458" y="501"/>
                          <a:pt x="488" y="438"/>
                          <a:pt x="493" y="368"/>
                        </a:cubicBezTo>
                        <a:cubicBezTo>
                          <a:pt x="494" y="361"/>
                          <a:pt x="494" y="353"/>
                          <a:pt x="494" y="346"/>
                        </a:cubicBezTo>
                        <a:cubicBezTo>
                          <a:pt x="494" y="284"/>
                          <a:pt x="475" y="226"/>
                          <a:pt x="442" y="179"/>
                        </a:cubicBezTo>
                        <a:cubicBezTo>
                          <a:pt x="439" y="174"/>
                          <a:pt x="435" y="170"/>
                          <a:pt x="432" y="165"/>
                        </a:cubicBezTo>
                        <a:close/>
                        <a:moveTo>
                          <a:pt x="357" y="504"/>
                        </a:moveTo>
                        <a:cubicBezTo>
                          <a:pt x="325" y="536"/>
                          <a:pt x="285" y="557"/>
                          <a:pt x="241" y="565"/>
                        </a:cubicBezTo>
                        <a:cubicBezTo>
                          <a:pt x="228" y="567"/>
                          <a:pt x="214" y="569"/>
                          <a:pt x="200" y="569"/>
                        </a:cubicBezTo>
                        <a:cubicBezTo>
                          <a:pt x="200" y="569"/>
                          <a:pt x="200" y="569"/>
                          <a:pt x="200" y="569"/>
                        </a:cubicBezTo>
                        <a:cubicBezTo>
                          <a:pt x="165" y="569"/>
                          <a:pt x="130" y="561"/>
                          <a:pt x="101" y="546"/>
                        </a:cubicBezTo>
                        <a:cubicBezTo>
                          <a:pt x="99" y="545"/>
                          <a:pt x="97" y="544"/>
                          <a:pt x="95" y="543"/>
                        </a:cubicBezTo>
                        <a:cubicBezTo>
                          <a:pt x="95" y="491"/>
                          <a:pt x="95" y="491"/>
                          <a:pt x="95" y="491"/>
                        </a:cubicBezTo>
                        <a:cubicBezTo>
                          <a:pt x="97" y="493"/>
                          <a:pt x="99" y="494"/>
                          <a:pt x="101" y="495"/>
                        </a:cubicBezTo>
                        <a:cubicBezTo>
                          <a:pt x="130" y="515"/>
                          <a:pt x="164" y="525"/>
                          <a:pt x="200" y="525"/>
                        </a:cubicBezTo>
                        <a:cubicBezTo>
                          <a:pt x="200" y="525"/>
                          <a:pt x="200" y="525"/>
                          <a:pt x="200" y="525"/>
                        </a:cubicBezTo>
                        <a:cubicBezTo>
                          <a:pt x="211" y="525"/>
                          <a:pt x="222" y="524"/>
                          <a:pt x="233" y="522"/>
                        </a:cubicBezTo>
                        <a:cubicBezTo>
                          <a:pt x="268" y="516"/>
                          <a:pt x="300" y="499"/>
                          <a:pt x="326" y="473"/>
                        </a:cubicBezTo>
                        <a:cubicBezTo>
                          <a:pt x="360" y="439"/>
                          <a:pt x="379" y="394"/>
                          <a:pt x="379" y="346"/>
                        </a:cubicBezTo>
                        <a:cubicBezTo>
                          <a:pt x="379" y="298"/>
                          <a:pt x="360" y="253"/>
                          <a:pt x="326" y="219"/>
                        </a:cubicBezTo>
                        <a:cubicBezTo>
                          <a:pt x="300" y="193"/>
                          <a:pt x="268" y="176"/>
                          <a:pt x="233" y="170"/>
                        </a:cubicBezTo>
                        <a:cubicBezTo>
                          <a:pt x="222" y="168"/>
                          <a:pt x="211" y="167"/>
                          <a:pt x="200" y="167"/>
                        </a:cubicBezTo>
                        <a:cubicBezTo>
                          <a:pt x="200" y="167"/>
                          <a:pt x="200" y="167"/>
                          <a:pt x="200" y="167"/>
                        </a:cubicBezTo>
                        <a:cubicBezTo>
                          <a:pt x="164" y="167"/>
                          <a:pt x="130" y="177"/>
                          <a:pt x="101" y="196"/>
                        </a:cubicBezTo>
                        <a:cubicBezTo>
                          <a:pt x="99" y="198"/>
                          <a:pt x="97" y="199"/>
                          <a:pt x="95" y="200"/>
                        </a:cubicBezTo>
                        <a:cubicBezTo>
                          <a:pt x="95" y="149"/>
                          <a:pt x="95" y="149"/>
                          <a:pt x="95" y="149"/>
                        </a:cubicBezTo>
                        <a:cubicBezTo>
                          <a:pt x="97" y="148"/>
                          <a:pt x="99" y="147"/>
                          <a:pt x="101" y="146"/>
                        </a:cubicBezTo>
                        <a:cubicBezTo>
                          <a:pt x="130" y="131"/>
                          <a:pt x="165" y="123"/>
                          <a:pt x="200" y="123"/>
                        </a:cubicBezTo>
                        <a:cubicBezTo>
                          <a:pt x="200" y="123"/>
                          <a:pt x="200" y="123"/>
                          <a:pt x="200" y="123"/>
                        </a:cubicBezTo>
                        <a:cubicBezTo>
                          <a:pt x="214" y="123"/>
                          <a:pt x="228" y="124"/>
                          <a:pt x="241" y="127"/>
                        </a:cubicBezTo>
                        <a:cubicBezTo>
                          <a:pt x="285" y="135"/>
                          <a:pt x="325" y="156"/>
                          <a:pt x="357" y="188"/>
                        </a:cubicBezTo>
                        <a:cubicBezTo>
                          <a:pt x="399" y="230"/>
                          <a:pt x="422" y="286"/>
                          <a:pt x="422" y="346"/>
                        </a:cubicBezTo>
                        <a:cubicBezTo>
                          <a:pt x="422" y="405"/>
                          <a:pt x="399" y="461"/>
                          <a:pt x="357" y="504"/>
                        </a:cubicBezTo>
                        <a:close/>
                        <a:moveTo>
                          <a:pt x="193" y="361"/>
                        </a:moveTo>
                        <a:cubicBezTo>
                          <a:pt x="175" y="354"/>
                          <a:pt x="162" y="346"/>
                          <a:pt x="153" y="338"/>
                        </a:cubicBezTo>
                        <a:cubicBezTo>
                          <a:pt x="141" y="327"/>
                          <a:pt x="136" y="314"/>
                          <a:pt x="136" y="298"/>
                        </a:cubicBezTo>
                        <a:cubicBezTo>
                          <a:pt x="136" y="268"/>
                          <a:pt x="153" y="247"/>
                          <a:pt x="183" y="240"/>
                        </a:cubicBezTo>
                        <a:cubicBezTo>
                          <a:pt x="183" y="217"/>
                          <a:pt x="183" y="217"/>
                          <a:pt x="183" y="217"/>
                        </a:cubicBezTo>
                        <a:cubicBezTo>
                          <a:pt x="183" y="214"/>
                          <a:pt x="184" y="209"/>
                          <a:pt x="193" y="209"/>
                        </a:cubicBezTo>
                        <a:cubicBezTo>
                          <a:pt x="212" y="209"/>
                          <a:pt x="212" y="209"/>
                          <a:pt x="212" y="209"/>
                        </a:cubicBezTo>
                        <a:cubicBezTo>
                          <a:pt x="222" y="209"/>
                          <a:pt x="223" y="215"/>
                          <a:pt x="223" y="217"/>
                        </a:cubicBezTo>
                        <a:cubicBezTo>
                          <a:pt x="223" y="237"/>
                          <a:pt x="223" y="237"/>
                          <a:pt x="223" y="237"/>
                        </a:cubicBezTo>
                        <a:cubicBezTo>
                          <a:pt x="236" y="239"/>
                          <a:pt x="246" y="242"/>
                          <a:pt x="257" y="249"/>
                        </a:cubicBezTo>
                        <a:cubicBezTo>
                          <a:pt x="262" y="251"/>
                          <a:pt x="264" y="257"/>
                          <a:pt x="262" y="262"/>
                        </a:cubicBezTo>
                        <a:cubicBezTo>
                          <a:pt x="254" y="282"/>
                          <a:pt x="254" y="282"/>
                          <a:pt x="254" y="282"/>
                        </a:cubicBezTo>
                        <a:cubicBezTo>
                          <a:pt x="253" y="285"/>
                          <a:pt x="251" y="287"/>
                          <a:pt x="248" y="288"/>
                        </a:cubicBezTo>
                        <a:cubicBezTo>
                          <a:pt x="245" y="289"/>
                          <a:pt x="242" y="289"/>
                          <a:pt x="239" y="288"/>
                        </a:cubicBezTo>
                        <a:cubicBezTo>
                          <a:pt x="234" y="285"/>
                          <a:pt x="223" y="278"/>
                          <a:pt x="206" y="278"/>
                        </a:cubicBezTo>
                        <a:cubicBezTo>
                          <a:pt x="185" y="278"/>
                          <a:pt x="184" y="291"/>
                          <a:pt x="184" y="294"/>
                        </a:cubicBezTo>
                        <a:cubicBezTo>
                          <a:pt x="184" y="302"/>
                          <a:pt x="186" y="307"/>
                          <a:pt x="215" y="319"/>
                        </a:cubicBezTo>
                        <a:cubicBezTo>
                          <a:pt x="233" y="327"/>
                          <a:pt x="246" y="335"/>
                          <a:pt x="255" y="345"/>
                        </a:cubicBezTo>
                        <a:cubicBezTo>
                          <a:pt x="265" y="357"/>
                          <a:pt x="270" y="370"/>
                          <a:pt x="270" y="386"/>
                        </a:cubicBezTo>
                        <a:cubicBezTo>
                          <a:pt x="270" y="414"/>
                          <a:pt x="251" y="438"/>
                          <a:pt x="223" y="447"/>
                        </a:cubicBezTo>
                        <a:cubicBezTo>
                          <a:pt x="223" y="470"/>
                          <a:pt x="223" y="470"/>
                          <a:pt x="223" y="470"/>
                        </a:cubicBezTo>
                        <a:cubicBezTo>
                          <a:pt x="223" y="476"/>
                          <a:pt x="216" y="479"/>
                          <a:pt x="210" y="479"/>
                        </a:cubicBezTo>
                        <a:cubicBezTo>
                          <a:pt x="191" y="479"/>
                          <a:pt x="191" y="479"/>
                          <a:pt x="191" y="479"/>
                        </a:cubicBezTo>
                        <a:cubicBezTo>
                          <a:pt x="185" y="479"/>
                          <a:pt x="177" y="476"/>
                          <a:pt x="177" y="470"/>
                        </a:cubicBezTo>
                        <a:cubicBezTo>
                          <a:pt x="177" y="449"/>
                          <a:pt x="177" y="449"/>
                          <a:pt x="177" y="449"/>
                        </a:cubicBezTo>
                        <a:cubicBezTo>
                          <a:pt x="166" y="447"/>
                          <a:pt x="146" y="442"/>
                          <a:pt x="136" y="434"/>
                        </a:cubicBezTo>
                        <a:cubicBezTo>
                          <a:pt x="132" y="432"/>
                          <a:pt x="131" y="427"/>
                          <a:pt x="133" y="422"/>
                        </a:cubicBezTo>
                        <a:cubicBezTo>
                          <a:pt x="141" y="401"/>
                          <a:pt x="141" y="401"/>
                          <a:pt x="141" y="401"/>
                        </a:cubicBezTo>
                        <a:cubicBezTo>
                          <a:pt x="142" y="398"/>
                          <a:pt x="144" y="396"/>
                          <a:pt x="148" y="395"/>
                        </a:cubicBezTo>
                        <a:cubicBezTo>
                          <a:pt x="151" y="394"/>
                          <a:pt x="154" y="394"/>
                          <a:pt x="157" y="396"/>
                        </a:cubicBezTo>
                        <a:cubicBezTo>
                          <a:pt x="168" y="403"/>
                          <a:pt x="182" y="407"/>
                          <a:pt x="195" y="407"/>
                        </a:cubicBezTo>
                        <a:cubicBezTo>
                          <a:pt x="211" y="407"/>
                          <a:pt x="221" y="399"/>
                          <a:pt x="221" y="388"/>
                        </a:cubicBezTo>
                        <a:cubicBezTo>
                          <a:pt x="221" y="382"/>
                          <a:pt x="221" y="372"/>
                          <a:pt x="193" y="36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Freeform 44"/>
                  <p:cNvSpPr>
                    <a:spLocks/>
                  </p:cNvSpPr>
                  <p:nvPr/>
                </p:nvSpPr>
                <p:spPr bwMode="auto">
                  <a:xfrm>
                    <a:off x="15165388" y="3748088"/>
                    <a:ext cx="823913" cy="636588"/>
                  </a:xfrm>
                  <a:custGeom>
                    <a:avLst/>
                    <a:gdLst>
                      <a:gd name="T0" fmla="*/ 266 w 277"/>
                      <a:gd name="T1" fmla="*/ 49 h 214"/>
                      <a:gd name="T2" fmla="*/ 133 w 277"/>
                      <a:gd name="T3" fmla="*/ 49 h 214"/>
                      <a:gd name="T4" fmla="*/ 133 w 277"/>
                      <a:gd name="T5" fmla="*/ 18 h 214"/>
                      <a:gd name="T6" fmla="*/ 111 w 277"/>
                      <a:gd name="T7" fmla="*/ 7 h 214"/>
                      <a:gd name="T8" fmla="*/ 10 w 277"/>
                      <a:gd name="T9" fmla="*/ 90 h 214"/>
                      <a:gd name="T10" fmla="*/ 10 w 277"/>
                      <a:gd name="T11" fmla="*/ 123 h 214"/>
                      <a:gd name="T12" fmla="*/ 111 w 277"/>
                      <a:gd name="T13" fmla="*/ 206 h 214"/>
                      <a:gd name="T14" fmla="*/ 133 w 277"/>
                      <a:gd name="T15" fmla="*/ 196 h 214"/>
                      <a:gd name="T16" fmla="*/ 133 w 277"/>
                      <a:gd name="T17" fmla="*/ 166 h 214"/>
                      <a:gd name="T18" fmla="*/ 266 w 277"/>
                      <a:gd name="T19" fmla="*/ 166 h 214"/>
                      <a:gd name="T20" fmla="*/ 277 w 277"/>
                      <a:gd name="T21" fmla="*/ 155 h 214"/>
                      <a:gd name="T22" fmla="*/ 277 w 277"/>
                      <a:gd name="T23" fmla="*/ 61 h 214"/>
                      <a:gd name="T24" fmla="*/ 266 w 277"/>
                      <a:gd name="T25" fmla="*/ 49 h 2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77" h="214">
                        <a:moveTo>
                          <a:pt x="266" y="49"/>
                        </a:moveTo>
                        <a:cubicBezTo>
                          <a:pt x="133" y="49"/>
                          <a:pt x="133" y="49"/>
                          <a:pt x="133" y="49"/>
                        </a:cubicBezTo>
                        <a:cubicBezTo>
                          <a:pt x="133" y="18"/>
                          <a:pt x="133" y="18"/>
                          <a:pt x="133" y="18"/>
                        </a:cubicBezTo>
                        <a:cubicBezTo>
                          <a:pt x="133" y="6"/>
                          <a:pt x="120" y="0"/>
                          <a:pt x="111" y="7"/>
                        </a:cubicBezTo>
                        <a:cubicBezTo>
                          <a:pt x="10" y="90"/>
                          <a:pt x="10" y="90"/>
                          <a:pt x="10" y="90"/>
                        </a:cubicBezTo>
                        <a:cubicBezTo>
                          <a:pt x="0" y="99"/>
                          <a:pt x="0" y="115"/>
                          <a:pt x="10" y="123"/>
                        </a:cubicBezTo>
                        <a:cubicBezTo>
                          <a:pt x="111" y="206"/>
                          <a:pt x="111" y="206"/>
                          <a:pt x="111" y="206"/>
                        </a:cubicBezTo>
                        <a:cubicBezTo>
                          <a:pt x="120" y="214"/>
                          <a:pt x="133" y="207"/>
                          <a:pt x="133" y="196"/>
                        </a:cubicBezTo>
                        <a:cubicBezTo>
                          <a:pt x="133" y="166"/>
                          <a:pt x="133" y="166"/>
                          <a:pt x="133" y="166"/>
                        </a:cubicBezTo>
                        <a:cubicBezTo>
                          <a:pt x="266" y="166"/>
                          <a:pt x="266" y="166"/>
                          <a:pt x="266" y="166"/>
                        </a:cubicBezTo>
                        <a:cubicBezTo>
                          <a:pt x="273" y="166"/>
                          <a:pt x="277" y="161"/>
                          <a:pt x="277" y="155"/>
                        </a:cubicBezTo>
                        <a:cubicBezTo>
                          <a:pt x="277" y="61"/>
                          <a:pt x="277" y="61"/>
                          <a:pt x="277" y="61"/>
                        </a:cubicBezTo>
                        <a:cubicBezTo>
                          <a:pt x="277" y="54"/>
                          <a:pt x="273" y="49"/>
                          <a:pt x="266" y="49"/>
                        </a:cubicBezTo>
                        <a:close/>
                      </a:path>
                    </a:pathLst>
                  </a:cu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" name="Freeform 45"/>
                  <p:cNvSpPr>
                    <a:spLocks/>
                  </p:cNvSpPr>
                  <p:nvPr/>
                </p:nvSpPr>
                <p:spPr bwMode="auto">
                  <a:xfrm>
                    <a:off x="15206663" y="2909888"/>
                    <a:ext cx="830263" cy="633413"/>
                  </a:xfrm>
                  <a:custGeom>
                    <a:avLst/>
                    <a:gdLst>
                      <a:gd name="T0" fmla="*/ 269 w 279"/>
                      <a:gd name="T1" fmla="*/ 90 h 213"/>
                      <a:gd name="T2" fmla="*/ 167 w 279"/>
                      <a:gd name="T3" fmla="*/ 7 h 213"/>
                      <a:gd name="T4" fmla="*/ 145 w 279"/>
                      <a:gd name="T5" fmla="*/ 18 h 213"/>
                      <a:gd name="T6" fmla="*/ 145 w 279"/>
                      <a:gd name="T7" fmla="*/ 48 h 213"/>
                      <a:gd name="T8" fmla="*/ 13 w 279"/>
                      <a:gd name="T9" fmla="*/ 48 h 213"/>
                      <a:gd name="T10" fmla="*/ 0 w 279"/>
                      <a:gd name="T11" fmla="*/ 59 h 213"/>
                      <a:gd name="T12" fmla="*/ 0 w 279"/>
                      <a:gd name="T13" fmla="*/ 153 h 213"/>
                      <a:gd name="T14" fmla="*/ 13 w 279"/>
                      <a:gd name="T15" fmla="*/ 165 h 213"/>
                      <a:gd name="T16" fmla="*/ 145 w 279"/>
                      <a:gd name="T17" fmla="*/ 165 h 213"/>
                      <a:gd name="T18" fmla="*/ 145 w 279"/>
                      <a:gd name="T19" fmla="*/ 195 h 213"/>
                      <a:gd name="T20" fmla="*/ 167 w 279"/>
                      <a:gd name="T21" fmla="*/ 206 h 213"/>
                      <a:gd name="T22" fmla="*/ 268 w 279"/>
                      <a:gd name="T23" fmla="*/ 123 h 213"/>
                      <a:gd name="T24" fmla="*/ 269 w 279"/>
                      <a:gd name="T25" fmla="*/ 90 h 2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79" h="213">
                        <a:moveTo>
                          <a:pt x="269" y="90"/>
                        </a:moveTo>
                        <a:cubicBezTo>
                          <a:pt x="167" y="7"/>
                          <a:pt x="167" y="7"/>
                          <a:pt x="167" y="7"/>
                        </a:cubicBezTo>
                        <a:cubicBezTo>
                          <a:pt x="158" y="0"/>
                          <a:pt x="145" y="6"/>
                          <a:pt x="145" y="18"/>
                        </a:cubicBezTo>
                        <a:cubicBezTo>
                          <a:pt x="145" y="48"/>
                          <a:pt x="145" y="48"/>
                          <a:pt x="145" y="48"/>
                        </a:cubicBezTo>
                        <a:cubicBezTo>
                          <a:pt x="13" y="48"/>
                          <a:pt x="13" y="48"/>
                          <a:pt x="13" y="48"/>
                        </a:cubicBezTo>
                        <a:cubicBezTo>
                          <a:pt x="7" y="48"/>
                          <a:pt x="0" y="52"/>
                          <a:pt x="0" y="59"/>
                        </a:cubicBezTo>
                        <a:cubicBezTo>
                          <a:pt x="0" y="153"/>
                          <a:pt x="0" y="153"/>
                          <a:pt x="0" y="153"/>
                        </a:cubicBezTo>
                        <a:cubicBezTo>
                          <a:pt x="0" y="159"/>
                          <a:pt x="7" y="165"/>
                          <a:pt x="13" y="165"/>
                        </a:cubicBezTo>
                        <a:cubicBezTo>
                          <a:pt x="145" y="165"/>
                          <a:pt x="145" y="165"/>
                          <a:pt x="145" y="165"/>
                        </a:cubicBezTo>
                        <a:cubicBezTo>
                          <a:pt x="145" y="195"/>
                          <a:pt x="145" y="195"/>
                          <a:pt x="145" y="195"/>
                        </a:cubicBezTo>
                        <a:cubicBezTo>
                          <a:pt x="145" y="207"/>
                          <a:pt x="158" y="213"/>
                          <a:pt x="167" y="206"/>
                        </a:cubicBezTo>
                        <a:cubicBezTo>
                          <a:pt x="268" y="123"/>
                          <a:pt x="268" y="123"/>
                          <a:pt x="268" y="123"/>
                        </a:cubicBezTo>
                        <a:cubicBezTo>
                          <a:pt x="279" y="115"/>
                          <a:pt x="279" y="99"/>
                          <a:pt x="269" y="90"/>
                        </a:cubicBezTo>
                        <a:close/>
                      </a:path>
                    </a:pathLst>
                  </a:cu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6" name="Freeform: Shape 25"/>
                <p:cNvSpPr>
                  <a:spLocks noChangeAspect="1"/>
                </p:cNvSpPr>
                <p:nvPr/>
              </p:nvSpPr>
              <p:spPr>
                <a:xfrm>
                  <a:off x="8979294" y="8670637"/>
                  <a:ext cx="3214556" cy="502920"/>
                </a:xfrm>
                <a:custGeom>
                  <a:avLst/>
                  <a:gdLst>
                    <a:gd name="connsiteX0" fmla="*/ 2172368 w 2484052"/>
                    <a:gd name="connsiteY0" fmla="*/ 332375 h 388632"/>
                    <a:gd name="connsiteX1" fmla="*/ 2144826 w 2484052"/>
                    <a:gd name="connsiteY1" fmla="*/ 336379 h 388632"/>
                    <a:gd name="connsiteX2" fmla="*/ 2122754 w 2484052"/>
                    <a:gd name="connsiteY2" fmla="*/ 343656 h 388632"/>
                    <a:gd name="connsiteX3" fmla="*/ 2116404 w 2484052"/>
                    <a:gd name="connsiteY3" fmla="*/ 360015 h 388632"/>
                    <a:gd name="connsiteX4" fmla="*/ 2122314 w 2484052"/>
                    <a:gd name="connsiteY4" fmla="*/ 374665 h 388632"/>
                    <a:gd name="connsiteX5" fmla="*/ 2138770 w 2484052"/>
                    <a:gd name="connsiteY5" fmla="*/ 380428 h 388632"/>
                    <a:gd name="connsiteX6" fmla="*/ 2162798 w 2484052"/>
                    <a:gd name="connsiteY6" fmla="*/ 369733 h 388632"/>
                    <a:gd name="connsiteX7" fmla="*/ 2172368 w 2484052"/>
                    <a:gd name="connsiteY7" fmla="*/ 342142 h 388632"/>
                    <a:gd name="connsiteX8" fmla="*/ 1324644 w 2484052"/>
                    <a:gd name="connsiteY8" fmla="*/ 332375 h 388632"/>
                    <a:gd name="connsiteX9" fmla="*/ 1297102 w 2484052"/>
                    <a:gd name="connsiteY9" fmla="*/ 336379 h 388632"/>
                    <a:gd name="connsiteX10" fmla="*/ 1275028 w 2484052"/>
                    <a:gd name="connsiteY10" fmla="*/ 343656 h 388632"/>
                    <a:gd name="connsiteX11" fmla="*/ 1268680 w 2484052"/>
                    <a:gd name="connsiteY11" fmla="*/ 360015 h 388632"/>
                    <a:gd name="connsiteX12" fmla="*/ 1274588 w 2484052"/>
                    <a:gd name="connsiteY12" fmla="*/ 374665 h 388632"/>
                    <a:gd name="connsiteX13" fmla="*/ 1291046 w 2484052"/>
                    <a:gd name="connsiteY13" fmla="*/ 380428 h 388632"/>
                    <a:gd name="connsiteX14" fmla="*/ 1315072 w 2484052"/>
                    <a:gd name="connsiteY14" fmla="*/ 369733 h 388632"/>
                    <a:gd name="connsiteX15" fmla="*/ 1324644 w 2484052"/>
                    <a:gd name="connsiteY15" fmla="*/ 342142 h 388632"/>
                    <a:gd name="connsiteX16" fmla="*/ 1162718 w 2484052"/>
                    <a:gd name="connsiteY16" fmla="*/ 332375 h 388632"/>
                    <a:gd name="connsiteX17" fmla="*/ 1135176 w 2484052"/>
                    <a:gd name="connsiteY17" fmla="*/ 336379 h 388632"/>
                    <a:gd name="connsiteX18" fmla="*/ 1113104 w 2484052"/>
                    <a:gd name="connsiteY18" fmla="*/ 343656 h 388632"/>
                    <a:gd name="connsiteX19" fmla="*/ 1106754 w 2484052"/>
                    <a:gd name="connsiteY19" fmla="*/ 360015 h 388632"/>
                    <a:gd name="connsiteX20" fmla="*/ 1112664 w 2484052"/>
                    <a:gd name="connsiteY20" fmla="*/ 374665 h 388632"/>
                    <a:gd name="connsiteX21" fmla="*/ 1129120 w 2484052"/>
                    <a:gd name="connsiteY21" fmla="*/ 380428 h 388632"/>
                    <a:gd name="connsiteX22" fmla="*/ 1153148 w 2484052"/>
                    <a:gd name="connsiteY22" fmla="*/ 369733 h 388632"/>
                    <a:gd name="connsiteX23" fmla="*/ 1162718 w 2484052"/>
                    <a:gd name="connsiteY23" fmla="*/ 342142 h 388632"/>
                    <a:gd name="connsiteX24" fmla="*/ 1610496 w 2484052"/>
                    <a:gd name="connsiteY24" fmla="*/ 291940 h 388632"/>
                    <a:gd name="connsiteX25" fmla="*/ 1582318 w 2484052"/>
                    <a:gd name="connsiteY25" fmla="*/ 303856 h 388632"/>
                    <a:gd name="connsiteX26" fmla="*/ 1571820 w 2484052"/>
                    <a:gd name="connsiteY26" fmla="*/ 336965 h 388632"/>
                    <a:gd name="connsiteX27" fmla="*/ 1582074 w 2484052"/>
                    <a:gd name="connsiteY27" fmla="*/ 368512 h 388632"/>
                    <a:gd name="connsiteX28" fmla="*/ 1610106 w 2484052"/>
                    <a:gd name="connsiteY28" fmla="*/ 380428 h 388632"/>
                    <a:gd name="connsiteX29" fmla="*/ 1637940 w 2484052"/>
                    <a:gd name="connsiteY29" fmla="*/ 368708 h 388632"/>
                    <a:gd name="connsiteX30" fmla="*/ 1647708 w 2484052"/>
                    <a:gd name="connsiteY30" fmla="*/ 336184 h 388632"/>
                    <a:gd name="connsiteX31" fmla="*/ 1637990 w 2484052"/>
                    <a:gd name="connsiteY31" fmla="*/ 303367 h 388632"/>
                    <a:gd name="connsiteX32" fmla="*/ 1610496 w 2484052"/>
                    <a:gd name="connsiteY32" fmla="*/ 291940 h 388632"/>
                    <a:gd name="connsiteX33" fmla="*/ 1462882 w 2484052"/>
                    <a:gd name="connsiteY33" fmla="*/ 291940 h 388632"/>
                    <a:gd name="connsiteX34" fmla="*/ 1435828 w 2484052"/>
                    <a:gd name="connsiteY34" fmla="*/ 303660 h 388632"/>
                    <a:gd name="connsiteX35" fmla="*/ 1426256 w 2484052"/>
                    <a:gd name="connsiteY35" fmla="*/ 331203 h 388632"/>
                    <a:gd name="connsiteX36" fmla="*/ 1426256 w 2484052"/>
                    <a:gd name="connsiteY36" fmla="*/ 343802 h 388632"/>
                    <a:gd name="connsiteX37" fmla="*/ 1435730 w 2484052"/>
                    <a:gd name="connsiteY37" fmla="*/ 369635 h 388632"/>
                    <a:gd name="connsiteX38" fmla="*/ 1460636 w 2484052"/>
                    <a:gd name="connsiteY38" fmla="*/ 380428 h 388632"/>
                    <a:gd name="connsiteX39" fmla="*/ 1485540 w 2484052"/>
                    <a:gd name="connsiteY39" fmla="*/ 367291 h 388632"/>
                    <a:gd name="connsiteX40" fmla="*/ 1495112 w 2484052"/>
                    <a:gd name="connsiteY40" fmla="*/ 332766 h 388632"/>
                    <a:gd name="connsiteX41" fmla="*/ 1486322 w 2484052"/>
                    <a:gd name="connsiteY41" fmla="*/ 302977 h 388632"/>
                    <a:gd name="connsiteX42" fmla="*/ 1462882 w 2484052"/>
                    <a:gd name="connsiteY42" fmla="*/ 291940 h 388632"/>
                    <a:gd name="connsiteX43" fmla="*/ 827004 w 2484052"/>
                    <a:gd name="connsiteY43" fmla="*/ 291940 h 388632"/>
                    <a:gd name="connsiteX44" fmla="*/ 801024 w 2484052"/>
                    <a:gd name="connsiteY44" fmla="*/ 304002 h 388632"/>
                    <a:gd name="connsiteX45" fmla="*/ 790770 w 2484052"/>
                    <a:gd name="connsiteY45" fmla="*/ 337161 h 388632"/>
                    <a:gd name="connsiteX46" fmla="*/ 799998 w 2484052"/>
                    <a:gd name="connsiteY46" fmla="*/ 369147 h 388632"/>
                    <a:gd name="connsiteX47" fmla="*/ 823782 w 2484052"/>
                    <a:gd name="connsiteY47" fmla="*/ 380428 h 388632"/>
                    <a:gd name="connsiteX48" fmla="*/ 850250 w 2484052"/>
                    <a:gd name="connsiteY48" fmla="*/ 369831 h 388632"/>
                    <a:gd name="connsiteX49" fmla="*/ 859626 w 2484052"/>
                    <a:gd name="connsiteY49" fmla="*/ 343997 h 388632"/>
                    <a:gd name="connsiteX50" fmla="*/ 859626 w 2484052"/>
                    <a:gd name="connsiteY50" fmla="*/ 325343 h 388632"/>
                    <a:gd name="connsiteX51" fmla="*/ 850786 w 2484052"/>
                    <a:gd name="connsiteY51" fmla="*/ 301658 h 388632"/>
                    <a:gd name="connsiteX52" fmla="*/ 827004 w 2484052"/>
                    <a:gd name="connsiteY52" fmla="*/ 291940 h 388632"/>
                    <a:gd name="connsiteX53" fmla="*/ 721058 w 2484052"/>
                    <a:gd name="connsiteY53" fmla="*/ 291940 h 388632"/>
                    <a:gd name="connsiteX54" fmla="*/ 697764 w 2484052"/>
                    <a:gd name="connsiteY54" fmla="*/ 301365 h 388632"/>
                    <a:gd name="connsiteX55" fmla="*/ 686386 w 2484052"/>
                    <a:gd name="connsiteY55" fmla="*/ 328371 h 388632"/>
                    <a:gd name="connsiteX56" fmla="*/ 750650 w 2484052"/>
                    <a:gd name="connsiteY56" fmla="*/ 328371 h 388632"/>
                    <a:gd name="connsiteX57" fmla="*/ 742350 w 2484052"/>
                    <a:gd name="connsiteY57" fmla="*/ 301512 h 388632"/>
                    <a:gd name="connsiteX58" fmla="*/ 721058 w 2484052"/>
                    <a:gd name="connsiteY58" fmla="*/ 291940 h 388632"/>
                    <a:gd name="connsiteX59" fmla="*/ 473408 w 2484052"/>
                    <a:gd name="connsiteY59" fmla="*/ 291940 h 388632"/>
                    <a:gd name="connsiteX60" fmla="*/ 450114 w 2484052"/>
                    <a:gd name="connsiteY60" fmla="*/ 301365 h 388632"/>
                    <a:gd name="connsiteX61" fmla="*/ 438736 w 2484052"/>
                    <a:gd name="connsiteY61" fmla="*/ 328371 h 388632"/>
                    <a:gd name="connsiteX62" fmla="*/ 503000 w 2484052"/>
                    <a:gd name="connsiteY62" fmla="*/ 328371 h 388632"/>
                    <a:gd name="connsiteX63" fmla="*/ 494700 w 2484052"/>
                    <a:gd name="connsiteY63" fmla="*/ 301512 h 388632"/>
                    <a:gd name="connsiteX64" fmla="*/ 473408 w 2484052"/>
                    <a:gd name="connsiteY64" fmla="*/ 291940 h 388632"/>
                    <a:gd name="connsiteX65" fmla="*/ 286522 w 2484052"/>
                    <a:gd name="connsiteY65" fmla="*/ 291940 h 388632"/>
                    <a:gd name="connsiteX66" fmla="*/ 258344 w 2484052"/>
                    <a:gd name="connsiteY66" fmla="*/ 303856 h 388632"/>
                    <a:gd name="connsiteX67" fmla="*/ 247844 w 2484052"/>
                    <a:gd name="connsiteY67" fmla="*/ 336965 h 388632"/>
                    <a:gd name="connsiteX68" fmla="*/ 258100 w 2484052"/>
                    <a:gd name="connsiteY68" fmla="*/ 368512 h 388632"/>
                    <a:gd name="connsiteX69" fmla="*/ 286130 w 2484052"/>
                    <a:gd name="connsiteY69" fmla="*/ 380428 h 388632"/>
                    <a:gd name="connsiteX70" fmla="*/ 313966 w 2484052"/>
                    <a:gd name="connsiteY70" fmla="*/ 368708 h 388632"/>
                    <a:gd name="connsiteX71" fmla="*/ 323732 w 2484052"/>
                    <a:gd name="connsiteY71" fmla="*/ 336184 h 388632"/>
                    <a:gd name="connsiteX72" fmla="*/ 314014 w 2484052"/>
                    <a:gd name="connsiteY72" fmla="*/ 303367 h 388632"/>
                    <a:gd name="connsiteX73" fmla="*/ 286522 w 2484052"/>
                    <a:gd name="connsiteY73" fmla="*/ 291940 h 388632"/>
                    <a:gd name="connsiteX74" fmla="*/ 2207846 w 2484052"/>
                    <a:gd name="connsiteY74" fmla="*/ 286178 h 388632"/>
                    <a:gd name="connsiteX75" fmla="*/ 2216832 w 2484052"/>
                    <a:gd name="connsiteY75" fmla="*/ 286178 h 388632"/>
                    <a:gd name="connsiteX76" fmla="*/ 2216832 w 2484052"/>
                    <a:gd name="connsiteY76" fmla="*/ 386190 h 388632"/>
                    <a:gd name="connsiteX77" fmla="*/ 2207846 w 2484052"/>
                    <a:gd name="connsiteY77" fmla="*/ 386190 h 388632"/>
                    <a:gd name="connsiteX78" fmla="*/ 1064846 w 2484052"/>
                    <a:gd name="connsiteY78" fmla="*/ 286178 h 388632"/>
                    <a:gd name="connsiteX79" fmla="*/ 1073832 w 2484052"/>
                    <a:gd name="connsiteY79" fmla="*/ 286178 h 388632"/>
                    <a:gd name="connsiteX80" fmla="*/ 1073832 w 2484052"/>
                    <a:gd name="connsiteY80" fmla="*/ 386190 h 388632"/>
                    <a:gd name="connsiteX81" fmla="*/ 1064846 w 2484052"/>
                    <a:gd name="connsiteY81" fmla="*/ 386190 h 388632"/>
                    <a:gd name="connsiteX82" fmla="*/ 955532 w 2484052"/>
                    <a:gd name="connsiteY82" fmla="*/ 286178 h 388632"/>
                    <a:gd name="connsiteX83" fmla="*/ 965592 w 2484052"/>
                    <a:gd name="connsiteY83" fmla="*/ 286178 h 388632"/>
                    <a:gd name="connsiteX84" fmla="*/ 995380 w 2484052"/>
                    <a:gd name="connsiteY84" fmla="*/ 365778 h 388632"/>
                    <a:gd name="connsiteX85" fmla="*/ 998408 w 2484052"/>
                    <a:gd name="connsiteY85" fmla="*/ 376228 h 388632"/>
                    <a:gd name="connsiteX86" fmla="*/ 998798 w 2484052"/>
                    <a:gd name="connsiteY86" fmla="*/ 376228 h 388632"/>
                    <a:gd name="connsiteX87" fmla="*/ 1001630 w 2484052"/>
                    <a:gd name="connsiteY87" fmla="*/ 366168 h 388632"/>
                    <a:gd name="connsiteX88" fmla="*/ 1032396 w 2484052"/>
                    <a:gd name="connsiteY88" fmla="*/ 286178 h 388632"/>
                    <a:gd name="connsiteX89" fmla="*/ 1042164 w 2484052"/>
                    <a:gd name="connsiteY89" fmla="*/ 286178 h 388632"/>
                    <a:gd name="connsiteX90" fmla="*/ 1002412 w 2484052"/>
                    <a:gd name="connsiteY90" fmla="*/ 386190 h 388632"/>
                    <a:gd name="connsiteX91" fmla="*/ 994208 w 2484052"/>
                    <a:gd name="connsiteY91" fmla="*/ 386190 h 388632"/>
                    <a:gd name="connsiteX92" fmla="*/ 2289506 w 2484052"/>
                    <a:gd name="connsiteY92" fmla="*/ 283736 h 388632"/>
                    <a:gd name="connsiteX93" fmla="*/ 2314314 w 2484052"/>
                    <a:gd name="connsiteY93" fmla="*/ 294528 h 388632"/>
                    <a:gd name="connsiteX94" fmla="*/ 2322908 w 2484052"/>
                    <a:gd name="connsiteY94" fmla="*/ 325343 h 388632"/>
                    <a:gd name="connsiteX95" fmla="*/ 2322908 w 2484052"/>
                    <a:gd name="connsiteY95" fmla="*/ 386190 h 388632"/>
                    <a:gd name="connsiteX96" fmla="*/ 2313922 w 2484052"/>
                    <a:gd name="connsiteY96" fmla="*/ 386190 h 388632"/>
                    <a:gd name="connsiteX97" fmla="*/ 2313922 w 2484052"/>
                    <a:gd name="connsiteY97" fmla="*/ 327980 h 388632"/>
                    <a:gd name="connsiteX98" fmla="*/ 2287942 w 2484052"/>
                    <a:gd name="connsiteY98" fmla="*/ 291940 h 388632"/>
                    <a:gd name="connsiteX99" fmla="*/ 2264210 w 2484052"/>
                    <a:gd name="connsiteY99" fmla="*/ 302537 h 388632"/>
                    <a:gd name="connsiteX100" fmla="*/ 2254932 w 2484052"/>
                    <a:gd name="connsiteY100" fmla="*/ 328761 h 388632"/>
                    <a:gd name="connsiteX101" fmla="*/ 2254932 w 2484052"/>
                    <a:gd name="connsiteY101" fmla="*/ 386190 h 388632"/>
                    <a:gd name="connsiteX102" fmla="*/ 2245946 w 2484052"/>
                    <a:gd name="connsiteY102" fmla="*/ 386190 h 388632"/>
                    <a:gd name="connsiteX103" fmla="*/ 2245946 w 2484052"/>
                    <a:gd name="connsiteY103" fmla="*/ 286178 h 388632"/>
                    <a:gd name="connsiteX104" fmla="*/ 2254932 w 2484052"/>
                    <a:gd name="connsiteY104" fmla="*/ 286178 h 388632"/>
                    <a:gd name="connsiteX105" fmla="*/ 2254932 w 2484052"/>
                    <a:gd name="connsiteY105" fmla="*/ 304344 h 388632"/>
                    <a:gd name="connsiteX106" fmla="*/ 2255322 w 2484052"/>
                    <a:gd name="connsiteY106" fmla="*/ 304344 h 388632"/>
                    <a:gd name="connsiteX107" fmla="*/ 2289506 w 2484052"/>
                    <a:gd name="connsiteY107" fmla="*/ 283736 h 388632"/>
                    <a:gd name="connsiteX108" fmla="*/ 2149026 w 2484052"/>
                    <a:gd name="connsiteY108" fmla="*/ 283736 h 388632"/>
                    <a:gd name="connsiteX109" fmla="*/ 2172906 w 2484052"/>
                    <a:gd name="connsiteY109" fmla="*/ 293308 h 388632"/>
                    <a:gd name="connsiteX110" fmla="*/ 2181354 w 2484052"/>
                    <a:gd name="connsiteY110" fmla="*/ 321143 h 388632"/>
                    <a:gd name="connsiteX111" fmla="*/ 2181354 w 2484052"/>
                    <a:gd name="connsiteY111" fmla="*/ 386190 h 388632"/>
                    <a:gd name="connsiteX112" fmla="*/ 2172368 w 2484052"/>
                    <a:gd name="connsiteY112" fmla="*/ 386190 h 388632"/>
                    <a:gd name="connsiteX113" fmla="*/ 2172368 w 2484052"/>
                    <a:gd name="connsiteY113" fmla="*/ 366168 h 388632"/>
                    <a:gd name="connsiteX114" fmla="*/ 2171978 w 2484052"/>
                    <a:gd name="connsiteY114" fmla="*/ 366168 h 388632"/>
                    <a:gd name="connsiteX115" fmla="*/ 2158060 w 2484052"/>
                    <a:gd name="connsiteY115" fmla="*/ 382528 h 388632"/>
                    <a:gd name="connsiteX116" fmla="*/ 2137794 w 2484052"/>
                    <a:gd name="connsiteY116" fmla="*/ 388632 h 388632"/>
                    <a:gd name="connsiteX117" fmla="*/ 2115232 w 2484052"/>
                    <a:gd name="connsiteY117" fmla="*/ 380623 h 388632"/>
                    <a:gd name="connsiteX118" fmla="*/ 2106930 w 2484052"/>
                    <a:gd name="connsiteY118" fmla="*/ 360406 h 388632"/>
                    <a:gd name="connsiteX119" fmla="*/ 2141604 w 2484052"/>
                    <a:gd name="connsiteY119" fmla="*/ 328761 h 388632"/>
                    <a:gd name="connsiteX120" fmla="*/ 2172368 w 2484052"/>
                    <a:gd name="connsiteY120" fmla="*/ 324171 h 388632"/>
                    <a:gd name="connsiteX121" fmla="*/ 2148146 w 2484052"/>
                    <a:gd name="connsiteY121" fmla="*/ 291940 h 388632"/>
                    <a:gd name="connsiteX122" fmla="*/ 2116014 w 2484052"/>
                    <a:gd name="connsiteY122" fmla="*/ 305223 h 388632"/>
                    <a:gd name="connsiteX123" fmla="*/ 2116014 w 2484052"/>
                    <a:gd name="connsiteY123" fmla="*/ 294382 h 388632"/>
                    <a:gd name="connsiteX124" fmla="*/ 2131104 w 2484052"/>
                    <a:gd name="connsiteY124" fmla="*/ 286861 h 388632"/>
                    <a:gd name="connsiteX125" fmla="*/ 2149026 w 2484052"/>
                    <a:gd name="connsiteY125" fmla="*/ 283736 h 388632"/>
                    <a:gd name="connsiteX126" fmla="*/ 1965070 w 2484052"/>
                    <a:gd name="connsiteY126" fmla="*/ 283736 h 388632"/>
                    <a:gd name="connsiteX127" fmla="*/ 1987240 w 2484052"/>
                    <a:gd name="connsiteY127" fmla="*/ 288424 h 388632"/>
                    <a:gd name="connsiteX128" fmla="*/ 1987240 w 2484052"/>
                    <a:gd name="connsiteY128" fmla="*/ 298582 h 388632"/>
                    <a:gd name="connsiteX129" fmla="*/ 1963702 w 2484052"/>
                    <a:gd name="connsiteY129" fmla="*/ 291940 h 388632"/>
                    <a:gd name="connsiteX130" fmla="*/ 1935184 w 2484052"/>
                    <a:gd name="connsiteY130" fmla="*/ 304588 h 388632"/>
                    <a:gd name="connsiteX131" fmla="*/ 1924244 w 2484052"/>
                    <a:gd name="connsiteY131" fmla="*/ 337356 h 388632"/>
                    <a:gd name="connsiteX132" fmla="*/ 1934256 w 2484052"/>
                    <a:gd name="connsiteY132" fmla="*/ 368610 h 388632"/>
                    <a:gd name="connsiteX133" fmla="*/ 1960674 w 2484052"/>
                    <a:gd name="connsiteY133" fmla="*/ 380428 h 388632"/>
                    <a:gd name="connsiteX134" fmla="*/ 1986850 w 2484052"/>
                    <a:gd name="connsiteY134" fmla="*/ 372419 h 388632"/>
                    <a:gd name="connsiteX135" fmla="*/ 1986850 w 2484052"/>
                    <a:gd name="connsiteY135" fmla="*/ 381795 h 388632"/>
                    <a:gd name="connsiteX136" fmla="*/ 1960284 w 2484052"/>
                    <a:gd name="connsiteY136" fmla="*/ 388632 h 388632"/>
                    <a:gd name="connsiteX137" fmla="*/ 1927370 w 2484052"/>
                    <a:gd name="connsiteY137" fmla="*/ 374617 h 388632"/>
                    <a:gd name="connsiteX138" fmla="*/ 1914868 w 2484052"/>
                    <a:gd name="connsiteY138" fmla="*/ 337942 h 388632"/>
                    <a:gd name="connsiteX139" fmla="*/ 1928932 w 2484052"/>
                    <a:gd name="connsiteY139" fmla="*/ 298923 h 388632"/>
                    <a:gd name="connsiteX140" fmla="*/ 1965070 w 2484052"/>
                    <a:gd name="connsiteY140" fmla="*/ 283736 h 388632"/>
                    <a:gd name="connsiteX141" fmla="*/ 1726944 w 2484052"/>
                    <a:gd name="connsiteY141" fmla="*/ 283736 h 388632"/>
                    <a:gd name="connsiteX142" fmla="*/ 1749116 w 2484052"/>
                    <a:gd name="connsiteY142" fmla="*/ 288424 h 388632"/>
                    <a:gd name="connsiteX143" fmla="*/ 1749116 w 2484052"/>
                    <a:gd name="connsiteY143" fmla="*/ 298582 h 388632"/>
                    <a:gd name="connsiteX144" fmla="*/ 1725578 w 2484052"/>
                    <a:gd name="connsiteY144" fmla="*/ 291940 h 388632"/>
                    <a:gd name="connsiteX145" fmla="*/ 1697058 w 2484052"/>
                    <a:gd name="connsiteY145" fmla="*/ 304588 h 388632"/>
                    <a:gd name="connsiteX146" fmla="*/ 1686120 w 2484052"/>
                    <a:gd name="connsiteY146" fmla="*/ 337356 h 388632"/>
                    <a:gd name="connsiteX147" fmla="*/ 1696130 w 2484052"/>
                    <a:gd name="connsiteY147" fmla="*/ 368610 h 388632"/>
                    <a:gd name="connsiteX148" fmla="*/ 1722550 w 2484052"/>
                    <a:gd name="connsiteY148" fmla="*/ 380428 h 388632"/>
                    <a:gd name="connsiteX149" fmla="*/ 1748724 w 2484052"/>
                    <a:gd name="connsiteY149" fmla="*/ 372419 h 388632"/>
                    <a:gd name="connsiteX150" fmla="*/ 1748724 w 2484052"/>
                    <a:gd name="connsiteY150" fmla="*/ 381795 h 388632"/>
                    <a:gd name="connsiteX151" fmla="*/ 1722158 w 2484052"/>
                    <a:gd name="connsiteY151" fmla="*/ 388632 h 388632"/>
                    <a:gd name="connsiteX152" fmla="*/ 1689244 w 2484052"/>
                    <a:gd name="connsiteY152" fmla="*/ 374617 h 388632"/>
                    <a:gd name="connsiteX153" fmla="*/ 1676744 w 2484052"/>
                    <a:gd name="connsiteY153" fmla="*/ 337942 h 388632"/>
                    <a:gd name="connsiteX154" fmla="*/ 1690808 w 2484052"/>
                    <a:gd name="connsiteY154" fmla="*/ 298923 h 388632"/>
                    <a:gd name="connsiteX155" fmla="*/ 1726944 w 2484052"/>
                    <a:gd name="connsiteY155" fmla="*/ 283736 h 388632"/>
                    <a:gd name="connsiteX156" fmla="*/ 1610886 w 2484052"/>
                    <a:gd name="connsiteY156" fmla="*/ 283736 h 388632"/>
                    <a:gd name="connsiteX157" fmla="*/ 1644680 w 2484052"/>
                    <a:gd name="connsiteY157" fmla="*/ 297703 h 388632"/>
                    <a:gd name="connsiteX158" fmla="*/ 1657084 w 2484052"/>
                    <a:gd name="connsiteY158" fmla="*/ 336379 h 388632"/>
                    <a:gd name="connsiteX159" fmla="*/ 1644436 w 2484052"/>
                    <a:gd name="connsiteY159" fmla="*/ 374177 h 388632"/>
                    <a:gd name="connsiteX160" fmla="*/ 1609812 w 2484052"/>
                    <a:gd name="connsiteY160" fmla="*/ 388632 h 388632"/>
                    <a:gd name="connsiteX161" fmla="*/ 1575190 w 2484052"/>
                    <a:gd name="connsiteY161" fmla="*/ 374226 h 388632"/>
                    <a:gd name="connsiteX162" fmla="*/ 1562444 w 2484052"/>
                    <a:gd name="connsiteY162" fmla="*/ 336770 h 388632"/>
                    <a:gd name="connsiteX163" fmla="*/ 1575774 w 2484052"/>
                    <a:gd name="connsiteY163" fmla="*/ 297800 h 388632"/>
                    <a:gd name="connsiteX164" fmla="*/ 1610886 w 2484052"/>
                    <a:gd name="connsiteY164" fmla="*/ 283736 h 388632"/>
                    <a:gd name="connsiteX165" fmla="*/ 1301302 w 2484052"/>
                    <a:gd name="connsiteY165" fmla="*/ 283736 h 388632"/>
                    <a:gd name="connsiteX166" fmla="*/ 1325182 w 2484052"/>
                    <a:gd name="connsiteY166" fmla="*/ 293308 h 388632"/>
                    <a:gd name="connsiteX167" fmla="*/ 1333630 w 2484052"/>
                    <a:gd name="connsiteY167" fmla="*/ 321143 h 388632"/>
                    <a:gd name="connsiteX168" fmla="*/ 1333630 w 2484052"/>
                    <a:gd name="connsiteY168" fmla="*/ 386190 h 388632"/>
                    <a:gd name="connsiteX169" fmla="*/ 1324644 w 2484052"/>
                    <a:gd name="connsiteY169" fmla="*/ 386190 h 388632"/>
                    <a:gd name="connsiteX170" fmla="*/ 1324644 w 2484052"/>
                    <a:gd name="connsiteY170" fmla="*/ 366168 h 388632"/>
                    <a:gd name="connsiteX171" fmla="*/ 1324254 w 2484052"/>
                    <a:gd name="connsiteY171" fmla="*/ 366168 h 388632"/>
                    <a:gd name="connsiteX172" fmla="*/ 1310336 w 2484052"/>
                    <a:gd name="connsiteY172" fmla="*/ 382528 h 388632"/>
                    <a:gd name="connsiteX173" fmla="*/ 1290070 w 2484052"/>
                    <a:gd name="connsiteY173" fmla="*/ 388632 h 388632"/>
                    <a:gd name="connsiteX174" fmla="*/ 1267508 w 2484052"/>
                    <a:gd name="connsiteY174" fmla="*/ 380623 h 388632"/>
                    <a:gd name="connsiteX175" fmla="*/ 1259206 w 2484052"/>
                    <a:gd name="connsiteY175" fmla="*/ 360406 h 388632"/>
                    <a:gd name="connsiteX176" fmla="*/ 1293878 w 2484052"/>
                    <a:gd name="connsiteY176" fmla="*/ 328761 h 388632"/>
                    <a:gd name="connsiteX177" fmla="*/ 1324644 w 2484052"/>
                    <a:gd name="connsiteY177" fmla="*/ 324171 h 388632"/>
                    <a:gd name="connsiteX178" fmla="*/ 1300422 w 2484052"/>
                    <a:gd name="connsiteY178" fmla="*/ 291940 h 388632"/>
                    <a:gd name="connsiteX179" fmla="*/ 1268290 w 2484052"/>
                    <a:gd name="connsiteY179" fmla="*/ 305223 h 388632"/>
                    <a:gd name="connsiteX180" fmla="*/ 1268290 w 2484052"/>
                    <a:gd name="connsiteY180" fmla="*/ 294382 h 388632"/>
                    <a:gd name="connsiteX181" fmla="*/ 1283378 w 2484052"/>
                    <a:gd name="connsiteY181" fmla="*/ 286861 h 388632"/>
                    <a:gd name="connsiteX182" fmla="*/ 1301302 w 2484052"/>
                    <a:gd name="connsiteY182" fmla="*/ 283736 h 388632"/>
                    <a:gd name="connsiteX183" fmla="*/ 1139376 w 2484052"/>
                    <a:gd name="connsiteY183" fmla="*/ 283736 h 388632"/>
                    <a:gd name="connsiteX184" fmla="*/ 1163256 w 2484052"/>
                    <a:gd name="connsiteY184" fmla="*/ 293308 h 388632"/>
                    <a:gd name="connsiteX185" fmla="*/ 1171704 w 2484052"/>
                    <a:gd name="connsiteY185" fmla="*/ 321143 h 388632"/>
                    <a:gd name="connsiteX186" fmla="*/ 1171704 w 2484052"/>
                    <a:gd name="connsiteY186" fmla="*/ 386190 h 388632"/>
                    <a:gd name="connsiteX187" fmla="*/ 1162718 w 2484052"/>
                    <a:gd name="connsiteY187" fmla="*/ 386190 h 388632"/>
                    <a:gd name="connsiteX188" fmla="*/ 1162718 w 2484052"/>
                    <a:gd name="connsiteY188" fmla="*/ 366168 h 388632"/>
                    <a:gd name="connsiteX189" fmla="*/ 1162328 w 2484052"/>
                    <a:gd name="connsiteY189" fmla="*/ 366168 h 388632"/>
                    <a:gd name="connsiteX190" fmla="*/ 1148410 w 2484052"/>
                    <a:gd name="connsiteY190" fmla="*/ 382528 h 388632"/>
                    <a:gd name="connsiteX191" fmla="*/ 1128144 w 2484052"/>
                    <a:gd name="connsiteY191" fmla="*/ 388632 h 388632"/>
                    <a:gd name="connsiteX192" fmla="*/ 1105582 w 2484052"/>
                    <a:gd name="connsiteY192" fmla="*/ 380623 h 388632"/>
                    <a:gd name="connsiteX193" fmla="*/ 1097280 w 2484052"/>
                    <a:gd name="connsiteY193" fmla="*/ 360406 h 388632"/>
                    <a:gd name="connsiteX194" fmla="*/ 1131954 w 2484052"/>
                    <a:gd name="connsiteY194" fmla="*/ 328761 h 388632"/>
                    <a:gd name="connsiteX195" fmla="*/ 1162718 w 2484052"/>
                    <a:gd name="connsiteY195" fmla="*/ 324171 h 388632"/>
                    <a:gd name="connsiteX196" fmla="*/ 1138498 w 2484052"/>
                    <a:gd name="connsiteY196" fmla="*/ 291940 h 388632"/>
                    <a:gd name="connsiteX197" fmla="*/ 1106364 w 2484052"/>
                    <a:gd name="connsiteY197" fmla="*/ 305223 h 388632"/>
                    <a:gd name="connsiteX198" fmla="*/ 1106364 w 2484052"/>
                    <a:gd name="connsiteY198" fmla="*/ 294382 h 388632"/>
                    <a:gd name="connsiteX199" fmla="*/ 1121454 w 2484052"/>
                    <a:gd name="connsiteY199" fmla="*/ 286861 h 388632"/>
                    <a:gd name="connsiteX200" fmla="*/ 1139376 w 2484052"/>
                    <a:gd name="connsiteY200" fmla="*/ 283736 h 388632"/>
                    <a:gd name="connsiteX201" fmla="*/ 721448 w 2484052"/>
                    <a:gd name="connsiteY201" fmla="*/ 283736 h 388632"/>
                    <a:gd name="connsiteX202" fmla="*/ 750064 w 2484052"/>
                    <a:gd name="connsiteY202" fmla="*/ 296824 h 388632"/>
                    <a:gd name="connsiteX203" fmla="*/ 760026 w 2484052"/>
                    <a:gd name="connsiteY203" fmla="*/ 332570 h 388632"/>
                    <a:gd name="connsiteX204" fmla="*/ 760026 w 2484052"/>
                    <a:gd name="connsiteY204" fmla="*/ 336575 h 388632"/>
                    <a:gd name="connsiteX205" fmla="*/ 685994 w 2484052"/>
                    <a:gd name="connsiteY205" fmla="*/ 336575 h 388632"/>
                    <a:gd name="connsiteX206" fmla="*/ 695518 w 2484052"/>
                    <a:gd name="connsiteY206" fmla="*/ 368805 h 388632"/>
                    <a:gd name="connsiteX207" fmla="*/ 721644 w 2484052"/>
                    <a:gd name="connsiteY207" fmla="*/ 380428 h 388632"/>
                    <a:gd name="connsiteX208" fmla="*/ 754460 w 2484052"/>
                    <a:gd name="connsiteY208" fmla="*/ 368024 h 388632"/>
                    <a:gd name="connsiteX209" fmla="*/ 754460 w 2484052"/>
                    <a:gd name="connsiteY209" fmla="*/ 377595 h 388632"/>
                    <a:gd name="connsiteX210" fmla="*/ 719788 w 2484052"/>
                    <a:gd name="connsiteY210" fmla="*/ 388632 h 388632"/>
                    <a:gd name="connsiteX211" fmla="*/ 688534 w 2484052"/>
                    <a:gd name="connsiteY211" fmla="*/ 374763 h 388632"/>
                    <a:gd name="connsiteX212" fmla="*/ 676618 w 2484052"/>
                    <a:gd name="connsiteY212" fmla="*/ 335598 h 388632"/>
                    <a:gd name="connsiteX213" fmla="*/ 689070 w 2484052"/>
                    <a:gd name="connsiteY213" fmla="*/ 298728 h 388632"/>
                    <a:gd name="connsiteX214" fmla="*/ 721448 w 2484052"/>
                    <a:gd name="connsiteY214" fmla="*/ 283736 h 388632"/>
                    <a:gd name="connsiteX215" fmla="*/ 583944 w 2484052"/>
                    <a:gd name="connsiteY215" fmla="*/ 283736 h 388632"/>
                    <a:gd name="connsiteX216" fmla="*/ 606116 w 2484052"/>
                    <a:gd name="connsiteY216" fmla="*/ 288424 h 388632"/>
                    <a:gd name="connsiteX217" fmla="*/ 606116 w 2484052"/>
                    <a:gd name="connsiteY217" fmla="*/ 298582 h 388632"/>
                    <a:gd name="connsiteX218" fmla="*/ 582578 w 2484052"/>
                    <a:gd name="connsiteY218" fmla="*/ 291940 h 388632"/>
                    <a:gd name="connsiteX219" fmla="*/ 554058 w 2484052"/>
                    <a:gd name="connsiteY219" fmla="*/ 304588 h 388632"/>
                    <a:gd name="connsiteX220" fmla="*/ 543120 w 2484052"/>
                    <a:gd name="connsiteY220" fmla="*/ 337356 h 388632"/>
                    <a:gd name="connsiteX221" fmla="*/ 553130 w 2484052"/>
                    <a:gd name="connsiteY221" fmla="*/ 368610 h 388632"/>
                    <a:gd name="connsiteX222" fmla="*/ 579550 w 2484052"/>
                    <a:gd name="connsiteY222" fmla="*/ 380428 h 388632"/>
                    <a:gd name="connsiteX223" fmla="*/ 605724 w 2484052"/>
                    <a:gd name="connsiteY223" fmla="*/ 372419 h 388632"/>
                    <a:gd name="connsiteX224" fmla="*/ 605724 w 2484052"/>
                    <a:gd name="connsiteY224" fmla="*/ 381795 h 388632"/>
                    <a:gd name="connsiteX225" fmla="*/ 579158 w 2484052"/>
                    <a:gd name="connsiteY225" fmla="*/ 388632 h 388632"/>
                    <a:gd name="connsiteX226" fmla="*/ 546244 w 2484052"/>
                    <a:gd name="connsiteY226" fmla="*/ 374617 h 388632"/>
                    <a:gd name="connsiteX227" fmla="*/ 533744 w 2484052"/>
                    <a:gd name="connsiteY227" fmla="*/ 337942 h 388632"/>
                    <a:gd name="connsiteX228" fmla="*/ 547808 w 2484052"/>
                    <a:gd name="connsiteY228" fmla="*/ 298923 h 388632"/>
                    <a:gd name="connsiteX229" fmla="*/ 583944 w 2484052"/>
                    <a:gd name="connsiteY229" fmla="*/ 283736 h 388632"/>
                    <a:gd name="connsiteX230" fmla="*/ 473798 w 2484052"/>
                    <a:gd name="connsiteY230" fmla="*/ 283736 h 388632"/>
                    <a:gd name="connsiteX231" fmla="*/ 502414 w 2484052"/>
                    <a:gd name="connsiteY231" fmla="*/ 296824 h 388632"/>
                    <a:gd name="connsiteX232" fmla="*/ 512378 w 2484052"/>
                    <a:gd name="connsiteY232" fmla="*/ 332570 h 388632"/>
                    <a:gd name="connsiteX233" fmla="*/ 512378 w 2484052"/>
                    <a:gd name="connsiteY233" fmla="*/ 336575 h 388632"/>
                    <a:gd name="connsiteX234" fmla="*/ 438344 w 2484052"/>
                    <a:gd name="connsiteY234" fmla="*/ 336575 h 388632"/>
                    <a:gd name="connsiteX235" fmla="*/ 447868 w 2484052"/>
                    <a:gd name="connsiteY235" fmla="*/ 368805 h 388632"/>
                    <a:gd name="connsiteX236" fmla="*/ 473994 w 2484052"/>
                    <a:gd name="connsiteY236" fmla="*/ 380428 h 388632"/>
                    <a:gd name="connsiteX237" fmla="*/ 506810 w 2484052"/>
                    <a:gd name="connsiteY237" fmla="*/ 368024 h 388632"/>
                    <a:gd name="connsiteX238" fmla="*/ 506810 w 2484052"/>
                    <a:gd name="connsiteY238" fmla="*/ 377595 h 388632"/>
                    <a:gd name="connsiteX239" fmla="*/ 472138 w 2484052"/>
                    <a:gd name="connsiteY239" fmla="*/ 388632 h 388632"/>
                    <a:gd name="connsiteX240" fmla="*/ 440884 w 2484052"/>
                    <a:gd name="connsiteY240" fmla="*/ 374763 h 388632"/>
                    <a:gd name="connsiteX241" fmla="*/ 428968 w 2484052"/>
                    <a:gd name="connsiteY241" fmla="*/ 335598 h 388632"/>
                    <a:gd name="connsiteX242" fmla="*/ 441420 w 2484052"/>
                    <a:gd name="connsiteY242" fmla="*/ 298728 h 388632"/>
                    <a:gd name="connsiteX243" fmla="*/ 473798 w 2484052"/>
                    <a:gd name="connsiteY243" fmla="*/ 283736 h 388632"/>
                    <a:gd name="connsiteX244" fmla="*/ 286912 w 2484052"/>
                    <a:gd name="connsiteY244" fmla="*/ 283736 h 388632"/>
                    <a:gd name="connsiteX245" fmla="*/ 320706 w 2484052"/>
                    <a:gd name="connsiteY245" fmla="*/ 297703 h 388632"/>
                    <a:gd name="connsiteX246" fmla="*/ 333108 w 2484052"/>
                    <a:gd name="connsiteY246" fmla="*/ 336379 h 388632"/>
                    <a:gd name="connsiteX247" fmla="*/ 320460 w 2484052"/>
                    <a:gd name="connsiteY247" fmla="*/ 374177 h 388632"/>
                    <a:gd name="connsiteX248" fmla="*/ 285838 w 2484052"/>
                    <a:gd name="connsiteY248" fmla="*/ 388632 h 388632"/>
                    <a:gd name="connsiteX249" fmla="*/ 251214 w 2484052"/>
                    <a:gd name="connsiteY249" fmla="*/ 374226 h 388632"/>
                    <a:gd name="connsiteX250" fmla="*/ 238468 w 2484052"/>
                    <a:gd name="connsiteY250" fmla="*/ 336770 h 388632"/>
                    <a:gd name="connsiteX251" fmla="*/ 251800 w 2484052"/>
                    <a:gd name="connsiteY251" fmla="*/ 297800 h 388632"/>
                    <a:gd name="connsiteX252" fmla="*/ 286912 w 2484052"/>
                    <a:gd name="connsiteY252" fmla="*/ 283736 h 388632"/>
                    <a:gd name="connsiteX253" fmla="*/ 202944 w 2484052"/>
                    <a:gd name="connsiteY253" fmla="*/ 283736 h 388632"/>
                    <a:gd name="connsiteX254" fmla="*/ 225116 w 2484052"/>
                    <a:gd name="connsiteY254" fmla="*/ 288424 h 388632"/>
                    <a:gd name="connsiteX255" fmla="*/ 225116 w 2484052"/>
                    <a:gd name="connsiteY255" fmla="*/ 298582 h 388632"/>
                    <a:gd name="connsiteX256" fmla="*/ 201578 w 2484052"/>
                    <a:gd name="connsiteY256" fmla="*/ 291940 h 388632"/>
                    <a:gd name="connsiteX257" fmla="*/ 173058 w 2484052"/>
                    <a:gd name="connsiteY257" fmla="*/ 304588 h 388632"/>
                    <a:gd name="connsiteX258" fmla="*/ 162120 w 2484052"/>
                    <a:gd name="connsiteY258" fmla="*/ 337356 h 388632"/>
                    <a:gd name="connsiteX259" fmla="*/ 172130 w 2484052"/>
                    <a:gd name="connsiteY259" fmla="*/ 368610 h 388632"/>
                    <a:gd name="connsiteX260" fmla="*/ 198550 w 2484052"/>
                    <a:gd name="connsiteY260" fmla="*/ 380428 h 388632"/>
                    <a:gd name="connsiteX261" fmla="*/ 224724 w 2484052"/>
                    <a:gd name="connsiteY261" fmla="*/ 372419 h 388632"/>
                    <a:gd name="connsiteX262" fmla="*/ 224724 w 2484052"/>
                    <a:gd name="connsiteY262" fmla="*/ 381795 h 388632"/>
                    <a:gd name="connsiteX263" fmla="*/ 198158 w 2484052"/>
                    <a:gd name="connsiteY263" fmla="*/ 388632 h 388632"/>
                    <a:gd name="connsiteX264" fmla="*/ 165244 w 2484052"/>
                    <a:gd name="connsiteY264" fmla="*/ 374617 h 388632"/>
                    <a:gd name="connsiteX265" fmla="*/ 152744 w 2484052"/>
                    <a:gd name="connsiteY265" fmla="*/ 337942 h 388632"/>
                    <a:gd name="connsiteX266" fmla="*/ 166808 w 2484052"/>
                    <a:gd name="connsiteY266" fmla="*/ 298923 h 388632"/>
                    <a:gd name="connsiteX267" fmla="*/ 202944 w 2484052"/>
                    <a:gd name="connsiteY267" fmla="*/ 283736 h 388632"/>
                    <a:gd name="connsiteX268" fmla="*/ 639880 w 2484052"/>
                    <a:gd name="connsiteY268" fmla="*/ 257170 h 388632"/>
                    <a:gd name="connsiteX269" fmla="*/ 639880 w 2484052"/>
                    <a:gd name="connsiteY269" fmla="*/ 286178 h 388632"/>
                    <a:gd name="connsiteX270" fmla="*/ 666252 w 2484052"/>
                    <a:gd name="connsiteY270" fmla="*/ 286178 h 388632"/>
                    <a:gd name="connsiteX271" fmla="*/ 666252 w 2484052"/>
                    <a:gd name="connsiteY271" fmla="*/ 294382 h 388632"/>
                    <a:gd name="connsiteX272" fmla="*/ 639880 w 2484052"/>
                    <a:gd name="connsiteY272" fmla="*/ 294382 h 388632"/>
                    <a:gd name="connsiteX273" fmla="*/ 639880 w 2484052"/>
                    <a:gd name="connsiteY273" fmla="*/ 360406 h 388632"/>
                    <a:gd name="connsiteX274" fmla="*/ 643152 w 2484052"/>
                    <a:gd name="connsiteY274" fmla="*/ 375398 h 388632"/>
                    <a:gd name="connsiteX275" fmla="*/ 654238 w 2484052"/>
                    <a:gd name="connsiteY275" fmla="*/ 380037 h 388632"/>
                    <a:gd name="connsiteX276" fmla="*/ 666252 w 2484052"/>
                    <a:gd name="connsiteY276" fmla="*/ 376423 h 388632"/>
                    <a:gd name="connsiteX277" fmla="*/ 666252 w 2484052"/>
                    <a:gd name="connsiteY277" fmla="*/ 384823 h 388632"/>
                    <a:gd name="connsiteX278" fmla="*/ 653066 w 2484052"/>
                    <a:gd name="connsiteY278" fmla="*/ 388144 h 388632"/>
                    <a:gd name="connsiteX279" fmla="*/ 630896 w 2484052"/>
                    <a:gd name="connsiteY279" fmla="*/ 361578 h 388632"/>
                    <a:gd name="connsiteX280" fmla="*/ 630896 w 2484052"/>
                    <a:gd name="connsiteY280" fmla="*/ 294382 h 388632"/>
                    <a:gd name="connsiteX281" fmla="*/ 612924 w 2484052"/>
                    <a:gd name="connsiteY281" fmla="*/ 294382 h 388632"/>
                    <a:gd name="connsiteX282" fmla="*/ 612924 w 2484052"/>
                    <a:gd name="connsiteY282" fmla="*/ 286178 h 388632"/>
                    <a:gd name="connsiteX283" fmla="*/ 630896 w 2484052"/>
                    <a:gd name="connsiteY283" fmla="*/ 286178 h 388632"/>
                    <a:gd name="connsiteX284" fmla="*/ 630896 w 2484052"/>
                    <a:gd name="connsiteY284" fmla="*/ 260198 h 388632"/>
                    <a:gd name="connsiteX285" fmla="*/ 635388 w 2484052"/>
                    <a:gd name="connsiteY285" fmla="*/ 258635 h 388632"/>
                    <a:gd name="connsiteX286" fmla="*/ 639880 w 2484052"/>
                    <a:gd name="connsiteY286" fmla="*/ 257170 h 388632"/>
                    <a:gd name="connsiteX287" fmla="*/ 2212240 w 2484052"/>
                    <a:gd name="connsiteY287" fmla="*/ 246134 h 388632"/>
                    <a:gd name="connsiteX288" fmla="*/ 2217564 w 2484052"/>
                    <a:gd name="connsiteY288" fmla="*/ 248087 h 388632"/>
                    <a:gd name="connsiteX289" fmla="*/ 2219858 w 2484052"/>
                    <a:gd name="connsiteY289" fmla="*/ 253361 h 388632"/>
                    <a:gd name="connsiteX290" fmla="*/ 2217612 w 2484052"/>
                    <a:gd name="connsiteY290" fmla="*/ 258733 h 388632"/>
                    <a:gd name="connsiteX291" fmla="*/ 2212240 w 2484052"/>
                    <a:gd name="connsiteY291" fmla="*/ 260979 h 388632"/>
                    <a:gd name="connsiteX292" fmla="*/ 2207064 w 2484052"/>
                    <a:gd name="connsiteY292" fmla="*/ 258831 h 388632"/>
                    <a:gd name="connsiteX293" fmla="*/ 2204818 w 2484052"/>
                    <a:gd name="connsiteY293" fmla="*/ 253361 h 388632"/>
                    <a:gd name="connsiteX294" fmla="*/ 2207114 w 2484052"/>
                    <a:gd name="connsiteY294" fmla="*/ 248136 h 388632"/>
                    <a:gd name="connsiteX295" fmla="*/ 2212240 w 2484052"/>
                    <a:gd name="connsiteY295" fmla="*/ 246134 h 388632"/>
                    <a:gd name="connsiteX296" fmla="*/ 1069240 w 2484052"/>
                    <a:gd name="connsiteY296" fmla="*/ 246134 h 388632"/>
                    <a:gd name="connsiteX297" fmla="*/ 1074564 w 2484052"/>
                    <a:gd name="connsiteY297" fmla="*/ 248087 h 388632"/>
                    <a:gd name="connsiteX298" fmla="*/ 1076858 w 2484052"/>
                    <a:gd name="connsiteY298" fmla="*/ 253361 h 388632"/>
                    <a:gd name="connsiteX299" fmla="*/ 1074612 w 2484052"/>
                    <a:gd name="connsiteY299" fmla="*/ 258733 h 388632"/>
                    <a:gd name="connsiteX300" fmla="*/ 1069240 w 2484052"/>
                    <a:gd name="connsiteY300" fmla="*/ 260979 h 388632"/>
                    <a:gd name="connsiteX301" fmla="*/ 1064064 w 2484052"/>
                    <a:gd name="connsiteY301" fmla="*/ 258831 h 388632"/>
                    <a:gd name="connsiteX302" fmla="*/ 1061818 w 2484052"/>
                    <a:gd name="connsiteY302" fmla="*/ 253361 h 388632"/>
                    <a:gd name="connsiteX303" fmla="*/ 1064114 w 2484052"/>
                    <a:gd name="connsiteY303" fmla="*/ 248136 h 388632"/>
                    <a:gd name="connsiteX304" fmla="*/ 1069240 w 2484052"/>
                    <a:gd name="connsiteY304" fmla="*/ 246134 h 388632"/>
                    <a:gd name="connsiteX305" fmla="*/ 2007820 w 2484052"/>
                    <a:gd name="connsiteY305" fmla="*/ 238125 h 388632"/>
                    <a:gd name="connsiteX306" fmla="*/ 2016806 w 2484052"/>
                    <a:gd name="connsiteY306" fmla="*/ 238125 h 388632"/>
                    <a:gd name="connsiteX307" fmla="*/ 2016806 w 2484052"/>
                    <a:gd name="connsiteY307" fmla="*/ 304149 h 388632"/>
                    <a:gd name="connsiteX308" fmla="*/ 2017196 w 2484052"/>
                    <a:gd name="connsiteY308" fmla="*/ 304149 h 388632"/>
                    <a:gd name="connsiteX309" fmla="*/ 2051576 w 2484052"/>
                    <a:gd name="connsiteY309" fmla="*/ 283736 h 388632"/>
                    <a:gd name="connsiteX310" fmla="*/ 2076286 w 2484052"/>
                    <a:gd name="connsiteY310" fmla="*/ 294187 h 388632"/>
                    <a:gd name="connsiteX311" fmla="*/ 2084784 w 2484052"/>
                    <a:gd name="connsiteY311" fmla="*/ 324171 h 388632"/>
                    <a:gd name="connsiteX312" fmla="*/ 2084784 w 2484052"/>
                    <a:gd name="connsiteY312" fmla="*/ 386190 h 388632"/>
                    <a:gd name="connsiteX313" fmla="*/ 2075798 w 2484052"/>
                    <a:gd name="connsiteY313" fmla="*/ 386190 h 388632"/>
                    <a:gd name="connsiteX314" fmla="*/ 2075798 w 2484052"/>
                    <a:gd name="connsiteY314" fmla="*/ 326222 h 388632"/>
                    <a:gd name="connsiteX315" fmla="*/ 2069352 w 2484052"/>
                    <a:gd name="connsiteY315" fmla="*/ 300193 h 388632"/>
                    <a:gd name="connsiteX316" fmla="*/ 2049232 w 2484052"/>
                    <a:gd name="connsiteY316" fmla="*/ 291940 h 388632"/>
                    <a:gd name="connsiteX317" fmla="*/ 2026574 w 2484052"/>
                    <a:gd name="connsiteY317" fmla="*/ 302000 h 388632"/>
                    <a:gd name="connsiteX318" fmla="*/ 2016806 w 2484052"/>
                    <a:gd name="connsiteY318" fmla="*/ 330812 h 388632"/>
                    <a:gd name="connsiteX319" fmla="*/ 2016806 w 2484052"/>
                    <a:gd name="connsiteY319" fmla="*/ 386190 h 388632"/>
                    <a:gd name="connsiteX320" fmla="*/ 2007820 w 2484052"/>
                    <a:gd name="connsiteY320" fmla="*/ 386190 h 388632"/>
                    <a:gd name="connsiteX321" fmla="*/ 1769696 w 2484052"/>
                    <a:gd name="connsiteY321" fmla="*/ 238125 h 388632"/>
                    <a:gd name="connsiteX322" fmla="*/ 1778682 w 2484052"/>
                    <a:gd name="connsiteY322" fmla="*/ 238125 h 388632"/>
                    <a:gd name="connsiteX323" fmla="*/ 1778682 w 2484052"/>
                    <a:gd name="connsiteY323" fmla="*/ 333547 h 388632"/>
                    <a:gd name="connsiteX324" fmla="*/ 1779072 w 2484052"/>
                    <a:gd name="connsiteY324" fmla="*/ 333547 h 388632"/>
                    <a:gd name="connsiteX325" fmla="*/ 1824488 w 2484052"/>
                    <a:gd name="connsiteY325" fmla="*/ 286178 h 388632"/>
                    <a:gd name="connsiteX326" fmla="*/ 1836110 w 2484052"/>
                    <a:gd name="connsiteY326" fmla="*/ 286178 h 388632"/>
                    <a:gd name="connsiteX327" fmla="*/ 1788644 w 2484052"/>
                    <a:gd name="connsiteY327" fmla="*/ 334621 h 388632"/>
                    <a:gd name="connsiteX328" fmla="*/ 1839920 w 2484052"/>
                    <a:gd name="connsiteY328" fmla="*/ 386190 h 388632"/>
                    <a:gd name="connsiteX329" fmla="*/ 1826930 w 2484052"/>
                    <a:gd name="connsiteY329" fmla="*/ 386190 h 388632"/>
                    <a:gd name="connsiteX330" fmla="*/ 1779072 w 2484052"/>
                    <a:gd name="connsiteY330" fmla="*/ 336770 h 388632"/>
                    <a:gd name="connsiteX331" fmla="*/ 1778682 w 2484052"/>
                    <a:gd name="connsiteY331" fmla="*/ 336770 h 388632"/>
                    <a:gd name="connsiteX332" fmla="*/ 1778682 w 2484052"/>
                    <a:gd name="connsiteY332" fmla="*/ 386190 h 388632"/>
                    <a:gd name="connsiteX333" fmla="*/ 1769696 w 2484052"/>
                    <a:gd name="connsiteY333" fmla="*/ 386190 h 388632"/>
                    <a:gd name="connsiteX334" fmla="*/ 1531570 w 2484052"/>
                    <a:gd name="connsiteY334" fmla="*/ 238125 h 388632"/>
                    <a:gd name="connsiteX335" fmla="*/ 1540556 w 2484052"/>
                    <a:gd name="connsiteY335" fmla="*/ 238125 h 388632"/>
                    <a:gd name="connsiteX336" fmla="*/ 1540556 w 2484052"/>
                    <a:gd name="connsiteY336" fmla="*/ 386190 h 388632"/>
                    <a:gd name="connsiteX337" fmla="*/ 1531570 w 2484052"/>
                    <a:gd name="connsiteY337" fmla="*/ 386190 h 388632"/>
                    <a:gd name="connsiteX338" fmla="*/ 1417270 w 2484052"/>
                    <a:gd name="connsiteY338" fmla="*/ 238125 h 388632"/>
                    <a:gd name="connsiteX339" fmla="*/ 1426256 w 2484052"/>
                    <a:gd name="connsiteY339" fmla="*/ 238125 h 388632"/>
                    <a:gd name="connsiteX340" fmla="*/ 1426256 w 2484052"/>
                    <a:gd name="connsiteY340" fmla="*/ 306786 h 388632"/>
                    <a:gd name="connsiteX341" fmla="*/ 1426646 w 2484052"/>
                    <a:gd name="connsiteY341" fmla="*/ 306786 h 388632"/>
                    <a:gd name="connsiteX342" fmla="*/ 1442030 w 2484052"/>
                    <a:gd name="connsiteY342" fmla="*/ 289743 h 388632"/>
                    <a:gd name="connsiteX343" fmla="*/ 1464054 w 2484052"/>
                    <a:gd name="connsiteY343" fmla="*/ 283736 h 388632"/>
                    <a:gd name="connsiteX344" fmla="*/ 1493794 w 2484052"/>
                    <a:gd name="connsiteY344" fmla="*/ 296872 h 388632"/>
                    <a:gd name="connsiteX345" fmla="*/ 1504488 w 2484052"/>
                    <a:gd name="connsiteY345" fmla="*/ 332570 h 388632"/>
                    <a:gd name="connsiteX346" fmla="*/ 1492084 w 2484052"/>
                    <a:gd name="connsiteY346" fmla="*/ 373151 h 388632"/>
                    <a:gd name="connsiteX347" fmla="*/ 1459854 w 2484052"/>
                    <a:gd name="connsiteY347" fmla="*/ 388632 h 388632"/>
                    <a:gd name="connsiteX348" fmla="*/ 1426646 w 2484052"/>
                    <a:gd name="connsiteY348" fmla="*/ 368415 h 388632"/>
                    <a:gd name="connsiteX349" fmla="*/ 1426256 w 2484052"/>
                    <a:gd name="connsiteY349" fmla="*/ 368415 h 388632"/>
                    <a:gd name="connsiteX350" fmla="*/ 1426256 w 2484052"/>
                    <a:gd name="connsiteY350" fmla="*/ 386190 h 388632"/>
                    <a:gd name="connsiteX351" fmla="*/ 1417270 w 2484052"/>
                    <a:gd name="connsiteY351" fmla="*/ 386190 h 388632"/>
                    <a:gd name="connsiteX352" fmla="*/ 859626 w 2484052"/>
                    <a:gd name="connsiteY352" fmla="*/ 238125 h 388632"/>
                    <a:gd name="connsiteX353" fmla="*/ 868612 w 2484052"/>
                    <a:gd name="connsiteY353" fmla="*/ 238125 h 388632"/>
                    <a:gd name="connsiteX354" fmla="*/ 868612 w 2484052"/>
                    <a:gd name="connsiteY354" fmla="*/ 386190 h 388632"/>
                    <a:gd name="connsiteX355" fmla="*/ 859626 w 2484052"/>
                    <a:gd name="connsiteY355" fmla="*/ 386190 h 388632"/>
                    <a:gd name="connsiteX356" fmla="*/ 859626 w 2484052"/>
                    <a:gd name="connsiteY356" fmla="*/ 368024 h 388632"/>
                    <a:gd name="connsiteX357" fmla="*/ 859234 w 2484052"/>
                    <a:gd name="connsiteY357" fmla="*/ 368024 h 388632"/>
                    <a:gd name="connsiteX358" fmla="*/ 844780 w 2484052"/>
                    <a:gd name="connsiteY358" fmla="*/ 383065 h 388632"/>
                    <a:gd name="connsiteX359" fmla="*/ 823196 w 2484052"/>
                    <a:gd name="connsiteY359" fmla="*/ 388632 h 388632"/>
                    <a:gd name="connsiteX360" fmla="*/ 793064 w 2484052"/>
                    <a:gd name="connsiteY360" fmla="*/ 375154 h 388632"/>
                    <a:gd name="connsiteX361" fmla="*/ 781394 w 2484052"/>
                    <a:gd name="connsiteY361" fmla="*/ 337942 h 388632"/>
                    <a:gd name="connsiteX362" fmla="*/ 794138 w 2484052"/>
                    <a:gd name="connsiteY362" fmla="*/ 298728 h 388632"/>
                    <a:gd name="connsiteX363" fmla="*/ 827200 w 2484052"/>
                    <a:gd name="connsiteY363" fmla="*/ 283736 h 388632"/>
                    <a:gd name="connsiteX364" fmla="*/ 859234 w 2484052"/>
                    <a:gd name="connsiteY364" fmla="*/ 302195 h 388632"/>
                    <a:gd name="connsiteX365" fmla="*/ 859626 w 2484052"/>
                    <a:gd name="connsiteY365" fmla="*/ 302195 h 388632"/>
                    <a:gd name="connsiteX366" fmla="*/ 398096 w 2484052"/>
                    <a:gd name="connsiteY366" fmla="*/ 238125 h 388632"/>
                    <a:gd name="connsiteX367" fmla="*/ 407082 w 2484052"/>
                    <a:gd name="connsiteY367" fmla="*/ 238125 h 388632"/>
                    <a:gd name="connsiteX368" fmla="*/ 407082 w 2484052"/>
                    <a:gd name="connsiteY368" fmla="*/ 386190 h 388632"/>
                    <a:gd name="connsiteX369" fmla="*/ 398096 w 2484052"/>
                    <a:gd name="connsiteY369" fmla="*/ 386190 h 388632"/>
                    <a:gd name="connsiteX370" fmla="*/ 359996 w 2484052"/>
                    <a:gd name="connsiteY370" fmla="*/ 238125 h 388632"/>
                    <a:gd name="connsiteX371" fmla="*/ 368982 w 2484052"/>
                    <a:gd name="connsiteY371" fmla="*/ 238125 h 388632"/>
                    <a:gd name="connsiteX372" fmla="*/ 368982 w 2484052"/>
                    <a:gd name="connsiteY372" fmla="*/ 386190 h 388632"/>
                    <a:gd name="connsiteX373" fmla="*/ 359996 w 2484052"/>
                    <a:gd name="connsiteY373" fmla="*/ 386190 h 388632"/>
                    <a:gd name="connsiteX374" fmla="*/ 1610394 w 2484052"/>
                    <a:gd name="connsiteY374" fmla="*/ 94250 h 388632"/>
                    <a:gd name="connsiteX375" fmla="*/ 1582852 w 2484052"/>
                    <a:gd name="connsiteY375" fmla="*/ 98254 h 388632"/>
                    <a:gd name="connsiteX376" fmla="*/ 1560778 w 2484052"/>
                    <a:gd name="connsiteY376" fmla="*/ 105531 h 388632"/>
                    <a:gd name="connsiteX377" fmla="*/ 1554430 w 2484052"/>
                    <a:gd name="connsiteY377" fmla="*/ 121890 h 388632"/>
                    <a:gd name="connsiteX378" fmla="*/ 1560338 w 2484052"/>
                    <a:gd name="connsiteY378" fmla="*/ 136540 h 388632"/>
                    <a:gd name="connsiteX379" fmla="*/ 1576796 w 2484052"/>
                    <a:gd name="connsiteY379" fmla="*/ 142303 h 388632"/>
                    <a:gd name="connsiteX380" fmla="*/ 1600822 w 2484052"/>
                    <a:gd name="connsiteY380" fmla="*/ 131608 h 388632"/>
                    <a:gd name="connsiteX381" fmla="*/ 1610394 w 2484052"/>
                    <a:gd name="connsiteY381" fmla="*/ 104017 h 388632"/>
                    <a:gd name="connsiteX382" fmla="*/ 2445082 w 2484052"/>
                    <a:gd name="connsiteY382" fmla="*/ 53815 h 388632"/>
                    <a:gd name="connsiteX383" fmla="*/ 2421788 w 2484052"/>
                    <a:gd name="connsiteY383" fmla="*/ 63240 h 388632"/>
                    <a:gd name="connsiteX384" fmla="*/ 2410410 w 2484052"/>
                    <a:gd name="connsiteY384" fmla="*/ 90246 h 388632"/>
                    <a:gd name="connsiteX385" fmla="*/ 2474676 w 2484052"/>
                    <a:gd name="connsiteY385" fmla="*/ 90246 h 388632"/>
                    <a:gd name="connsiteX386" fmla="*/ 2466374 w 2484052"/>
                    <a:gd name="connsiteY386" fmla="*/ 63387 h 388632"/>
                    <a:gd name="connsiteX387" fmla="*/ 2445082 w 2484052"/>
                    <a:gd name="connsiteY387" fmla="*/ 53815 h 388632"/>
                    <a:gd name="connsiteX388" fmla="*/ 2339182 w 2484052"/>
                    <a:gd name="connsiteY388" fmla="*/ 53815 h 388632"/>
                    <a:gd name="connsiteX389" fmla="*/ 2312128 w 2484052"/>
                    <a:gd name="connsiteY389" fmla="*/ 65535 h 388632"/>
                    <a:gd name="connsiteX390" fmla="*/ 2302556 w 2484052"/>
                    <a:gd name="connsiteY390" fmla="*/ 93078 h 388632"/>
                    <a:gd name="connsiteX391" fmla="*/ 2302556 w 2484052"/>
                    <a:gd name="connsiteY391" fmla="*/ 105677 h 388632"/>
                    <a:gd name="connsiteX392" fmla="*/ 2312030 w 2484052"/>
                    <a:gd name="connsiteY392" fmla="*/ 131510 h 388632"/>
                    <a:gd name="connsiteX393" fmla="*/ 2336936 w 2484052"/>
                    <a:gd name="connsiteY393" fmla="*/ 142303 h 388632"/>
                    <a:gd name="connsiteX394" fmla="*/ 2361842 w 2484052"/>
                    <a:gd name="connsiteY394" fmla="*/ 129166 h 388632"/>
                    <a:gd name="connsiteX395" fmla="*/ 2371412 w 2484052"/>
                    <a:gd name="connsiteY395" fmla="*/ 94641 h 388632"/>
                    <a:gd name="connsiteX396" fmla="*/ 2362622 w 2484052"/>
                    <a:gd name="connsiteY396" fmla="*/ 64852 h 388632"/>
                    <a:gd name="connsiteX397" fmla="*/ 2339182 w 2484052"/>
                    <a:gd name="connsiteY397" fmla="*/ 53815 h 388632"/>
                    <a:gd name="connsiteX398" fmla="*/ 1768808 w 2484052"/>
                    <a:gd name="connsiteY398" fmla="*/ 53815 h 388632"/>
                    <a:gd name="connsiteX399" fmla="*/ 1745514 w 2484052"/>
                    <a:gd name="connsiteY399" fmla="*/ 63240 h 388632"/>
                    <a:gd name="connsiteX400" fmla="*/ 1734134 w 2484052"/>
                    <a:gd name="connsiteY400" fmla="*/ 90246 h 388632"/>
                    <a:gd name="connsiteX401" fmla="*/ 1798400 w 2484052"/>
                    <a:gd name="connsiteY401" fmla="*/ 90246 h 388632"/>
                    <a:gd name="connsiteX402" fmla="*/ 1790100 w 2484052"/>
                    <a:gd name="connsiteY402" fmla="*/ 63387 h 388632"/>
                    <a:gd name="connsiteX403" fmla="*/ 1768808 w 2484052"/>
                    <a:gd name="connsiteY403" fmla="*/ 53815 h 388632"/>
                    <a:gd name="connsiteX404" fmla="*/ 1197308 w 2484052"/>
                    <a:gd name="connsiteY404" fmla="*/ 53815 h 388632"/>
                    <a:gd name="connsiteX405" fmla="*/ 1174014 w 2484052"/>
                    <a:gd name="connsiteY405" fmla="*/ 63240 h 388632"/>
                    <a:gd name="connsiteX406" fmla="*/ 1162634 w 2484052"/>
                    <a:gd name="connsiteY406" fmla="*/ 90246 h 388632"/>
                    <a:gd name="connsiteX407" fmla="*/ 1226900 w 2484052"/>
                    <a:gd name="connsiteY407" fmla="*/ 90246 h 388632"/>
                    <a:gd name="connsiteX408" fmla="*/ 1218600 w 2484052"/>
                    <a:gd name="connsiteY408" fmla="*/ 63387 h 388632"/>
                    <a:gd name="connsiteX409" fmla="*/ 1197308 w 2484052"/>
                    <a:gd name="connsiteY409" fmla="*/ 53815 h 388632"/>
                    <a:gd name="connsiteX410" fmla="*/ 759158 w 2484052"/>
                    <a:gd name="connsiteY410" fmla="*/ 53815 h 388632"/>
                    <a:gd name="connsiteX411" fmla="*/ 735864 w 2484052"/>
                    <a:gd name="connsiteY411" fmla="*/ 63240 h 388632"/>
                    <a:gd name="connsiteX412" fmla="*/ 724486 w 2484052"/>
                    <a:gd name="connsiteY412" fmla="*/ 90246 h 388632"/>
                    <a:gd name="connsiteX413" fmla="*/ 788750 w 2484052"/>
                    <a:gd name="connsiteY413" fmla="*/ 90246 h 388632"/>
                    <a:gd name="connsiteX414" fmla="*/ 780450 w 2484052"/>
                    <a:gd name="connsiteY414" fmla="*/ 63387 h 388632"/>
                    <a:gd name="connsiteX415" fmla="*/ 759158 w 2484052"/>
                    <a:gd name="connsiteY415" fmla="*/ 53815 h 388632"/>
                    <a:gd name="connsiteX416" fmla="*/ 553222 w 2484052"/>
                    <a:gd name="connsiteY416" fmla="*/ 53815 h 388632"/>
                    <a:gd name="connsiteX417" fmla="*/ 525044 w 2484052"/>
                    <a:gd name="connsiteY417" fmla="*/ 65731 h 388632"/>
                    <a:gd name="connsiteX418" fmla="*/ 514544 w 2484052"/>
                    <a:gd name="connsiteY418" fmla="*/ 98840 h 388632"/>
                    <a:gd name="connsiteX419" fmla="*/ 524800 w 2484052"/>
                    <a:gd name="connsiteY419" fmla="*/ 130387 h 388632"/>
                    <a:gd name="connsiteX420" fmla="*/ 552830 w 2484052"/>
                    <a:gd name="connsiteY420" fmla="*/ 142303 h 388632"/>
                    <a:gd name="connsiteX421" fmla="*/ 580666 w 2484052"/>
                    <a:gd name="connsiteY421" fmla="*/ 130583 h 388632"/>
                    <a:gd name="connsiteX422" fmla="*/ 590432 w 2484052"/>
                    <a:gd name="connsiteY422" fmla="*/ 98059 h 388632"/>
                    <a:gd name="connsiteX423" fmla="*/ 580714 w 2484052"/>
                    <a:gd name="connsiteY423" fmla="*/ 65242 h 388632"/>
                    <a:gd name="connsiteX424" fmla="*/ 553222 w 2484052"/>
                    <a:gd name="connsiteY424" fmla="*/ 53815 h 388632"/>
                    <a:gd name="connsiteX425" fmla="*/ 436870 w 2484052"/>
                    <a:gd name="connsiteY425" fmla="*/ 53815 h 388632"/>
                    <a:gd name="connsiteX426" fmla="*/ 410304 w 2484052"/>
                    <a:gd name="connsiteY426" fmla="*/ 66219 h 388632"/>
                    <a:gd name="connsiteX427" fmla="*/ 400244 w 2484052"/>
                    <a:gd name="connsiteY427" fmla="*/ 99036 h 388632"/>
                    <a:gd name="connsiteX428" fmla="*/ 409474 w 2484052"/>
                    <a:gd name="connsiteY428" fmla="*/ 130924 h 388632"/>
                    <a:gd name="connsiteX429" fmla="*/ 433842 w 2484052"/>
                    <a:gd name="connsiteY429" fmla="*/ 142303 h 388632"/>
                    <a:gd name="connsiteX430" fmla="*/ 459530 w 2484052"/>
                    <a:gd name="connsiteY430" fmla="*/ 131852 h 388632"/>
                    <a:gd name="connsiteX431" fmla="*/ 469100 w 2484052"/>
                    <a:gd name="connsiteY431" fmla="*/ 106263 h 388632"/>
                    <a:gd name="connsiteX432" fmla="*/ 469100 w 2484052"/>
                    <a:gd name="connsiteY432" fmla="*/ 86436 h 388632"/>
                    <a:gd name="connsiteX433" fmla="*/ 460164 w 2484052"/>
                    <a:gd name="connsiteY433" fmla="*/ 63484 h 388632"/>
                    <a:gd name="connsiteX434" fmla="*/ 436870 w 2484052"/>
                    <a:gd name="connsiteY434" fmla="*/ 53815 h 388632"/>
                    <a:gd name="connsiteX435" fmla="*/ 2112596 w 2484052"/>
                    <a:gd name="connsiteY435" fmla="*/ 48053 h 388632"/>
                    <a:gd name="connsiteX436" fmla="*/ 2121582 w 2484052"/>
                    <a:gd name="connsiteY436" fmla="*/ 48053 h 388632"/>
                    <a:gd name="connsiteX437" fmla="*/ 2121582 w 2484052"/>
                    <a:gd name="connsiteY437" fmla="*/ 148065 h 388632"/>
                    <a:gd name="connsiteX438" fmla="*/ 2112596 w 2484052"/>
                    <a:gd name="connsiteY438" fmla="*/ 148065 h 388632"/>
                    <a:gd name="connsiteX439" fmla="*/ 1966842 w 2484052"/>
                    <a:gd name="connsiteY439" fmla="*/ 48053 h 388632"/>
                    <a:gd name="connsiteX440" fmla="*/ 1976804 w 2484052"/>
                    <a:gd name="connsiteY440" fmla="*/ 48053 h 388632"/>
                    <a:gd name="connsiteX441" fmla="*/ 2000050 w 2484052"/>
                    <a:gd name="connsiteY441" fmla="*/ 127848 h 388632"/>
                    <a:gd name="connsiteX442" fmla="*/ 2001416 w 2484052"/>
                    <a:gd name="connsiteY442" fmla="*/ 136247 h 388632"/>
                    <a:gd name="connsiteX443" fmla="*/ 2002198 w 2484052"/>
                    <a:gd name="connsiteY443" fmla="*/ 136247 h 388632"/>
                    <a:gd name="connsiteX444" fmla="*/ 2004054 w 2484052"/>
                    <a:gd name="connsiteY444" fmla="*/ 127848 h 388632"/>
                    <a:gd name="connsiteX445" fmla="*/ 2029448 w 2484052"/>
                    <a:gd name="connsiteY445" fmla="*/ 48053 h 388632"/>
                    <a:gd name="connsiteX446" fmla="*/ 2035600 w 2484052"/>
                    <a:gd name="connsiteY446" fmla="*/ 48053 h 388632"/>
                    <a:gd name="connsiteX447" fmla="*/ 2058260 w 2484052"/>
                    <a:gd name="connsiteY447" fmla="*/ 127848 h 388632"/>
                    <a:gd name="connsiteX448" fmla="*/ 2059626 w 2484052"/>
                    <a:gd name="connsiteY448" fmla="*/ 136247 h 388632"/>
                    <a:gd name="connsiteX449" fmla="*/ 2060408 w 2484052"/>
                    <a:gd name="connsiteY449" fmla="*/ 136247 h 388632"/>
                    <a:gd name="connsiteX450" fmla="*/ 2062068 w 2484052"/>
                    <a:gd name="connsiteY450" fmla="*/ 127848 h 388632"/>
                    <a:gd name="connsiteX451" fmla="*/ 2085802 w 2484052"/>
                    <a:gd name="connsiteY451" fmla="*/ 48053 h 388632"/>
                    <a:gd name="connsiteX452" fmla="*/ 2095080 w 2484052"/>
                    <a:gd name="connsiteY452" fmla="*/ 48053 h 388632"/>
                    <a:gd name="connsiteX453" fmla="*/ 2064022 w 2484052"/>
                    <a:gd name="connsiteY453" fmla="*/ 148065 h 388632"/>
                    <a:gd name="connsiteX454" fmla="*/ 2055622 w 2484052"/>
                    <a:gd name="connsiteY454" fmla="*/ 148065 h 388632"/>
                    <a:gd name="connsiteX455" fmla="*/ 2033842 w 2484052"/>
                    <a:gd name="connsiteY455" fmla="*/ 72665 h 388632"/>
                    <a:gd name="connsiteX456" fmla="*/ 2032280 w 2484052"/>
                    <a:gd name="connsiteY456" fmla="*/ 64266 h 388632"/>
                    <a:gd name="connsiteX457" fmla="*/ 2031792 w 2484052"/>
                    <a:gd name="connsiteY457" fmla="*/ 64266 h 388632"/>
                    <a:gd name="connsiteX458" fmla="*/ 2029838 w 2484052"/>
                    <a:gd name="connsiteY458" fmla="*/ 72470 h 388632"/>
                    <a:gd name="connsiteX459" fmla="*/ 2005420 w 2484052"/>
                    <a:gd name="connsiteY459" fmla="*/ 148065 h 388632"/>
                    <a:gd name="connsiteX460" fmla="*/ 1997022 w 2484052"/>
                    <a:gd name="connsiteY460" fmla="*/ 148065 h 388632"/>
                    <a:gd name="connsiteX461" fmla="*/ 1633662 w 2484052"/>
                    <a:gd name="connsiteY461" fmla="*/ 48053 h 388632"/>
                    <a:gd name="connsiteX462" fmla="*/ 1644210 w 2484052"/>
                    <a:gd name="connsiteY462" fmla="*/ 48053 h 388632"/>
                    <a:gd name="connsiteX463" fmla="*/ 1666478 w 2484052"/>
                    <a:gd name="connsiteY463" fmla="*/ 83897 h 388632"/>
                    <a:gd name="connsiteX464" fmla="*/ 1671656 w 2484052"/>
                    <a:gd name="connsiteY464" fmla="*/ 92492 h 388632"/>
                    <a:gd name="connsiteX465" fmla="*/ 1672046 w 2484052"/>
                    <a:gd name="connsiteY465" fmla="*/ 92492 h 388632"/>
                    <a:gd name="connsiteX466" fmla="*/ 1677026 w 2484052"/>
                    <a:gd name="connsiteY466" fmla="*/ 84288 h 388632"/>
                    <a:gd name="connsiteX467" fmla="*/ 1700272 w 2484052"/>
                    <a:gd name="connsiteY467" fmla="*/ 48053 h 388632"/>
                    <a:gd name="connsiteX468" fmla="*/ 1710820 w 2484052"/>
                    <a:gd name="connsiteY468" fmla="*/ 48053 h 388632"/>
                    <a:gd name="connsiteX469" fmla="*/ 1676832 w 2484052"/>
                    <a:gd name="connsiteY469" fmla="*/ 99036 h 388632"/>
                    <a:gd name="connsiteX470" fmla="*/ 1709452 w 2484052"/>
                    <a:gd name="connsiteY470" fmla="*/ 148065 h 388632"/>
                    <a:gd name="connsiteX471" fmla="*/ 1698026 w 2484052"/>
                    <a:gd name="connsiteY471" fmla="*/ 148065 h 388632"/>
                    <a:gd name="connsiteX472" fmla="*/ 1671656 w 2484052"/>
                    <a:gd name="connsiteY472" fmla="*/ 105872 h 388632"/>
                    <a:gd name="connsiteX473" fmla="*/ 1671264 w 2484052"/>
                    <a:gd name="connsiteY473" fmla="*/ 105872 h 388632"/>
                    <a:gd name="connsiteX474" fmla="*/ 1667748 w 2484052"/>
                    <a:gd name="connsiteY474" fmla="*/ 111440 h 388632"/>
                    <a:gd name="connsiteX475" fmla="*/ 1666088 w 2484052"/>
                    <a:gd name="connsiteY475" fmla="*/ 114077 h 388632"/>
                    <a:gd name="connsiteX476" fmla="*/ 1644014 w 2484052"/>
                    <a:gd name="connsiteY476" fmla="*/ 148065 h 388632"/>
                    <a:gd name="connsiteX477" fmla="*/ 1633076 w 2484052"/>
                    <a:gd name="connsiteY477" fmla="*/ 148065 h 388632"/>
                    <a:gd name="connsiteX478" fmla="*/ 1666478 w 2484052"/>
                    <a:gd name="connsiteY478" fmla="*/ 99231 h 388632"/>
                    <a:gd name="connsiteX479" fmla="*/ 612632 w 2484052"/>
                    <a:gd name="connsiteY479" fmla="*/ 48053 h 388632"/>
                    <a:gd name="connsiteX480" fmla="*/ 622692 w 2484052"/>
                    <a:gd name="connsiteY480" fmla="*/ 48053 h 388632"/>
                    <a:gd name="connsiteX481" fmla="*/ 652480 w 2484052"/>
                    <a:gd name="connsiteY481" fmla="*/ 127653 h 388632"/>
                    <a:gd name="connsiteX482" fmla="*/ 655508 w 2484052"/>
                    <a:gd name="connsiteY482" fmla="*/ 138103 h 388632"/>
                    <a:gd name="connsiteX483" fmla="*/ 655898 w 2484052"/>
                    <a:gd name="connsiteY483" fmla="*/ 138103 h 388632"/>
                    <a:gd name="connsiteX484" fmla="*/ 658730 w 2484052"/>
                    <a:gd name="connsiteY484" fmla="*/ 128043 h 388632"/>
                    <a:gd name="connsiteX485" fmla="*/ 689496 w 2484052"/>
                    <a:gd name="connsiteY485" fmla="*/ 48053 h 388632"/>
                    <a:gd name="connsiteX486" fmla="*/ 699264 w 2484052"/>
                    <a:gd name="connsiteY486" fmla="*/ 48053 h 388632"/>
                    <a:gd name="connsiteX487" fmla="*/ 659512 w 2484052"/>
                    <a:gd name="connsiteY487" fmla="*/ 148065 h 388632"/>
                    <a:gd name="connsiteX488" fmla="*/ 651308 w 2484052"/>
                    <a:gd name="connsiteY488" fmla="*/ 148065 h 388632"/>
                    <a:gd name="connsiteX489" fmla="*/ 93296 w 2484052"/>
                    <a:gd name="connsiteY489" fmla="*/ 48053 h 388632"/>
                    <a:gd name="connsiteX490" fmla="*/ 102282 w 2484052"/>
                    <a:gd name="connsiteY490" fmla="*/ 48053 h 388632"/>
                    <a:gd name="connsiteX491" fmla="*/ 102282 w 2484052"/>
                    <a:gd name="connsiteY491" fmla="*/ 148065 h 388632"/>
                    <a:gd name="connsiteX492" fmla="*/ 93296 w 2484052"/>
                    <a:gd name="connsiteY492" fmla="*/ 148065 h 388632"/>
                    <a:gd name="connsiteX493" fmla="*/ 863932 w 2484052"/>
                    <a:gd name="connsiteY493" fmla="*/ 46099 h 388632"/>
                    <a:gd name="connsiteX494" fmla="*/ 873894 w 2484052"/>
                    <a:gd name="connsiteY494" fmla="*/ 47857 h 388632"/>
                    <a:gd name="connsiteX495" fmla="*/ 873894 w 2484052"/>
                    <a:gd name="connsiteY495" fmla="*/ 57429 h 388632"/>
                    <a:gd name="connsiteX496" fmla="*/ 863346 w 2484052"/>
                    <a:gd name="connsiteY496" fmla="*/ 54206 h 388632"/>
                    <a:gd name="connsiteX497" fmla="*/ 843520 w 2484052"/>
                    <a:gd name="connsiteY497" fmla="*/ 66414 h 388632"/>
                    <a:gd name="connsiteX498" fmla="*/ 835510 w 2484052"/>
                    <a:gd name="connsiteY498" fmla="*/ 101087 h 388632"/>
                    <a:gd name="connsiteX499" fmla="*/ 835510 w 2484052"/>
                    <a:gd name="connsiteY499" fmla="*/ 148065 h 388632"/>
                    <a:gd name="connsiteX500" fmla="*/ 826720 w 2484052"/>
                    <a:gd name="connsiteY500" fmla="*/ 148065 h 388632"/>
                    <a:gd name="connsiteX501" fmla="*/ 826720 w 2484052"/>
                    <a:gd name="connsiteY501" fmla="*/ 48053 h 388632"/>
                    <a:gd name="connsiteX502" fmla="*/ 835510 w 2484052"/>
                    <a:gd name="connsiteY502" fmla="*/ 48053 h 388632"/>
                    <a:gd name="connsiteX503" fmla="*/ 835510 w 2484052"/>
                    <a:gd name="connsiteY503" fmla="*/ 70223 h 388632"/>
                    <a:gd name="connsiteX504" fmla="*/ 835902 w 2484052"/>
                    <a:gd name="connsiteY504" fmla="*/ 70223 h 388632"/>
                    <a:gd name="connsiteX505" fmla="*/ 846742 w 2484052"/>
                    <a:gd name="connsiteY505" fmla="*/ 52448 h 388632"/>
                    <a:gd name="connsiteX506" fmla="*/ 863932 w 2484052"/>
                    <a:gd name="connsiteY506" fmla="*/ 46099 h 388632"/>
                    <a:gd name="connsiteX507" fmla="*/ 168608 w 2484052"/>
                    <a:gd name="connsiteY507" fmla="*/ 46099 h 388632"/>
                    <a:gd name="connsiteX508" fmla="*/ 178570 w 2484052"/>
                    <a:gd name="connsiteY508" fmla="*/ 47857 h 388632"/>
                    <a:gd name="connsiteX509" fmla="*/ 178570 w 2484052"/>
                    <a:gd name="connsiteY509" fmla="*/ 57429 h 388632"/>
                    <a:gd name="connsiteX510" fmla="*/ 168022 w 2484052"/>
                    <a:gd name="connsiteY510" fmla="*/ 54206 h 388632"/>
                    <a:gd name="connsiteX511" fmla="*/ 148194 w 2484052"/>
                    <a:gd name="connsiteY511" fmla="*/ 66414 h 388632"/>
                    <a:gd name="connsiteX512" fmla="*/ 140186 w 2484052"/>
                    <a:gd name="connsiteY512" fmla="*/ 101087 h 388632"/>
                    <a:gd name="connsiteX513" fmla="*/ 140186 w 2484052"/>
                    <a:gd name="connsiteY513" fmla="*/ 148065 h 388632"/>
                    <a:gd name="connsiteX514" fmla="*/ 131396 w 2484052"/>
                    <a:gd name="connsiteY514" fmla="*/ 148065 h 388632"/>
                    <a:gd name="connsiteX515" fmla="*/ 131396 w 2484052"/>
                    <a:gd name="connsiteY515" fmla="*/ 48053 h 388632"/>
                    <a:gd name="connsiteX516" fmla="*/ 140186 w 2484052"/>
                    <a:gd name="connsiteY516" fmla="*/ 48053 h 388632"/>
                    <a:gd name="connsiteX517" fmla="*/ 140186 w 2484052"/>
                    <a:gd name="connsiteY517" fmla="*/ 70223 h 388632"/>
                    <a:gd name="connsiteX518" fmla="*/ 140576 w 2484052"/>
                    <a:gd name="connsiteY518" fmla="*/ 70223 h 388632"/>
                    <a:gd name="connsiteX519" fmla="*/ 151418 w 2484052"/>
                    <a:gd name="connsiteY519" fmla="*/ 52448 h 388632"/>
                    <a:gd name="connsiteX520" fmla="*/ 168608 w 2484052"/>
                    <a:gd name="connsiteY520" fmla="*/ 46099 h 388632"/>
                    <a:gd name="connsiteX521" fmla="*/ 2445474 w 2484052"/>
                    <a:gd name="connsiteY521" fmla="*/ 45611 h 388632"/>
                    <a:gd name="connsiteX522" fmla="*/ 2474090 w 2484052"/>
                    <a:gd name="connsiteY522" fmla="*/ 58699 h 388632"/>
                    <a:gd name="connsiteX523" fmla="*/ 2484052 w 2484052"/>
                    <a:gd name="connsiteY523" fmla="*/ 94445 h 388632"/>
                    <a:gd name="connsiteX524" fmla="*/ 2484052 w 2484052"/>
                    <a:gd name="connsiteY524" fmla="*/ 98450 h 388632"/>
                    <a:gd name="connsiteX525" fmla="*/ 2410020 w 2484052"/>
                    <a:gd name="connsiteY525" fmla="*/ 98450 h 388632"/>
                    <a:gd name="connsiteX526" fmla="*/ 2419542 w 2484052"/>
                    <a:gd name="connsiteY526" fmla="*/ 130680 h 388632"/>
                    <a:gd name="connsiteX527" fmla="*/ 2445668 w 2484052"/>
                    <a:gd name="connsiteY527" fmla="*/ 142303 h 388632"/>
                    <a:gd name="connsiteX528" fmla="*/ 2478486 w 2484052"/>
                    <a:gd name="connsiteY528" fmla="*/ 129899 h 388632"/>
                    <a:gd name="connsiteX529" fmla="*/ 2478486 w 2484052"/>
                    <a:gd name="connsiteY529" fmla="*/ 139470 h 388632"/>
                    <a:gd name="connsiteX530" fmla="*/ 2443812 w 2484052"/>
                    <a:gd name="connsiteY530" fmla="*/ 150507 h 388632"/>
                    <a:gd name="connsiteX531" fmla="*/ 2412558 w 2484052"/>
                    <a:gd name="connsiteY531" fmla="*/ 136638 h 388632"/>
                    <a:gd name="connsiteX532" fmla="*/ 2400644 w 2484052"/>
                    <a:gd name="connsiteY532" fmla="*/ 97473 h 388632"/>
                    <a:gd name="connsiteX533" fmla="*/ 2413096 w 2484052"/>
                    <a:gd name="connsiteY533" fmla="*/ 60603 h 388632"/>
                    <a:gd name="connsiteX534" fmla="*/ 2445474 w 2484052"/>
                    <a:gd name="connsiteY534" fmla="*/ 45611 h 388632"/>
                    <a:gd name="connsiteX535" fmla="*/ 1863914 w 2484052"/>
                    <a:gd name="connsiteY535" fmla="*/ 45611 h 388632"/>
                    <a:gd name="connsiteX536" fmla="*/ 1885986 w 2484052"/>
                    <a:gd name="connsiteY536" fmla="*/ 50885 h 388632"/>
                    <a:gd name="connsiteX537" fmla="*/ 1885986 w 2484052"/>
                    <a:gd name="connsiteY537" fmla="*/ 61043 h 388632"/>
                    <a:gd name="connsiteX538" fmla="*/ 1862936 w 2484052"/>
                    <a:gd name="connsiteY538" fmla="*/ 53815 h 388632"/>
                    <a:gd name="connsiteX539" fmla="*/ 1847016 w 2484052"/>
                    <a:gd name="connsiteY539" fmla="*/ 58943 h 388632"/>
                    <a:gd name="connsiteX540" fmla="*/ 1840962 w 2484052"/>
                    <a:gd name="connsiteY540" fmla="*/ 72275 h 388632"/>
                    <a:gd name="connsiteX541" fmla="*/ 1844770 w 2484052"/>
                    <a:gd name="connsiteY541" fmla="*/ 83848 h 388632"/>
                    <a:gd name="connsiteX542" fmla="*/ 1861570 w 2484052"/>
                    <a:gd name="connsiteY542" fmla="*/ 94055 h 388632"/>
                    <a:gd name="connsiteX543" fmla="*/ 1883056 w 2484052"/>
                    <a:gd name="connsiteY543" fmla="*/ 107093 h 388632"/>
                    <a:gd name="connsiteX544" fmla="*/ 1888916 w 2484052"/>
                    <a:gd name="connsiteY544" fmla="*/ 123062 h 388632"/>
                    <a:gd name="connsiteX545" fmla="*/ 1879980 w 2484052"/>
                    <a:gd name="connsiteY545" fmla="*/ 142742 h 388632"/>
                    <a:gd name="connsiteX546" fmla="*/ 1855318 w 2484052"/>
                    <a:gd name="connsiteY546" fmla="*/ 150507 h 388632"/>
                    <a:gd name="connsiteX547" fmla="*/ 1831194 w 2484052"/>
                    <a:gd name="connsiteY547" fmla="*/ 143670 h 388632"/>
                    <a:gd name="connsiteX548" fmla="*/ 1831194 w 2484052"/>
                    <a:gd name="connsiteY548" fmla="*/ 132829 h 388632"/>
                    <a:gd name="connsiteX549" fmla="*/ 1843500 w 2484052"/>
                    <a:gd name="connsiteY549" fmla="*/ 139763 h 388632"/>
                    <a:gd name="connsiteX550" fmla="*/ 1856002 w 2484052"/>
                    <a:gd name="connsiteY550" fmla="*/ 142303 h 388632"/>
                    <a:gd name="connsiteX551" fmla="*/ 1879540 w 2484052"/>
                    <a:gd name="connsiteY551" fmla="*/ 123062 h 388632"/>
                    <a:gd name="connsiteX552" fmla="*/ 1874364 w 2484052"/>
                    <a:gd name="connsiteY552" fmla="*/ 111733 h 388632"/>
                    <a:gd name="connsiteX553" fmla="*/ 1857564 w 2484052"/>
                    <a:gd name="connsiteY553" fmla="*/ 102063 h 388632"/>
                    <a:gd name="connsiteX554" fmla="*/ 1837396 w 2484052"/>
                    <a:gd name="connsiteY554" fmla="*/ 89122 h 388632"/>
                    <a:gd name="connsiteX555" fmla="*/ 1831584 w 2484052"/>
                    <a:gd name="connsiteY555" fmla="*/ 72861 h 388632"/>
                    <a:gd name="connsiteX556" fmla="*/ 1840912 w 2484052"/>
                    <a:gd name="connsiteY556" fmla="*/ 53132 h 388632"/>
                    <a:gd name="connsiteX557" fmla="*/ 1863914 w 2484052"/>
                    <a:gd name="connsiteY557" fmla="*/ 45611 h 388632"/>
                    <a:gd name="connsiteX558" fmla="*/ 1769198 w 2484052"/>
                    <a:gd name="connsiteY558" fmla="*/ 45611 h 388632"/>
                    <a:gd name="connsiteX559" fmla="*/ 1797814 w 2484052"/>
                    <a:gd name="connsiteY559" fmla="*/ 58699 h 388632"/>
                    <a:gd name="connsiteX560" fmla="*/ 1807778 w 2484052"/>
                    <a:gd name="connsiteY560" fmla="*/ 94445 h 388632"/>
                    <a:gd name="connsiteX561" fmla="*/ 1807778 w 2484052"/>
                    <a:gd name="connsiteY561" fmla="*/ 98450 h 388632"/>
                    <a:gd name="connsiteX562" fmla="*/ 1733744 w 2484052"/>
                    <a:gd name="connsiteY562" fmla="*/ 98450 h 388632"/>
                    <a:gd name="connsiteX563" fmla="*/ 1743266 w 2484052"/>
                    <a:gd name="connsiteY563" fmla="*/ 130680 h 388632"/>
                    <a:gd name="connsiteX564" fmla="*/ 1769394 w 2484052"/>
                    <a:gd name="connsiteY564" fmla="*/ 142303 h 388632"/>
                    <a:gd name="connsiteX565" fmla="*/ 1802210 w 2484052"/>
                    <a:gd name="connsiteY565" fmla="*/ 129899 h 388632"/>
                    <a:gd name="connsiteX566" fmla="*/ 1802210 w 2484052"/>
                    <a:gd name="connsiteY566" fmla="*/ 139470 h 388632"/>
                    <a:gd name="connsiteX567" fmla="*/ 1767538 w 2484052"/>
                    <a:gd name="connsiteY567" fmla="*/ 150507 h 388632"/>
                    <a:gd name="connsiteX568" fmla="*/ 1736284 w 2484052"/>
                    <a:gd name="connsiteY568" fmla="*/ 136638 h 388632"/>
                    <a:gd name="connsiteX569" fmla="*/ 1724368 w 2484052"/>
                    <a:gd name="connsiteY569" fmla="*/ 97473 h 388632"/>
                    <a:gd name="connsiteX570" fmla="*/ 1736822 w 2484052"/>
                    <a:gd name="connsiteY570" fmla="*/ 60603 h 388632"/>
                    <a:gd name="connsiteX571" fmla="*/ 1769198 w 2484052"/>
                    <a:gd name="connsiteY571" fmla="*/ 45611 h 388632"/>
                    <a:gd name="connsiteX572" fmla="*/ 1587050 w 2484052"/>
                    <a:gd name="connsiteY572" fmla="*/ 45611 h 388632"/>
                    <a:gd name="connsiteX573" fmla="*/ 1610930 w 2484052"/>
                    <a:gd name="connsiteY573" fmla="*/ 55183 h 388632"/>
                    <a:gd name="connsiteX574" fmla="*/ 1619380 w 2484052"/>
                    <a:gd name="connsiteY574" fmla="*/ 83018 h 388632"/>
                    <a:gd name="connsiteX575" fmla="*/ 1619380 w 2484052"/>
                    <a:gd name="connsiteY575" fmla="*/ 148065 h 388632"/>
                    <a:gd name="connsiteX576" fmla="*/ 1610394 w 2484052"/>
                    <a:gd name="connsiteY576" fmla="*/ 148065 h 388632"/>
                    <a:gd name="connsiteX577" fmla="*/ 1610394 w 2484052"/>
                    <a:gd name="connsiteY577" fmla="*/ 128043 h 388632"/>
                    <a:gd name="connsiteX578" fmla="*/ 1610004 w 2484052"/>
                    <a:gd name="connsiteY578" fmla="*/ 128043 h 388632"/>
                    <a:gd name="connsiteX579" fmla="*/ 1596086 w 2484052"/>
                    <a:gd name="connsiteY579" fmla="*/ 144403 h 388632"/>
                    <a:gd name="connsiteX580" fmla="*/ 1575820 w 2484052"/>
                    <a:gd name="connsiteY580" fmla="*/ 150507 h 388632"/>
                    <a:gd name="connsiteX581" fmla="*/ 1553258 w 2484052"/>
                    <a:gd name="connsiteY581" fmla="*/ 142498 h 388632"/>
                    <a:gd name="connsiteX582" fmla="*/ 1544956 w 2484052"/>
                    <a:gd name="connsiteY582" fmla="*/ 122281 h 388632"/>
                    <a:gd name="connsiteX583" fmla="*/ 1579628 w 2484052"/>
                    <a:gd name="connsiteY583" fmla="*/ 90636 h 388632"/>
                    <a:gd name="connsiteX584" fmla="*/ 1610394 w 2484052"/>
                    <a:gd name="connsiteY584" fmla="*/ 86046 h 388632"/>
                    <a:gd name="connsiteX585" fmla="*/ 1586172 w 2484052"/>
                    <a:gd name="connsiteY585" fmla="*/ 53815 h 388632"/>
                    <a:gd name="connsiteX586" fmla="*/ 1554040 w 2484052"/>
                    <a:gd name="connsiteY586" fmla="*/ 67098 h 388632"/>
                    <a:gd name="connsiteX587" fmla="*/ 1554040 w 2484052"/>
                    <a:gd name="connsiteY587" fmla="*/ 56257 h 388632"/>
                    <a:gd name="connsiteX588" fmla="*/ 1569128 w 2484052"/>
                    <a:gd name="connsiteY588" fmla="*/ 48736 h 388632"/>
                    <a:gd name="connsiteX589" fmla="*/ 1587050 w 2484052"/>
                    <a:gd name="connsiteY589" fmla="*/ 45611 h 388632"/>
                    <a:gd name="connsiteX590" fmla="*/ 1308430 w 2484052"/>
                    <a:gd name="connsiteY590" fmla="*/ 45611 h 388632"/>
                    <a:gd name="connsiteX591" fmla="*/ 1333238 w 2484052"/>
                    <a:gd name="connsiteY591" fmla="*/ 56403 h 388632"/>
                    <a:gd name="connsiteX592" fmla="*/ 1341834 w 2484052"/>
                    <a:gd name="connsiteY592" fmla="*/ 87218 h 388632"/>
                    <a:gd name="connsiteX593" fmla="*/ 1341834 w 2484052"/>
                    <a:gd name="connsiteY593" fmla="*/ 148065 h 388632"/>
                    <a:gd name="connsiteX594" fmla="*/ 1332848 w 2484052"/>
                    <a:gd name="connsiteY594" fmla="*/ 148065 h 388632"/>
                    <a:gd name="connsiteX595" fmla="*/ 1332848 w 2484052"/>
                    <a:gd name="connsiteY595" fmla="*/ 89855 h 388632"/>
                    <a:gd name="connsiteX596" fmla="*/ 1306868 w 2484052"/>
                    <a:gd name="connsiteY596" fmla="*/ 53815 h 388632"/>
                    <a:gd name="connsiteX597" fmla="*/ 1283134 w 2484052"/>
                    <a:gd name="connsiteY597" fmla="*/ 64412 h 388632"/>
                    <a:gd name="connsiteX598" fmla="*/ 1273856 w 2484052"/>
                    <a:gd name="connsiteY598" fmla="*/ 90636 h 388632"/>
                    <a:gd name="connsiteX599" fmla="*/ 1273856 w 2484052"/>
                    <a:gd name="connsiteY599" fmla="*/ 148065 h 388632"/>
                    <a:gd name="connsiteX600" fmla="*/ 1264870 w 2484052"/>
                    <a:gd name="connsiteY600" fmla="*/ 148065 h 388632"/>
                    <a:gd name="connsiteX601" fmla="*/ 1264870 w 2484052"/>
                    <a:gd name="connsiteY601" fmla="*/ 48053 h 388632"/>
                    <a:gd name="connsiteX602" fmla="*/ 1273856 w 2484052"/>
                    <a:gd name="connsiteY602" fmla="*/ 48053 h 388632"/>
                    <a:gd name="connsiteX603" fmla="*/ 1273856 w 2484052"/>
                    <a:gd name="connsiteY603" fmla="*/ 66219 h 388632"/>
                    <a:gd name="connsiteX604" fmla="*/ 1274246 w 2484052"/>
                    <a:gd name="connsiteY604" fmla="*/ 66219 h 388632"/>
                    <a:gd name="connsiteX605" fmla="*/ 1308430 w 2484052"/>
                    <a:gd name="connsiteY605" fmla="*/ 45611 h 388632"/>
                    <a:gd name="connsiteX606" fmla="*/ 1197698 w 2484052"/>
                    <a:gd name="connsiteY606" fmla="*/ 45611 h 388632"/>
                    <a:gd name="connsiteX607" fmla="*/ 1226314 w 2484052"/>
                    <a:gd name="connsiteY607" fmla="*/ 58699 h 388632"/>
                    <a:gd name="connsiteX608" fmla="*/ 1236278 w 2484052"/>
                    <a:gd name="connsiteY608" fmla="*/ 94445 h 388632"/>
                    <a:gd name="connsiteX609" fmla="*/ 1236278 w 2484052"/>
                    <a:gd name="connsiteY609" fmla="*/ 98450 h 388632"/>
                    <a:gd name="connsiteX610" fmla="*/ 1162244 w 2484052"/>
                    <a:gd name="connsiteY610" fmla="*/ 98450 h 388632"/>
                    <a:gd name="connsiteX611" fmla="*/ 1171766 w 2484052"/>
                    <a:gd name="connsiteY611" fmla="*/ 130680 h 388632"/>
                    <a:gd name="connsiteX612" fmla="*/ 1197894 w 2484052"/>
                    <a:gd name="connsiteY612" fmla="*/ 142303 h 388632"/>
                    <a:gd name="connsiteX613" fmla="*/ 1230710 w 2484052"/>
                    <a:gd name="connsiteY613" fmla="*/ 129899 h 388632"/>
                    <a:gd name="connsiteX614" fmla="*/ 1230710 w 2484052"/>
                    <a:gd name="connsiteY614" fmla="*/ 139470 h 388632"/>
                    <a:gd name="connsiteX615" fmla="*/ 1196038 w 2484052"/>
                    <a:gd name="connsiteY615" fmla="*/ 150507 h 388632"/>
                    <a:gd name="connsiteX616" fmla="*/ 1164784 w 2484052"/>
                    <a:gd name="connsiteY616" fmla="*/ 136638 h 388632"/>
                    <a:gd name="connsiteX617" fmla="*/ 1152868 w 2484052"/>
                    <a:gd name="connsiteY617" fmla="*/ 97473 h 388632"/>
                    <a:gd name="connsiteX618" fmla="*/ 1165322 w 2484052"/>
                    <a:gd name="connsiteY618" fmla="*/ 60603 h 388632"/>
                    <a:gd name="connsiteX619" fmla="*/ 1197698 w 2484052"/>
                    <a:gd name="connsiteY619" fmla="*/ 45611 h 388632"/>
                    <a:gd name="connsiteX620" fmla="*/ 1038118 w 2484052"/>
                    <a:gd name="connsiteY620" fmla="*/ 45611 h 388632"/>
                    <a:gd name="connsiteX621" fmla="*/ 1056820 w 2484052"/>
                    <a:gd name="connsiteY621" fmla="*/ 51911 h 388632"/>
                    <a:gd name="connsiteX622" fmla="*/ 1067320 w 2484052"/>
                    <a:gd name="connsiteY622" fmla="*/ 68465 h 388632"/>
                    <a:gd name="connsiteX623" fmla="*/ 1080750 w 2484052"/>
                    <a:gd name="connsiteY623" fmla="*/ 51618 h 388632"/>
                    <a:gd name="connsiteX624" fmla="*/ 1099746 w 2484052"/>
                    <a:gd name="connsiteY624" fmla="*/ 45611 h 388632"/>
                    <a:gd name="connsiteX625" fmla="*/ 1132562 w 2484052"/>
                    <a:gd name="connsiteY625" fmla="*/ 86241 h 388632"/>
                    <a:gd name="connsiteX626" fmla="*/ 1132562 w 2484052"/>
                    <a:gd name="connsiteY626" fmla="*/ 148065 h 388632"/>
                    <a:gd name="connsiteX627" fmla="*/ 1123578 w 2484052"/>
                    <a:gd name="connsiteY627" fmla="*/ 148065 h 388632"/>
                    <a:gd name="connsiteX628" fmla="*/ 1123578 w 2484052"/>
                    <a:gd name="connsiteY628" fmla="*/ 87901 h 388632"/>
                    <a:gd name="connsiteX629" fmla="*/ 1117668 w 2484052"/>
                    <a:gd name="connsiteY629" fmla="*/ 61433 h 388632"/>
                    <a:gd name="connsiteX630" fmla="*/ 1098964 w 2484052"/>
                    <a:gd name="connsiteY630" fmla="*/ 53815 h 388632"/>
                    <a:gd name="connsiteX631" fmla="*/ 1078552 w 2484052"/>
                    <a:gd name="connsiteY631" fmla="*/ 63973 h 388632"/>
                    <a:gd name="connsiteX632" fmla="*/ 1069958 w 2484052"/>
                    <a:gd name="connsiteY632" fmla="*/ 89464 h 388632"/>
                    <a:gd name="connsiteX633" fmla="*/ 1069958 w 2484052"/>
                    <a:gd name="connsiteY633" fmla="*/ 148065 h 388632"/>
                    <a:gd name="connsiteX634" fmla="*/ 1060972 w 2484052"/>
                    <a:gd name="connsiteY634" fmla="*/ 148065 h 388632"/>
                    <a:gd name="connsiteX635" fmla="*/ 1060972 w 2484052"/>
                    <a:gd name="connsiteY635" fmla="*/ 87218 h 388632"/>
                    <a:gd name="connsiteX636" fmla="*/ 1035578 w 2484052"/>
                    <a:gd name="connsiteY636" fmla="*/ 53815 h 388632"/>
                    <a:gd name="connsiteX637" fmla="*/ 1015262 w 2484052"/>
                    <a:gd name="connsiteY637" fmla="*/ 64022 h 388632"/>
                    <a:gd name="connsiteX638" fmla="*/ 1007156 w 2484052"/>
                    <a:gd name="connsiteY638" fmla="*/ 90441 h 388632"/>
                    <a:gd name="connsiteX639" fmla="*/ 1007156 w 2484052"/>
                    <a:gd name="connsiteY639" fmla="*/ 148065 h 388632"/>
                    <a:gd name="connsiteX640" fmla="*/ 998170 w 2484052"/>
                    <a:gd name="connsiteY640" fmla="*/ 148065 h 388632"/>
                    <a:gd name="connsiteX641" fmla="*/ 998170 w 2484052"/>
                    <a:gd name="connsiteY641" fmla="*/ 48053 h 388632"/>
                    <a:gd name="connsiteX642" fmla="*/ 1007156 w 2484052"/>
                    <a:gd name="connsiteY642" fmla="*/ 48053 h 388632"/>
                    <a:gd name="connsiteX643" fmla="*/ 1007156 w 2484052"/>
                    <a:gd name="connsiteY643" fmla="*/ 64656 h 388632"/>
                    <a:gd name="connsiteX644" fmla="*/ 1007546 w 2484052"/>
                    <a:gd name="connsiteY644" fmla="*/ 64656 h 388632"/>
                    <a:gd name="connsiteX645" fmla="*/ 1038118 w 2484052"/>
                    <a:gd name="connsiteY645" fmla="*/ 45611 h 388632"/>
                    <a:gd name="connsiteX646" fmla="*/ 936956 w 2484052"/>
                    <a:gd name="connsiteY646" fmla="*/ 45611 h 388632"/>
                    <a:gd name="connsiteX647" fmla="*/ 961764 w 2484052"/>
                    <a:gd name="connsiteY647" fmla="*/ 56403 h 388632"/>
                    <a:gd name="connsiteX648" fmla="*/ 970358 w 2484052"/>
                    <a:gd name="connsiteY648" fmla="*/ 87218 h 388632"/>
                    <a:gd name="connsiteX649" fmla="*/ 970358 w 2484052"/>
                    <a:gd name="connsiteY649" fmla="*/ 148065 h 388632"/>
                    <a:gd name="connsiteX650" fmla="*/ 961372 w 2484052"/>
                    <a:gd name="connsiteY650" fmla="*/ 148065 h 388632"/>
                    <a:gd name="connsiteX651" fmla="*/ 961372 w 2484052"/>
                    <a:gd name="connsiteY651" fmla="*/ 89855 h 388632"/>
                    <a:gd name="connsiteX652" fmla="*/ 935394 w 2484052"/>
                    <a:gd name="connsiteY652" fmla="*/ 53815 h 388632"/>
                    <a:gd name="connsiteX653" fmla="*/ 911660 w 2484052"/>
                    <a:gd name="connsiteY653" fmla="*/ 64412 h 388632"/>
                    <a:gd name="connsiteX654" fmla="*/ 902382 w 2484052"/>
                    <a:gd name="connsiteY654" fmla="*/ 90636 h 388632"/>
                    <a:gd name="connsiteX655" fmla="*/ 902382 w 2484052"/>
                    <a:gd name="connsiteY655" fmla="*/ 148065 h 388632"/>
                    <a:gd name="connsiteX656" fmla="*/ 893396 w 2484052"/>
                    <a:gd name="connsiteY656" fmla="*/ 148065 h 388632"/>
                    <a:gd name="connsiteX657" fmla="*/ 893396 w 2484052"/>
                    <a:gd name="connsiteY657" fmla="*/ 48053 h 388632"/>
                    <a:gd name="connsiteX658" fmla="*/ 902382 w 2484052"/>
                    <a:gd name="connsiteY658" fmla="*/ 48053 h 388632"/>
                    <a:gd name="connsiteX659" fmla="*/ 902382 w 2484052"/>
                    <a:gd name="connsiteY659" fmla="*/ 66219 h 388632"/>
                    <a:gd name="connsiteX660" fmla="*/ 902772 w 2484052"/>
                    <a:gd name="connsiteY660" fmla="*/ 66219 h 388632"/>
                    <a:gd name="connsiteX661" fmla="*/ 936956 w 2484052"/>
                    <a:gd name="connsiteY661" fmla="*/ 45611 h 388632"/>
                    <a:gd name="connsiteX662" fmla="*/ 759548 w 2484052"/>
                    <a:gd name="connsiteY662" fmla="*/ 45611 h 388632"/>
                    <a:gd name="connsiteX663" fmla="*/ 788164 w 2484052"/>
                    <a:gd name="connsiteY663" fmla="*/ 58699 h 388632"/>
                    <a:gd name="connsiteX664" fmla="*/ 798128 w 2484052"/>
                    <a:gd name="connsiteY664" fmla="*/ 94445 h 388632"/>
                    <a:gd name="connsiteX665" fmla="*/ 798128 w 2484052"/>
                    <a:gd name="connsiteY665" fmla="*/ 98450 h 388632"/>
                    <a:gd name="connsiteX666" fmla="*/ 724094 w 2484052"/>
                    <a:gd name="connsiteY666" fmla="*/ 98450 h 388632"/>
                    <a:gd name="connsiteX667" fmla="*/ 733618 w 2484052"/>
                    <a:gd name="connsiteY667" fmla="*/ 130680 h 388632"/>
                    <a:gd name="connsiteX668" fmla="*/ 759744 w 2484052"/>
                    <a:gd name="connsiteY668" fmla="*/ 142303 h 388632"/>
                    <a:gd name="connsiteX669" fmla="*/ 792560 w 2484052"/>
                    <a:gd name="connsiteY669" fmla="*/ 129899 h 388632"/>
                    <a:gd name="connsiteX670" fmla="*/ 792560 w 2484052"/>
                    <a:gd name="connsiteY670" fmla="*/ 139470 h 388632"/>
                    <a:gd name="connsiteX671" fmla="*/ 757888 w 2484052"/>
                    <a:gd name="connsiteY671" fmla="*/ 150507 h 388632"/>
                    <a:gd name="connsiteX672" fmla="*/ 726634 w 2484052"/>
                    <a:gd name="connsiteY672" fmla="*/ 136638 h 388632"/>
                    <a:gd name="connsiteX673" fmla="*/ 714718 w 2484052"/>
                    <a:gd name="connsiteY673" fmla="*/ 97473 h 388632"/>
                    <a:gd name="connsiteX674" fmla="*/ 727170 w 2484052"/>
                    <a:gd name="connsiteY674" fmla="*/ 60603 h 388632"/>
                    <a:gd name="connsiteX675" fmla="*/ 759548 w 2484052"/>
                    <a:gd name="connsiteY675" fmla="*/ 45611 h 388632"/>
                    <a:gd name="connsiteX676" fmla="*/ 553612 w 2484052"/>
                    <a:gd name="connsiteY676" fmla="*/ 45611 h 388632"/>
                    <a:gd name="connsiteX677" fmla="*/ 587406 w 2484052"/>
                    <a:gd name="connsiteY677" fmla="*/ 59578 h 388632"/>
                    <a:gd name="connsiteX678" fmla="*/ 599808 w 2484052"/>
                    <a:gd name="connsiteY678" fmla="*/ 98254 h 388632"/>
                    <a:gd name="connsiteX679" fmla="*/ 587160 w 2484052"/>
                    <a:gd name="connsiteY679" fmla="*/ 136052 h 388632"/>
                    <a:gd name="connsiteX680" fmla="*/ 552538 w 2484052"/>
                    <a:gd name="connsiteY680" fmla="*/ 150507 h 388632"/>
                    <a:gd name="connsiteX681" fmla="*/ 517914 w 2484052"/>
                    <a:gd name="connsiteY681" fmla="*/ 136101 h 388632"/>
                    <a:gd name="connsiteX682" fmla="*/ 505168 w 2484052"/>
                    <a:gd name="connsiteY682" fmla="*/ 98645 h 388632"/>
                    <a:gd name="connsiteX683" fmla="*/ 518500 w 2484052"/>
                    <a:gd name="connsiteY683" fmla="*/ 59675 h 388632"/>
                    <a:gd name="connsiteX684" fmla="*/ 553612 w 2484052"/>
                    <a:gd name="connsiteY684" fmla="*/ 45611 h 388632"/>
                    <a:gd name="connsiteX685" fmla="*/ 436674 w 2484052"/>
                    <a:gd name="connsiteY685" fmla="*/ 45611 h 388632"/>
                    <a:gd name="connsiteX686" fmla="*/ 468710 w 2484052"/>
                    <a:gd name="connsiteY686" fmla="*/ 63875 h 388632"/>
                    <a:gd name="connsiteX687" fmla="*/ 469100 w 2484052"/>
                    <a:gd name="connsiteY687" fmla="*/ 63875 h 388632"/>
                    <a:gd name="connsiteX688" fmla="*/ 469100 w 2484052"/>
                    <a:gd name="connsiteY688" fmla="*/ 48053 h 388632"/>
                    <a:gd name="connsiteX689" fmla="*/ 478086 w 2484052"/>
                    <a:gd name="connsiteY689" fmla="*/ 48053 h 388632"/>
                    <a:gd name="connsiteX690" fmla="*/ 478086 w 2484052"/>
                    <a:gd name="connsiteY690" fmla="*/ 140642 h 388632"/>
                    <a:gd name="connsiteX691" fmla="*/ 465780 w 2484052"/>
                    <a:gd name="connsiteY691" fmla="*/ 181956 h 388632"/>
                    <a:gd name="connsiteX692" fmla="*/ 427494 w 2484052"/>
                    <a:gd name="connsiteY692" fmla="*/ 195044 h 388632"/>
                    <a:gd name="connsiteX693" fmla="*/ 397706 w 2484052"/>
                    <a:gd name="connsiteY693" fmla="*/ 187426 h 388632"/>
                    <a:gd name="connsiteX694" fmla="*/ 397706 w 2484052"/>
                    <a:gd name="connsiteY694" fmla="*/ 178049 h 388632"/>
                    <a:gd name="connsiteX695" fmla="*/ 427690 w 2484052"/>
                    <a:gd name="connsiteY695" fmla="*/ 186840 h 388632"/>
                    <a:gd name="connsiteX696" fmla="*/ 469100 w 2484052"/>
                    <a:gd name="connsiteY696" fmla="*/ 143084 h 388632"/>
                    <a:gd name="connsiteX697" fmla="*/ 469100 w 2484052"/>
                    <a:gd name="connsiteY697" fmla="*/ 130094 h 388632"/>
                    <a:gd name="connsiteX698" fmla="*/ 468710 w 2484052"/>
                    <a:gd name="connsiteY698" fmla="*/ 130094 h 388632"/>
                    <a:gd name="connsiteX699" fmla="*/ 432670 w 2484052"/>
                    <a:gd name="connsiteY699" fmla="*/ 150507 h 388632"/>
                    <a:gd name="connsiteX700" fmla="*/ 402540 w 2484052"/>
                    <a:gd name="connsiteY700" fmla="*/ 137126 h 388632"/>
                    <a:gd name="connsiteX701" fmla="*/ 390868 w 2484052"/>
                    <a:gd name="connsiteY701" fmla="*/ 99817 h 388632"/>
                    <a:gd name="connsiteX702" fmla="*/ 403468 w 2484052"/>
                    <a:gd name="connsiteY702" fmla="*/ 60750 h 388632"/>
                    <a:gd name="connsiteX703" fmla="*/ 436674 w 2484052"/>
                    <a:gd name="connsiteY703" fmla="*/ 45611 h 388632"/>
                    <a:gd name="connsiteX704" fmla="*/ 225614 w 2484052"/>
                    <a:gd name="connsiteY704" fmla="*/ 45611 h 388632"/>
                    <a:gd name="connsiteX705" fmla="*/ 247686 w 2484052"/>
                    <a:gd name="connsiteY705" fmla="*/ 50885 h 388632"/>
                    <a:gd name="connsiteX706" fmla="*/ 247686 w 2484052"/>
                    <a:gd name="connsiteY706" fmla="*/ 61043 h 388632"/>
                    <a:gd name="connsiteX707" fmla="*/ 224636 w 2484052"/>
                    <a:gd name="connsiteY707" fmla="*/ 53815 h 388632"/>
                    <a:gd name="connsiteX708" fmla="*/ 208716 w 2484052"/>
                    <a:gd name="connsiteY708" fmla="*/ 58943 h 388632"/>
                    <a:gd name="connsiteX709" fmla="*/ 202662 w 2484052"/>
                    <a:gd name="connsiteY709" fmla="*/ 72275 h 388632"/>
                    <a:gd name="connsiteX710" fmla="*/ 206470 w 2484052"/>
                    <a:gd name="connsiteY710" fmla="*/ 83848 h 388632"/>
                    <a:gd name="connsiteX711" fmla="*/ 223270 w 2484052"/>
                    <a:gd name="connsiteY711" fmla="*/ 94055 h 388632"/>
                    <a:gd name="connsiteX712" fmla="*/ 244756 w 2484052"/>
                    <a:gd name="connsiteY712" fmla="*/ 107093 h 388632"/>
                    <a:gd name="connsiteX713" fmla="*/ 250616 w 2484052"/>
                    <a:gd name="connsiteY713" fmla="*/ 123062 h 388632"/>
                    <a:gd name="connsiteX714" fmla="*/ 241680 w 2484052"/>
                    <a:gd name="connsiteY714" fmla="*/ 142742 h 388632"/>
                    <a:gd name="connsiteX715" fmla="*/ 217018 w 2484052"/>
                    <a:gd name="connsiteY715" fmla="*/ 150507 h 388632"/>
                    <a:gd name="connsiteX716" fmla="*/ 192894 w 2484052"/>
                    <a:gd name="connsiteY716" fmla="*/ 143670 h 388632"/>
                    <a:gd name="connsiteX717" fmla="*/ 192894 w 2484052"/>
                    <a:gd name="connsiteY717" fmla="*/ 132829 h 388632"/>
                    <a:gd name="connsiteX718" fmla="*/ 205200 w 2484052"/>
                    <a:gd name="connsiteY718" fmla="*/ 139763 h 388632"/>
                    <a:gd name="connsiteX719" fmla="*/ 217702 w 2484052"/>
                    <a:gd name="connsiteY719" fmla="*/ 142303 h 388632"/>
                    <a:gd name="connsiteX720" fmla="*/ 241240 w 2484052"/>
                    <a:gd name="connsiteY720" fmla="*/ 123062 h 388632"/>
                    <a:gd name="connsiteX721" fmla="*/ 236064 w 2484052"/>
                    <a:gd name="connsiteY721" fmla="*/ 111733 h 388632"/>
                    <a:gd name="connsiteX722" fmla="*/ 219264 w 2484052"/>
                    <a:gd name="connsiteY722" fmla="*/ 102063 h 388632"/>
                    <a:gd name="connsiteX723" fmla="*/ 199096 w 2484052"/>
                    <a:gd name="connsiteY723" fmla="*/ 89122 h 388632"/>
                    <a:gd name="connsiteX724" fmla="*/ 193284 w 2484052"/>
                    <a:gd name="connsiteY724" fmla="*/ 72861 h 388632"/>
                    <a:gd name="connsiteX725" fmla="*/ 202612 w 2484052"/>
                    <a:gd name="connsiteY725" fmla="*/ 53132 h 388632"/>
                    <a:gd name="connsiteX726" fmla="*/ 225614 w 2484052"/>
                    <a:gd name="connsiteY726" fmla="*/ 45611 h 388632"/>
                    <a:gd name="connsiteX727" fmla="*/ 1506656 w 2484052"/>
                    <a:gd name="connsiteY727" fmla="*/ 19045 h 388632"/>
                    <a:gd name="connsiteX728" fmla="*/ 1506656 w 2484052"/>
                    <a:gd name="connsiteY728" fmla="*/ 48053 h 388632"/>
                    <a:gd name="connsiteX729" fmla="*/ 1533026 w 2484052"/>
                    <a:gd name="connsiteY729" fmla="*/ 48053 h 388632"/>
                    <a:gd name="connsiteX730" fmla="*/ 1533026 w 2484052"/>
                    <a:gd name="connsiteY730" fmla="*/ 56257 h 388632"/>
                    <a:gd name="connsiteX731" fmla="*/ 1506656 w 2484052"/>
                    <a:gd name="connsiteY731" fmla="*/ 56257 h 388632"/>
                    <a:gd name="connsiteX732" fmla="*/ 1506656 w 2484052"/>
                    <a:gd name="connsiteY732" fmla="*/ 122281 h 388632"/>
                    <a:gd name="connsiteX733" fmla="*/ 1509928 w 2484052"/>
                    <a:gd name="connsiteY733" fmla="*/ 137273 h 388632"/>
                    <a:gd name="connsiteX734" fmla="*/ 1521014 w 2484052"/>
                    <a:gd name="connsiteY734" fmla="*/ 141912 h 388632"/>
                    <a:gd name="connsiteX735" fmla="*/ 1533026 w 2484052"/>
                    <a:gd name="connsiteY735" fmla="*/ 138298 h 388632"/>
                    <a:gd name="connsiteX736" fmla="*/ 1533026 w 2484052"/>
                    <a:gd name="connsiteY736" fmla="*/ 146698 h 388632"/>
                    <a:gd name="connsiteX737" fmla="*/ 1519842 w 2484052"/>
                    <a:gd name="connsiteY737" fmla="*/ 150019 h 388632"/>
                    <a:gd name="connsiteX738" fmla="*/ 1497670 w 2484052"/>
                    <a:gd name="connsiteY738" fmla="*/ 123453 h 388632"/>
                    <a:gd name="connsiteX739" fmla="*/ 1497670 w 2484052"/>
                    <a:gd name="connsiteY739" fmla="*/ 56257 h 388632"/>
                    <a:gd name="connsiteX740" fmla="*/ 1479700 w 2484052"/>
                    <a:gd name="connsiteY740" fmla="*/ 56257 h 388632"/>
                    <a:gd name="connsiteX741" fmla="*/ 1479700 w 2484052"/>
                    <a:gd name="connsiteY741" fmla="*/ 48053 h 388632"/>
                    <a:gd name="connsiteX742" fmla="*/ 1497670 w 2484052"/>
                    <a:gd name="connsiteY742" fmla="*/ 48053 h 388632"/>
                    <a:gd name="connsiteX743" fmla="*/ 1497670 w 2484052"/>
                    <a:gd name="connsiteY743" fmla="*/ 22073 h 388632"/>
                    <a:gd name="connsiteX744" fmla="*/ 1502164 w 2484052"/>
                    <a:gd name="connsiteY744" fmla="*/ 20510 h 388632"/>
                    <a:gd name="connsiteX745" fmla="*/ 1506656 w 2484052"/>
                    <a:gd name="connsiteY745" fmla="*/ 19045 h 388632"/>
                    <a:gd name="connsiteX746" fmla="*/ 1382830 w 2484052"/>
                    <a:gd name="connsiteY746" fmla="*/ 19045 h 388632"/>
                    <a:gd name="connsiteX747" fmla="*/ 1382830 w 2484052"/>
                    <a:gd name="connsiteY747" fmla="*/ 48053 h 388632"/>
                    <a:gd name="connsiteX748" fmla="*/ 1409202 w 2484052"/>
                    <a:gd name="connsiteY748" fmla="*/ 48053 h 388632"/>
                    <a:gd name="connsiteX749" fmla="*/ 1409202 w 2484052"/>
                    <a:gd name="connsiteY749" fmla="*/ 56257 h 388632"/>
                    <a:gd name="connsiteX750" fmla="*/ 1382830 w 2484052"/>
                    <a:gd name="connsiteY750" fmla="*/ 56257 h 388632"/>
                    <a:gd name="connsiteX751" fmla="*/ 1382830 w 2484052"/>
                    <a:gd name="connsiteY751" fmla="*/ 122281 h 388632"/>
                    <a:gd name="connsiteX752" fmla="*/ 1386102 w 2484052"/>
                    <a:gd name="connsiteY752" fmla="*/ 137273 h 388632"/>
                    <a:gd name="connsiteX753" fmla="*/ 1397188 w 2484052"/>
                    <a:gd name="connsiteY753" fmla="*/ 141912 h 388632"/>
                    <a:gd name="connsiteX754" fmla="*/ 1409202 w 2484052"/>
                    <a:gd name="connsiteY754" fmla="*/ 138298 h 388632"/>
                    <a:gd name="connsiteX755" fmla="*/ 1409202 w 2484052"/>
                    <a:gd name="connsiteY755" fmla="*/ 146698 h 388632"/>
                    <a:gd name="connsiteX756" fmla="*/ 1396016 w 2484052"/>
                    <a:gd name="connsiteY756" fmla="*/ 150019 h 388632"/>
                    <a:gd name="connsiteX757" fmla="*/ 1373846 w 2484052"/>
                    <a:gd name="connsiteY757" fmla="*/ 123453 h 388632"/>
                    <a:gd name="connsiteX758" fmla="*/ 1373846 w 2484052"/>
                    <a:gd name="connsiteY758" fmla="*/ 56257 h 388632"/>
                    <a:gd name="connsiteX759" fmla="*/ 1355874 w 2484052"/>
                    <a:gd name="connsiteY759" fmla="*/ 56257 h 388632"/>
                    <a:gd name="connsiteX760" fmla="*/ 1355874 w 2484052"/>
                    <a:gd name="connsiteY760" fmla="*/ 48053 h 388632"/>
                    <a:gd name="connsiteX761" fmla="*/ 1373846 w 2484052"/>
                    <a:gd name="connsiteY761" fmla="*/ 48053 h 388632"/>
                    <a:gd name="connsiteX762" fmla="*/ 1373846 w 2484052"/>
                    <a:gd name="connsiteY762" fmla="*/ 22073 h 388632"/>
                    <a:gd name="connsiteX763" fmla="*/ 1378338 w 2484052"/>
                    <a:gd name="connsiteY763" fmla="*/ 20510 h 388632"/>
                    <a:gd name="connsiteX764" fmla="*/ 1382830 w 2484052"/>
                    <a:gd name="connsiteY764" fmla="*/ 19045 h 388632"/>
                    <a:gd name="connsiteX765" fmla="*/ 287456 w 2484052"/>
                    <a:gd name="connsiteY765" fmla="*/ 19045 h 388632"/>
                    <a:gd name="connsiteX766" fmla="*/ 287456 w 2484052"/>
                    <a:gd name="connsiteY766" fmla="*/ 48053 h 388632"/>
                    <a:gd name="connsiteX767" fmla="*/ 313826 w 2484052"/>
                    <a:gd name="connsiteY767" fmla="*/ 48053 h 388632"/>
                    <a:gd name="connsiteX768" fmla="*/ 313826 w 2484052"/>
                    <a:gd name="connsiteY768" fmla="*/ 56257 h 388632"/>
                    <a:gd name="connsiteX769" fmla="*/ 287456 w 2484052"/>
                    <a:gd name="connsiteY769" fmla="*/ 56257 h 388632"/>
                    <a:gd name="connsiteX770" fmla="*/ 287456 w 2484052"/>
                    <a:gd name="connsiteY770" fmla="*/ 122281 h 388632"/>
                    <a:gd name="connsiteX771" fmla="*/ 290728 w 2484052"/>
                    <a:gd name="connsiteY771" fmla="*/ 137273 h 388632"/>
                    <a:gd name="connsiteX772" fmla="*/ 301814 w 2484052"/>
                    <a:gd name="connsiteY772" fmla="*/ 141912 h 388632"/>
                    <a:gd name="connsiteX773" fmla="*/ 313826 w 2484052"/>
                    <a:gd name="connsiteY773" fmla="*/ 138298 h 388632"/>
                    <a:gd name="connsiteX774" fmla="*/ 313826 w 2484052"/>
                    <a:gd name="connsiteY774" fmla="*/ 146698 h 388632"/>
                    <a:gd name="connsiteX775" fmla="*/ 300642 w 2484052"/>
                    <a:gd name="connsiteY775" fmla="*/ 150019 h 388632"/>
                    <a:gd name="connsiteX776" fmla="*/ 278470 w 2484052"/>
                    <a:gd name="connsiteY776" fmla="*/ 123453 h 388632"/>
                    <a:gd name="connsiteX777" fmla="*/ 278470 w 2484052"/>
                    <a:gd name="connsiteY777" fmla="*/ 56257 h 388632"/>
                    <a:gd name="connsiteX778" fmla="*/ 260500 w 2484052"/>
                    <a:gd name="connsiteY778" fmla="*/ 56257 h 388632"/>
                    <a:gd name="connsiteX779" fmla="*/ 260500 w 2484052"/>
                    <a:gd name="connsiteY779" fmla="*/ 48053 h 388632"/>
                    <a:gd name="connsiteX780" fmla="*/ 278470 w 2484052"/>
                    <a:gd name="connsiteY780" fmla="*/ 48053 h 388632"/>
                    <a:gd name="connsiteX781" fmla="*/ 278470 w 2484052"/>
                    <a:gd name="connsiteY781" fmla="*/ 22073 h 388632"/>
                    <a:gd name="connsiteX782" fmla="*/ 282964 w 2484052"/>
                    <a:gd name="connsiteY782" fmla="*/ 20510 h 388632"/>
                    <a:gd name="connsiteX783" fmla="*/ 287456 w 2484052"/>
                    <a:gd name="connsiteY783" fmla="*/ 19045 h 388632"/>
                    <a:gd name="connsiteX784" fmla="*/ 2116990 w 2484052"/>
                    <a:gd name="connsiteY784" fmla="*/ 8009 h 388632"/>
                    <a:gd name="connsiteX785" fmla="*/ 2122314 w 2484052"/>
                    <a:gd name="connsiteY785" fmla="*/ 9962 h 388632"/>
                    <a:gd name="connsiteX786" fmla="*/ 2124610 w 2484052"/>
                    <a:gd name="connsiteY786" fmla="*/ 15236 h 388632"/>
                    <a:gd name="connsiteX787" fmla="*/ 2122362 w 2484052"/>
                    <a:gd name="connsiteY787" fmla="*/ 20608 h 388632"/>
                    <a:gd name="connsiteX788" fmla="*/ 2116990 w 2484052"/>
                    <a:gd name="connsiteY788" fmla="*/ 22854 h 388632"/>
                    <a:gd name="connsiteX789" fmla="*/ 2111814 w 2484052"/>
                    <a:gd name="connsiteY789" fmla="*/ 20706 h 388632"/>
                    <a:gd name="connsiteX790" fmla="*/ 2109568 w 2484052"/>
                    <a:gd name="connsiteY790" fmla="*/ 15236 h 388632"/>
                    <a:gd name="connsiteX791" fmla="*/ 2111864 w 2484052"/>
                    <a:gd name="connsiteY791" fmla="*/ 10011 h 388632"/>
                    <a:gd name="connsiteX792" fmla="*/ 2116990 w 2484052"/>
                    <a:gd name="connsiteY792" fmla="*/ 8009 h 388632"/>
                    <a:gd name="connsiteX793" fmla="*/ 97690 w 2484052"/>
                    <a:gd name="connsiteY793" fmla="*/ 8009 h 388632"/>
                    <a:gd name="connsiteX794" fmla="*/ 103014 w 2484052"/>
                    <a:gd name="connsiteY794" fmla="*/ 9962 h 388632"/>
                    <a:gd name="connsiteX795" fmla="*/ 105308 w 2484052"/>
                    <a:gd name="connsiteY795" fmla="*/ 15236 h 388632"/>
                    <a:gd name="connsiteX796" fmla="*/ 103062 w 2484052"/>
                    <a:gd name="connsiteY796" fmla="*/ 20608 h 388632"/>
                    <a:gd name="connsiteX797" fmla="*/ 97690 w 2484052"/>
                    <a:gd name="connsiteY797" fmla="*/ 22854 h 388632"/>
                    <a:gd name="connsiteX798" fmla="*/ 92514 w 2484052"/>
                    <a:gd name="connsiteY798" fmla="*/ 20706 h 388632"/>
                    <a:gd name="connsiteX799" fmla="*/ 90268 w 2484052"/>
                    <a:gd name="connsiteY799" fmla="*/ 15236 h 388632"/>
                    <a:gd name="connsiteX800" fmla="*/ 92564 w 2484052"/>
                    <a:gd name="connsiteY800" fmla="*/ 10011 h 388632"/>
                    <a:gd name="connsiteX801" fmla="*/ 97690 w 2484052"/>
                    <a:gd name="connsiteY801" fmla="*/ 8009 h 388632"/>
                    <a:gd name="connsiteX802" fmla="*/ 0 w 2484052"/>
                    <a:gd name="connsiteY802" fmla="*/ 8009 h 388632"/>
                    <a:gd name="connsiteX803" fmla="*/ 65436 w 2484052"/>
                    <a:gd name="connsiteY803" fmla="*/ 8009 h 388632"/>
                    <a:gd name="connsiteX804" fmla="*/ 65436 w 2484052"/>
                    <a:gd name="connsiteY804" fmla="*/ 16897 h 388632"/>
                    <a:gd name="connsiteX805" fmla="*/ 9668 w 2484052"/>
                    <a:gd name="connsiteY805" fmla="*/ 16897 h 388632"/>
                    <a:gd name="connsiteX806" fmla="*/ 9668 w 2484052"/>
                    <a:gd name="connsiteY806" fmla="*/ 74033 h 388632"/>
                    <a:gd name="connsiteX807" fmla="*/ 61432 w 2484052"/>
                    <a:gd name="connsiteY807" fmla="*/ 74033 h 388632"/>
                    <a:gd name="connsiteX808" fmla="*/ 61432 w 2484052"/>
                    <a:gd name="connsiteY808" fmla="*/ 82823 h 388632"/>
                    <a:gd name="connsiteX809" fmla="*/ 9668 w 2484052"/>
                    <a:gd name="connsiteY809" fmla="*/ 82823 h 388632"/>
                    <a:gd name="connsiteX810" fmla="*/ 9668 w 2484052"/>
                    <a:gd name="connsiteY810" fmla="*/ 148065 h 388632"/>
                    <a:gd name="connsiteX811" fmla="*/ 0 w 2484052"/>
                    <a:gd name="connsiteY811" fmla="*/ 148065 h 388632"/>
                    <a:gd name="connsiteX812" fmla="*/ 2293570 w 2484052"/>
                    <a:gd name="connsiteY812" fmla="*/ 0 h 388632"/>
                    <a:gd name="connsiteX813" fmla="*/ 2302556 w 2484052"/>
                    <a:gd name="connsiteY813" fmla="*/ 0 h 388632"/>
                    <a:gd name="connsiteX814" fmla="*/ 2302556 w 2484052"/>
                    <a:gd name="connsiteY814" fmla="*/ 68661 h 388632"/>
                    <a:gd name="connsiteX815" fmla="*/ 2302946 w 2484052"/>
                    <a:gd name="connsiteY815" fmla="*/ 68661 h 388632"/>
                    <a:gd name="connsiteX816" fmla="*/ 2318330 w 2484052"/>
                    <a:gd name="connsiteY816" fmla="*/ 51618 h 388632"/>
                    <a:gd name="connsiteX817" fmla="*/ 2340354 w 2484052"/>
                    <a:gd name="connsiteY817" fmla="*/ 45611 h 388632"/>
                    <a:gd name="connsiteX818" fmla="*/ 2370094 w 2484052"/>
                    <a:gd name="connsiteY818" fmla="*/ 58747 h 388632"/>
                    <a:gd name="connsiteX819" fmla="*/ 2380788 w 2484052"/>
                    <a:gd name="connsiteY819" fmla="*/ 94445 h 388632"/>
                    <a:gd name="connsiteX820" fmla="*/ 2368384 w 2484052"/>
                    <a:gd name="connsiteY820" fmla="*/ 135026 h 388632"/>
                    <a:gd name="connsiteX821" fmla="*/ 2336154 w 2484052"/>
                    <a:gd name="connsiteY821" fmla="*/ 150507 h 388632"/>
                    <a:gd name="connsiteX822" fmla="*/ 2302946 w 2484052"/>
                    <a:gd name="connsiteY822" fmla="*/ 130290 h 388632"/>
                    <a:gd name="connsiteX823" fmla="*/ 2302556 w 2484052"/>
                    <a:gd name="connsiteY823" fmla="*/ 130290 h 388632"/>
                    <a:gd name="connsiteX824" fmla="*/ 2302556 w 2484052"/>
                    <a:gd name="connsiteY824" fmla="*/ 148065 h 388632"/>
                    <a:gd name="connsiteX825" fmla="*/ 2293570 w 2484052"/>
                    <a:gd name="connsiteY825" fmla="*/ 148065 h 388632"/>
                    <a:gd name="connsiteX826" fmla="*/ 2188796 w 2484052"/>
                    <a:gd name="connsiteY826" fmla="*/ 0 h 388632"/>
                    <a:gd name="connsiteX827" fmla="*/ 2197782 w 2484052"/>
                    <a:gd name="connsiteY827" fmla="*/ 0 h 388632"/>
                    <a:gd name="connsiteX828" fmla="*/ 2197782 w 2484052"/>
                    <a:gd name="connsiteY828" fmla="*/ 148065 h 388632"/>
                    <a:gd name="connsiteX829" fmla="*/ 2188796 w 2484052"/>
                    <a:gd name="connsiteY829" fmla="*/ 148065 h 388632"/>
                    <a:gd name="connsiteX830" fmla="*/ 2150696 w 2484052"/>
                    <a:gd name="connsiteY830" fmla="*/ 0 h 388632"/>
                    <a:gd name="connsiteX831" fmla="*/ 2159682 w 2484052"/>
                    <a:gd name="connsiteY831" fmla="*/ 0 h 388632"/>
                    <a:gd name="connsiteX832" fmla="*/ 2159682 w 2484052"/>
                    <a:gd name="connsiteY832" fmla="*/ 148065 h 388632"/>
                    <a:gd name="connsiteX833" fmla="*/ 2150696 w 2484052"/>
                    <a:gd name="connsiteY833" fmla="*/ 148065 h 388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</a:cxnLst>
                  <a:rect l="l" t="t" r="r" b="b"/>
                  <a:pathLst>
                    <a:path w="2484052" h="388632">
                      <a:moveTo>
                        <a:pt x="2172368" y="332375"/>
                      </a:moveTo>
                      <a:lnTo>
                        <a:pt x="2144826" y="336379"/>
                      </a:lnTo>
                      <a:cubicBezTo>
                        <a:pt x="2134344" y="337877"/>
                        <a:pt x="2126986" y="340302"/>
                        <a:pt x="2122754" y="343656"/>
                      </a:cubicBezTo>
                      <a:cubicBezTo>
                        <a:pt x="2118522" y="347009"/>
                        <a:pt x="2116404" y="352462"/>
                        <a:pt x="2116404" y="360015"/>
                      </a:cubicBezTo>
                      <a:cubicBezTo>
                        <a:pt x="2116404" y="365940"/>
                        <a:pt x="2118374" y="370824"/>
                        <a:pt x="2122314" y="374665"/>
                      </a:cubicBezTo>
                      <a:cubicBezTo>
                        <a:pt x="2126254" y="378507"/>
                        <a:pt x="2131738" y="380428"/>
                        <a:pt x="2138770" y="380428"/>
                      </a:cubicBezTo>
                      <a:cubicBezTo>
                        <a:pt x="2148408" y="380428"/>
                        <a:pt x="2156416" y="376863"/>
                        <a:pt x="2162798" y="369733"/>
                      </a:cubicBezTo>
                      <a:cubicBezTo>
                        <a:pt x="2169178" y="362603"/>
                        <a:pt x="2172368" y="353406"/>
                        <a:pt x="2172368" y="342142"/>
                      </a:cubicBezTo>
                      <a:close/>
                      <a:moveTo>
                        <a:pt x="1324644" y="332375"/>
                      </a:moveTo>
                      <a:lnTo>
                        <a:pt x="1297102" y="336379"/>
                      </a:lnTo>
                      <a:cubicBezTo>
                        <a:pt x="1286618" y="337877"/>
                        <a:pt x="1279260" y="340302"/>
                        <a:pt x="1275028" y="343656"/>
                      </a:cubicBezTo>
                      <a:cubicBezTo>
                        <a:pt x="1270796" y="347009"/>
                        <a:pt x="1268680" y="352462"/>
                        <a:pt x="1268680" y="360015"/>
                      </a:cubicBezTo>
                      <a:cubicBezTo>
                        <a:pt x="1268680" y="365940"/>
                        <a:pt x="1270650" y="370824"/>
                        <a:pt x="1274588" y="374665"/>
                      </a:cubicBezTo>
                      <a:cubicBezTo>
                        <a:pt x="1278528" y="378507"/>
                        <a:pt x="1284014" y="380428"/>
                        <a:pt x="1291046" y="380428"/>
                      </a:cubicBezTo>
                      <a:cubicBezTo>
                        <a:pt x="1300682" y="380428"/>
                        <a:pt x="1308692" y="376863"/>
                        <a:pt x="1315072" y="369733"/>
                      </a:cubicBezTo>
                      <a:cubicBezTo>
                        <a:pt x="1321454" y="362603"/>
                        <a:pt x="1324644" y="353406"/>
                        <a:pt x="1324644" y="342142"/>
                      </a:cubicBezTo>
                      <a:close/>
                      <a:moveTo>
                        <a:pt x="1162718" y="332375"/>
                      </a:moveTo>
                      <a:lnTo>
                        <a:pt x="1135176" y="336379"/>
                      </a:lnTo>
                      <a:cubicBezTo>
                        <a:pt x="1124694" y="337877"/>
                        <a:pt x="1117336" y="340302"/>
                        <a:pt x="1113104" y="343656"/>
                      </a:cubicBezTo>
                      <a:cubicBezTo>
                        <a:pt x="1108870" y="347009"/>
                        <a:pt x="1106754" y="352462"/>
                        <a:pt x="1106754" y="360015"/>
                      </a:cubicBezTo>
                      <a:cubicBezTo>
                        <a:pt x="1106754" y="365940"/>
                        <a:pt x="1108724" y="370824"/>
                        <a:pt x="1112664" y="374665"/>
                      </a:cubicBezTo>
                      <a:cubicBezTo>
                        <a:pt x="1116602" y="378507"/>
                        <a:pt x="1122088" y="380428"/>
                        <a:pt x="1129120" y="380428"/>
                      </a:cubicBezTo>
                      <a:cubicBezTo>
                        <a:pt x="1138758" y="380428"/>
                        <a:pt x="1146766" y="376863"/>
                        <a:pt x="1153148" y="369733"/>
                      </a:cubicBezTo>
                      <a:cubicBezTo>
                        <a:pt x="1159528" y="362603"/>
                        <a:pt x="1162718" y="353406"/>
                        <a:pt x="1162718" y="342142"/>
                      </a:cubicBezTo>
                      <a:close/>
                      <a:moveTo>
                        <a:pt x="1610496" y="291940"/>
                      </a:moveTo>
                      <a:cubicBezTo>
                        <a:pt x="1598710" y="291940"/>
                        <a:pt x="1589318" y="295912"/>
                        <a:pt x="1582318" y="303856"/>
                      </a:cubicBezTo>
                      <a:cubicBezTo>
                        <a:pt x="1575320" y="311799"/>
                        <a:pt x="1571820" y="322836"/>
                        <a:pt x="1571820" y="336965"/>
                      </a:cubicBezTo>
                      <a:cubicBezTo>
                        <a:pt x="1571820" y="350053"/>
                        <a:pt x="1575238" y="360569"/>
                        <a:pt x="1582074" y="368512"/>
                      </a:cubicBezTo>
                      <a:cubicBezTo>
                        <a:pt x="1588912" y="376456"/>
                        <a:pt x="1598254" y="380428"/>
                        <a:pt x="1610106" y="380428"/>
                      </a:cubicBezTo>
                      <a:cubicBezTo>
                        <a:pt x="1622152" y="380428"/>
                        <a:pt x="1631430" y="376521"/>
                        <a:pt x="1637940" y="368708"/>
                      </a:cubicBezTo>
                      <a:cubicBezTo>
                        <a:pt x="1644452" y="360894"/>
                        <a:pt x="1647708" y="350053"/>
                        <a:pt x="1647708" y="336184"/>
                      </a:cubicBezTo>
                      <a:cubicBezTo>
                        <a:pt x="1647708" y="321924"/>
                        <a:pt x="1644468" y="310986"/>
                        <a:pt x="1637990" y="303367"/>
                      </a:cubicBezTo>
                      <a:cubicBezTo>
                        <a:pt x="1631512" y="295749"/>
                        <a:pt x="1622346" y="291940"/>
                        <a:pt x="1610496" y="291940"/>
                      </a:cubicBezTo>
                      <a:close/>
                      <a:moveTo>
                        <a:pt x="1462882" y="291940"/>
                      </a:moveTo>
                      <a:cubicBezTo>
                        <a:pt x="1451226" y="291940"/>
                        <a:pt x="1442208" y="295847"/>
                        <a:pt x="1435828" y="303660"/>
                      </a:cubicBezTo>
                      <a:cubicBezTo>
                        <a:pt x="1429446" y="311474"/>
                        <a:pt x="1426256" y="320655"/>
                        <a:pt x="1426256" y="331203"/>
                      </a:cubicBezTo>
                      <a:lnTo>
                        <a:pt x="1426256" y="343802"/>
                      </a:lnTo>
                      <a:cubicBezTo>
                        <a:pt x="1426256" y="353829"/>
                        <a:pt x="1429414" y="362441"/>
                        <a:pt x="1435730" y="369635"/>
                      </a:cubicBezTo>
                      <a:cubicBezTo>
                        <a:pt x="1442046" y="376830"/>
                        <a:pt x="1450348" y="380428"/>
                        <a:pt x="1460636" y="380428"/>
                      </a:cubicBezTo>
                      <a:cubicBezTo>
                        <a:pt x="1470858" y="380428"/>
                        <a:pt x="1479160" y="376049"/>
                        <a:pt x="1485540" y="367291"/>
                      </a:cubicBezTo>
                      <a:cubicBezTo>
                        <a:pt x="1491922" y="358534"/>
                        <a:pt x="1495112" y="347025"/>
                        <a:pt x="1495112" y="332766"/>
                      </a:cubicBezTo>
                      <a:cubicBezTo>
                        <a:pt x="1495112" y="320264"/>
                        <a:pt x="1492182" y="310334"/>
                        <a:pt x="1486322" y="302977"/>
                      </a:cubicBezTo>
                      <a:cubicBezTo>
                        <a:pt x="1480462" y="295619"/>
                        <a:pt x="1472648" y="291940"/>
                        <a:pt x="1462882" y="291940"/>
                      </a:cubicBezTo>
                      <a:close/>
                      <a:moveTo>
                        <a:pt x="827004" y="291940"/>
                      </a:moveTo>
                      <a:cubicBezTo>
                        <a:pt x="816522" y="291940"/>
                        <a:pt x="807862" y="295961"/>
                        <a:pt x="801024" y="304002"/>
                      </a:cubicBezTo>
                      <a:cubicBezTo>
                        <a:pt x="794188" y="312044"/>
                        <a:pt x="790770" y="323096"/>
                        <a:pt x="790770" y="337161"/>
                      </a:cubicBezTo>
                      <a:cubicBezTo>
                        <a:pt x="790770" y="350964"/>
                        <a:pt x="793846" y="361627"/>
                        <a:pt x="799998" y="369147"/>
                      </a:cubicBezTo>
                      <a:cubicBezTo>
                        <a:pt x="806152" y="376668"/>
                        <a:pt x="814080" y="380428"/>
                        <a:pt x="823782" y="380428"/>
                      </a:cubicBezTo>
                      <a:cubicBezTo>
                        <a:pt x="835176" y="380428"/>
                        <a:pt x="843998" y="376895"/>
                        <a:pt x="850250" y="369831"/>
                      </a:cubicBezTo>
                      <a:cubicBezTo>
                        <a:pt x="856500" y="362766"/>
                        <a:pt x="859626" y="354155"/>
                        <a:pt x="859626" y="343997"/>
                      </a:cubicBezTo>
                      <a:lnTo>
                        <a:pt x="859626" y="325343"/>
                      </a:lnTo>
                      <a:cubicBezTo>
                        <a:pt x="859626" y="316032"/>
                        <a:pt x="856680" y="308137"/>
                        <a:pt x="850786" y="301658"/>
                      </a:cubicBezTo>
                      <a:cubicBezTo>
                        <a:pt x="844894" y="295180"/>
                        <a:pt x="836966" y="291940"/>
                        <a:pt x="827004" y="291940"/>
                      </a:cubicBezTo>
                      <a:close/>
                      <a:moveTo>
                        <a:pt x="721058" y="291940"/>
                      </a:moveTo>
                      <a:cubicBezTo>
                        <a:pt x="711682" y="291940"/>
                        <a:pt x="703916" y="295082"/>
                        <a:pt x="697764" y="301365"/>
                      </a:cubicBezTo>
                      <a:cubicBezTo>
                        <a:pt x="691610" y="307649"/>
                        <a:pt x="687818" y="316650"/>
                        <a:pt x="686386" y="328371"/>
                      </a:cubicBezTo>
                      <a:lnTo>
                        <a:pt x="750650" y="328371"/>
                      </a:lnTo>
                      <a:cubicBezTo>
                        <a:pt x="750260" y="316846"/>
                        <a:pt x="747492" y="307893"/>
                        <a:pt x="742350" y="301512"/>
                      </a:cubicBezTo>
                      <a:cubicBezTo>
                        <a:pt x="737206" y="295131"/>
                        <a:pt x="730108" y="291940"/>
                        <a:pt x="721058" y="291940"/>
                      </a:cubicBezTo>
                      <a:close/>
                      <a:moveTo>
                        <a:pt x="473408" y="291940"/>
                      </a:moveTo>
                      <a:cubicBezTo>
                        <a:pt x="464032" y="291940"/>
                        <a:pt x="456266" y="295082"/>
                        <a:pt x="450114" y="301365"/>
                      </a:cubicBezTo>
                      <a:cubicBezTo>
                        <a:pt x="443960" y="307649"/>
                        <a:pt x="440168" y="316650"/>
                        <a:pt x="438736" y="328371"/>
                      </a:cubicBezTo>
                      <a:lnTo>
                        <a:pt x="503000" y="328371"/>
                      </a:lnTo>
                      <a:cubicBezTo>
                        <a:pt x="502610" y="316846"/>
                        <a:pt x="499842" y="307893"/>
                        <a:pt x="494700" y="301512"/>
                      </a:cubicBezTo>
                      <a:cubicBezTo>
                        <a:pt x="489556" y="295131"/>
                        <a:pt x="482458" y="291940"/>
                        <a:pt x="473408" y="291940"/>
                      </a:cubicBezTo>
                      <a:close/>
                      <a:moveTo>
                        <a:pt x="286522" y="291940"/>
                      </a:moveTo>
                      <a:cubicBezTo>
                        <a:pt x="274736" y="291940"/>
                        <a:pt x="265344" y="295912"/>
                        <a:pt x="258344" y="303856"/>
                      </a:cubicBezTo>
                      <a:cubicBezTo>
                        <a:pt x="251344" y="311799"/>
                        <a:pt x="247844" y="322836"/>
                        <a:pt x="247844" y="336965"/>
                      </a:cubicBezTo>
                      <a:cubicBezTo>
                        <a:pt x="247844" y="350053"/>
                        <a:pt x="251262" y="360569"/>
                        <a:pt x="258100" y="368512"/>
                      </a:cubicBezTo>
                      <a:cubicBezTo>
                        <a:pt x="264936" y="376456"/>
                        <a:pt x="274280" y="380428"/>
                        <a:pt x="286130" y="380428"/>
                      </a:cubicBezTo>
                      <a:cubicBezTo>
                        <a:pt x="298176" y="380428"/>
                        <a:pt x="307454" y="376521"/>
                        <a:pt x="313966" y="368708"/>
                      </a:cubicBezTo>
                      <a:cubicBezTo>
                        <a:pt x="320478" y="360894"/>
                        <a:pt x="323732" y="350053"/>
                        <a:pt x="323732" y="336184"/>
                      </a:cubicBezTo>
                      <a:cubicBezTo>
                        <a:pt x="323732" y="321924"/>
                        <a:pt x="320494" y="310986"/>
                        <a:pt x="314014" y="303367"/>
                      </a:cubicBezTo>
                      <a:cubicBezTo>
                        <a:pt x="307536" y="295749"/>
                        <a:pt x="298372" y="291940"/>
                        <a:pt x="286522" y="291940"/>
                      </a:cubicBezTo>
                      <a:close/>
                      <a:moveTo>
                        <a:pt x="2207846" y="286178"/>
                      </a:moveTo>
                      <a:lnTo>
                        <a:pt x="2216832" y="286178"/>
                      </a:lnTo>
                      <a:lnTo>
                        <a:pt x="2216832" y="386190"/>
                      </a:lnTo>
                      <a:lnTo>
                        <a:pt x="2207846" y="386190"/>
                      </a:lnTo>
                      <a:close/>
                      <a:moveTo>
                        <a:pt x="1064846" y="286178"/>
                      </a:moveTo>
                      <a:lnTo>
                        <a:pt x="1073832" y="286178"/>
                      </a:lnTo>
                      <a:lnTo>
                        <a:pt x="1073832" y="386190"/>
                      </a:lnTo>
                      <a:lnTo>
                        <a:pt x="1064846" y="386190"/>
                      </a:lnTo>
                      <a:close/>
                      <a:moveTo>
                        <a:pt x="955532" y="286178"/>
                      </a:moveTo>
                      <a:lnTo>
                        <a:pt x="965592" y="286178"/>
                      </a:lnTo>
                      <a:lnTo>
                        <a:pt x="995380" y="365778"/>
                      </a:lnTo>
                      <a:cubicBezTo>
                        <a:pt x="996812" y="369619"/>
                        <a:pt x="997822" y="373103"/>
                        <a:pt x="998408" y="376228"/>
                      </a:cubicBezTo>
                      <a:lnTo>
                        <a:pt x="998798" y="376228"/>
                      </a:lnTo>
                      <a:cubicBezTo>
                        <a:pt x="999646" y="372126"/>
                        <a:pt x="1000590" y="368773"/>
                        <a:pt x="1001630" y="366168"/>
                      </a:cubicBezTo>
                      <a:lnTo>
                        <a:pt x="1032396" y="286178"/>
                      </a:lnTo>
                      <a:lnTo>
                        <a:pt x="1042164" y="286178"/>
                      </a:lnTo>
                      <a:lnTo>
                        <a:pt x="1002412" y="386190"/>
                      </a:lnTo>
                      <a:lnTo>
                        <a:pt x="994208" y="386190"/>
                      </a:lnTo>
                      <a:close/>
                      <a:moveTo>
                        <a:pt x="2289506" y="283736"/>
                      </a:moveTo>
                      <a:cubicBezTo>
                        <a:pt x="2300314" y="283736"/>
                        <a:pt x="2308584" y="287333"/>
                        <a:pt x="2314314" y="294528"/>
                      </a:cubicBezTo>
                      <a:cubicBezTo>
                        <a:pt x="2320044" y="301723"/>
                        <a:pt x="2322908" y="311995"/>
                        <a:pt x="2322908" y="325343"/>
                      </a:cubicBezTo>
                      <a:lnTo>
                        <a:pt x="2322908" y="386190"/>
                      </a:lnTo>
                      <a:lnTo>
                        <a:pt x="2313922" y="386190"/>
                      </a:lnTo>
                      <a:lnTo>
                        <a:pt x="2313922" y="327980"/>
                      </a:lnTo>
                      <a:cubicBezTo>
                        <a:pt x="2313922" y="303953"/>
                        <a:pt x="2305262" y="291940"/>
                        <a:pt x="2287942" y="291940"/>
                      </a:cubicBezTo>
                      <a:cubicBezTo>
                        <a:pt x="2278306" y="291940"/>
                        <a:pt x="2270396" y="295473"/>
                        <a:pt x="2264210" y="302537"/>
                      </a:cubicBezTo>
                      <a:cubicBezTo>
                        <a:pt x="2258024" y="309602"/>
                        <a:pt x="2254932" y="318343"/>
                        <a:pt x="2254932" y="328761"/>
                      </a:cubicBezTo>
                      <a:lnTo>
                        <a:pt x="2254932" y="386190"/>
                      </a:lnTo>
                      <a:lnTo>
                        <a:pt x="2245946" y="386190"/>
                      </a:lnTo>
                      <a:lnTo>
                        <a:pt x="2245946" y="286178"/>
                      </a:lnTo>
                      <a:lnTo>
                        <a:pt x="2254932" y="286178"/>
                      </a:lnTo>
                      <a:lnTo>
                        <a:pt x="2254932" y="304344"/>
                      </a:lnTo>
                      <a:lnTo>
                        <a:pt x="2255322" y="304344"/>
                      </a:lnTo>
                      <a:cubicBezTo>
                        <a:pt x="2262614" y="290605"/>
                        <a:pt x="2274010" y="283736"/>
                        <a:pt x="2289506" y="283736"/>
                      </a:cubicBezTo>
                      <a:close/>
                      <a:moveTo>
                        <a:pt x="2149026" y="283736"/>
                      </a:moveTo>
                      <a:cubicBezTo>
                        <a:pt x="2159314" y="283736"/>
                        <a:pt x="2167274" y="286927"/>
                        <a:pt x="2172906" y="293308"/>
                      </a:cubicBezTo>
                      <a:cubicBezTo>
                        <a:pt x="2178538" y="299689"/>
                        <a:pt x="2181354" y="308967"/>
                        <a:pt x="2181354" y="321143"/>
                      </a:cubicBezTo>
                      <a:lnTo>
                        <a:pt x="2181354" y="386190"/>
                      </a:lnTo>
                      <a:lnTo>
                        <a:pt x="2172368" y="386190"/>
                      </a:lnTo>
                      <a:lnTo>
                        <a:pt x="2172368" y="366168"/>
                      </a:lnTo>
                      <a:lnTo>
                        <a:pt x="2171978" y="366168"/>
                      </a:lnTo>
                      <a:cubicBezTo>
                        <a:pt x="2168788" y="373005"/>
                        <a:pt x="2164148" y="378458"/>
                        <a:pt x="2158060" y="382528"/>
                      </a:cubicBezTo>
                      <a:cubicBezTo>
                        <a:pt x="2151972" y="386597"/>
                        <a:pt x="2145218" y="388632"/>
                        <a:pt x="2137794" y="388632"/>
                      </a:cubicBezTo>
                      <a:cubicBezTo>
                        <a:pt x="2128288" y="388632"/>
                        <a:pt x="2120768" y="385962"/>
                        <a:pt x="2115232" y="380623"/>
                      </a:cubicBezTo>
                      <a:cubicBezTo>
                        <a:pt x="2109698" y="375284"/>
                        <a:pt x="2106930" y="368545"/>
                        <a:pt x="2106930" y="360406"/>
                      </a:cubicBezTo>
                      <a:cubicBezTo>
                        <a:pt x="2106930" y="342956"/>
                        <a:pt x="2118488" y="332407"/>
                        <a:pt x="2141604" y="328761"/>
                      </a:cubicBezTo>
                      <a:lnTo>
                        <a:pt x="2172368" y="324171"/>
                      </a:lnTo>
                      <a:cubicBezTo>
                        <a:pt x="2172368" y="302684"/>
                        <a:pt x="2164294" y="291940"/>
                        <a:pt x="2148146" y="291940"/>
                      </a:cubicBezTo>
                      <a:cubicBezTo>
                        <a:pt x="2137142" y="291940"/>
                        <a:pt x="2126432" y="296368"/>
                        <a:pt x="2116014" y="305223"/>
                      </a:cubicBezTo>
                      <a:lnTo>
                        <a:pt x="2116014" y="294382"/>
                      </a:lnTo>
                      <a:cubicBezTo>
                        <a:pt x="2119726" y="291452"/>
                        <a:pt x="2124756" y="288945"/>
                        <a:pt x="2131104" y="286861"/>
                      </a:cubicBezTo>
                      <a:cubicBezTo>
                        <a:pt x="2137452" y="284778"/>
                        <a:pt x="2143426" y="283736"/>
                        <a:pt x="2149026" y="283736"/>
                      </a:cubicBezTo>
                      <a:close/>
                      <a:moveTo>
                        <a:pt x="1965070" y="283736"/>
                      </a:moveTo>
                      <a:cubicBezTo>
                        <a:pt x="1972688" y="283736"/>
                        <a:pt x="1980078" y="285299"/>
                        <a:pt x="1987240" y="288424"/>
                      </a:cubicBezTo>
                      <a:lnTo>
                        <a:pt x="1987240" y="298582"/>
                      </a:lnTo>
                      <a:cubicBezTo>
                        <a:pt x="1980078" y="294154"/>
                        <a:pt x="1972232" y="291940"/>
                        <a:pt x="1963702" y="291940"/>
                      </a:cubicBezTo>
                      <a:cubicBezTo>
                        <a:pt x="1951982" y="291940"/>
                        <a:pt x="1942476" y="296156"/>
                        <a:pt x="1935184" y="304588"/>
                      </a:cubicBezTo>
                      <a:cubicBezTo>
                        <a:pt x="1927890" y="313020"/>
                        <a:pt x="1924244" y="323943"/>
                        <a:pt x="1924244" y="337356"/>
                      </a:cubicBezTo>
                      <a:cubicBezTo>
                        <a:pt x="1924244" y="350313"/>
                        <a:pt x="1927582" y="360731"/>
                        <a:pt x="1934256" y="368610"/>
                      </a:cubicBezTo>
                      <a:cubicBezTo>
                        <a:pt x="1940930" y="376488"/>
                        <a:pt x="1949736" y="380428"/>
                        <a:pt x="1960674" y="380428"/>
                      </a:cubicBezTo>
                      <a:cubicBezTo>
                        <a:pt x="1970702" y="380428"/>
                        <a:pt x="1979426" y="377758"/>
                        <a:pt x="1986850" y="372419"/>
                      </a:cubicBezTo>
                      <a:lnTo>
                        <a:pt x="1986850" y="381795"/>
                      </a:lnTo>
                      <a:cubicBezTo>
                        <a:pt x="1979426" y="386353"/>
                        <a:pt x="1970572" y="388632"/>
                        <a:pt x="1960284" y="388632"/>
                      </a:cubicBezTo>
                      <a:cubicBezTo>
                        <a:pt x="1946676" y="388632"/>
                        <a:pt x="1935704" y="383960"/>
                        <a:pt x="1927370" y="374617"/>
                      </a:cubicBezTo>
                      <a:cubicBezTo>
                        <a:pt x="1919036" y="365273"/>
                        <a:pt x="1914868" y="353048"/>
                        <a:pt x="1914868" y="337942"/>
                      </a:cubicBezTo>
                      <a:cubicBezTo>
                        <a:pt x="1914868" y="322055"/>
                        <a:pt x="1919556" y="309048"/>
                        <a:pt x="1928932" y="298923"/>
                      </a:cubicBezTo>
                      <a:cubicBezTo>
                        <a:pt x="1938308" y="288798"/>
                        <a:pt x="1950354" y="283736"/>
                        <a:pt x="1965070" y="283736"/>
                      </a:cubicBezTo>
                      <a:close/>
                      <a:moveTo>
                        <a:pt x="1726944" y="283736"/>
                      </a:moveTo>
                      <a:cubicBezTo>
                        <a:pt x="1734562" y="283736"/>
                        <a:pt x="1741954" y="285299"/>
                        <a:pt x="1749116" y="288424"/>
                      </a:cubicBezTo>
                      <a:lnTo>
                        <a:pt x="1749116" y="298582"/>
                      </a:lnTo>
                      <a:cubicBezTo>
                        <a:pt x="1741954" y="294154"/>
                        <a:pt x="1734108" y="291940"/>
                        <a:pt x="1725578" y="291940"/>
                      </a:cubicBezTo>
                      <a:cubicBezTo>
                        <a:pt x="1713858" y="291940"/>
                        <a:pt x="1704350" y="296156"/>
                        <a:pt x="1697058" y="304588"/>
                      </a:cubicBezTo>
                      <a:cubicBezTo>
                        <a:pt x="1689766" y="313020"/>
                        <a:pt x="1686120" y="323943"/>
                        <a:pt x="1686120" y="337356"/>
                      </a:cubicBezTo>
                      <a:cubicBezTo>
                        <a:pt x="1686120" y="350313"/>
                        <a:pt x="1689456" y="360731"/>
                        <a:pt x="1696130" y="368610"/>
                      </a:cubicBezTo>
                      <a:cubicBezTo>
                        <a:pt x="1702804" y="376488"/>
                        <a:pt x="1711610" y="380428"/>
                        <a:pt x="1722550" y="380428"/>
                      </a:cubicBezTo>
                      <a:cubicBezTo>
                        <a:pt x="1732578" y="380428"/>
                        <a:pt x="1741302" y="377758"/>
                        <a:pt x="1748724" y="372419"/>
                      </a:cubicBezTo>
                      <a:lnTo>
                        <a:pt x="1748724" y="381795"/>
                      </a:lnTo>
                      <a:cubicBezTo>
                        <a:pt x="1741302" y="386353"/>
                        <a:pt x="1732446" y="388632"/>
                        <a:pt x="1722158" y="388632"/>
                      </a:cubicBezTo>
                      <a:cubicBezTo>
                        <a:pt x="1708550" y="388632"/>
                        <a:pt x="1697580" y="383960"/>
                        <a:pt x="1689244" y="374617"/>
                      </a:cubicBezTo>
                      <a:cubicBezTo>
                        <a:pt x="1680910" y="365273"/>
                        <a:pt x="1676744" y="353048"/>
                        <a:pt x="1676744" y="337942"/>
                      </a:cubicBezTo>
                      <a:cubicBezTo>
                        <a:pt x="1676744" y="322055"/>
                        <a:pt x="1681432" y="309048"/>
                        <a:pt x="1690808" y="298923"/>
                      </a:cubicBezTo>
                      <a:cubicBezTo>
                        <a:pt x="1700184" y="288798"/>
                        <a:pt x="1712230" y="283736"/>
                        <a:pt x="1726944" y="283736"/>
                      </a:cubicBezTo>
                      <a:close/>
                      <a:moveTo>
                        <a:pt x="1610886" y="283736"/>
                      </a:moveTo>
                      <a:cubicBezTo>
                        <a:pt x="1625146" y="283736"/>
                        <a:pt x="1636410" y="288392"/>
                        <a:pt x="1644680" y="297703"/>
                      </a:cubicBezTo>
                      <a:cubicBezTo>
                        <a:pt x="1652950" y="307014"/>
                        <a:pt x="1657084" y="319906"/>
                        <a:pt x="1657084" y="336379"/>
                      </a:cubicBezTo>
                      <a:cubicBezTo>
                        <a:pt x="1657084" y="351941"/>
                        <a:pt x="1652868" y="364540"/>
                        <a:pt x="1644436" y="374177"/>
                      </a:cubicBezTo>
                      <a:cubicBezTo>
                        <a:pt x="1636004" y="383814"/>
                        <a:pt x="1624462" y="388632"/>
                        <a:pt x="1609812" y="388632"/>
                      </a:cubicBezTo>
                      <a:cubicBezTo>
                        <a:pt x="1595228" y="388632"/>
                        <a:pt x="1583686" y="383830"/>
                        <a:pt x="1575190" y="374226"/>
                      </a:cubicBezTo>
                      <a:cubicBezTo>
                        <a:pt x="1566692" y="364622"/>
                        <a:pt x="1562444" y="352136"/>
                        <a:pt x="1562444" y="336770"/>
                      </a:cubicBezTo>
                      <a:cubicBezTo>
                        <a:pt x="1562444" y="320166"/>
                        <a:pt x="1566888" y="307176"/>
                        <a:pt x="1575774" y="297800"/>
                      </a:cubicBezTo>
                      <a:cubicBezTo>
                        <a:pt x="1584662" y="288424"/>
                        <a:pt x="1596366" y="283736"/>
                        <a:pt x="1610886" y="283736"/>
                      </a:cubicBezTo>
                      <a:close/>
                      <a:moveTo>
                        <a:pt x="1301302" y="283736"/>
                      </a:moveTo>
                      <a:cubicBezTo>
                        <a:pt x="1311588" y="283736"/>
                        <a:pt x="1319548" y="286927"/>
                        <a:pt x="1325182" y="293308"/>
                      </a:cubicBezTo>
                      <a:cubicBezTo>
                        <a:pt x="1330814" y="299689"/>
                        <a:pt x="1333630" y="308967"/>
                        <a:pt x="1333630" y="321143"/>
                      </a:cubicBezTo>
                      <a:lnTo>
                        <a:pt x="1333630" y="386190"/>
                      </a:lnTo>
                      <a:lnTo>
                        <a:pt x="1324644" y="386190"/>
                      </a:lnTo>
                      <a:lnTo>
                        <a:pt x="1324644" y="366168"/>
                      </a:lnTo>
                      <a:lnTo>
                        <a:pt x="1324254" y="366168"/>
                      </a:lnTo>
                      <a:cubicBezTo>
                        <a:pt x="1321062" y="373005"/>
                        <a:pt x="1316424" y="378458"/>
                        <a:pt x="1310336" y="382528"/>
                      </a:cubicBezTo>
                      <a:cubicBezTo>
                        <a:pt x="1304248" y="386597"/>
                        <a:pt x="1297492" y="388632"/>
                        <a:pt x="1290070" y="388632"/>
                      </a:cubicBezTo>
                      <a:cubicBezTo>
                        <a:pt x="1280562" y="388632"/>
                        <a:pt x="1273042" y="385962"/>
                        <a:pt x="1267508" y="380623"/>
                      </a:cubicBezTo>
                      <a:cubicBezTo>
                        <a:pt x="1261974" y="375284"/>
                        <a:pt x="1259206" y="368545"/>
                        <a:pt x="1259206" y="360406"/>
                      </a:cubicBezTo>
                      <a:cubicBezTo>
                        <a:pt x="1259206" y="342956"/>
                        <a:pt x="1270764" y="332407"/>
                        <a:pt x="1293878" y="328761"/>
                      </a:cubicBezTo>
                      <a:lnTo>
                        <a:pt x="1324644" y="324171"/>
                      </a:lnTo>
                      <a:cubicBezTo>
                        <a:pt x="1324644" y="302684"/>
                        <a:pt x="1316570" y="291940"/>
                        <a:pt x="1300422" y="291940"/>
                      </a:cubicBezTo>
                      <a:cubicBezTo>
                        <a:pt x="1289418" y="291940"/>
                        <a:pt x="1278706" y="296368"/>
                        <a:pt x="1268290" y="305223"/>
                      </a:cubicBezTo>
                      <a:lnTo>
                        <a:pt x="1268290" y="294382"/>
                      </a:lnTo>
                      <a:cubicBezTo>
                        <a:pt x="1272000" y="291452"/>
                        <a:pt x="1277030" y="288945"/>
                        <a:pt x="1283378" y="286861"/>
                      </a:cubicBezTo>
                      <a:cubicBezTo>
                        <a:pt x="1289728" y="284778"/>
                        <a:pt x="1295702" y="283736"/>
                        <a:pt x="1301302" y="283736"/>
                      </a:cubicBezTo>
                      <a:close/>
                      <a:moveTo>
                        <a:pt x="1139376" y="283736"/>
                      </a:moveTo>
                      <a:cubicBezTo>
                        <a:pt x="1149664" y="283736"/>
                        <a:pt x="1157624" y="286927"/>
                        <a:pt x="1163256" y="293308"/>
                      </a:cubicBezTo>
                      <a:cubicBezTo>
                        <a:pt x="1168888" y="299689"/>
                        <a:pt x="1171704" y="308967"/>
                        <a:pt x="1171704" y="321143"/>
                      </a:cubicBezTo>
                      <a:lnTo>
                        <a:pt x="1171704" y="386190"/>
                      </a:lnTo>
                      <a:lnTo>
                        <a:pt x="1162718" y="386190"/>
                      </a:lnTo>
                      <a:lnTo>
                        <a:pt x="1162718" y="366168"/>
                      </a:lnTo>
                      <a:lnTo>
                        <a:pt x="1162328" y="366168"/>
                      </a:lnTo>
                      <a:cubicBezTo>
                        <a:pt x="1159138" y="373005"/>
                        <a:pt x="1154498" y="378458"/>
                        <a:pt x="1148410" y="382528"/>
                      </a:cubicBezTo>
                      <a:cubicBezTo>
                        <a:pt x="1142322" y="386597"/>
                        <a:pt x="1135566" y="388632"/>
                        <a:pt x="1128144" y="388632"/>
                      </a:cubicBezTo>
                      <a:cubicBezTo>
                        <a:pt x="1118638" y="388632"/>
                        <a:pt x="1111118" y="385962"/>
                        <a:pt x="1105582" y="380623"/>
                      </a:cubicBezTo>
                      <a:cubicBezTo>
                        <a:pt x="1100048" y="375284"/>
                        <a:pt x="1097280" y="368545"/>
                        <a:pt x="1097280" y="360406"/>
                      </a:cubicBezTo>
                      <a:cubicBezTo>
                        <a:pt x="1097280" y="342956"/>
                        <a:pt x="1108838" y="332407"/>
                        <a:pt x="1131954" y="328761"/>
                      </a:cubicBezTo>
                      <a:lnTo>
                        <a:pt x="1162718" y="324171"/>
                      </a:lnTo>
                      <a:cubicBezTo>
                        <a:pt x="1162718" y="302684"/>
                        <a:pt x="1154644" y="291940"/>
                        <a:pt x="1138498" y="291940"/>
                      </a:cubicBezTo>
                      <a:cubicBezTo>
                        <a:pt x="1127494" y="291940"/>
                        <a:pt x="1116782" y="296368"/>
                        <a:pt x="1106364" y="305223"/>
                      </a:cubicBezTo>
                      <a:lnTo>
                        <a:pt x="1106364" y="294382"/>
                      </a:lnTo>
                      <a:cubicBezTo>
                        <a:pt x="1110076" y="291452"/>
                        <a:pt x="1115106" y="288945"/>
                        <a:pt x="1121454" y="286861"/>
                      </a:cubicBezTo>
                      <a:cubicBezTo>
                        <a:pt x="1127802" y="284778"/>
                        <a:pt x="1133776" y="283736"/>
                        <a:pt x="1139376" y="283736"/>
                      </a:cubicBezTo>
                      <a:close/>
                      <a:moveTo>
                        <a:pt x="721448" y="283736"/>
                      </a:moveTo>
                      <a:cubicBezTo>
                        <a:pt x="733884" y="283736"/>
                        <a:pt x="743424" y="288099"/>
                        <a:pt x="750064" y="296824"/>
                      </a:cubicBezTo>
                      <a:cubicBezTo>
                        <a:pt x="756706" y="305549"/>
                        <a:pt x="760026" y="317464"/>
                        <a:pt x="760026" y="332570"/>
                      </a:cubicBezTo>
                      <a:lnTo>
                        <a:pt x="760026" y="336575"/>
                      </a:lnTo>
                      <a:lnTo>
                        <a:pt x="685994" y="336575"/>
                      </a:lnTo>
                      <a:cubicBezTo>
                        <a:pt x="685994" y="350313"/>
                        <a:pt x="689168" y="361057"/>
                        <a:pt x="695518" y="368805"/>
                      </a:cubicBezTo>
                      <a:cubicBezTo>
                        <a:pt x="701866" y="376554"/>
                        <a:pt x="710574" y="380428"/>
                        <a:pt x="721644" y="380428"/>
                      </a:cubicBezTo>
                      <a:cubicBezTo>
                        <a:pt x="732842" y="380428"/>
                        <a:pt x="743782" y="376293"/>
                        <a:pt x="754460" y="368024"/>
                      </a:cubicBezTo>
                      <a:lnTo>
                        <a:pt x="754460" y="377595"/>
                      </a:lnTo>
                      <a:cubicBezTo>
                        <a:pt x="744108" y="384953"/>
                        <a:pt x="732550" y="388632"/>
                        <a:pt x="719788" y="388632"/>
                      </a:cubicBezTo>
                      <a:cubicBezTo>
                        <a:pt x="706896" y="388632"/>
                        <a:pt x="696478" y="384009"/>
                        <a:pt x="688534" y="374763"/>
                      </a:cubicBezTo>
                      <a:cubicBezTo>
                        <a:pt x="680590" y="365517"/>
                        <a:pt x="676618" y="352462"/>
                        <a:pt x="676618" y="335598"/>
                      </a:cubicBezTo>
                      <a:cubicBezTo>
                        <a:pt x="676618" y="321013"/>
                        <a:pt x="680770" y="308723"/>
                        <a:pt x="689070" y="298728"/>
                      </a:cubicBezTo>
                      <a:cubicBezTo>
                        <a:pt x="697372" y="288733"/>
                        <a:pt x="708166" y="283736"/>
                        <a:pt x="721448" y="283736"/>
                      </a:cubicBezTo>
                      <a:close/>
                      <a:moveTo>
                        <a:pt x="583944" y="283736"/>
                      </a:moveTo>
                      <a:cubicBezTo>
                        <a:pt x="591562" y="283736"/>
                        <a:pt x="598954" y="285299"/>
                        <a:pt x="606116" y="288424"/>
                      </a:cubicBezTo>
                      <a:lnTo>
                        <a:pt x="606116" y="298582"/>
                      </a:lnTo>
                      <a:cubicBezTo>
                        <a:pt x="598954" y="294154"/>
                        <a:pt x="591108" y="291940"/>
                        <a:pt x="582578" y="291940"/>
                      </a:cubicBezTo>
                      <a:cubicBezTo>
                        <a:pt x="570858" y="291940"/>
                        <a:pt x="561350" y="296156"/>
                        <a:pt x="554058" y="304588"/>
                      </a:cubicBezTo>
                      <a:cubicBezTo>
                        <a:pt x="546766" y="313020"/>
                        <a:pt x="543120" y="323943"/>
                        <a:pt x="543120" y="337356"/>
                      </a:cubicBezTo>
                      <a:cubicBezTo>
                        <a:pt x="543120" y="350313"/>
                        <a:pt x="546456" y="360731"/>
                        <a:pt x="553130" y="368610"/>
                      </a:cubicBezTo>
                      <a:cubicBezTo>
                        <a:pt x="559804" y="376488"/>
                        <a:pt x="568610" y="380428"/>
                        <a:pt x="579550" y="380428"/>
                      </a:cubicBezTo>
                      <a:cubicBezTo>
                        <a:pt x="589578" y="380428"/>
                        <a:pt x="598302" y="377758"/>
                        <a:pt x="605724" y="372419"/>
                      </a:cubicBezTo>
                      <a:lnTo>
                        <a:pt x="605724" y="381795"/>
                      </a:lnTo>
                      <a:cubicBezTo>
                        <a:pt x="598302" y="386353"/>
                        <a:pt x="589446" y="388632"/>
                        <a:pt x="579158" y="388632"/>
                      </a:cubicBezTo>
                      <a:cubicBezTo>
                        <a:pt x="565550" y="388632"/>
                        <a:pt x="554580" y="383960"/>
                        <a:pt x="546244" y="374617"/>
                      </a:cubicBezTo>
                      <a:cubicBezTo>
                        <a:pt x="537910" y="365273"/>
                        <a:pt x="533744" y="353048"/>
                        <a:pt x="533744" y="337942"/>
                      </a:cubicBezTo>
                      <a:cubicBezTo>
                        <a:pt x="533744" y="322055"/>
                        <a:pt x="538432" y="309048"/>
                        <a:pt x="547808" y="298923"/>
                      </a:cubicBezTo>
                      <a:cubicBezTo>
                        <a:pt x="557184" y="288798"/>
                        <a:pt x="569230" y="283736"/>
                        <a:pt x="583944" y="283736"/>
                      </a:cubicBezTo>
                      <a:close/>
                      <a:moveTo>
                        <a:pt x="473798" y="283736"/>
                      </a:moveTo>
                      <a:cubicBezTo>
                        <a:pt x="486234" y="283736"/>
                        <a:pt x="495774" y="288099"/>
                        <a:pt x="502414" y="296824"/>
                      </a:cubicBezTo>
                      <a:cubicBezTo>
                        <a:pt x="509056" y="305549"/>
                        <a:pt x="512378" y="317464"/>
                        <a:pt x="512378" y="332570"/>
                      </a:cubicBezTo>
                      <a:lnTo>
                        <a:pt x="512378" y="336575"/>
                      </a:lnTo>
                      <a:lnTo>
                        <a:pt x="438344" y="336575"/>
                      </a:lnTo>
                      <a:cubicBezTo>
                        <a:pt x="438344" y="350313"/>
                        <a:pt x="441518" y="361057"/>
                        <a:pt x="447868" y="368805"/>
                      </a:cubicBezTo>
                      <a:cubicBezTo>
                        <a:pt x="454216" y="376554"/>
                        <a:pt x="462924" y="380428"/>
                        <a:pt x="473994" y="380428"/>
                      </a:cubicBezTo>
                      <a:cubicBezTo>
                        <a:pt x="485192" y="380428"/>
                        <a:pt x="496132" y="376293"/>
                        <a:pt x="506810" y="368024"/>
                      </a:cubicBezTo>
                      <a:lnTo>
                        <a:pt x="506810" y="377595"/>
                      </a:lnTo>
                      <a:cubicBezTo>
                        <a:pt x="496458" y="384953"/>
                        <a:pt x="484900" y="388632"/>
                        <a:pt x="472138" y="388632"/>
                      </a:cubicBezTo>
                      <a:cubicBezTo>
                        <a:pt x="459246" y="388632"/>
                        <a:pt x="448828" y="384009"/>
                        <a:pt x="440884" y="374763"/>
                      </a:cubicBezTo>
                      <a:cubicBezTo>
                        <a:pt x="432940" y="365517"/>
                        <a:pt x="428968" y="352462"/>
                        <a:pt x="428968" y="335598"/>
                      </a:cubicBezTo>
                      <a:cubicBezTo>
                        <a:pt x="428968" y="321013"/>
                        <a:pt x="433120" y="308723"/>
                        <a:pt x="441420" y="298728"/>
                      </a:cubicBezTo>
                      <a:cubicBezTo>
                        <a:pt x="449722" y="288733"/>
                        <a:pt x="460516" y="283736"/>
                        <a:pt x="473798" y="283736"/>
                      </a:cubicBezTo>
                      <a:close/>
                      <a:moveTo>
                        <a:pt x="286912" y="283736"/>
                      </a:moveTo>
                      <a:cubicBezTo>
                        <a:pt x="301172" y="283736"/>
                        <a:pt x="312436" y="288392"/>
                        <a:pt x="320706" y="297703"/>
                      </a:cubicBezTo>
                      <a:cubicBezTo>
                        <a:pt x="328974" y="307014"/>
                        <a:pt x="333108" y="319906"/>
                        <a:pt x="333108" y="336379"/>
                      </a:cubicBezTo>
                      <a:cubicBezTo>
                        <a:pt x="333108" y="351941"/>
                        <a:pt x="328892" y="364540"/>
                        <a:pt x="320460" y="374177"/>
                      </a:cubicBezTo>
                      <a:cubicBezTo>
                        <a:pt x="312028" y="383814"/>
                        <a:pt x="300488" y="388632"/>
                        <a:pt x="285838" y="388632"/>
                      </a:cubicBezTo>
                      <a:cubicBezTo>
                        <a:pt x="271252" y="388632"/>
                        <a:pt x="259712" y="383830"/>
                        <a:pt x="251214" y="374226"/>
                      </a:cubicBezTo>
                      <a:cubicBezTo>
                        <a:pt x="242716" y="364622"/>
                        <a:pt x="238468" y="352136"/>
                        <a:pt x="238468" y="336770"/>
                      </a:cubicBezTo>
                      <a:cubicBezTo>
                        <a:pt x="238468" y="320166"/>
                        <a:pt x="242912" y="307176"/>
                        <a:pt x="251800" y="297800"/>
                      </a:cubicBezTo>
                      <a:cubicBezTo>
                        <a:pt x="260688" y="288424"/>
                        <a:pt x="272392" y="283736"/>
                        <a:pt x="286912" y="283736"/>
                      </a:cubicBezTo>
                      <a:close/>
                      <a:moveTo>
                        <a:pt x="202944" y="283736"/>
                      </a:moveTo>
                      <a:cubicBezTo>
                        <a:pt x="210562" y="283736"/>
                        <a:pt x="217954" y="285299"/>
                        <a:pt x="225116" y="288424"/>
                      </a:cubicBezTo>
                      <a:lnTo>
                        <a:pt x="225116" y="298582"/>
                      </a:lnTo>
                      <a:cubicBezTo>
                        <a:pt x="217954" y="294154"/>
                        <a:pt x="210108" y="291940"/>
                        <a:pt x="201578" y="291940"/>
                      </a:cubicBezTo>
                      <a:cubicBezTo>
                        <a:pt x="189858" y="291940"/>
                        <a:pt x="180350" y="296156"/>
                        <a:pt x="173058" y="304588"/>
                      </a:cubicBezTo>
                      <a:cubicBezTo>
                        <a:pt x="165766" y="313020"/>
                        <a:pt x="162120" y="323943"/>
                        <a:pt x="162120" y="337356"/>
                      </a:cubicBezTo>
                      <a:cubicBezTo>
                        <a:pt x="162120" y="350313"/>
                        <a:pt x="165456" y="360731"/>
                        <a:pt x="172130" y="368610"/>
                      </a:cubicBezTo>
                      <a:cubicBezTo>
                        <a:pt x="178804" y="376488"/>
                        <a:pt x="187610" y="380428"/>
                        <a:pt x="198550" y="380428"/>
                      </a:cubicBezTo>
                      <a:cubicBezTo>
                        <a:pt x="208576" y="380428"/>
                        <a:pt x="217302" y="377758"/>
                        <a:pt x="224724" y="372419"/>
                      </a:cubicBezTo>
                      <a:lnTo>
                        <a:pt x="224724" y="381795"/>
                      </a:lnTo>
                      <a:cubicBezTo>
                        <a:pt x="217302" y="386353"/>
                        <a:pt x="208446" y="388632"/>
                        <a:pt x="198158" y="388632"/>
                      </a:cubicBezTo>
                      <a:cubicBezTo>
                        <a:pt x="184550" y="388632"/>
                        <a:pt x="173580" y="383960"/>
                        <a:pt x="165244" y="374617"/>
                      </a:cubicBezTo>
                      <a:cubicBezTo>
                        <a:pt x="156910" y="365273"/>
                        <a:pt x="152744" y="353048"/>
                        <a:pt x="152744" y="337942"/>
                      </a:cubicBezTo>
                      <a:cubicBezTo>
                        <a:pt x="152744" y="322055"/>
                        <a:pt x="157432" y="309048"/>
                        <a:pt x="166808" y="298923"/>
                      </a:cubicBezTo>
                      <a:cubicBezTo>
                        <a:pt x="176184" y="288798"/>
                        <a:pt x="188230" y="283736"/>
                        <a:pt x="202944" y="283736"/>
                      </a:cubicBezTo>
                      <a:close/>
                      <a:moveTo>
                        <a:pt x="639880" y="257170"/>
                      </a:moveTo>
                      <a:lnTo>
                        <a:pt x="639880" y="286178"/>
                      </a:lnTo>
                      <a:lnTo>
                        <a:pt x="666252" y="286178"/>
                      </a:lnTo>
                      <a:lnTo>
                        <a:pt x="666252" y="294382"/>
                      </a:lnTo>
                      <a:lnTo>
                        <a:pt x="639880" y="294382"/>
                      </a:lnTo>
                      <a:lnTo>
                        <a:pt x="639880" y="360406"/>
                      </a:lnTo>
                      <a:cubicBezTo>
                        <a:pt x="639880" y="367308"/>
                        <a:pt x="640972" y="372305"/>
                        <a:pt x="643152" y="375398"/>
                      </a:cubicBezTo>
                      <a:cubicBezTo>
                        <a:pt x="645334" y="378491"/>
                        <a:pt x="649030" y="380037"/>
                        <a:pt x="654238" y="380037"/>
                      </a:cubicBezTo>
                      <a:cubicBezTo>
                        <a:pt x="657950" y="380037"/>
                        <a:pt x="661954" y="378833"/>
                        <a:pt x="666252" y="376423"/>
                      </a:cubicBezTo>
                      <a:lnTo>
                        <a:pt x="666252" y="384823"/>
                      </a:lnTo>
                      <a:cubicBezTo>
                        <a:pt x="661564" y="387037"/>
                        <a:pt x="657168" y="388144"/>
                        <a:pt x="653066" y="388144"/>
                      </a:cubicBezTo>
                      <a:cubicBezTo>
                        <a:pt x="638286" y="388144"/>
                        <a:pt x="630896" y="379288"/>
                        <a:pt x="630896" y="361578"/>
                      </a:cubicBezTo>
                      <a:lnTo>
                        <a:pt x="630896" y="294382"/>
                      </a:lnTo>
                      <a:lnTo>
                        <a:pt x="612924" y="294382"/>
                      </a:lnTo>
                      <a:lnTo>
                        <a:pt x="612924" y="286178"/>
                      </a:lnTo>
                      <a:lnTo>
                        <a:pt x="630896" y="286178"/>
                      </a:lnTo>
                      <a:lnTo>
                        <a:pt x="630896" y="260198"/>
                      </a:lnTo>
                      <a:cubicBezTo>
                        <a:pt x="632328" y="259677"/>
                        <a:pt x="633826" y="259156"/>
                        <a:pt x="635388" y="258635"/>
                      </a:cubicBezTo>
                      <a:cubicBezTo>
                        <a:pt x="636950" y="258179"/>
                        <a:pt x="638448" y="257691"/>
                        <a:pt x="639880" y="257170"/>
                      </a:cubicBezTo>
                      <a:close/>
                      <a:moveTo>
                        <a:pt x="2212240" y="246134"/>
                      </a:moveTo>
                      <a:cubicBezTo>
                        <a:pt x="2214260" y="246134"/>
                        <a:pt x="2216034" y="246785"/>
                        <a:pt x="2217564" y="248087"/>
                      </a:cubicBezTo>
                      <a:cubicBezTo>
                        <a:pt x="2219094" y="249389"/>
                        <a:pt x="2219858" y="251147"/>
                        <a:pt x="2219858" y="253361"/>
                      </a:cubicBezTo>
                      <a:cubicBezTo>
                        <a:pt x="2219858" y="255445"/>
                        <a:pt x="2219110" y="257235"/>
                        <a:pt x="2217612" y="258733"/>
                      </a:cubicBezTo>
                      <a:cubicBezTo>
                        <a:pt x="2216114" y="260230"/>
                        <a:pt x="2214324" y="260979"/>
                        <a:pt x="2212240" y="260979"/>
                      </a:cubicBezTo>
                      <a:cubicBezTo>
                        <a:pt x="2210288" y="260979"/>
                        <a:pt x="2208562" y="260263"/>
                        <a:pt x="2207064" y="258831"/>
                      </a:cubicBezTo>
                      <a:cubicBezTo>
                        <a:pt x="2205566" y="257398"/>
                        <a:pt x="2204818" y="255575"/>
                        <a:pt x="2204818" y="253361"/>
                      </a:cubicBezTo>
                      <a:cubicBezTo>
                        <a:pt x="2204818" y="251212"/>
                        <a:pt x="2205582" y="249471"/>
                        <a:pt x="2207114" y="248136"/>
                      </a:cubicBezTo>
                      <a:cubicBezTo>
                        <a:pt x="2208644" y="246801"/>
                        <a:pt x="2210352" y="246134"/>
                        <a:pt x="2212240" y="246134"/>
                      </a:cubicBezTo>
                      <a:close/>
                      <a:moveTo>
                        <a:pt x="1069240" y="246134"/>
                      </a:moveTo>
                      <a:cubicBezTo>
                        <a:pt x="1071260" y="246134"/>
                        <a:pt x="1073034" y="246785"/>
                        <a:pt x="1074564" y="248087"/>
                      </a:cubicBezTo>
                      <a:cubicBezTo>
                        <a:pt x="1076094" y="249389"/>
                        <a:pt x="1076858" y="251147"/>
                        <a:pt x="1076858" y="253361"/>
                      </a:cubicBezTo>
                      <a:cubicBezTo>
                        <a:pt x="1076858" y="255445"/>
                        <a:pt x="1076110" y="257235"/>
                        <a:pt x="1074612" y="258733"/>
                      </a:cubicBezTo>
                      <a:cubicBezTo>
                        <a:pt x="1073114" y="260230"/>
                        <a:pt x="1071324" y="260979"/>
                        <a:pt x="1069240" y="260979"/>
                      </a:cubicBezTo>
                      <a:cubicBezTo>
                        <a:pt x="1067288" y="260979"/>
                        <a:pt x="1065562" y="260263"/>
                        <a:pt x="1064064" y="258831"/>
                      </a:cubicBezTo>
                      <a:cubicBezTo>
                        <a:pt x="1062566" y="257398"/>
                        <a:pt x="1061818" y="255575"/>
                        <a:pt x="1061818" y="253361"/>
                      </a:cubicBezTo>
                      <a:cubicBezTo>
                        <a:pt x="1061818" y="251212"/>
                        <a:pt x="1062584" y="249471"/>
                        <a:pt x="1064114" y="248136"/>
                      </a:cubicBezTo>
                      <a:cubicBezTo>
                        <a:pt x="1065644" y="246801"/>
                        <a:pt x="1067352" y="246134"/>
                        <a:pt x="1069240" y="246134"/>
                      </a:cubicBezTo>
                      <a:close/>
                      <a:moveTo>
                        <a:pt x="2007820" y="238125"/>
                      </a:moveTo>
                      <a:lnTo>
                        <a:pt x="2016806" y="238125"/>
                      </a:lnTo>
                      <a:lnTo>
                        <a:pt x="2016806" y="304149"/>
                      </a:lnTo>
                      <a:lnTo>
                        <a:pt x="2017196" y="304149"/>
                      </a:lnTo>
                      <a:cubicBezTo>
                        <a:pt x="2025076" y="290540"/>
                        <a:pt x="2036536" y="283736"/>
                        <a:pt x="2051576" y="283736"/>
                      </a:cubicBezTo>
                      <a:cubicBezTo>
                        <a:pt x="2062384" y="283736"/>
                        <a:pt x="2070622" y="287220"/>
                        <a:pt x="2076286" y="294187"/>
                      </a:cubicBezTo>
                      <a:cubicBezTo>
                        <a:pt x="2081950" y="301154"/>
                        <a:pt x="2084784" y="311148"/>
                        <a:pt x="2084784" y="324171"/>
                      </a:cubicBezTo>
                      <a:lnTo>
                        <a:pt x="2084784" y="386190"/>
                      </a:lnTo>
                      <a:lnTo>
                        <a:pt x="2075798" y="386190"/>
                      </a:lnTo>
                      <a:lnTo>
                        <a:pt x="2075798" y="326222"/>
                      </a:lnTo>
                      <a:cubicBezTo>
                        <a:pt x="2075798" y="314371"/>
                        <a:pt x="2073650" y="305695"/>
                        <a:pt x="2069352" y="300193"/>
                      </a:cubicBezTo>
                      <a:cubicBezTo>
                        <a:pt x="2065054" y="294691"/>
                        <a:pt x="2058348" y="291940"/>
                        <a:pt x="2049232" y="291940"/>
                      </a:cubicBezTo>
                      <a:cubicBezTo>
                        <a:pt x="2040638" y="291940"/>
                        <a:pt x="2033084" y="295293"/>
                        <a:pt x="2026574" y="302000"/>
                      </a:cubicBezTo>
                      <a:cubicBezTo>
                        <a:pt x="2020062" y="308707"/>
                        <a:pt x="2016806" y="318311"/>
                        <a:pt x="2016806" y="330812"/>
                      </a:cubicBezTo>
                      <a:lnTo>
                        <a:pt x="2016806" y="386190"/>
                      </a:lnTo>
                      <a:lnTo>
                        <a:pt x="2007820" y="386190"/>
                      </a:lnTo>
                      <a:close/>
                      <a:moveTo>
                        <a:pt x="1769696" y="238125"/>
                      </a:moveTo>
                      <a:lnTo>
                        <a:pt x="1778682" y="238125"/>
                      </a:lnTo>
                      <a:lnTo>
                        <a:pt x="1778682" y="333547"/>
                      </a:lnTo>
                      <a:lnTo>
                        <a:pt x="1779072" y="333547"/>
                      </a:lnTo>
                      <a:lnTo>
                        <a:pt x="1824488" y="286178"/>
                      </a:lnTo>
                      <a:lnTo>
                        <a:pt x="1836110" y="286178"/>
                      </a:lnTo>
                      <a:lnTo>
                        <a:pt x="1788644" y="334621"/>
                      </a:lnTo>
                      <a:lnTo>
                        <a:pt x="1839920" y="386190"/>
                      </a:lnTo>
                      <a:lnTo>
                        <a:pt x="1826930" y="386190"/>
                      </a:lnTo>
                      <a:lnTo>
                        <a:pt x="1779072" y="336770"/>
                      </a:lnTo>
                      <a:lnTo>
                        <a:pt x="1778682" y="336770"/>
                      </a:lnTo>
                      <a:lnTo>
                        <a:pt x="1778682" y="386190"/>
                      </a:lnTo>
                      <a:lnTo>
                        <a:pt x="1769696" y="386190"/>
                      </a:lnTo>
                      <a:close/>
                      <a:moveTo>
                        <a:pt x="1531570" y="238125"/>
                      </a:moveTo>
                      <a:lnTo>
                        <a:pt x="1540556" y="238125"/>
                      </a:lnTo>
                      <a:lnTo>
                        <a:pt x="1540556" y="386190"/>
                      </a:lnTo>
                      <a:lnTo>
                        <a:pt x="1531570" y="386190"/>
                      </a:lnTo>
                      <a:close/>
                      <a:moveTo>
                        <a:pt x="1417270" y="238125"/>
                      </a:moveTo>
                      <a:lnTo>
                        <a:pt x="1426256" y="238125"/>
                      </a:lnTo>
                      <a:lnTo>
                        <a:pt x="1426256" y="306786"/>
                      </a:lnTo>
                      <a:lnTo>
                        <a:pt x="1426646" y="306786"/>
                      </a:lnTo>
                      <a:cubicBezTo>
                        <a:pt x="1430228" y="299428"/>
                        <a:pt x="1435356" y="293747"/>
                        <a:pt x="1442030" y="289743"/>
                      </a:cubicBezTo>
                      <a:cubicBezTo>
                        <a:pt x="1448704" y="285738"/>
                        <a:pt x="1456046" y="283736"/>
                        <a:pt x="1464054" y="283736"/>
                      </a:cubicBezTo>
                      <a:cubicBezTo>
                        <a:pt x="1476750" y="283736"/>
                        <a:pt x="1486664" y="288115"/>
                        <a:pt x="1493794" y="296872"/>
                      </a:cubicBezTo>
                      <a:cubicBezTo>
                        <a:pt x="1500924" y="305630"/>
                        <a:pt x="1504488" y="317529"/>
                        <a:pt x="1504488" y="332570"/>
                      </a:cubicBezTo>
                      <a:cubicBezTo>
                        <a:pt x="1504488" y="349304"/>
                        <a:pt x="1500354" y="362831"/>
                        <a:pt x="1492084" y="373151"/>
                      </a:cubicBezTo>
                      <a:cubicBezTo>
                        <a:pt x="1483816" y="383472"/>
                        <a:pt x="1473072" y="388632"/>
                        <a:pt x="1459854" y="388632"/>
                      </a:cubicBezTo>
                      <a:cubicBezTo>
                        <a:pt x="1444878" y="388632"/>
                        <a:pt x="1433810" y="381893"/>
                        <a:pt x="1426646" y="368415"/>
                      </a:cubicBezTo>
                      <a:lnTo>
                        <a:pt x="1426256" y="368415"/>
                      </a:lnTo>
                      <a:lnTo>
                        <a:pt x="1426256" y="386190"/>
                      </a:lnTo>
                      <a:lnTo>
                        <a:pt x="1417270" y="386190"/>
                      </a:lnTo>
                      <a:close/>
                      <a:moveTo>
                        <a:pt x="859626" y="238125"/>
                      </a:moveTo>
                      <a:lnTo>
                        <a:pt x="868612" y="238125"/>
                      </a:lnTo>
                      <a:lnTo>
                        <a:pt x="868612" y="386190"/>
                      </a:lnTo>
                      <a:lnTo>
                        <a:pt x="859626" y="386190"/>
                      </a:lnTo>
                      <a:lnTo>
                        <a:pt x="859626" y="368024"/>
                      </a:lnTo>
                      <a:lnTo>
                        <a:pt x="859234" y="368024"/>
                      </a:lnTo>
                      <a:cubicBezTo>
                        <a:pt x="855980" y="374340"/>
                        <a:pt x="851162" y="379353"/>
                        <a:pt x="844780" y="383065"/>
                      </a:cubicBezTo>
                      <a:cubicBezTo>
                        <a:pt x="838400" y="386776"/>
                        <a:pt x="831204" y="388632"/>
                        <a:pt x="823196" y="388632"/>
                      </a:cubicBezTo>
                      <a:cubicBezTo>
                        <a:pt x="810890" y="388632"/>
                        <a:pt x="800846" y="384139"/>
                        <a:pt x="793064" y="375154"/>
                      </a:cubicBezTo>
                      <a:cubicBezTo>
                        <a:pt x="785284" y="366168"/>
                        <a:pt x="781394" y="353764"/>
                        <a:pt x="781394" y="337942"/>
                      </a:cubicBezTo>
                      <a:cubicBezTo>
                        <a:pt x="781394" y="321794"/>
                        <a:pt x="785642" y="308723"/>
                        <a:pt x="794138" y="298728"/>
                      </a:cubicBezTo>
                      <a:cubicBezTo>
                        <a:pt x="802636" y="288733"/>
                        <a:pt x="813656" y="283736"/>
                        <a:pt x="827200" y="283736"/>
                      </a:cubicBezTo>
                      <a:cubicBezTo>
                        <a:pt x="842176" y="283736"/>
                        <a:pt x="852854" y="289889"/>
                        <a:pt x="859234" y="302195"/>
                      </a:cubicBezTo>
                      <a:lnTo>
                        <a:pt x="859626" y="302195"/>
                      </a:lnTo>
                      <a:close/>
                      <a:moveTo>
                        <a:pt x="398096" y="238125"/>
                      </a:moveTo>
                      <a:lnTo>
                        <a:pt x="407082" y="238125"/>
                      </a:lnTo>
                      <a:lnTo>
                        <a:pt x="407082" y="386190"/>
                      </a:lnTo>
                      <a:lnTo>
                        <a:pt x="398096" y="386190"/>
                      </a:lnTo>
                      <a:close/>
                      <a:moveTo>
                        <a:pt x="359996" y="238125"/>
                      </a:moveTo>
                      <a:lnTo>
                        <a:pt x="368982" y="238125"/>
                      </a:lnTo>
                      <a:lnTo>
                        <a:pt x="368982" y="386190"/>
                      </a:lnTo>
                      <a:lnTo>
                        <a:pt x="359996" y="386190"/>
                      </a:lnTo>
                      <a:close/>
                      <a:moveTo>
                        <a:pt x="1610394" y="94250"/>
                      </a:moveTo>
                      <a:lnTo>
                        <a:pt x="1582852" y="98254"/>
                      </a:lnTo>
                      <a:cubicBezTo>
                        <a:pt x="1572368" y="99752"/>
                        <a:pt x="1565010" y="102177"/>
                        <a:pt x="1560778" y="105531"/>
                      </a:cubicBezTo>
                      <a:cubicBezTo>
                        <a:pt x="1556546" y="108884"/>
                        <a:pt x="1554430" y="114337"/>
                        <a:pt x="1554430" y="121890"/>
                      </a:cubicBezTo>
                      <a:cubicBezTo>
                        <a:pt x="1554430" y="127815"/>
                        <a:pt x="1556400" y="132699"/>
                        <a:pt x="1560338" y="136540"/>
                      </a:cubicBezTo>
                      <a:cubicBezTo>
                        <a:pt x="1564278" y="140382"/>
                        <a:pt x="1569764" y="142303"/>
                        <a:pt x="1576796" y="142303"/>
                      </a:cubicBezTo>
                      <a:cubicBezTo>
                        <a:pt x="1586432" y="142303"/>
                        <a:pt x="1594442" y="138738"/>
                        <a:pt x="1600822" y="131608"/>
                      </a:cubicBezTo>
                      <a:cubicBezTo>
                        <a:pt x="1607204" y="124478"/>
                        <a:pt x="1610394" y="115281"/>
                        <a:pt x="1610394" y="104017"/>
                      </a:cubicBezTo>
                      <a:close/>
                      <a:moveTo>
                        <a:pt x="2445082" y="53815"/>
                      </a:moveTo>
                      <a:cubicBezTo>
                        <a:pt x="2435706" y="53815"/>
                        <a:pt x="2427942" y="56957"/>
                        <a:pt x="2421788" y="63240"/>
                      </a:cubicBezTo>
                      <a:cubicBezTo>
                        <a:pt x="2415636" y="69524"/>
                        <a:pt x="2411842" y="78525"/>
                        <a:pt x="2410410" y="90246"/>
                      </a:cubicBezTo>
                      <a:lnTo>
                        <a:pt x="2474676" y="90246"/>
                      </a:lnTo>
                      <a:cubicBezTo>
                        <a:pt x="2474286" y="78721"/>
                        <a:pt x="2471518" y="69768"/>
                        <a:pt x="2466374" y="63387"/>
                      </a:cubicBezTo>
                      <a:cubicBezTo>
                        <a:pt x="2461230" y="57006"/>
                        <a:pt x="2454134" y="53815"/>
                        <a:pt x="2445082" y="53815"/>
                      </a:cubicBezTo>
                      <a:close/>
                      <a:moveTo>
                        <a:pt x="2339182" y="53815"/>
                      </a:moveTo>
                      <a:cubicBezTo>
                        <a:pt x="2327526" y="53815"/>
                        <a:pt x="2318508" y="57722"/>
                        <a:pt x="2312128" y="65535"/>
                      </a:cubicBezTo>
                      <a:cubicBezTo>
                        <a:pt x="2305746" y="73349"/>
                        <a:pt x="2302556" y="82530"/>
                        <a:pt x="2302556" y="93078"/>
                      </a:cubicBezTo>
                      <a:lnTo>
                        <a:pt x="2302556" y="105677"/>
                      </a:lnTo>
                      <a:cubicBezTo>
                        <a:pt x="2302556" y="115704"/>
                        <a:pt x="2305714" y="124316"/>
                        <a:pt x="2312030" y="131510"/>
                      </a:cubicBezTo>
                      <a:cubicBezTo>
                        <a:pt x="2318346" y="138705"/>
                        <a:pt x="2326648" y="142303"/>
                        <a:pt x="2336936" y="142303"/>
                      </a:cubicBezTo>
                      <a:cubicBezTo>
                        <a:pt x="2347158" y="142303"/>
                        <a:pt x="2355460" y="137924"/>
                        <a:pt x="2361842" y="129166"/>
                      </a:cubicBezTo>
                      <a:cubicBezTo>
                        <a:pt x="2368222" y="120409"/>
                        <a:pt x="2371412" y="108900"/>
                        <a:pt x="2371412" y="94641"/>
                      </a:cubicBezTo>
                      <a:cubicBezTo>
                        <a:pt x="2371412" y="82139"/>
                        <a:pt x="2368482" y="72209"/>
                        <a:pt x="2362622" y="64852"/>
                      </a:cubicBezTo>
                      <a:cubicBezTo>
                        <a:pt x="2356762" y="57494"/>
                        <a:pt x="2348948" y="53815"/>
                        <a:pt x="2339182" y="53815"/>
                      </a:cubicBezTo>
                      <a:close/>
                      <a:moveTo>
                        <a:pt x="1768808" y="53815"/>
                      </a:moveTo>
                      <a:cubicBezTo>
                        <a:pt x="1759432" y="53815"/>
                        <a:pt x="1751666" y="56957"/>
                        <a:pt x="1745514" y="63240"/>
                      </a:cubicBezTo>
                      <a:cubicBezTo>
                        <a:pt x="1739360" y="69524"/>
                        <a:pt x="1735568" y="78525"/>
                        <a:pt x="1734134" y="90246"/>
                      </a:cubicBezTo>
                      <a:lnTo>
                        <a:pt x="1798400" y="90246"/>
                      </a:lnTo>
                      <a:cubicBezTo>
                        <a:pt x="1798010" y="78721"/>
                        <a:pt x="1795242" y="69768"/>
                        <a:pt x="1790100" y="63387"/>
                      </a:cubicBezTo>
                      <a:cubicBezTo>
                        <a:pt x="1784956" y="57006"/>
                        <a:pt x="1777858" y="53815"/>
                        <a:pt x="1768808" y="53815"/>
                      </a:cubicBezTo>
                      <a:close/>
                      <a:moveTo>
                        <a:pt x="1197308" y="53815"/>
                      </a:moveTo>
                      <a:cubicBezTo>
                        <a:pt x="1187930" y="53815"/>
                        <a:pt x="1180166" y="56957"/>
                        <a:pt x="1174014" y="63240"/>
                      </a:cubicBezTo>
                      <a:cubicBezTo>
                        <a:pt x="1167860" y="69524"/>
                        <a:pt x="1164068" y="78525"/>
                        <a:pt x="1162634" y="90246"/>
                      </a:cubicBezTo>
                      <a:lnTo>
                        <a:pt x="1226900" y="90246"/>
                      </a:lnTo>
                      <a:cubicBezTo>
                        <a:pt x="1226510" y="78721"/>
                        <a:pt x="1223742" y="69768"/>
                        <a:pt x="1218600" y="63387"/>
                      </a:cubicBezTo>
                      <a:cubicBezTo>
                        <a:pt x="1213456" y="57006"/>
                        <a:pt x="1206358" y="53815"/>
                        <a:pt x="1197308" y="53815"/>
                      </a:cubicBezTo>
                      <a:close/>
                      <a:moveTo>
                        <a:pt x="759158" y="53815"/>
                      </a:moveTo>
                      <a:cubicBezTo>
                        <a:pt x="749782" y="53815"/>
                        <a:pt x="742016" y="56957"/>
                        <a:pt x="735864" y="63240"/>
                      </a:cubicBezTo>
                      <a:cubicBezTo>
                        <a:pt x="729710" y="69524"/>
                        <a:pt x="725918" y="78525"/>
                        <a:pt x="724486" y="90246"/>
                      </a:cubicBezTo>
                      <a:lnTo>
                        <a:pt x="788750" y="90246"/>
                      </a:lnTo>
                      <a:cubicBezTo>
                        <a:pt x="788360" y="78721"/>
                        <a:pt x="785592" y="69768"/>
                        <a:pt x="780450" y="63387"/>
                      </a:cubicBezTo>
                      <a:cubicBezTo>
                        <a:pt x="775306" y="57006"/>
                        <a:pt x="768208" y="53815"/>
                        <a:pt x="759158" y="53815"/>
                      </a:cubicBezTo>
                      <a:close/>
                      <a:moveTo>
                        <a:pt x="553222" y="53815"/>
                      </a:moveTo>
                      <a:cubicBezTo>
                        <a:pt x="541436" y="53815"/>
                        <a:pt x="532044" y="57787"/>
                        <a:pt x="525044" y="65731"/>
                      </a:cubicBezTo>
                      <a:cubicBezTo>
                        <a:pt x="518044" y="73674"/>
                        <a:pt x="514544" y="84711"/>
                        <a:pt x="514544" y="98840"/>
                      </a:cubicBezTo>
                      <a:cubicBezTo>
                        <a:pt x="514544" y="111928"/>
                        <a:pt x="517962" y="122444"/>
                        <a:pt x="524800" y="130387"/>
                      </a:cubicBezTo>
                      <a:cubicBezTo>
                        <a:pt x="531636" y="138331"/>
                        <a:pt x="540980" y="142303"/>
                        <a:pt x="552830" y="142303"/>
                      </a:cubicBezTo>
                      <a:cubicBezTo>
                        <a:pt x="564876" y="142303"/>
                        <a:pt x="574154" y="138396"/>
                        <a:pt x="580666" y="130583"/>
                      </a:cubicBezTo>
                      <a:cubicBezTo>
                        <a:pt x="587178" y="122769"/>
                        <a:pt x="590432" y="111928"/>
                        <a:pt x="590432" y="98059"/>
                      </a:cubicBezTo>
                      <a:cubicBezTo>
                        <a:pt x="590432" y="83799"/>
                        <a:pt x="587194" y="72861"/>
                        <a:pt x="580714" y="65242"/>
                      </a:cubicBezTo>
                      <a:cubicBezTo>
                        <a:pt x="574236" y="57624"/>
                        <a:pt x="565072" y="53815"/>
                        <a:pt x="553222" y="53815"/>
                      </a:cubicBezTo>
                      <a:close/>
                      <a:moveTo>
                        <a:pt x="436870" y="53815"/>
                      </a:moveTo>
                      <a:cubicBezTo>
                        <a:pt x="425866" y="53815"/>
                        <a:pt x="417010" y="57950"/>
                        <a:pt x="410304" y="66219"/>
                      </a:cubicBezTo>
                      <a:cubicBezTo>
                        <a:pt x="403598" y="74488"/>
                        <a:pt x="400244" y="85427"/>
                        <a:pt x="400244" y="99036"/>
                      </a:cubicBezTo>
                      <a:cubicBezTo>
                        <a:pt x="400244" y="112709"/>
                        <a:pt x="403320" y="123339"/>
                        <a:pt x="409474" y="130924"/>
                      </a:cubicBezTo>
                      <a:cubicBezTo>
                        <a:pt x="415628" y="138510"/>
                        <a:pt x="423750" y="142303"/>
                        <a:pt x="433842" y="142303"/>
                      </a:cubicBezTo>
                      <a:cubicBezTo>
                        <a:pt x="444586" y="142303"/>
                        <a:pt x="453148" y="138819"/>
                        <a:pt x="459530" y="131852"/>
                      </a:cubicBezTo>
                      <a:cubicBezTo>
                        <a:pt x="465910" y="124885"/>
                        <a:pt x="469100" y="116356"/>
                        <a:pt x="469100" y="106263"/>
                      </a:cubicBezTo>
                      <a:lnTo>
                        <a:pt x="469100" y="86436"/>
                      </a:lnTo>
                      <a:cubicBezTo>
                        <a:pt x="469100" y="77581"/>
                        <a:pt x="466122" y="69930"/>
                        <a:pt x="460164" y="63484"/>
                      </a:cubicBezTo>
                      <a:cubicBezTo>
                        <a:pt x="454206" y="57038"/>
                        <a:pt x="446442" y="53815"/>
                        <a:pt x="436870" y="53815"/>
                      </a:cubicBezTo>
                      <a:close/>
                      <a:moveTo>
                        <a:pt x="2112596" y="48053"/>
                      </a:moveTo>
                      <a:lnTo>
                        <a:pt x="2121582" y="48053"/>
                      </a:lnTo>
                      <a:lnTo>
                        <a:pt x="2121582" y="148065"/>
                      </a:lnTo>
                      <a:lnTo>
                        <a:pt x="2112596" y="148065"/>
                      </a:lnTo>
                      <a:close/>
                      <a:moveTo>
                        <a:pt x="1966842" y="48053"/>
                      </a:moveTo>
                      <a:lnTo>
                        <a:pt x="1976804" y="48053"/>
                      </a:lnTo>
                      <a:lnTo>
                        <a:pt x="2000050" y="127848"/>
                      </a:lnTo>
                      <a:cubicBezTo>
                        <a:pt x="2000634" y="129931"/>
                        <a:pt x="2001090" y="132731"/>
                        <a:pt x="2001416" y="136247"/>
                      </a:cubicBezTo>
                      <a:lnTo>
                        <a:pt x="2002198" y="136247"/>
                      </a:lnTo>
                      <a:cubicBezTo>
                        <a:pt x="2002328" y="134359"/>
                        <a:pt x="2002946" y="131559"/>
                        <a:pt x="2004054" y="127848"/>
                      </a:cubicBezTo>
                      <a:lnTo>
                        <a:pt x="2029448" y="48053"/>
                      </a:lnTo>
                      <a:lnTo>
                        <a:pt x="2035600" y="48053"/>
                      </a:lnTo>
                      <a:lnTo>
                        <a:pt x="2058260" y="127848"/>
                      </a:lnTo>
                      <a:cubicBezTo>
                        <a:pt x="2058780" y="129736"/>
                        <a:pt x="2059236" y="132536"/>
                        <a:pt x="2059626" y="136247"/>
                      </a:cubicBezTo>
                      <a:lnTo>
                        <a:pt x="2060408" y="136247"/>
                      </a:lnTo>
                      <a:cubicBezTo>
                        <a:pt x="2060408" y="134359"/>
                        <a:pt x="2060962" y="131559"/>
                        <a:pt x="2062068" y="127848"/>
                      </a:cubicBezTo>
                      <a:lnTo>
                        <a:pt x="2085802" y="48053"/>
                      </a:lnTo>
                      <a:lnTo>
                        <a:pt x="2095080" y="48053"/>
                      </a:lnTo>
                      <a:lnTo>
                        <a:pt x="2064022" y="148065"/>
                      </a:lnTo>
                      <a:lnTo>
                        <a:pt x="2055622" y="148065"/>
                      </a:lnTo>
                      <a:lnTo>
                        <a:pt x="2033842" y="72665"/>
                      </a:lnTo>
                      <a:cubicBezTo>
                        <a:pt x="2033256" y="70582"/>
                        <a:pt x="2032736" y="67782"/>
                        <a:pt x="2032280" y="64266"/>
                      </a:cubicBezTo>
                      <a:lnTo>
                        <a:pt x="2031792" y="64266"/>
                      </a:lnTo>
                      <a:cubicBezTo>
                        <a:pt x="2031662" y="65763"/>
                        <a:pt x="2031010" y="68498"/>
                        <a:pt x="2029838" y="72470"/>
                      </a:cubicBezTo>
                      <a:lnTo>
                        <a:pt x="2005420" y="148065"/>
                      </a:lnTo>
                      <a:lnTo>
                        <a:pt x="1997022" y="148065"/>
                      </a:lnTo>
                      <a:close/>
                      <a:moveTo>
                        <a:pt x="1633662" y="48053"/>
                      </a:moveTo>
                      <a:lnTo>
                        <a:pt x="1644210" y="48053"/>
                      </a:lnTo>
                      <a:lnTo>
                        <a:pt x="1666478" y="83897"/>
                      </a:lnTo>
                      <a:cubicBezTo>
                        <a:pt x="1669344" y="88520"/>
                        <a:pt x="1671070" y="91385"/>
                        <a:pt x="1671656" y="92492"/>
                      </a:cubicBezTo>
                      <a:lnTo>
                        <a:pt x="1672046" y="92492"/>
                      </a:lnTo>
                      <a:lnTo>
                        <a:pt x="1677026" y="84288"/>
                      </a:lnTo>
                      <a:lnTo>
                        <a:pt x="1700272" y="48053"/>
                      </a:lnTo>
                      <a:lnTo>
                        <a:pt x="1710820" y="48053"/>
                      </a:lnTo>
                      <a:lnTo>
                        <a:pt x="1676832" y="99036"/>
                      </a:lnTo>
                      <a:lnTo>
                        <a:pt x="1709452" y="148065"/>
                      </a:lnTo>
                      <a:lnTo>
                        <a:pt x="1698026" y="148065"/>
                      </a:lnTo>
                      <a:lnTo>
                        <a:pt x="1671656" y="105872"/>
                      </a:lnTo>
                      <a:lnTo>
                        <a:pt x="1671264" y="105872"/>
                      </a:lnTo>
                      <a:lnTo>
                        <a:pt x="1667748" y="111440"/>
                      </a:lnTo>
                      <a:cubicBezTo>
                        <a:pt x="1667292" y="112221"/>
                        <a:pt x="1666740" y="113100"/>
                        <a:pt x="1666088" y="114077"/>
                      </a:cubicBezTo>
                      <a:lnTo>
                        <a:pt x="1644014" y="148065"/>
                      </a:lnTo>
                      <a:lnTo>
                        <a:pt x="1633076" y="148065"/>
                      </a:lnTo>
                      <a:lnTo>
                        <a:pt x="1666478" y="99231"/>
                      </a:lnTo>
                      <a:close/>
                      <a:moveTo>
                        <a:pt x="612632" y="48053"/>
                      </a:moveTo>
                      <a:lnTo>
                        <a:pt x="622692" y="48053"/>
                      </a:lnTo>
                      <a:lnTo>
                        <a:pt x="652480" y="127653"/>
                      </a:lnTo>
                      <a:cubicBezTo>
                        <a:pt x="653912" y="131494"/>
                        <a:pt x="654922" y="134978"/>
                        <a:pt x="655508" y="138103"/>
                      </a:cubicBezTo>
                      <a:lnTo>
                        <a:pt x="655898" y="138103"/>
                      </a:lnTo>
                      <a:cubicBezTo>
                        <a:pt x="656744" y="134001"/>
                        <a:pt x="657690" y="130648"/>
                        <a:pt x="658730" y="128043"/>
                      </a:cubicBezTo>
                      <a:lnTo>
                        <a:pt x="689496" y="48053"/>
                      </a:lnTo>
                      <a:lnTo>
                        <a:pt x="699264" y="48053"/>
                      </a:lnTo>
                      <a:lnTo>
                        <a:pt x="659512" y="148065"/>
                      </a:lnTo>
                      <a:lnTo>
                        <a:pt x="651308" y="148065"/>
                      </a:lnTo>
                      <a:close/>
                      <a:moveTo>
                        <a:pt x="93296" y="48053"/>
                      </a:moveTo>
                      <a:lnTo>
                        <a:pt x="102282" y="48053"/>
                      </a:lnTo>
                      <a:lnTo>
                        <a:pt x="102282" y="148065"/>
                      </a:lnTo>
                      <a:lnTo>
                        <a:pt x="93296" y="148065"/>
                      </a:lnTo>
                      <a:close/>
                      <a:moveTo>
                        <a:pt x="863932" y="46099"/>
                      </a:moveTo>
                      <a:cubicBezTo>
                        <a:pt x="867644" y="46099"/>
                        <a:pt x="870964" y="46685"/>
                        <a:pt x="873894" y="47857"/>
                      </a:cubicBezTo>
                      <a:lnTo>
                        <a:pt x="873894" y="57429"/>
                      </a:lnTo>
                      <a:cubicBezTo>
                        <a:pt x="870900" y="55280"/>
                        <a:pt x="867384" y="54206"/>
                        <a:pt x="863346" y="54206"/>
                      </a:cubicBezTo>
                      <a:cubicBezTo>
                        <a:pt x="855468" y="54206"/>
                        <a:pt x="848858" y="58275"/>
                        <a:pt x="843520" y="66414"/>
                      </a:cubicBezTo>
                      <a:cubicBezTo>
                        <a:pt x="838180" y="74553"/>
                        <a:pt x="835510" y="86111"/>
                        <a:pt x="835510" y="101087"/>
                      </a:cubicBezTo>
                      <a:lnTo>
                        <a:pt x="835510" y="148065"/>
                      </a:lnTo>
                      <a:lnTo>
                        <a:pt x="826720" y="148065"/>
                      </a:lnTo>
                      <a:lnTo>
                        <a:pt x="826720" y="48053"/>
                      </a:lnTo>
                      <a:lnTo>
                        <a:pt x="835510" y="48053"/>
                      </a:lnTo>
                      <a:lnTo>
                        <a:pt x="835510" y="70223"/>
                      </a:lnTo>
                      <a:lnTo>
                        <a:pt x="835902" y="70223"/>
                      </a:lnTo>
                      <a:cubicBezTo>
                        <a:pt x="838180" y="62605"/>
                        <a:pt x="841794" y="56680"/>
                        <a:pt x="846742" y="52448"/>
                      </a:cubicBezTo>
                      <a:cubicBezTo>
                        <a:pt x="851692" y="48216"/>
                        <a:pt x="857422" y="46099"/>
                        <a:pt x="863932" y="46099"/>
                      </a:cubicBezTo>
                      <a:close/>
                      <a:moveTo>
                        <a:pt x="168608" y="46099"/>
                      </a:moveTo>
                      <a:cubicBezTo>
                        <a:pt x="172318" y="46099"/>
                        <a:pt x="175640" y="46685"/>
                        <a:pt x="178570" y="47857"/>
                      </a:cubicBezTo>
                      <a:lnTo>
                        <a:pt x="178570" y="57429"/>
                      </a:lnTo>
                      <a:cubicBezTo>
                        <a:pt x="175574" y="55280"/>
                        <a:pt x="172058" y="54206"/>
                        <a:pt x="168022" y="54206"/>
                      </a:cubicBezTo>
                      <a:cubicBezTo>
                        <a:pt x="160142" y="54206"/>
                        <a:pt x="153534" y="58275"/>
                        <a:pt x="148194" y="66414"/>
                      </a:cubicBezTo>
                      <a:cubicBezTo>
                        <a:pt x="142856" y="74553"/>
                        <a:pt x="140186" y="86111"/>
                        <a:pt x="140186" y="101087"/>
                      </a:cubicBezTo>
                      <a:lnTo>
                        <a:pt x="140186" y="148065"/>
                      </a:lnTo>
                      <a:lnTo>
                        <a:pt x="131396" y="148065"/>
                      </a:lnTo>
                      <a:lnTo>
                        <a:pt x="131396" y="48053"/>
                      </a:lnTo>
                      <a:lnTo>
                        <a:pt x="140186" y="48053"/>
                      </a:lnTo>
                      <a:lnTo>
                        <a:pt x="140186" y="70223"/>
                      </a:lnTo>
                      <a:lnTo>
                        <a:pt x="140576" y="70223"/>
                      </a:lnTo>
                      <a:cubicBezTo>
                        <a:pt x="142856" y="62605"/>
                        <a:pt x="146470" y="56680"/>
                        <a:pt x="151418" y="52448"/>
                      </a:cubicBezTo>
                      <a:cubicBezTo>
                        <a:pt x="156366" y="48216"/>
                        <a:pt x="162096" y="46099"/>
                        <a:pt x="168608" y="46099"/>
                      </a:cubicBezTo>
                      <a:close/>
                      <a:moveTo>
                        <a:pt x="2445474" y="45611"/>
                      </a:moveTo>
                      <a:cubicBezTo>
                        <a:pt x="2457910" y="45611"/>
                        <a:pt x="2467448" y="49974"/>
                        <a:pt x="2474090" y="58699"/>
                      </a:cubicBezTo>
                      <a:cubicBezTo>
                        <a:pt x="2480732" y="67424"/>
                        <a:pt x="2484052" y="79339"/>
                        <a:pt x="2484052" y="94445"/>
                      </a:cubicBezTo>
                      <a:lnTo>
                        <a:pt x="2484052" y="98450"/>
                      </a:lnTo>
                      <a:lnTo>
                        <a:pt x="2410020" y="98450"/>
                      </a:lnTo>
                      <a:cubicBezTo>
                        <a:pt x="2410020" y="112188"/>
                        <a:pt x="2413194" y="122932"/>
                        <a:pt x="2419542" y="130680"/>
                      </a:cubicBezTo>
                      <a:cubicBezTo>
                        <a:pt x="2425890" y="138429"/>
                        <a:pt x="2434600" y="142303"/>
                        <a:pt x="2445668" y="142303"/>
                      </a:cubicBezTo>
                      <a:cubicBezTo>
                        <a:pt x="2456868" y="142303"/>
                        <a:pt x="2467806" y="138168"/>
                        <a:pt x="2478486" y="129899"/>
                      </a:cubicBezTo>
                      <a:lnTo>
                        <a:pt x="2478486" y="139470"/>
                      </a:lnTo>
                      <a:cubicBezTo>
                        <a:pt x="2468132" y="146828"/>
                        <a:pt x="2456574" y="150507"/>
                        <a:pt x="2443812" y="150507"/>
                      </a:cubicBezTo>
                      <a:cubicBezTo>
                        <a:pt x="2430920" y="150507"/>
                        <a:pt x="2420502" y="145884"/>
                        <a:pt x="2412558" y="136638"/>
                      </a:cubicBezTo>
                      <a:cubicBezTo>
                        <a:pt x="2404614" y="127392"/>
                        <a:pt x="2400644" y="114337"/>
                        <a:pt x="2400644" y="97473"/>
                      </a:cubicBezTo>
                      <a:cubicBezTo>
                        <a:pt x="2400644" y="82888"/>
                        <a:pt x="2404794" y="70598"/>
                        <a:pt x="2413096" y="60603"/>
                      </a:cubicBezTo>
                      <a:cubicBezTo>
                        <a:pt x="2421398" y="50608"/>
                        <a:pt x="2432190" y="45611"/>
                        <a:pt x="2445474" y="45611"/>
                      </a:cubicBezTo>
                      <a:close/>
                      <a:moveTo>
                        <a:pt x="1863914" y="45611"/>
                      </a:moveTo>
                      <a:cubicBezTo>
                        <a:pt x="1872508" y="45611"/>
                        <a:pt x="1879866" y="47369"/>
                        <a:pt x="1885986" y="50885"/>
                      </a:cubicBezTo>
                      <a:lnTo>
                        <a:pt x="1885986" y="61043"/>
                      </a:lnTo>
                      <a:cubicBezTo>
                        <a:pt x="1878564" y="56224"/>
                        <a:pt x="1870880" y="53815"/>
                        <a:pt x="1862936" y="53815"/>
                      </a:cubicBezTo>
                      <a:cubicBezTo>
                        <a:pt x="1856360" y="53815"/>
                        <a:pt x="1851054" y="55524"/>
                        <a:pt x="1847016" y="58943"/>
                      </a:cubicBezTo>
                      <a:cubicBezTo>
                        <a:pt x="1842980" y="62361"/>
                        <a:pt x="1840962" y="66805"/>
                        <a:pt x="1840962" y="72275"/>
                      </a:cubicBezTo>
                      <a:cubicBezTo>
                        <a:pt x="1840962" y="77028"/>
                        <a:pt x="1842230" y="80886"/>
                        <a:pt x="1844770" y="83848"/>
                      </a:cubicBezTo>
                      <a:cubicBezTo>
                        <a:pt x="1847310" y="86811"/>
                        <a:pt x="1852910" y="90213"/>
                        <a:pt x="1861570" y="94055"/>
                      </a:cubicBezTo>
                      <a:cubicBezTo>
                        <a:pt x="1871988" y="98743"/>
                        <a:pt x="1879150" y="103089"/>
                        <a:pt x="1883056" y="107093"/>
                      </a:cubicBezTo>
                      <a:cubicBezTo>
                        <a:pt x="1886962" y="111098"/>
                        <a:pt x="1888916" y="116421"/>
                        <a:pt x="1888916" y="123062"/>
                      </a:cubicBezTo>
                      <a:cubicBezTo>
                        <a:pt x="1888916" y="131006"/>
                        <a:pt x="1885938" y="137566"/>
                        <a:pt x="1879980" y="142742"/>
                      </a:cubicBezTo>
                      <a:cubicBezTo>
                        <a:pt x="1874022" y="147919"/>
                        <a:pt x="1865802" y="150507"/>
                        <a:pt x="1855318" y="150507"/>
                      </a:cubicBezTo>
                      <a:cubicBezTo>
                        <a:pt x="1845682" y="150507"/>
                        <a:pt x="1837640" y="148228"/>
                        <a:pt x="1831194" y="143670"/>
                      </a:cubicBezTo>
                      <a:lnTo>
                        <a:pt x="1831194" y="132829"/>
                      </a:lnTo>
                      <a:cubicBezTo>
                        <a:pt x="1834580" y="135759"/>
                        <a:pt x="1838682" y="138070"/>
                        <a:pt x="1843500" y="139763"/>
                      </a:cubicBezTo>
                      <a:cubicBezTo>
                        <a:pt x="1848318" y="141456"/>
                        <a:pt x="1852486" y="142303"/>
                        <a:pt x="1856002" y="142303"/>
                      </a:cubicBezTo>
                      <a:cubicBezTo>
                        <a:pt x="1871694" y="142303"/>
                        <a:pt x="1879540" y="135889"/>
                        <a:pt x="1879540" y="123062"/>
                      </a:cubicBezTo>
                      <a:cubicBezTo>
                        <a:pt x="1879540" y="118634"/>
                        <a:pt x="1877814" y="114858"/>
                        <a:pt x="1874364" y="111733"/>
                      </a:cubicBezTo>
                      <a:cubicBezTo>
                        <a:pt x="1870912" y="108607"/>
                        <a:pt x="1865314" y="105384"/>
                        <a:pt x="1857564" y="102063"/>
                      </a:cubicBezTo>
                      <a:cubicBezTo>
                        <a:pt x="1847994" y="97896"/>
                        <a:pt x="1841270" y="93583"/>
                        <a:pt x="1837396" y="89122"/>
                      </a:cubicBezTo>
                      <a:cubicBezTo>
                        <a:pt x="1833522" y="84662"/>
                        <a:pt x="1831584" y="79242"/>
                        <a:pt x="1831584" y="72861"/>
                      </a:cubicBezTo>
                      <a:cubicBezTo>
                        <a:pt x="1831584" y="64721"/>
                        <a:pt x="1834694" y="58145"/>
                        <a:pt x="1840912" y="53132"/>
                      </a:cubicBezTo>
                      <a:cubicBezTo>
                        <a:pt x="1847130" y="48118"/>
                        <a:pt x="1854798" y="45611"/>
                        <a:pt x="1863914" y="45611"/>
                      </a:cubicBezTo>
                      <a:close/>
                      <a:moveTo>
                        <a:pt x="1769198" y="45611"/>
                      </a:moveTo>
                      <a:cubicBezTo>
                        <a:pt x="1781634" y="45611"/>
                        <a:pt x="1791174" y="49974"/>
                        <a:pt x="1797814" y="58699"/>
                      </a:cubicBezTo>
                      <a:cubicBezTo>
                        <a:pt x="1804456" y="67424"/>
                        <a:pt x="1807778" y="79339"/>
                        <a:pt x="1807778" y="94445"/>
                      </a:cubicBezTo>
                      <a:lnTo>
                        <a:pt x="1807778" y="98450"/>
                      </a:lnTo>
                      <a:lnTo>
                        <a:pt x="1733744" y="98450"/>
                      </a:lnTo>
                      <a:cubicBezTo>
                        <a:pt x="1733744" y="112188"/>
                        <a:pt x="1736918" y="122932"/>
                        <a:pt x="1743266" y="130680"/>
                      </a:cubicBezTo>
                      <a:cubicBezTo>
                        <a:pt x="1749616" y="138429"/>
                        <a:pt x="1758324" y="142303"/>
                        <a:pt x="1769394" y="142303"/>
                      </a:cubicBezTo>
                      <a:cubicBezTo>
                        <a:pt x="1780592" y="142303"/>
                        <a:pt x="1791532" y="138168"/>
                        <a:pt x="1802210" y="129899"/>
                      </a:cubicBezTo>
                      <a:lnTo>
                        <a:pt x="1802210" y="139470"/>
                      </a:lnTo>
                      <a:cubicBezTo>
                        <a:pt x="1791858" y="146828"/>
                        <a:pt x="1780300" y="150507"/>
                        <a:pt x="1767538" y="150507"/>
                      </a:cubicBezTo>
                      <a:cubicBezTo>
                        <a:pt x="1754646" y="150507"/>
                        <a:pt x="1744228" y="145884"/>
                        <a:pt x="1736284" y="136638"/>
                      </a:cubicBezTo>
                      <a:cubicBezTo>
                        <a:pt x="1728340" y="127392"/>
                        <a:pt x="1724368" y="114337"/>
                        <a:pt x="1724368" y="97473"/>
                      </a:cubicBezTo>
                      <a:cubicBezTo>
                        <a:pt x="1724368" y="82888"/>
                        <a:pt x="1728520" y="70598"/>
                        <a:pt x="1736822" y="60603"/>
                      </a:cubicBezTo>
                      <a:cubicBezTo>
                        <a:pt x="1745122" y="50608"/>
                        <a:pt x="1755916" y="45611"/>
                        <a:pt x="1769198" y="45611"/>
                      </a:cubicBezTo>
                      <a:close/>
                      <a:moveTo>
                        <a:pt x="1587050" y="45611"/>
                      </a:moveTo>
                      <a:cubicBezTo>
                        <a:pt x="1597338" y="45611"/>
                        <a:pt x="1605298" y="48802"/>
                        <a:pt x="1610930" y="55183"/>
                      </a:cubicBezTo>
                      <a:cubicBezTo>
                        <a:pt x="1616564" y="61564"/>
                        <a:pt x="1619380" y="70842"/>
                        <a:pt x="1619380" y="83018"/>
                      </a:cubicBezTo>
                      <a:lnTo>
                        <a:pt x="1619380" y="148065"/>
                      </a:lnTo>
                      <a:lnTo>
                        <a:pt x="1610394" y="148065"/>
                      </a:lnTo>
                      <a:lnTo>
                        <a:pt x="1610394" y="128043"/>
                      </a:lnTo>
                      <a:lnTo>
                        <a:pt x="1610004" y="128043"/>
                      </a:lnTo>
                      <a:cubicBezTo>
                        <a:pt x="1606812" y="134880"/>
                        <a:pt x="1602174" y="140333"/>
                        <a:pt x="1596086" y="144403"/>
                      </a:cubicBezTo>
                      <a:cubicBezTo>
                        <a:pt x="1589998" y="148472"/>
                        <a:pt x="1583242" y="150507"/>
                        <a:pt x="1575820" y="150507"/>
                      </a:cubicBezTo>
                      <a:cubicBezTo>
                        <a:pt x="1566312" y="150507"/>
                        <a:pt x="1558792" y="147837"/>
                        <a:pt x="1553258" y="142498"/>
                      </a:cubicBezTo>
                      <a:cubicBezTo>
                        <a:pt x="1547724" y="137159"/>
                        <a:pt x="1544956" y="130420"/>
                        <a:pt x="1544956" y="122281"/>
                      </a:cubicBezTo>
                      <a:cubicBezTo>
                        <a:pt x="1544956" y="104831"/>
                        <a:pt x="1556514" y="94282"/>
                        <a:pt x="1579628" y="90636"/>
                      </a:cubicBezTo>
                      <a:lnTo>
                        <a:pt x="1610394" y="86046"/>
                      </a:lnTo>
                      <a:cubicBezTo>
                        <a:pt x="1610394" y="64559"/>
                        <a:pt x="1602320" y="53815"/>
                        <a:pt x="1586172" y="53815"/>
                      </a:cubicBezTo>
                      <a:cubicBezTo>
                        <a:pt x="1575168" y="53815"/>
                        <a:pt x="1564458" y="58243"/>
                        <a:pt x="1554040" y="67098"/>
                      </a:cubicBezTo>
                      <a:lnTo>
                        <a:pt x="1554040" y="56257"/>
                      </a:lnTo>
                      <a:cubicBezTo>
                        <a:pt x="1557750" y="53327"/>
                        <a:pt x="1562780" y="50820"/>
                        <a:pt x="1569128" y="48736"/>
                      </a:cubicBezTo>
                      <a:cubicBezTo>
                        <a:pt x="1575478" y="46653"/>
                        <a:pt x="1581452" y="45611"/>
                        <a:pt x="1587050" y="45611"/>
                      </a:cubicBezTo>
                      <a:close/>
                      <a:moveTo>
                        <a:pt x="1308430" y="45611"/>
                      </a:moveTo>
                      <a:cubicBezTo>
                        <a:pt x="1319240" y="45611"/>
                        <a:pt x="1327508" y="49208"/>
                        <a:pt x="1333238" y="56403"/>
                      </a:cubicBezTo>
                      <a:cubicBezTo>
                        <a:pt x="1338968" y="63598"/>
                        <a:pt x="1341834" y="73870"/>
                        <a:pt x="1341834" y="87218"/>
                      </a:cubicBezTo>
                      <a:lnTo>
                        <a:pt x="1341834" y="148065"/>
                      </a:lnTo>
                      <a:lnTo>
                        <a:pt x="1332848" y="148065"/>
                      </a:lnTo>
                      <a:lnTo>
                        <a:pt x="1332848" y="89855"/>
                      </a:lnTo>
                      <a:cubicBezTo>
                        <a:pt x="1332848" y="65828"/>
                        <a:pt x="1324188" y="53815"/>
                        <a:pt x="1306868" y="53815"/>
                      </a:cubicBezTo>
                      <a:cubicBezTo>
                        <a:pt x="1297232" y="53815"/>
                        <a:pt x="1289320" y="57348"/>
                        <a:pt x="1283134" y="64412"/>
                      </a:cubicBezTo>
                      <a:cubicBezTo>
                        <a:pt x="1276950" y="71477"/>
                        <a:pt x="1273856" y="80218"/>
                        <a:pt x="1273856" y="90636"/>
                      </a:cubicBezTo>
                      <a:lnTo>
                        <a:pt x="1273856" y="148065"/>
                      </a:lnTo>
                      <a:lnTo>
                        <a:pt x="1264870" y="148065"/>
                      </a:lnTo>
                      <a:lnTo>
                        <a:pt x="1264870" y="48053"/>
                      </a:lnTo>
                      <a:lnTo>
                        <a:pt x="1273856" y="48053"/>
                      </a:lnTo>
                      <a:lnTo>
                        <a:pt x="1273856" y="66219"/>
                      </a:lnTo>
                      <a:lnTo>
                        <a:pt x="1274246" y="66219"/>
                      </a:lnTo>
                      <a:cubicBezTo>
                        <a:pt x="1281540" y="52480"/>
                        <a:pt x="1292934" y="45611"/>
                        <a:pt x="1308430" y="45611"/>
                      </a:cubicBezTo>
                      <a:close/>
                      <a:moveTo>
                        <a:pt x="1197698" y="45611"/>
                      </a:moveTo>
                      <a:cubicBezTo>
                        <a:pt x="1210134" y="45611"/>
                        <a:pt x="1219674" y="49974"/>
                        <a:pt x="1226314" y="58699"/>
                      </a:cubicBezTo>
                      <a:cubicBezTo>
                        <a:pt x="1232956" y="67424"/>
                        <a:pt x="1236278" y="79339"/>
                        <a:pt x="1236278" y="94445"/>
                      </a:cubicBezTo>
                      <a:lnTo>
                        <a:pt x="1236278" y="98450"/>
                      </a:lnTo>
                      <a:lnTo>
                        <a:pt x="1162244" y="98450"/>
                      </a:lnTo>
                      <a:cubicBezTo>
                        <a:pt x="1162244" y="112188"/>
                        <a:pt x="1165418" y="122932"/>
                        <a:pt x="1171766" y="130680"/>
                      </a:cubicBezTo>
                      <a:cubicBezTo>
                        <a:pt x="1178116" y="138429"/>
                        <a:pt x="1186824" y="142303"/>
                        <a:pt x="1197894" y="142303"/>
                      </a:cubicBezTo>
                      <a:cubicBezTo>
                        <a:pt x="1209092" y="142303"/>
                        <a:pt x="1220032" y="138168"/>
                        <a:pt x="1230710" y="129899"/>
                      </a:cubicBezTo>
                      <a:lnTo>
                        <a:pt x="1230710" y="139470"/>
                      </a:lnTo>
                      <a:cubicBezTo>
                        <a:pt x="1220358" y="146828"/>
                        <a:pt x="1208800" y="150507"/>
                        <a:pt x="1196038" y="150507"/>
                      </a:cubicBezTo>
                      <a:cubicBezTo>
                        <a:pt x="1183146" y="150507"/>
                        <a:pt x="1172728" y="145884"/>
                        <a:pt x="1164784" y="136638"/>
                      </a:cubicBezTo>
                      <a:cubicBezTo>
                        <a:pt x="1156840" y="127392"/>
                        <a:pt x="1152868" y="114337"/>
                        <a:pt x="1152868" y="97473"/>
                      </a:cubicBezTo>
                      <a:cubicBezTo>
                        <a:pt x="1152868" y="82888"/>
                        <a:pt x="1157020" y="70598"/>
                        <a:pt x="1165322" y="60603"/>
                      </a:cubicBezTo>
                      <a:cubicBezTo>
                        <a:pt x="1173622" y="50608"/>
                        <a:pt x="1184416" y="45611"/>
                        <a:pt x="1197698" y="45611"/>
                      </a:cubicBezTo>
                      <a:close/>
                      <a:moveTo>
                        <a:pt x="1038118" y="45611"/>
                      </a:moveTo>
                      <a:cubicBezTo>
                        <a:pt x="1045410" y="45611"/>
                        <a:pt x="1051644" y="47711"/>
                        <a:pt x="1056820" y="51911"/>
                      </a:cubicBezTo>
                      <a:cubicBezTo>
                        <a:pt x="1061998" y="56110"/>
                        <a:pt x="1065496" y="61629"/>
                        <a:pt x="1067320" y="68465"/>
                      </a:cubicBezTo>
                      <a:cubicBezTo>
                        <a:pt x="1070446" y="61238"/>
                        <a:pt x="1074922" y="55622"/>
                        <a:pt x="1080750" y="51618"/>
                      </a:cubicBezTo>
                      <a:cubicBezTo>
                        <a:pt x="1086576" y="47613"/>
                        <a:pt x="1092910" y="45611"/>
                        <a:pt x="1099746" y="45611"/>
                      </a:cubicBezTo>
                      <a:cubicBezTo>
                        <a:pt x="1121624" y="45611"/>
                        <a:pt x="1132562" y="59154"/>
                        <a:pt x="1132562" y="86241"/>
                      </a:cubicBezTo>
                      <a:lnTo>
                        <a:pt x="1132562" y="148065"/>
                      </a:lnTo>
                      <a:lnTo>
                        <a:pt x="1123578" y="148065"/>
                      </a:lnTo>
                      <a:lnTo>
                        <a:pt x="1123578" y="87901"/>
                      </a:lnTo>
                      <a:cubicBezTo>
                        <a:pt x="1123578" y="75335"/>
                        <a:pt x="1121608" y="66512"/>
                        <a:pt x="1117668" y="61433"/>
                      </a:cubicBezTo>
                      <a:cubicBezTo>
                        <a:pt x="1113728" y="56355"/>
                        <a:pt x="1107494" y="53815"/>
                        <a:pt x="1098964" y="53815"/>
                      </a:cubicBezTo>
                      <a:cubicBezTo>
                        <a:pt x="1091086" y="53815"/>
                        <a:pt x="1084282" y="57201"/>
                        <a:pt x="1078552" y="63973"/>
                      </a:cubicBezTo>
                      <a:cubicBezTo>
                        <a:pt x="1072822" y="70744"/>
                        <a:pt x="1069958" y="79242"/>
                        <a:pt x="1069958" y="89464"/>
                      </a:cubicBezTo>
                      <a:lnTo>
                        <a:pt x="1069958" y="148065"/>
                      </a:lnTo>
                      <a:lnTo>
                        <a:pt x="1060972" y="148065"/>
                      </a:lnTo>
                      <a:lnTo>
                        <a:pt x="1060972" y="87218"/>
                      </a:lnTo>
                      <a:cubicBezTo>
                        <a:pt x="1060972" y="64949"/>
                        <a:pt x="1052506" y="53815"/>
                        <a:pt x="1035578" y="53815"/>
                      </a:cubicBezTo>
                      <a:cubicBezTo>
                        <a:pt x="1027438" y="53815"/>
                        <a:pt x="1020666" y="57217"/>
                        <a:pt x="1015262" y="64022"/>
                      </a:cubicBezTo>
                      <a:cubicBezTo>
                        <a:pt x="1009858" y="70826"/>
                        <a:pt x="1007156" y="79632"/>
                        <a:pt x="1007156" y="90441"/>
                      </a:cubicBezTo>
                      <a:lnTo>
                        <a:pt x="1007156" y="148065"/>
                      </a:lnTo>
                      <a:lnTo>
                        <a:pt x="998170" y="148065"/>
                      </a:lnTo>
                      <a:lnTo>
                        <a:pt x="998170" y="48053"/>
                      </a:lnTo>
                      <a:lnTo>
                        <a:pt x="1007156" y="48053"/>
                      </a:lnTo>
                      <a:lnTo>
                        <a:pt x="1007156" y="64656"/>
                      </a:lnTo>
                      <a:lnTo>
                        <a:pt x="1007546" y="64656"/>
                      </a:lnTo>
                      <a:cubicBezTo>
                        <a:pt x="1014514" y="51959"/>
                        <a:pt x="1024704" y="45611"/>
                        <a:pt x="1038118" y="45611"/>
                      </a:cubicBezTo>
                      <a:close/>
                      <a:moveTo>
                        <a:pt x="936956" y="45611"/>
                      </a:moveTo>
                      <a:cubicBezTo>
                        <a:pt x="947764" y="45611"/>
                        <a:pt x="956034" y="49208"/>
                        <a:pt x="961764" y="56403"/>
                      </a:cubicBezTo>
                      <a:cubicBezTo>
                        <a:pt x="967494" y="63598"/>
                        <a:pt x="970358" y="73870"/>
                        <a:pt x="970358" y="87218"/>
                      </a:cubicBezTo>
                      <a:lnTo>
                        <a:pt x="970358" y="148065"/>
                      </a:lnTo>
                      <a:lnTo>
                        <a:pt x="961372" y="148065"/>
                      </a:lnTo>
                      <a:lnTo>
                        <a:pt x="961372" y="89855"/>
                      </a:lnTo>
                      <a:cubicBezTo>
                        <a:pt x="961372" y="65828"/>
                        <a:pt x="952712" y="53815"/>
                        <a:pt x="935394" y="53815"/>
                      </a:cubicBezTo>
                      <a:cubicBezTo>
                        <a:pt x="925756" y="53815"/>
                        <a:pt x="917846" y="57348"/>
                        <a:pt x="911660" y="64412"/>
                      </a:cubicBezTo>
                      <a:cubicBezTo>
                        <a:pt x="905474" y="71477"/>
                        <a:pt x="902382" y="80218"/>
                        <a:pt x="902382" y="90636"/>
                      </a:cubicBezTo>
                      <a:lnTo>
                        <a:pt x="902382" y="148065"/>
                      </a:lnTo>
                      <a:lnTo>
                        <a:pt x="893396" y="148065"/>
                      </a:lnTo>
                      <a:lnTo>
                        <a:pt x="893396" y="48053"/>
                      </a:lnTo>
                      <a:lnTo>
                        <a:pt x="902382" y="48053"/>
                      </a:lnTo>
                      <a:lnTo>
                        <a:pt x="902382" y="66219"/>
                      </a:lnTo>
                      <a:lnTo>
                        <a:pt x="902772" y="66219"/>
                      </a:lnTo>
                      <a:cubicBezTo>
                        <a:pt x="910064" y="52480"/>
                        <a:pt x="921458" y="45611"/>
                        <a:pt x="936956" y="45611"/>
                      </a:cubicBezTo>
                      <a:close/>
                      <a:moveTo>
                        <a:pt x="759548" y="45611"/>
                      </a:moveTo>
                      <a:cubicBezTo>
                        <a:pt x="771984" y="45611"/>
                        <a:pt x="781524" y="49974"/>
                        <a:pt x="788164" y="58699"/>
                      </a:cubicBezTo>
                      <a:cubicBezTo>
                        <a:pt x="794806" y="67424"/>
                        <a:pt x="798128" y="79339"/>
                        <a:pt x="798128" y="94445"/>
                      </a:cubicBezTo>
                      <a:lnTo>
                        <a:pt x="798128" y="98450"/>
                      </a:lnTo>
                      <a:lnTo>
                        <a:pt x="724094" y="98450"/>
                      </a:lnTo>
                      <a:cubicBezTo>
                        <a:pt x="724094" y="112188"/>
                        <a:pt x="727268" y="122932"/>
                        <a:pt x="733618" y="130680"/>
                      </a:cubicBezTo>
                      <a:cubicBezTo>
                        <a:pt x="739966" y="138429"/>
                        <a:pt x="748674" y="142303"/>
                        <a:pt x="759744" y="142303"/>
                      </a:cubicBezTo>
                      <a:cubicBezTo>
                        <a:pt x="770942" y="142303"/>
                        <a:pt x="781882" y="138168"/>
                        <a:pt x="792560" y="129899"/>
                      </a:cubicBezTo>
                      <a:lnTo>
                        <a:pt x="792560" y="139470"/>
                      </a:lnTo>
                      <a:cubicBezTo>
                        <a:pt x="782208" y="146828"/>
                        <a:pt x="770650" y="150507"/>
                        <a:pt x="757888" y="150507"/>
                      </a:cubicBezTo>
                      <a:cubicBezTo>
                        <a:pt x="744996" y="150507"/>
                        <a:pt x="734578" y="145884"/>
                        <a:pt x="726634" y="136638"/>
                      </a:cubicBezTo>
                      <a:cubicBezTo>
                        <a:pt x="718690" y="127392"/>
                        <a:pt x="714718" y="114337"/>
                        <a:pt x="714718" y="97473"/>
                      </a:cubicBezTo>
                      <a:cubicBezTo>
                        <a:pt x="714718" y="82888"/>
                        <a:pt x="718870" y="70598"/>
                        <a:pt x="727170" y="60603"/>
                      </a:cubicBezTo>
                      <a:cubicBezTo>
                        <a:pt x="735472" y="50608"/>
                        <a:pt x="746266" y="45611"/>
                        <a:pt x="759548" y="45611"/>
                      </a:cubicBezTo>
                      <a:close/>
                      <a:moveTo>
                        <a:pt x="553612" y="45611"/>
                      </a:moveTo>
                      <a:cubicBezTo>
                        <a:pt x="567872" y="45611"/>
                        <a:pt x="579136" y="50267"/>
                        <a:pt x="587406" y="59578"/>
                      </a:cubicBezTo>
                      <a:cubicBezTo>
                        <a:pt x="595674" y="68889"/>
                        <a:pt x="599808" y="81781"/>
                        <a:pt x="599808" y="98254"/>
                      </a:cubicBezTo>
                      <a:cubicBezTo>
                        <a:pt x="599808" y="113816"/>
                        <a:pt x="595592" y="126415"/>
                        <a:pt x="587160" y="136052"/>
                      </a:cubicBezTo>
                      <a:cubicBezTo>
                        <a:pt x="578728" y="145689"/>
                        <a:pt x="567188" y="150507"/>
                        <a:pt x="552538" y="150507"/>
                      </a:cubicBezTo>
                      <a:cubicBezTo>
                        <a:pt x="537952" y="150507"/>
                        <a:pt x="526412" y="145705"/>
                        <a:pt x="517914" y="136101"/>
                      </a:cubicBezTo>
                      <a:cubicBezTo>
                        <a:pt x="509416" y="126497"/>
                        <a:pt x="505168" y="114011"/>
                        <a:pt x="505168" y="98645"/>
                      </a:cubicBezTo>
                      <a:cubicBezTo>
                        <a:pt x="505168" y="82041"/>
                        <a:pt x="509612" y="69051"/>
                        <a:pt x="518500" y="59675"/>
                      </a:cubicBezTo>
                      <a:cubicBezTo>
                        <a:pt x="527388" y="50299"/>
                        <a:pt x="539092" y="45611"/>
                        <a:pt x="553612" y="45611"/>
                      </a:cubicBezTo>
                      <a:close/>
                      <a:moveTo>
                        <a:pt x="436674" y="45611"/>
                      </a:moveTo>
                      <a:cubicBezTo>
                        <a:pt x="451390" y="45611"/>
                        <a:pt x="462068" y="51699"/>
                        <a:pt x="468710" y="63875"/>
                      </a:cubicBezTo>
                      <a:lnTo>
                        <a:pt x="469100" y="63875"/>
                      </a:lnTo>
                      <a:lnTo>
                        <a:pt x="469100" y="48053"/>
                      </a:lnTo>
                      <a:lnTo>
                        <a:pt x="478086" y="48053"/>
                      </a:lnTo>
                      <a:lnTo>
                        <a:pt x="478086" y="140642"/>
                      </a:lnTo>
                      <a:cubicBezTo>
                        <a:pt x="478086" y="159460"/>
                        <a:pt x="473984" y="173231"/>
                        <a:pt x="465780" y="181956"/>
                      </a:cubicBezTo>
                      <a:cubicBezTo>
                        <a:pt x="457576" y="190681"/>
                        <a:pt x="444814" y="195044"/>
                        <a:pt x="427494" y="195044"/>
                      </a:cubicBezTo>
                      <a:cubicBezTo>
                        <a:pt x="417858" y="195044"/>
                        <a:pt x="407928" y="192504"/>
                        <a:pt x="397706" y="187426"/>
                      </a:cubicBezTo>
                      <a:lnTo>
                        <a:pt x="397706" y="178049"/>
                      </a:lnTo>
                      <a:cubicBezTo>
                        <a:pt x="408254" y="183910"/>
                        <a:pt x="418248" y="186840"/>
                        <a:pt x="427690" y="186840"/>
                      </a:cubicBezTo>
                      <a:cubicBezTo>
                        <a:pt x="455296" y="186840"/>
                        <a:pt x="469100" y="172254"/>
                        <a:pt x="469100" y="143084"/>
                      </a:cubicBezTo>
                      <a:lnTo>
                        <a:pt x="469100" y="130094"/>
                      </a:lnTo>
                      <a:lnTo>
                        <a:pt x="468710" y="130094"/>
                      </a:lnTo>
                      <a:cubicBezTo>
                        <a:pt x="460832" y="143703"/>
                        <a:pt x="448818" y="150507"/>
                        <a:pt x="432670" y="150507"/>
                      </a:cubicBezTo>
                      <a:cubicBezTo>
                        <a:pt x="420364" y="150507"/>
                        <a:pt x="410320" y="146047"/>
                        <a:pt x="402540" y="137126"/>
                      </a:cubicBezTo>
                      <a:cubicBezTo>
                        <a:pt x="394758" y="128206"/>
                        <a:pt x="390868" y="115770"/>
                        <a:pt x="390868" y="99817"/>
                      </a:cubicBezTo>
                      <a:cubicBezTo>
                        <a:pt x="390868" y="83865"/>
                        <a:pt x="395068" y="70842"/>
                        <a:pt x="403468" y="60750"/>
                      </a:cubicBezTo>
                      <a:cubicBezTo>
                        <a:pt x="411866" y="50657"/>
                        <a:pt x="422936" y="45611"/>
                        <a:pt x="436674" y="45611"/>
                      </a:cubicBezTo>
                      <a:close/>
                      <a:moveTo>
                        <a:pt x="225614" y="45611"/>
                      </a:moveTo>
                      <a:cubicBezTo>
                        <a:pt x="234208" y="45611"/>
                        <a:pt x="241566" y="47369"/>
                        <a:pt x="247686" y="50885"/>
                      </a:cubicBezTo>
                      <a:lnTo>
                        <a:pt x="247686" y="61043"/>
                      </a:lnTo>
                      <a:cubicBezTo>
                        <a:pt x="240264" y="56224"/>
                        <a:pt x="232580" y="53815"/>
                        <a:pt x="224636" y="53815"/>
                      </a:cubicBezTo>
                      <a:cubicBezTo>
                        <a:pt x="218060" y="53815"/>
                        <a:pt x="212754" y="55524"/>
                        <a:pt x="208716" y="58943"/>
                      </a:cubicBezTo>
                      <a:cubicBezTo>
                        <a:pt x="204680" y="62361"/>
                        <a:pt x="202662" y="66805"/>
                        <a:pt x="202662" y="72275"/>
                      </a:cubicBezTo>
                      <a:cubicBezTo>
                        <a:pt x="202662" y="77028"/>
                        <a:pt x="203930" y="80886"/>
                        <a:pt x="206470" y="83848"/>
                      </a:cubicBezTo>
                      <a:cubicBezTo>
                        <a:pt x="209010" y="86811"/>
                        <a:pt x="214610" y="90213"/>
                        <a:pt x="223270" y="94055"/>
                      </a:cubicBezTo>
                      <a:cubicBezTo>
                        <a:pt x="233688" y="98743"/>
                        <a:pt x="240850" y="103089"/>
                        <a:pt x="244756" y="107093"/>
                      </a:cubicBezTo>
                      <a:cubicBezTo>
                        <a:pt x="248662" y="111098"/>
                        <a:pt x="250616" y="116421"/>
                        <a:pt x="250616" y="123062"/>
                      </a:cubicBezTo>
                      <a:cubicBezTo>
                        <a:pt x="250616" y="131006"/>
                        <a:pt x="247638" y="137566"/>
                        <a:pt x="241680" y="142742"/>
                      </a:cubicBezTo>
                      <a:cubicBezTo>
                        <a:pt x="235722" y="147919"/>
                        <a:pt x="227502" y="150507"/>
                        <a:pt x="217018" y="150507"/>
                      </a:cubicBezTo>
                      <a:cubicBezTo>
                        <a:pt x="207382" y="150507"/>
                        <a:pt x="199340" y="148228"/>
                        <a:pt x="192894" y="143670"/>
                      </a:cubicBezTo>
                      <a:lnTo>
                        <a:pt x="192894" y="132829"/>
                      </a:lnTo>
                      <a:cubicBezTo>
                        <a:pt x="196280" y="135759"/>
                        <a:pt x="200382" y="138070"/>
                        <a:pt x="205200" y="139763"/>
                      </a:cubicBezTo>
                      <a:cubicBezTo>
                        <a:pt x="210018" y="141456"/>
                        <a:pt x="214186" y="142303"/>
                        <a:pt x="217702" y="142303"/>
                      </a:cubicBezTo>
                      <a:cubicBezTo>
                        <a:pt x="233394" y="142303"/>
                        <a:pt x="241240" y="135889"/>
                        <a:pt x="241240" y="123062"/>
                      </a:cubicBezTo>
                      <a:cubicBezTo>
                        <a:pt x="241240" y="118634"/>
                        <a:pt x="239514" y="114858"/>
                        <a:pt x="236064" y="111733"/>
                      </a:cubicBezTo>
                      <a:cubicBezTo>
                        <a:pt x="232612" y="108607"/>
                        <a:pt x="227014" y="105384"/>
                        <a:pt x="219264" y="102063"/>
                      </a:cubicBezTo>
                      <a:cubicBezTo>
                        <a:pt x="209694" y="97896"/>
                        <a:pt x="202970" y="93583"/>
                        <a:pt x="199096" y="89122"/>
                      </a:cubicBezTo>
                      <a:cubicBezTo>
                        <a:pt x="195222" y="84662"/>
                        <a:pt x="193284" y="79242"/>
                        <a:pt x="193284" y="72861"/>
                      </a:cubicBezTo>
                      <a:cubicBezTo>
                        <a:pt x="193284" y="64721"/>
                        <a:pt x="196394" y="58145"/>
                        <a:pt x="202612" y="53132"/>
                      </a:cubicBezTo>
                      <a:cubicBezTo>
                        <a:pt x="208830" y="48118"/>
                        <a:pt x="216498" y="45611"/>
                        <a:pt x="225614" y="45611"/>
                      </a:cubicBezTo>
                      <a:close/>
                      <a:moveTo>
                        <a:pt x="1506656" y="19045"/>
                      </a:moveTo>
                      <a:lnTo>
                        <a:pt x="1506656" y="48053"/>
                      </a:lnTo>
                      <a:lnTo>
                        <a:pt x="1533026" y="48053"/>
                      </a:lnTo>
                      <a:lnTo>
                        <a:pt x="1533026" y="56257"/>
                      </a:lnTo>
                      <a:lnTo>
                        <a:pt x="1506656" y="56257"/>
                      </a:lnTo>
                      <a:lnTo>
                        <a:pt x="1506656" y="122281"/>
                      </a:lnTo>
                      <a:cubicBezTo>
                        <a:pt x="1506656" y="129183"/>
                        <a:pt x="1507746" y="134180"/>
                        <a:pt x="1509928" y="137273"/>
                      </a:cubicBezTo>
                      <a:cubicBezTo>
                        <a:pt x="1512110" y="140366"/>
                        <a:pt x="1515804" y="141912"/>
                        <a:pt x="1521014" y="141912"/>
                      </a:cubicBezTo>
                      <a:cubicBezTo>
                        <a:pt x="1524724" y="141912"/>
                        <a:pt x="1528730" y="140708"/>
                        <a:pt x="1533026" y="138298"/>
                      </a:cubicBezTo>
                      <a:lnTo>
                        <a:pt x="1533026" y="146698"/>
                      </a:lnTo>
                      <a:cubicBezTo>
                        <a:pt x="1528338" y="148912"/>
                        <a:pt x="1523944" y="150019"/>
                        <a:pt x="1519842" y="150019"/>
                      </a:cubicBezTo>
                      <a:cubicBezTo>
                        <a:pt x="1505060" y="150019"/>
                        <a:pt x="1497670" y="141163"/>
                        <a:pt x="1497670" y="123453"/>
                      </a:cubicBezTo>
                      <a:lnTo>
                        <a:pt x="1497670" y="56257"/>
                      </a:lnTo>
                      <a:lnTo>
                        <a:pt x="1479700" y="56257"/>
                      </a:lnTo>
                      <a:lnTo>
                        <a:pt x="1479700" y="48053"/>
                      </a:lnTo>
                      <a:lnTo>
                        <a:pt x="1497670" y="48053"/>
                      </a:lnTo>
                      <a:lnTo>
                        <a:pt x="1497670" y="22073"/>
                      </a:lnTo>
                      <a:cubicBezTo>
                        <a:pt x="1499102" y="21552"/>
                        <a:pt x="1500600" y="21031"/>
                        <a:pt x="1502164" y="20510"/>
                      </a:cubicBezTo>
                      <a:cubicBezTo>
                        <a:pt x="1503726" y="20054"/>
                        <a:pt x="1505224" y="19566"/>
                        <a:pt x="1506656" y="19045"/>
                      </a:cubicBezTo>
                      <a:close/>
                      <a:moveTo>
                        <a:pt x="1382830" y="19045"/>
                      </a:moveTo>
                      <a:lnTo>
                        <a:pt x="1382830" y="48053"/>
                      </a:lnTo>
                      <a:lnTo>
                        <a:pt x="1409202" y="48053"/>
                      </a:lnTo>
                      <a:lnTo>
                        <a:pt x="1409202" y="56257"/>
                      </a:lnTo>
                      <a:lnTo>
                        <a:pt x="1382830" y="56257"/>
                      </a:lnTo>
                      <a:lnTo>
                        <a:pt x="1382830" y="122281"/>
                      </a:lnTo>
                      <a:cubicBezTo>
                        <a:pt x="1382830" y="129183"/>
                        <a:pt x="1383922" y="134180"/>
                        <a:pt x="1386102" y="137273"/>
                      </a:cubicBezTo>
                      <a:cubicBezTo>
                        <a:pt x="1388284" y="140366"/>
                        <a:pt x="1391980" y="141912"/>
                        <a:pt x="1397188" y="141912"/>
                      </a:cubicBezTo>
                      <a:cubicBezTo>
                        <a:pt x="1400900" y="141912"/>
                        <a:pt x="1404904" y="140708"/>
                        <a:pt x="1409202" y="138298"/>
                      </a:cubicBezTo>
                      <a:lnTo>
                        <a:pt x="1409202" y="146698"/>
                      </a:lnTo>
                      <a:cubicBezTo>
                        <a:pt x="1404514" y="148912"/>
                        <a:pt x="1400118" y="150019"/>
                        <a:pt x="1396016" y="150019"/>
                      </a:cubicBezTo>
                      <a:cubicBezTo>
                        <a:pt x="1381236" y="150019"/>
                        <a:pt x="1373846" y="141163"/>
                        <a:pt x="1373846" y="123453"/>
                      </a:cubicBezTo>
                      <a:lnTo>
                        <a:pt x="1373846" y="56257"/>
                      </a:lnTo>
                      <a:lnTo>
                        <a:pt x="1355874" y="56257"/>
                      </a:lnTo>
                      <a:lnTo>
                        <a:pt x="1355874" y="48053"/>
                      </a:lnTo>
                      <a:lnTo>
                        <a:pt x="1373846" y="48053"/>
                      </a:lnTo>
                      <a:lnTo>
                        <a:pt x="1373846" y="22073"/>
                      </a:lnTo>
                      <a:cubicBezTo>
                        <a:pt x="1375278" y="21552"/>
                        <a:pt x="1376776" y="21031"/>
                        <a:pt x="1378338" y="20510"/>
                      </a:cubicBezTo>
                      <a:cubicBezTo>
                        <a:pt x="1379900" y="20054"/>
                        <a:pt x="1381398" y="19566"/>
                        <a:pt x="1382830" y="19045"/>
                      </a:cubicBezTo>
                      <a:close/>
                      <a:moveTo>
                        <a:pt x="287456" y="19045"/>
                      </a:moveTo>
                      <a:lnTo>
                        <a:pt x="287456" y="48053"/>
                      </a:lnTo>
                      <a:lnTo>
                        <a:pt x="313826" y="48053"/>
                      </a:lnTo>
                      <a:lnTo>
                        <a:pt x="313826" y="56257"/>
                      </a:lnTo>
                      <a:lnTo>
                        <a:pt x="287456" y="56257"/>
                      </a:lnTo>
                      <a:lnTo>
                        <a:pt x="287456" y="122281"/>
                      </a:lnTo>
                      <a:cubicBezTo>
                        <a:pt x="287456" y="129183"/>
                        <a:pt x="288546" y="134180"/>
                        <a:pt x="290728" y="137273"/>
                      </a:cubicBezTo>
                      <a:cubicBezTo>
                        <a:pt x="292910" y="140366"/>
                        <a:pt x="296604" y="141912"/>
                        <a:pt x="301814" y="141912"/>
                      </a:cubicBezTo>
                      <a:cubicBezTo>
                        <a:pt x="305524" y="141912"/>
                        <a:pt x="309530" y="140708"/>
                        <a:pt x="313826" y="138298"/>
                      </a:cubicBezTo>
                      <a:lnTo>
                        <a:pt x="313826" y="146698"/>
                      </a:lnTo>
                      <a:cubicBezTo>
                        <a:pt x="309138" y="148912"/>
                        <a:pt x="304744" y="150019"/>
                        <a:pt x="300642" y="150019"/>
                      </a:cubicBezTo>
                      <a:cubicBezTo>
                        <a:pt x="285860" y="150019"/>
                        <a:pt x="278470" y="141163"/>
                        <a:pt x="278470" y="123453"/>
                      </a:cubicBezTo>
                      <a:lnTo>
                        <a:pt x="278470" y="56257"/>
                      </a:lnTo>
                      <a:lnTo>
                        <a:pt x="260500" y="56257"/>
                      </a:lnTo>
                      <a:lnTo>
                        <a:pt x="260500" y="48053"/>
                      </a:lnTo>
                      <a:lnTo>
                        <a:pt x="278470" y="48053"/>
                      </a:lnTo>
                      <a:lnTo>
                        <a:pt x="278470" y="22073"/>
                      </a:lnTo>
                      <a:cubicBezTo>
                        <a:pt x="279902" y="21552"/>
                        <a:pt x="281400" y="21031"/>
                        <a:pt x="282964" y="20510"/>
                      </a:cubicBezTo>
                      <a:cubicBezTo>
                        <a:pt x="284526" y="20054"/>
                        <a:pt x="286024" y="19566"/>
                        <a:pt x="287456" y="19045"/>
                      </a:cubicBezTo>
                      <a:close/>
                      <a:moveTo>
                        <a:pt x="2116990" y="8009"/>
                      </a:moveTo>
                      <a:cubicBezTo>
                        <a:pt x="2119010" y="8009"/>
                        <a:pt x="2120784" y="8660"/>
                        <a:pt x="2122314" y="9962"/>
                      </a:cubicBezTo>
                      <a:cubicBezTo>
                        <a:pt x="2123844" y="11264"/>
                        <a:pt x="2124610" y="13022"/>
                        <a:pt x="2124610" y="15236"/>
                      </a:cubicBezTo>
                      <a:cubicBezTo>
                        <a:pt x="2124610" y="17320"/>
                        <a:pt x="2123860" y="19110"/>
                        <a:pt x="2122362" y="20608"/>
                      </a:cubicBezTo>
                      <a:cubicBezTo>
                        <a:pt x="2120866" y="22105"/>
                        <a:pt x="2119074" y="22854"/>
                        <a:pt x="2116990" y="22854"/>
                      </a:cubicBezTo>
                      <a:cubicBezTo>
                        <a:pt x="2115038" y="22854"/>
                        <a:pt x="2113312" y="22138"/>
                        <a:pt x="2111814" y="20706"/>
                      </a:cubicBezTo>
                      <a:cubicBezTo>
                        <a:pt x="2110316" y="19273"/>
                        <a:pt x="2109568" y="17450"/>
                        <a:pt x="2109568" y="15236"/>
                      </a:cubicBezTo>
                      <a:cubicBezTo>
                        <a:pt x="2109568" y="13087"/>
                        <a:pt x="2110334" y="11346"/>
                        <a:pt x="2111864" y="10011"/>
                      </a:cubicBezTo>
                      <a:cubicBezTo>
                        <a:pt x="2113394" y="8676"/>
                        <a:pt x="2115102" y="8009"/>
                        <a:pt x="2116990" y="8009"/>
                      </a:cubicBezTo>
                      <a:close/>
                      <a:moveTo>
                        <a:pt x="97690" y="8009"/>
                      </a:moveTo>
                      <a:cubicBezTo>
                        <a:pt x="99710" y="8009"/>
                        <a:pt x="101484" y="8660"/>
                        <a:pt x="103014" y="9962"/>
                      </a:cubicBezTo>
                      <a:cubicBezTo>
                        <a:pt x="104544" y="11264"/>
                        <a:pt x="105308" y="13022"/>
                        <a:pt x="105308" y="15236"/>
                      </a:cubicBezTo>
                      <a:cubicBezTo>
                        <a:pt x="105308" y="17320"/>
                        <a:pt x="104560" y="19110"/>
                        <a:pt x="103062" y="20608"/>
                      </a:cubicBezTo>
                      <a:cubicBezTo>
                        <a:pt x="101564" y="22105"/>
                        <a:pt x="99774" y="22854"/>
                        <a:pt x="97690" y="22854"/>
                      </a:cubicBezTo>
                      <a:cubicBezTo>
                        <a:pt x="95738" y="22854"/>
                        <a:pt x="94012" y="22138"/>
                        <a:pt x="92514" y="20706"/>
                      </a:cubicBezTo>
                      <a:cubicBezTo>
                        <a:pt x="91016" y="19273"/>
                        <a:pt x="90268" y="17450"/>
                        <a:pt x="90268" y="15236"/>
                      </a:cubicBezTo>
                      <a:cubicBezTo>
                        <a:pt x="90268" y="13087"/>
                        <a:pt x="91034" y="11346"/>
                        <a:pt x="92564" y="10011"/>
                      </a:cubicBezTo>
                      <a:cubicBezTo>
                        <a:pt x="94094" y="8676"/>
                        <a:pt x="95802" y="8009"/>
                        <a:pt x="97690" y="8009"/>
                      </a:cubicBezTo>
                      <a:close/>
                      <a:moveTo>
                        <a:pt x="0" y="8009"/>
                      </a:moveTo>
                      <a:lnTo>
                        <a:pt x="65436" y="8009"/>
                      </a:lnTo>
                      <a:lnTo>
                        <a:pt x="65436" y="16897"/>
                      </a:lnTo>
                      <a:lnTo>
                        <a:pt x="9668" y="16897"/>
                      </a:lnTo>
                      <a:lnTo>
                        <a:pt x="9668" y="74033"/>
                      </a:lnTo>
                      <a:lnTo>
                        <a:pt x="61432" y="74033"/>
                      </a:lnTo>
                      <a:lnTo>
                        <a:pt x="61432" y="82823"/>
                      </a:lnTo>
                      <a:lnTo>
                        <a:pt x="9668" y="82823"/>
                      </a:lnTo>
                      <a:lnTo>
                        <a:pt x="9668" y="148065"/>
                      </a:lnTo>
                      <a:lnTo>
                        <a:pt x="0" y="148065"/>
                      </a:lnTo>
                      <a:close/>
                      <a:moveTo>
                        <a:pt x="2293570" y="0"/>
                      </a:moveTo>
                      <a:lnTo>
                        <a:pt x="2302556" y="0"/>
                      </a:lnTo>
                      <a:lnTo>
                        <a:pt x="2302556" y="68661"/>
                      </a:lnTo>
                      <a:lnTo>
                        <a:pt x="2302946" y="68661"/>
                      </a:lnTo>
                      <a:cubicBezTo>
                        <a:pt x="2306528" y="61303"/>
                        <a:pt x="2311656" y="55622"/>
                        <a:pt x="2318330" y="51618"/>
                      </a:cubicBezTo>
                      <a:cubicBezTo>
                        <a:pt x="2325004" y="47613"/>
                        <a:pt x="2332346" y="45611"/>
                        <a:pt x="2340354" y="45611"/>
                      </a:cubicBezTo>
                      <a:cubicBezTo>
                        <a:pt x="2353050" y="45611"/>
                        <a:pt x="2362964" y="49990"/>
                        <a:pt x="2370094" y="58747"/>
                      </a:cubicBezTo>
                      <a:cubicBezTo>
                        <a:pt x="2377224" y="67505"/>
                        <a:pt x="2380788" y="79404"/>
                        <a:pt x="2380788" y="94445"/>
                      </a:cubicBezTo>
                      <a:cubicBezTo>
                        <a:pt x="2380788" y="111179"/>
                        <a:pt x="2376654" y="124706"/>
                        <a:pt x="2368384" y="135026"/>
                      </a:cubicBezTo>
                      <a:cubicBezTo>
                        <a:pt x="2360116" y="145347"/>
                        <a:pt x="2349372" y="150507"/>
                        <a:pt x="2336154" y="150507"/>
                      </a:cubicBezTo>
                      <a:cubicBezTo>
                        <a:pt x="2321178" y="150507"/>
                        <a:pt x="2310110" y="143768"/>
                        <a:pt x="2302946" y="130290"/>
                      </a:cubicBezTo>
                      <a:lnTo>
                        <a:pt x="2302556" y="130290"/>
                      </a:lnTo>
                      <a:lnTo>
                        <a:pt x="2302556" y="148065"/>
                      </a:lnTo>
                      <a:lnTo>
                        <a:pt x="2293570" y="148065"/>
                      </a:lnTo>
                      <a:close/>
                      <a:moveTo>
                        <a:pt x="2188796" y="0"/>
                      </a:moveTo>
                      <a:lnTo>
                        <a:pt x="2197782" y="0"/>
                      </a:lnTo>
                      <a:lnTo>
                        <a:pt x="2197782" y="148065"/>
                      </a:lnTo>
                      <a:lnTo>
                        <a:pt x="2188796" y="148065"/>
                      </a:lnTo>
                      <a:close/>
                      <a:moveTo>
                        <a:pt x="2150696" y="0"/>
                      </a:moveTo>
                      <a:lnTo>
                        <a:pt x="2159682" y="0"/>
                      </a:lnTo>
                      <a:lnTo>
                        <a:pt x="2159682" y="148065"/>
                      </a:lnTo>
                      <a:lnTo>
                        <a:pt x="2150696" y="148065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kern="0" noProof="0" dirty="0">
                      <a:solidFill>
                        <a:prstClr val="white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Первый опыт сбора налогов посредством </a:t>
                  </a:r>
                  <a:r>
                    <a:rPr lang="en-US" kern="0" noProof="0" dirty="0">
                      <a:solidFill>
                        <a:prstClr val="white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block-chain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40" name="Sensors connected to Internet"/>
              <p:cNvGrpSpPr/>
              <p:nvPr/>
            </p:nvGrpSpPr>
            <p:grpSpPr>
              <a:xfrm>
                <a:off x="19642832" y="2446068"/>
                <a:ext cx="2772279" cy="1957154"/>
                <a:chOff x="9470397" y="2391332"/>
                <a:chExt cx="2772279" cy="1957154"/>
              </a:xfrm>
            </p:grpSpPr>
            <p:grpSp>
              <p:nvGrpSpPr>
                <p:cNvPr id="28" name="Group 27"/>
                <p:cNvGrpSpPr/>
                <p:nvPr/>
              </p:nvGrpSpPr>
              <p:grpSpPr>
                <a:xfrm>
                  <a:off x="10326799" y="2391332"/>
                  <a:ext cx="1057412" cy="1143518"/>
                  <a:chOff x="7874000" y="1831976"/>
                  <a:chExt cx="3060700" cy="3309938"/>
                </a:xfrm>
                <a:solidFill>
                  <a:schemeClr val="accent1"/>
                </a:solidFill>
              </p:grpSpPr>
              <p:sp>
                <p:nvSpPr>
                  <p:cNvPr id="29" name="Freeform 9"/>
                  <p:cNvSpPr>
                    <a:spLocks/>
                  </p:cNvSpPr>
                  <p:nvPr/>
                </p:nvSpPr>
                <p:spPr bwMode="auto">
                  <a:xfrm>
                    <a:off x="8424863" y="3540126"/>
                    <a:ext cx="120650" cy="1539875"/>
                  </a:xfrm>
                  <a:custGeom>
                    <a:avLst/>
                    <a:gdLst>
                      <a:gd name="T0" fmla="*/ 21 w 41"/>
                      <a:gd name="T1" fmla="*/ 3 h 518"/>
                      <a:gd name="T2" fmla="*/ 0 w 41"/>
                      <a:gd name="T3" fmla="*/ 0 h 518"/>
                      <a:gd name="T4" fmla="*/ 0 w 41"/>
                      <a:gd name="T5" fmla="*/ 518 h 518"/>
                      <a:gd name="T6" fmla="*/ 41 w 41"/>
                      <a:gd name="T7" fmla="*/ 518 h 518"/>
                      <a:gd name="T8" fmla="*/ 41 w 41"/>
                      <a:gd name="T9" fmla="*/ 0 h 518"/>
                      <a:gd name="T10" fmla="*/ 21 w 41"/>
                      <a:gd name="T11" fmla="*/ 3 h 5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1" h="518">
                        <a:moveTo>
                          <a:pt x="21" y="3"/>
                        </a:moveTo>
                        <a:cubicBezTo>
                          <a:pt x="13" y="3"/>
                          <a:pt x="7" y="2"/>
                          <a:pt x="0" y="0"/>
                        </a:cubicBezTo>
                        <a:cubicBezTo>
                          <a:pt x="0" y="518"/>
                          <a:pt x="0" y="518"/>
                          <a:pt x="0" y="518"/>
                        </a:cubicBezTo>
                        <a:cubicBezTo>
                          <a:pt x="41" y="518"/>
                          <a:pt x="41" y="518"/>
                          <a:pt x="41" y="518"/>
                        </a:cubicBezTo>
                        <a:cubicBezTo>
                          <a:pt x="41" y="0"/>
                          <a:pt x="41" y="0"/>
                          <a:pt x="41" y="0"/>
                        </a:cubicBezTo>
                        <a:cubicBezTo>
                          <a:pt x="35" y="2"/>
                          <a:pt x="28" y="3"/>
                          <a:pt x="21" y="3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10"/>
                  <p:cNvSpPr>
                    <a:spLocks noEditPoints="1"/>
                  </p:cNvSpPr>
                  <p:nvPr/>
                </p:nvSpPr>
                <p:spPr bwMode="auto">
                  <a:xfrm>
                    <a:off x="8239125" y="3121026"/>
                    <a:ext cx="492125" cy="490538"/>
                  </a:xfrm>
                  <a:custGeom>
                    <a:avLst/>
                    <a:gdLst>
                      <a:gd name="T0" fmla="*/ 83 w 165"/>
                      <a:gd name="T1" fmla="*/ 165 h 165"/>
                      <a:gd name="T2" fmla="*/ 0 w 165"/>
                      <a:gd name="T3" fmla="*/ 83 h 165"/>
                      <a:gd name="T4" fmla="*/ 83 w 165"/>
                      <a:gd name="T5" fmla="*/ 0 h 165"/>
                      <a:gd name="T6" fmla="*/ 165 w 165"/>
                      <a:gd name="T7" fmla="*/ 83 h 165"/>
                      <a:gd name="T8" fmla="*/ 83 w 165"/>
                      <a:gd name="T9" fmla="*/ 165 h 165"/>
                      <a:gd name="T10" fmla="*/ 83 w 165"/>
                      <a:gd name="T11" fmla="*/ 41 h 165"/>
                      <a:gd name="T12" fmla="*/ 42 w 165"/>
                      <a:gd name="T13" fmla="*/ 83 h 165"/>
                      <a:gd name="T14" fmla="*/ 83 w 165"/>
                      <a:gd name="T15" fmla="*/ 124 h 165"/>
                      <a:gd name="T16" fmla="*/ 124 w 165"/>
                      <a:gd name="T17" fmla="*/ 83 h 165"/>
                      <a:gd name="T18" fmla="*/ 83 w 165"/>
                      <a:gd name="T19" fmla="*/ 41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65" h="165">
                        <a:moveTo>
                          <a:pt x="83" y="165"/>
                        </a:moveTo>
                        <a:cubicBezTo>
                          <a:pt x="37" y="165"/>
                          <a:pt x="0" y="128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28" y="0"/>
                          <a:pt x="165" y="37"/>
                          <a:pt x="165" y="83"/>
                        </a:cubicBezTo>
                        <a:cubicBezTo>
                          <a:pt x="165" y="128"/>
                          <a:pt x="128" y="165"/>
                          <a:pt x="83" y="165"/>
                        </a:cubicBezTo>
                        <a:close/>
                        <a:moveTo>
                          <a:pt x="83" y="41"/>
                        </a:moveTo>
                        <a:cubicBezTo>
                          <a:pt x="60" y="41"/>
                          <a:pt x="42" y="60"/>
                          <a:pt x="42" y="83"/>
                        </a:cubicBezTo>
                        <a:cubicBezTo>
                          <a:pt x="42" y="105"/>
                          <a:pt x="60" y="124"/>
                          <a:pt x="83" y="124"/>
                        </a:cubicBezTo>
                        <a:cubicBezTo>
                          <a:pt x="105" y="124"/>
                          <a:pt x="124" y="105"/>
                          <a:pt x="124" y="83"/>
                        </a:cubicBezTo>
                        <a:cubicBezTo>
                          <a:pt x="124" y="60"/>
                          <a:pt x="105" y="41"/>
                          <a:pt x="83" y="4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" name="Freeform 11"/>
                  <p:cNvSpPr>
                    <a:spLocks/>
                  </p:cNvSpPr>
                  <p:nvPr/>
                </p:nvSpPr>
                <p:spPr bwMode="auto">
                  <a:xfrm>
                    <a:off x="8442325" y="2589213"/>
                    <a:ext cx="531813" cy="2490788"/>
                  </a:xfrm>
                  <a:custGeom>
                    <a:avLst/>
                    <a:gdLst>
                      <a:gd name="T0" fmla="*/ 118 w 179"/>
                      <a:gd name="T1" fmla="*/ 838 h 838"/>
                      <a:gd name="T2" fmla="*/ 76 w 179"/>
                      <a:gd name="T3" fmla="*/ 838 h 838"/>
                      <a:gd name="T4" fmla="*/ 76 w 179"/>
                      <a:gd name="T5" fmla="*/ 365 h 838"/>
                      <a:gd name="T6" fmla="*/ 82 w 179"/>
                      <a:gd name="T7" fmla="*/ 350 h 838"/>
                      <a:gd name="T8" fmla="*/ 138 w 179"/>
                      <a:gd name="T9" fmla="*/ 294 h 838"/>
                      <a:gd name="T10" fmla="*/ 138 w 179"/>
                      <a:gd name="T11" fmla="*/ 167 h 838"/>
                      <a:gd name="T12" fmla="*/ 0 w 179"/>
                      <a:gd name="T13" fmla="*/ 29 h 838"/>
                      <a:gd name="T14" fmla="*/ 29 w 179"/>
                      <a:gd name="T15" fmla="*/ 0 h 838"/>
                      <a:gd name="T16" fmla="*/ 173 w 179"/>
                      <a:gd name="T17" fmla="*/ 144 h 838"/>
                      <a:gd name="T18" fmla="*/ 179 w 179"/>
                      <a:gd name="T19" fmla="*/ 159 h 838"/>
                      <a:gd name="T20" fmla="*/ 179 w 179"/>
                      <a:gd name="T21" fmla="*/ 303 h 838"/>
                      <a:gd name="T22" fmla="*/ 173 w 179"/>
                      <a:gd name="T23" fmla="*/ 317 h 838"/>
                      <a:gd name="T24" fmla="*/ 118 w 179"/>
                      <a:gd name="T25" fmla="*/ 373 h 838"/>
                      <a:gd name="T26" fmla="*/ 118 w 179"/>
                      <a:gd name="T27" fmla="*/ 838 h 8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79" h="838">
                        <a:moveTo>
                          <a:pt x="118" y="838"/>
                        </a:moveTo>
                        <a:cubicBezTo>
                          <a:pt x="76" y="838"/>
                          <a:pt x="76" y="838"/>
                          <a:pt x="76" y="838"/>
                        </a:cubicBezTo>
                        <a:cubicBezTo>
                          <a:pt x="76" y="365"/>
                          <a:pt x="76" y="365"/>
                          <a:pt x="76" y="365"/>
                        </a:cubicBezTo>
                        <a:cubicBezTo>
                          <a:pt x="76" y="359"/>
                          <a:pt x="79" y="354"/>
                          <a:pt x="82" y="350"/>
                        </a:cubicBezTo>
                        <a:cubicBezTo>
                          <a:pt x="138" y="294"/>
                          <a:pt x="138" y="294"/>
                          <a:pt x="138" y="294"/>
                        </a:cubicBezTo>
                        <a:cubicBezTo>
                          <a:pt x="138" y="167"/>
                          <a:pt x="138" y="167"/>
                          <a:pt x="138" y="167"/>
                        </a:cubicBezTo>
                        <a:cubicBezTo>
                          <a:pt x="0" y="29"/>
                          <a:pt x="0" y="29"/>
                          <a:pt x="0" y="29"/>
                        </a:cubicBezTo>
                        <a:cubicBezTo>
                          <a:pt x="29" y="0"/>
                          <a:pt x="29" y="0"/>
                          <a:pt x="29" y="0"/>
                        </a:cubicBezTo>
                        <a:cubicBezTo>
                          <a:pt x="173" y="144"/>
                          <a:pt x="173" y="144"/>
                          <a:pt x="173" y="144"/>
                        </a:cubicBezTo>
                        <a:cubicBezTo>
                          <a:pt x="177" y="148"/>
                          <a:pt x="179" y="153"/>
                          <a:pt x="179" y="159"/>
                        </a:cubicBezTo>
                        <a:cubicBezTo>
                          <a:pt x="179" y="303"/>
                          <a:pt x="179" y="303"/>
                          <a:pt x="179" y="303"/>
                        </a:cubicBezTo>
                        <a:cubicBezTo>
                          <a:pt x="179" y="308"/>
                          <a:pt x="177" y="314"/>
                          <a:pt x="173" y="317"/>
                        </a:cubicBezTo>
                        <a:cubicBezTo>
                          <a:pt x="118" y="373"/>
                          <a:pt x="118" y="373"/>
                          <a:pt x="118" y="373"/>
                        </a:cubicBezTo>
                        <a:lnTo>
                          <a:pt x="118" y="838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12"/>
                  <p:cNvSpPr>
                    <a:spLocks/>
                  </p:cNvSpPr>
                  <p:nvPr/>
                </p:nvSpPr>
                <p:spPr bwMode="auto">
                  <a:xfrm>
                    <a:off x="9158288" y="3260726"/>
                    <a:ext cx="473075" cy="1819275"/>
                  </a:xfrm>
                  <a:custGeom>
                    <a:avLst/>
                    <a:gdLst>
                      <a:gd name="T0" fmla="*/ 130 w 159"/>
                      <a:gd name="T1" fmla="*/ 0 h 612"/>
                      <a:gd name="T2" fmla="*/ 68 w 159"/>
                      <a:gd name="T3" fmla="*/ 62 h 612"/>
                      <a:gd name="T4" fmla="*/ 62 w 159"/>
                      <a:gd name="T5" fmla="*/ 77 h 612"/>
                      <a:gd name="T6" fmla="*/ 62 w 159"/>
                      <a:gd name="T7" fmla="*/ 171 h 612"/>
                      <a:gd name="T8" fmla="*/ 6 w 159"/>
                      <a:gd name="T9" fmla="*/ 227 h 612"/>
                      <a:gd name="T10" fmla="*/ 0 w 159"/>
                      <a:gd name="T11" fmla="*/ 241 h 612"/>
                      <a:gd name="T12" fmla="*/ 0 w 159"/>
                      <a:gd name="T13" fmla="*/ 612 h 612"/>
                      <a:gd name="T14" fmla="*/ 41 w 159"/>
                      <a:gd name="T15" fmla="*/ 612 h 612"/>
                      <a:gd name="T16" fmla="*/ 41 w 159"/>
                      <a:gd name="T17" fmla="*/ 250 h 612"/>
                      <a:gd name="T18" fmla="*/ 97 w 159"/>
                      <a:gd name="T19" fmla="*/ 194 h 612"/>
                      <a:gd name="T20" fmla="*/ 103 w 159"/>
                      <a:gd name="T21" fmla="*/ 180 h 612"/>
                      <a:gd name="T22" fmla="*/ 103 w 159"/>
                      <a:gd name="T23" fmla="*/ 85 h 612"/>
                      <a:gd name="T24" fmla="*/ 159 w 159"/>
                      <a:gd name="T25" fmla="*/ 29 h 612"/>
                      <a:gd name="T26" fmla="*/ 130 w 159"/>
                      <a:gd name="T27" fmla="*/ 0 h 6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59" h="612">
                        <a:moveTo>
                          <a:pt x="130" y="0"/>
                        </a:moveTo>
                        <a:cubicBezTo>
                          <a:pt x="68" y="62"/>
                          <a:pt x="68" y="62"/>
                          <a:pt x="68" y="62"/>
                        </a:cubicBezTo>
                        <a:cubicBezTo>
                          <a:pt x="64" y="66"/>
                          <a:pt x="62" y="71"/>
                          <a:pt x="62" y="77"/>
                        </a:cubicBezTo>
                        <a:cubicBezTo>
                          <a:pt x="62" y="171"/>
                          <a:pt x="62" y="171"/>
                          <a:pt x="62" y="171"/>
                        </a:cubicBezTo>
                        <a:cubicBezTo>
                          <a:pt x="6" y="227"/>
                          <a:pt x="6" y="227"/>
                          <a:pt x="6" y="227"/>
                        </a:cubicBezTo>
                        <a:cubicBezTo>
                          <a:pt x="2" y="231"/>
                          <a:pt x="0" y="236"/>
                          <a:pt x="0" y="241"/>
                        </a:cubicBezTo>
                        <a:cubicBezTo>
                          <a:pt x="0" y="612"/>
                          <a:pt x="0" y="612"/>
                          <a:pt x="0" y="612"/>
                        </a:cubicBezTo>
                        <a:cubicBezTo>
                          <a:pt x="41" y="612"/>
                          <a:pt x="41" y="612"/>
                          <a:pt x="41" y="612"/>
                        </a:cubicBezTo>
                        <a:cubicBezTo>
                          <a:pt x="41" y="250"/>
                          <a:pt x="41" y="250"/>
                          <a:pt x="41" y="250"/>
                        </a:cubicBezTo>
                        <a:cubicBezTo>
                          <a:pt x="97" y="194"/>
                          <a:pt x="97" y="194"/>
                          <a:pt x="97" y="194"/>
                        </a:cubicBezTo>
                        <a:cubicBezTo>
                          <a:pt x="101" y="190"/>
                          <a:pt x="103" y="185"/>
                          <a:pt x="103" y="180"/>
                        </a:cubicBezTo>
                        <a:cubicBezTo>
                          <a:pt x="103" y="85"/>
                          <a:pt x="103" y="85"/>
                          <a:pt x="103" y="85"/>
                        </a:cubicBezTo>
                        <a:cubicBezTo>
                          <a:pt x="159" y="29"/>
                          <a:pt x="159" y="29"/>
                          <a:pt x="159" y="29"/>
                        </a:cubicBezTo>
                        <a:cubicBezTo>
                          <a:pt x="146" y="23"/>
                          <a:pt x="136" y="13"/>
                          <a:pt x="130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13"/>
                  <p:cNvSpPr>
                    <a:spLocks noEditPoints="1"/>
                  </p:cNvSpPr>
                  <p:nvPr/>
                </p:nvSpPr>
                <p:spPr bwMode="auto">
                  <a:xfrm>
                    <a:off x="9466263" y="2940051"/>
                    <a:ext cx="490538" cy="487363"/>
                  </a:xfrm>
                  <a:custGeom>
                    <a:avLst/>
                    <a:gdLst>
                      <a:gd name="T0" fmla="*/ 82 w 165"/>
                      <a:gd name="T1" fmla="*/ 164 h 164"/>
                      <a:gd name="T2" fmla="*/ 0 w 165"/>
                      <a:gd name="T3" fmla="*/ 82 h 164"/>
                      <a:gd name="T4" fmla="*/ 82 w 165"/>
                      <a:gd name="T5" fmla="*/ 0 h 164"/>
                      <a:gd name="T6" fmla="*/ 165 w 165"/>
                      <a:gd name="T7" fmla="*/ 82 h 164"/>
                      <a:gd name="T8" fmla="*/ 82 w 165"/>
                      <a:gd name="T9" fmla="*/ 164 h 164"/>
                      <a:gd name="T10" fmla="*/ 82 w 165"/>
                      <a:gd name="T11" fmla="*/ 41 h 164"/>
                      <a:gd name="T12" fmla="*/ 41 w 165"/>
                      <a:gd name="T13" fmla="*/ 82 h 164"/>
                      <a:gd name="T14" fmla="*/ 82 w 165"/>
                      <a:gd name="T15" fmla="*/ 123 h 164"/>
                      <a:gd name="T16" fmla="*/ 124 w 165"/>
                      <a:gd name="T17" fmla="*/ 82 h 164"/>
                      <a:gd name="T18" fmla="*/ 82 w 165"/>
                      <a:gd name="T19" fmla="*/ 41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65" h="164">
                        <a:moveTo>
                          <a:pt x="82" y="164"/>
                        </a:moveTo>
                        <a:cubicBezTo>
                          <a:pt x="37" y="164"/>
                          <a:pt x="0" y="127"/>
                          <a:pt x="0" y="82"/>
                        </a:cubicBezTo>
                        <a:cubicBezTo>
                          <a:pt x="0" y="37"/>
                          <a:pt x="37" y="0"/>
                          <a:pt x="82" y="0"/>
                        </a:cubicBezTo>
                        <a:cubicBezTo>
                          <a:pt x="128" y="0"/>
                          <a:pt x="165" y="37"/>
                          <a:pt x="165" y="82"/>
                        </a:cubicBezTo>
                        <a:cubicBezTo>
                          <a:pt x="165" y="127"/>
                          <a:pt x="128" y="164"/>
                          <a:pt x="82" y="164"/>
                        </a:cubicBezTo>
                        <a:close/>
                        <a:moveTo>
                          <a:pt x="82" y="41"/>
                        </a:moveTo>
                        <a:cubicBezTo>
                          <a:pt x="60" y="41"/>
                          <a:pt x="41" y="59"/>
                          <a:pt x="41" y="82"/>
                        </a:cubicBezTo>
                        <a:cubicBezTo>
                          <a:pt x="41" y="105"/>
                          <a:pt x="60" y="123"/>
                          <a:pt x="82" y="123"/>
                        </a:cubicBezTo>
                        <a:cubicBezTo>
                          <a:pt x="105" y="123"/>
                          <a:pt x="124" y="105"/>
                          <a:pt x="124" y="82"/>
                        </a:cubicBezTo>
                        <a:cubicBezTo>
                          <a:pt x="124" y="59"/>
                          <a:pt x="105" y="41"/>
                          <a:pt x="82" y="4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14"/>
                  <p:cNvSpPr>
                    <a:spLocks/>
                  </p:cNvSpPr>
                  <p:nvPr/>
                </p:nvSpPr>
                <p:spPr bwMode="auto">
                  <a:xfrm>
                    <a:off x="8915400" y="2773363"/>
                    <a:ext cx="409575" cy="2306638"/>
                  </a:xfrm>
                  <a:custGeom>
                    <a:avLst/>
                    <a:gdLst>
                      <a:gd name="T0" fmla="*/ 109 w 138"/>
                      <a:gd name="T1" fmla="*/ 0 h 776"/>
                      <a:gd name="T2" fmla="*/ 68 w 138"/>
                      <a:gd name="T3" fmla="*/ 41 h 776"/>
                      <a:gd name="T4" fmla="*/ 62 w 138"/>
                      <a:gd name="T5" fmla="*/ 56 h 776"/>
                      <a:gd name="T6" fmla="*/ 62 w 138"/>
                      <a:gd name="T7" fmla="*/ 315 h 776"/>
                      <a:gd name="T8" fmla="*/ 6 w 138"/>
                      <a:gd name="T9" fmla="*/ 370 h 776"/>
                      <a:gd name="T10" fmla="*/ 0 w 138"/>
                      <a:gd name="T11" fmla="*/ 385 h 776"/>
                      <a:gd name="T12" fmla="*/ 0 w 138"/>
                      <a:gd name="T13" fmla="*/ 776 h 776"/>
                      <a:gd name="T14" fmla="*/ 41 w 138"/>
                      <a:gd name="T15" fmla="*/ 776 h 776"/>
                      <a:gd name="T16" fmla="*/ 41 w 138"/>
                      <a:gd name="T17" fmla="*/ 393 h 776"/>
                      <a:gd name="T18" fmla="*/ 97 w 138"/>
                      <a:gd name="T19" fmla="*/ 338 h 776"/>
                      <a:gd name="T20" fmla="*/ 103 w 138"/>
                      <a:gd name="T21" fmla="*/ 323 h 776"/>
                      <a:gd name="T22" fmla="*/ 103 w 138"/>
                      <a:gd name="T23" fmla="*/ 64 h 776"/>
                      <a:gd name="T24" fmla="*/ 138 w 138"/>
                      <a:gd name="T25" fmla="*/ 29 h 776"/>
                      <a:gd name="T26" fmla="*/ 109 w 138"/>
                      <a:gd name="T27" fmla="*/ 0 h 7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38" h="776">
                        <a:moveTo>
                          <a:pt x="109" y="0"/>
                        </a:moveTo>
                        <a:cubicBezTo>
                          <a:pt x="68" y="41"/>
                          <a:pt x="68" y="41"/>
                          <a:pt x="68" y="41"/>
                        </a:cubicBezTo>
                        <a:cubicBezTo>
                          <a:pt x="64" y="45"/>
                          <a:pt x="62" y="50"/>
                          <a:pt x="62" y="56"/>
                        </a:cubicBezTo>
                        <a:cubicBezTo>
                          <a:pt x="62" y="315"/>
                          <a:pt x="62" y="315"/>
                          <a:pt x="62" y="315"/>
                        </a:cubicBezTo>
                        <a:cubicBezTo>
                          <a:pt x="6" y="370"/>
                          <a:pt x="6" y="370"/>
                          <a:pt x="6" y="370"/>
                        </a:cubicBezTo>
                        <a:cubicBezTo>
                          <a:pt x="2" y="374"/>
                          <a:pt x="0" y="379"/>
                          <a:pt x="0" y="385"/>
                        </a:cubicBezTo>
                        <a:cubicBezTo>
                          <a:pt x="0" y="776"/>
                          <a:pt x="0" y="776"/>
                          <a:pt x="0" y="776"/>
                        </a:cubicBezTo>
                        <a:cubicBezTo>
                          <a:pt x="41" y="776"/>
                          <a:pt x="41" y="776"/>
                          <a:pt x="41" y="776"/>
                        </a:cubicBezTo>
                        <a:cubicBezTo>
                          <a:pt x="41" y="393"/>
                          <a:pt x="41" y="393"/>
                          <a:pt x="41" y="393"/>
                        </a:cubicBezTo>
                        <a:cubicBezTo>
                          <a:pt x="97" y="338"/>
                          <a:pt x="97" y="338"/>
                          <a:pt x="97" y="338"/>
                        </a:cubicBezTo>
                        <a:cubicBezTo>
                          <a:pt x="101" y="334"/>
                          <a:pt x="103" y="329"/>
                          <a:pt x="103" y="323"/>
                        </a:cubicBezTo>
                        <a:cubicBezTo>
                          <a:pt x="103" y="64"/>
                          <a:pt x="103" y="64"/>
                          <a:pt x="103" y="64"/>
                        </a:cubicBezTo>
                        <a:cubicBezTo>
                          <a:pt x="138" y="29"/>
                          <a:pt x="138" y="29"/>
                          <a:pt x="138" y="29"/>
                        </a:cubicBezTo>
                        <a:cubicBezTo>
                          <a:pt x="125" y="23"/>
                          <a:pt x="115" y="12"/>
                          <a:pt x="10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Freeform 15"/>
                  <p:cNvSpPr>
                    <a:spLocks noEditPoints="1"/>
                  </p:cNvSpPr>
                  <p:nvPr/>
                </p:nvSpPr>
                <p:spPr bwMode="auto">
                  <a:xfrm>
                    <a:off x="9158288" y="2449513"/>
                    <a:ext cx="492125" cy="490538"/>
                  </a:xfrm>
                  <a:custGeom>
                    <a:avLst/>
                    <a:gdLst>
                      <a:gd name="T0" fmla="*/ 82 w 165"/>
                      <a:gd name="T1" fmla="*/ 165 h 165"/>
                      <a:gd name="T2" fmla="*/ 0 w 165"/>
                      <a:gd name="T3" fmla="*/ 82 h 165"/>
                      <a:gd name="T4" fmla="*/ 82 w 165"/>
                      <a:gd name="T5" fmla="*/ 0 h 165"/>
                      <a:gd name="T6" fmla="*/ 165 w 165"/>
                      <a:gd name="T7" fmla="*/ 82 h 165"/>
                      <a:gd name="T8" fmla="*/ 82 w 165"/>
                      <a:gd name="T9" fmla="*/ 165 h 165"/>
                      <a:gd name="T10" fmla="*/ 82 w 165"/>
                      <a:gd name="T11" fmla="*/ 41 h 165"/>
                      <a:gd name="T12" fmla="*/ 41 w 165"/>
                      <a:gd name="T13" fmla="*/ 82 h 165"/>
                      <a:gd name="T14" fmla="*/ 82 w 165"/>
                      <a:gd name="T15" fmla="*/ 123 h 165"/>
                      <a:gd name="T16" fmla="*/ 124 w 165"/>
                      <a:gd name="T17" fmla="*/ 82 h 165"/>
                      <a:gd name="T18" fmla="*/ 82 w 165"/>
                      <a:gd name="T19" fmla="*/ 41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65" h="165">
                        <a:moveTo>
                          <a:pt x="82" y="165"/>
                        </a:moveTo>
                        <a:cubicBezTo>
                          <a:pt x="37" y="165"/>
                          <a:pt x="0" y="128"/>
                          <a:pt x="0" y="82"/>
                        </a:cubicBezTo>
                        <a:cubicBezTo>
                          <a:pt x="0" y="37"/>
                          <a:pt x="37" y="0"/>
                          <a:pt x="82" y="0"/>
                        </a:cubicBezTo>
                        <a:cubicBezTo>
                          <a:pt x="128" y="0"/>
                          <a:pt x="165" y="37"/>
                          <a:pt x="165" y="82"/>
                        </a:cubicBezTo>
                        <a:cubicBezTo>
                          <a:pt x="165" y="128"/>
                          <a:pt x="128" y="165"/>
                          <a:pt x="82" y="165"/>
                        </a:cubicBezTo>
                        <a:close/>
                        <a:moveTo>
                          <a:pt x="82" y="41"/>
                        </a:moveTo>
                        <a:cubicBezTo>
                          <a:pt x="60" y="41"/>
                          <a:pt x="41" y="60"/>
                          <a:pt x="41" y="82"/>
                        </a:cubicBezTo>
                        <a:cubicBezTo>
                          <a:pt x="41" y="105"/>
                          <a:pt x="60" y="123"/>
                          <a:pt x="82" y="123"/>
                        </a:cubicBezTo>
                        <a:cubicBezTo>
                          <a:pt x="105" y="123"/>
                          <a:pt x="124" y="105"/>
                          <a:pt x="124" y="82"/>
                        </a:cubicBezTo>
                        <a:cubicBezTo>
                          <a:pt x="124" y="60"/>
                          <a:pt x="105" y="41"/>
                          <a:pt x="82" y="4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" name="Freeform 16"/>
                  <p:cNvSpPr>
                    <a:spLocks noEditPoints="1"/>
                  </p:cNvSpPr>
                  <p:nvPr/>
                </p:nvSpPr>
                <p:spPr bwMode="auto">
                  <a:xfrm>
                    <a:off x="7874000" y="1831976"/>
                    <a:ext cx="3060700" cy="3309938"/>
                  </a:xfrm>
                  <a:custGeom>
                    <a:avLst/>
                    <a:gdLst>
                      <a:gd name="T0" fmla="*/ 1008 w 1029"/>
                      <a:gd name="T1" fmla="*/ 1114 h 1114"/>
                      <a:gd name="T2" fmla="*/ 20 w 1029"/>
                      <a:gd name="T3" fmla="*/ 1114 h 1114"/>
                      <a:gd name="T4" fmla="*/ 0 w 1029"/>
                      <a:gd name="T5" fmla="*/ 1093 h 1114"/>
                      <a:gd name="T6" fmla="*/ 0 w 1029"/>
                      <a:gd name="T7" fmla="*/ 434 h 1114"/>
                      <a:gd name="T8" fmla="*/ 7 w 1029"/>
                      <a:gd name="T9" fmla="*/ 419 h 1114"/>
                      <a:gd name="T10" fmla="*/ 501 w 1029"/>
                      <a:gd name="T11" fmla="*/ 7 h 1114"/>
                      <a:gd name="T12" fmla="*/ 528 w 1029"/>
                      <a:gd name="T13" fmla="*/ 7 h 1114"/>
                      <a:gd name="T14" fmla="*/ 1022 w 1029"/>
                      <a:gd name="T15" fmla="*/ 419 h 1114"/>
                      <a:gd name="T16" fmla="*/ 1029 w 1029"/>
                      <a:gd name="T17" fmla="*/ 434 h 1114"/>
                      <a:gd name="T18" fmla="*/ 1029 w 1029"/>
                      <a:gd name="T19" fmla="*/ 1093 h 1114"/>
                      <a:gd name="T20" fmla="*/ 1008 w 1029"/>
                      <a:gd name="T21" fmla="*/ 1114 h 1114"/>
                      <a:gd name="T22" fmla="*/ 41 w 1029"/>
                      <a:gd name="T23" fmla="*/ 1072 h 1114"/>
                      <a:gd name="T24" fmla="*/ 988 w 1029"/>
                      <a:gd name="T25" fmla="*/ 1072 h 1114"/>
                      <a:gd name="T26" fmla="*/ 988 w 1029"/>
                      <a:gd name="T27" fmla="*/ 444 h 1114"/>
                      <a:gd name="T28" fmla="*/ 514 w 1029"/>
                      <a:gd name="T29" fmla="*/ 49 h 1114"/>
                      <a:gd name="T30" fmla="*/ 41 w 1029"/>
                      <a:gd name="T31" fmla="*/ 444 h 1114"/>
                      <a:gd name="T32" fmla="*/ 41 w 1029"/>
                      <a:gd name="T33" fmla="*/ 1072 h 11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1029" h="1114">
                        <a:moveTo>
                          <a:pt x="1008" y="1114"/>
                        </a:moveTo>
                        <a:cubicBezTo>
                          <a:pt x="20" y="1114"/>
                          <a:pt x="20" y="1114"/>
                          <a:pt x="20" y="1114"/>
                        </a:cubicBezTo>
                        <a:cubicBezTo>
                          <a:pt x="9" y="1114"/>
                          <a:pt x="0" y="1104"/>
                          <a:pt x="0" y="1093"/>
                        </a:cubicBezTo>
                        <a:cubicBezTo>
                          <a:pt x="0" y="434"/>
                          <a:pt x="0" y="434"/>
                          <a:pt x="0" y="434"/>
                        </a:cubicBezTo>
                        <a:cubicBezTo>
                          <a:pt x="0" y="428"/>
                          <a:pt x="3" y="422"/>
                          <a:pt x="7" y="419"/>
                        </a:cubicBezTo>
                        <a:cubicBezTo>
                          <a:pt x="501" y="7"/>
                          <a:pt x="501" y="7"/>
                          <a:pt x="501" y="7"/>
                        </a:cubicBezTo>
                        <a:cubicBezTo>
                          <a:pt x="509" y="0"/>
                          <a:pt x="520" y="0"/>
                          <a:pt x="528" y="7"/>
                        </a:cubicBezTo>
                        <a:cubicBezTo>
                          <a:pt x="1022" y="419"/>
                          <a:pt x="1022" y="419"/>
                          <a:pt x="1022" y="419"/>
                        </a:cubicBezTo>
                        <a:cubicBezTo>
                          <a:pt x="1026" y="422"/>
                          <a:pt x="1029" y="428"/>
                          <a:pt x="1029" y="434"/>
                        </a:cubicBezTo>
                        <a:cubicBezTo>
                          <a:pt x="1029" y="1093"/>
                          <a:pt x="1029" y="1093"/>
                          <a:pt x="1029" y="1093"/>
                        </a:cubicBezTo>
                        <a:cubicBezTo>
                          <a:pt x="1029" y="1104"/>
                          <a:pt x="1020" y="1114"/>
                          <a:pt x="1008" y="1114"/>
                        </a:cubicBezTo>
                        <a:close/>
                        <a:moveTo>
                          <a:pt x="41" y="1072"/>
                        </a:moveTo>
                        <a:cubicBezTo>
                          <a:pt x="988" y="1072"/>
                          <a:pt x="988" y="1072"/>
                          <a:pt x="988" y="1072"/>
                        </a:cubicBezTo>
                        <a:cubicBezTo>
                          <a:pt x="988" y="444"/>
                          <a:pt x="988" y="444"/>
                          <a:pt x="988" y="444"/>
                        </a:cubicBezTo>
                        <a:cubicBezTo>
                          <a:pt x="514" y="49"/>
                          <a:pt x="514" y="49"/>
                          <a:pt x="514" y="49"/>
                        </a:cubicBezTo>
                        <a:cubicBezTo>
                          <a:pt x="41" y="444"/>
                          <a:pt x="41" y="444"/>
                          <a:pt x="41" y="444"/>
                        </a:cubicBezTo>
                        <a:lnTo>
                          <a:pt x="41" y="1072"/>
                        </a:lnTo>
                        <a:close/>
                      </a:path>
                    </a:pathLst>
                  </a:custGeom>
                  <a:solidFill>
                    <a:schemeClr val="tx2"/>
                  </a:solidFill>
                  <a:ln w="9525" cap="sq">
                    <a:noFill/>
                    <a:bevel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Freeform 17"/>
                  <p:cNvSpPr>
                    <a:spLocks noEditPoints="1"/>
                  </p:cNvSpPr>
                  <p:nvPr/>
                </p:nvSpPr>
                <p:spPr bwMode="auto">
                  <a:xfrm>
                    <a:off x="9709150" y="3611563"/>
                    <a:ext cx="735013" cy="977900"/>
                  </a:xfrm>
                  <a:custGeom>
                    <a:avLst/>
                    <a:gdLst>
                      <a:gd name="T0" fmla="*/ 463 w 463"/>
                      <a:gd name="T1" fmla="*/ 616 h 616"/>
                      <a:gd name="T2" fmla="*/ 0 w 463"/>
                      <a:gd name="T3" fmla="*/ 616 h 616"/>
                      <a:gd name="T4" fmla="*/ 0 w 463"/>
                      <a:gd name="T5" fmla="*/ 0 h 616"/>
                      <a:gd name="T6" fmla="*/ 463 w 463"/>
                      <a:gd name="T7" fmla="*/ 0 h 616"/>
                      <a:gd name="T8" fmla="*/ 463 w 463"/>
                      <a:gd name="T9" fmla="*/ 616 h 616"/>
                      <a:gd name="T10" fmla="*/ 79 w 463"/>
                      <a:gd name="T11" fmla="*/ 539 h 616"/>
                      <a:gd name="T12" fmla="*/ 386 w 463"/>
                      <a:gd name="T13" fmla="*/ 539 h 616"/>
                      <a:gd name="T14" fmla="*/ 386 w 463"/>
                      <a:gd name="T15" fmla="*/ 77 h 616"/>
                      <a:gd name="T16" fmla="*/ 79 w 463"/>
                      <a:gd name="T17" fmla="*/ 77 h 616"/>
                      <a:gd name="T18" fmla="*/ 79 w 463"/>
                      <a:gd name="T19" fmla="*/ 539 h 6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3" h="616">
                        <a:moveTo>
                          <a:pt x="463" y="616"/>
                        </a:moveTo>
                        <a:lnTo>
                          <a:pt x="0" y="616"/>
                        </a:lnTo>
                        <a:lnTo>
                          <a:pt x="0" y="0"/>
                        </a:lnTo>
                        <a:lnTo>
                          <a:pt x="463" y="0"/>
                        </a:lnTo>
                        <a:lnTo>
                          <a:pt x="463" y="616"/>
                        </a:lnTo>
                        <a:close/>
                        <a:moveTo>
                          <a:pt x="79" y="539"/>
                        </a:moveTo>
                        <a:lnTo>
                          <a:pt x="386" y="539"/>
                        </a:lnTo>
                        <a:lnTo>
                          <a:pt x="386" y="77"/>
                        </a:lnTo>
                        <a:lnTo>
                          <a:pt x="79" y="77"/>
                        </a:lnTo>
                        <a:lnTo>
                          <a:pt x="79" y="539"/>
                        </a:lnTo>
                        <a:close/>
                      </a:path>
                    </a:pathLst>
                  </a:custGeom>
                  <a:solidFill>
                    <a:schemeClr val="tx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38" name="Freeform: Shape 37"/>
                <p:cNvSpPr>
                  <a:spLocks noChangeAspect="1"/>
                </p:cNvSpPr>
                <p:nvPr/>
              </p:nvSpPr>
              <p:spPr>
                <a:xfrm>
                  <a:off x="9470397" y="3845566"/>
                  <a:ext cx="2772279" cy="502920"/>
                </a:xfrm>
                <a:custGeom>
                  <a:avLst/>
                  <a:gdLst>
                    <a:gd name="connsiteX0" fmla="*/ 2035164 w 2142282"/>
                    <a:gd name="connsiteY0" fmla="*/ 291940 h 388632"/>
                    <a:gd name="connsiteX1" fmla="*/ 2011870 w 2142282"/>
                    <a:gd name="connsiteY1" fmla="*/ 301365 h 388632"/>
                    <a:gd name="connsiteX2" fmla="*/ 2000492 w 2142282"/>
                    <a:gd name="connsiteY2" fmla="*/ 328371 h 388632"/>
                    <a:gd name="connsiteX3" fmla="*/ 2064756 w 2142282"/>
                    <a:gd name="connsiteY3" fmla="*/ 328371 h 388632"/>
                    <a:gd name="connsiteX4" fmla="*/ 2056456 w 2142282"/>
                    <a:gd name="connsiteY4" fmla="*/ 301512 h 388632"/>
                    <a:gd name="connsiteX5" fmla="*/ 2035164 w 2142282"/>
                    <a:gd name="connsiteY5" fmla="*/ 291940 h 388632"/>
                    <a:gd name="connsiteX6" fmla="*/ 1758938 w 2142282"/>
                    <a:gd name="connsiteY6" fmla="*/ 291940 h 388632"/>
                    <a:gd name="connsiteX7" fmla="*/ 1735644 w 2142282"/>
                    <a:gd name="connsiteY7" fmla="*/ 301365 h 388632"/>
                    <a:gd name="connsiteX8" fmla="*/ 1724266 w 2142282"/>
                    <a:gd name="connsiteY8" fmla="*/ 328371 h 388632"/>
                    <a:gd name="connsiteX9" fmla="*/ 1788532 w 2142282"/>
                    <a:gd name="connsiteY9" fmla="*/ 328371 h 388632"/>
                    <a:gd name="connsiteX10" fmla="*/ 1780230 w 2142282"/>
                    <a:gd name="connsiteY10" fmla="*/ 301512 h 388632"/>
                    <a:gd name="connsiteX11" fmla="*/ 1758938 w 2142282"/>
                    <a:gd name="connsiteY11" fmla="*/ 291940 h 388632"/>
                    <a:gd name="connsiteX12" fmla="*/ 1387464 w 2142282"/>
                    <a:gd name="connsiteY12" fmla="*/ 291940 h 388632"/>
                    <a:gd name="connsiteX13" fmla="*/ 1364170 w 2142282"/>
                    <a:gd name="connsiteY13" fmla="*/ 301365 h 388632"/>
                    <a:gd name="connsiteX14" fmla="*/ 1352792 w 2142282"/>
                    <a:gd name="connsiteY14" fmla="*/ 328371 h 388632"/>
                    <a:gd name="connsiteX15" fmla="*/ 1417056 w 2142282"/>
                    <a:gd name="connsiteY15" fmla="*/ 328371 h 388632"/>
                    <a:gd name="connsiteX16" fmla="*/ 1408756 w 2142282"/>
                    <a:gd name="connsiteY16" fmla="*/ 301512 h 388632"/>
                    <a:gd name="connsiteX17" fmla="*/ 1387464 w 2142282"/>
                    <a:gd name="connsiteY17" fmla="*/ 291940 h 388632"/>
                    <a:gd name="connsiteX18" fmla="*/ 1057702 w 2142282"/>
                    <a:gd name="connsiteY18" fmla="*/ 291940 h 388632"/>
                    <a:gd name="connsiteX19" fmla="*/ 1029524 w 2142282"/>
                    <a:gd name="connsiteY19" fmla="*/ 303856 h 388632"/>
                    <a:gd name="connsiteX20" fmla="*/ 1019026 w 2142282"/>
                    <a:gd name="connsiteY20" fmla="*/ 336965 h 388632"/>
                    <a:gd name="connsiteX21" fmla="*/ 1029280 w 2142282"/>
                    <a:gd name="connsiteY21" fmla="*/ 368512 h 388632"/>
                    <a:gd name="connsiteX22" fmla="*/ 1057312 w 2142282"/>
                    <a:gd name="connsiteY22" fmla="*/ 380428 h 388632"/>
                    <a:gd name="connsiteX23" fmla="*/ 1085146 w 2142282"/>
                    <a:gd name="connsiteY23" fmla="*/ 368708 h 388632"/>
                    <a:gd name="connsiteX24" fmla="*/ 1094914 w 2142282"/>
                    <a:gd name="connsiteY24" fmla="*/ 336184 h 388632"/>
                    <a:gd name="connsiteX25" fmla="*/ 1085196 w 2142282"/>
                    <a:gd name="connsiteY25" fmla="*/ 303367 h 388632"/>
                    <a:gd name="connsiteX26" fmla="*/ 1057702 w 2142282"/>
                    <a:gd name="connsiteY26" fmla="*/ 291940 h 388632"/>
                    <a:gd name="connsiteX27" fmla="*/ 807610 w 2142282"/>
                    <a:gd name="connsiteY27" fmla="*/ 291940 h 388632"/>
                    <a:gd name="connsiteX28" fmla="*/ 781630 w 2142282"/>
                    <a:gd name="connsiteY28" fmla="*/ 304002 h 388632"/>
                    <a:gd name="connsiteX29" fmla="*/ 771376 w 2142282"/>
                    <a:gd name="connsiteY29" fmla="*/ 337161 h 388632"/>
                    <a:gd name="connsiteX30" fmla="*/ 780604 w 2142282"/>
                    <a:gd name="connsiteY30" fmla="*/ 369147 h 388632"/>
                    <a:gd name="connsiteX31" fmla="*/ 804388 w 2142282"/>
                    <a:gd name="connsiteY31" fmla="*/ 380428 h 388632"/>
                    <a:gd name="connsiteX32" fmla="*/ 830856 w 2142282"/>
                    <a:gd name="connsiteY32" fmla="*/ 369831 h 388632"/>
                    <a:gd name="connsiteX33" fmla="*/ 840232 w 2142282"/>
                    <a:gd name="connsiteY33" fmla="*/ 343997 h 388632"/>
                    <a:gd name="connsiteX34" fmla="*/ 840232 w 2142282"/>
                    <a:gd name="connsiteY34" fmla="*/ 325343 h 388632"/>
                    <a:gd name="connsiteX35" fmla="*/ 831392 w 2142282"/>
                    <a:gd name="connsiteY35" fmla="*/ 301658 h 388632"/>
                    <a:gd name="connsiteX36" fmla="*/ 807610 w 2142282"/>
                    <a:gd name="connsiteY36" fmla="*/ 291940 h 388632"/>
                    <a:gd name="connsiteX37" fmla="*/ 701664 w 2142282"/>
                    <a:gd name="connsiteY37" fmla="*/ 291940 h 388632"/>
                    <a:gd name="connsiteX38" fmla="*/ 678370 w 2142282"/>
                    <a:gd name="connsiteY38" fmla="*/ 301365 h 388632"/>
                    <a:gd name="connsiteX39" fmla="*/ 666992 w 2142282"/>
                    <a:gd name="connsiteY39" fmla="*/ 328371 h 388632"/>
                    <a:gd name="connsiteX40" fmla="*/ 731256 w 2142282"/>
                    <a:gd name="connsiteY40" fmla="*/ 328371 h 388632"/>
                    <a:gd name="connsiteX41" fmla="*/ 722956 w 2142282"/>
                    <a:gd name="connsiteY41" fmla="*/ 301512 h 388632"/>
                    <a:gd name="connsiteX42" fmla="*/ 701664 w 2142282"/>
                    <a:gd name="connsiteY42" fmla="*/ 291940 h 388632"/>
                    <a:gd name="connsiteX43" fmla="*/ 454014 w 2142282"/>
                    <a:gd name="connsiteY43" fmla="*/ 291940 h 388632"/>
                    <a:gd name="connsiteX44" fmla="*/ 430720 w 2142282"/>
                    <a:gd name="connsiteY44" fmla="*/ 301365 h 388632"/>
                    <a:gd name="connsiteX45" fmla="*/ 419340 w 2142282"/>
                    <a:gd name="connsiteY45" fmla="*/ 328371 h 388632"/>
                    <a:gd name="connsiteX46" fmla="*/ 483608 w 2142282"/>
                    <a:gd name="connsiteY46" fmla="*/ 328371 h 388632"/>
                    <a:gd name="connsiteX47" fmla="*/ 475306 w 2142282"/>
                    <a:gd name="connsiteY47" fmla="*/ 301512 h 388632"/>
                    <a:gd name="connsiteX48" fmla="*/ 454014 w 2142282"/>
                    <a:gd name="connsiteY48" fmla="*/ 291940 h 388632"/>
                    <a:gd name="connsiteX49" fmla="*/ 133776 w 2142282"/>
                    <a:gd name="connsiteY49" fmla="*/ 291940 h 388632"/>
                    <a:gd name="connsiteX50" fmla="*/ 105600 w 2142282"/>
                    <a:gd name="connsiteY50" fmla="*/ 303856 h 388632"/>
                    <a:gd name="connsiteX51" fmla="*/ 95100 w 2142282"/>
                    <a:gd name="connsiteY51" fmla="*/ 336965 h 388632"/>
                    <a:gd name="connsiteX52" fmla="*/ 105356 w 2142282"/>
                    <a:gd name="connsiteY52" fmla="*/ 368512 h 388632"/>
                    <a:gd name="connsiteX53" fmla="*/ 133386 w 2142282"/>
                    <a:gd name="connsiteY53" fmla="*/ 380428 h 388632"/>
                    <a:gd name="connsiteX54" fmla="*/ 161222 w 2142282"/>
                    <a:gd name="connsiteY54" fmla="*/ 368708 h 388632"/>
                    <a:gd name="connsiteX55" fmla="*/ 170988 w 2142282"/>
                    <a:gd name="connsiteY55" fmla="*/ 336184 h 388632"/>
                    <a:gd name="connsiteX56" fmla="*/ 161270 w 2142282"/>
                    <a:gd name="connsiteY56" fmla="*/ 303367 h 388632"/>
                    <a:gd name="connsiteX57" fmla="*/ 133776 w 2142282"/>
                    <a:gd name="connsiteY57" fmla="*/ 291940 h 388632"/>
                    <a:gd name="connsiteX58" fmla="*/ 1863714 w 2142282"/>
                    <a:gd name="connsiteY58" fmla="*/ 284224 h 388632"/>
                    <a:gd name="connsiteX59" fmla="*/ 1873676 w 2142282"/>
                    <a:gd name="connsiteY59" fmla="*/ 285982 h 388632"/>
                    <a:gd name="connsiteX60" fmla="*/ 1873676 w 2142282"/>
                    <a:gd name="connsiteY60" fmla="*/ 295554 h 388632"/>
                    <a:gd name="connsiteX61" fmla="*/ 1863128 w 2142282"/>
                    <a:gd name="connsiteY61" fmla="*/ 292331 h 388632"/>
                    <a:gd name="connsiteX62" fmla="*/ 1843300 w 2142282"/>
                    <a:gd name="connsiteY62" fmla="*/ 304539 h 388632"/>
                    <a:gd name="connsiteX63" fmla="*/ 1835292 w 2142282"/>
                    <a:gd name="connsiteY63" fmla="*/ 339212 h 388632"/>
                    <a:gd name="connsiteX64" fmla="*/ 1835292 w 2142282"/>
                    <a:gd name="connsiteY64" fmla="*/ 386190 h 388632"/>
                    <a:gd name="connsiteX65" fmla="*/ 1826502 w 2142282"/>
                    <a:gd name="connsiteY65" fmla="*/ 386190 h 388632"/>
                    <a:gd name="connsiteX66" fmla="*/ 1826502 w 2142282"/>
                    <a:gd name="connsiteY66" fmla="*/ 286178 h 388632"/>
                    <a:gd name="connsiteX67" fmla="*/ 1835292 w 2142282"/>
                    <a:gd name="connsiteY67" fmla="*/ 286178 h 388632"/>
                    <a:gd name="connsiteX68" fmla="*/ 1835292 w 2142282"/>
                    <a:gd name="connsiteY68" fmla="*/ 308348 h 388632"/>
                    <a:gd name="connsiteX69" fmla="*/ 1835682 w 2142282"/>
                    <a:gd name="connsiteY69" fmla="*/ 308348 h 388632"/>
                    <a:gd name="connsiteX70" fmla="*/ 1846524 w 2142282"/>
                    <a:gd name="connsiteY70" fmla="*/ 290573 h 388632"/>
                    <a:gd name="connsiteX71" fmla="*/ 1863714 w 2142282"/>
                    <a:gd name="connsiteY71" fmla="*/ 284224 h 388632"/>
                    <a:gd name="connsiteX72" fmla="*/ 2035554 w 2142282"/>
                    <a:gd name="connsiteY72" fmla="*/ 283736 h 388632"/>
                    <a:gd name="connsiteX73" fmla="*/ 2064170 w 2142282"/>
                    <a:gd name="connsiteY73" fmla="*/ 296824 h 388632"/>
                    <a:gd name="connsiteX74" fmla="*/ 2074132 w 2142282"/>
                    <a:gd name="connsiteY74" fmla="*/ 332570 h 388632"/>
                    <a:gd name="connsiteX75" fmla="*/ 2074132 w 2142282"/>
                    <a:gd name="connsiteY75" fmla="*/ 336575 h 388632"/>
                    <a:gd name="connsiteX76" fmla="*/ 2000100 w 2142282"/>
                    <a:gd name="connsiteY76" fmla="*/ 336575 h 388632"/>
                    <a:gd name="connsiteX77" fmla="*/ 2009624 w 2142282"/>
                    <a:gd name="connsiteY77" fmla="*/ 368805 h 388632"/>
                    <a:gd name="connsiteX78" fmla="*/ 2035750 w 2142282"/>
                    <a:gd name="connsiteY78" fmla="*/ 380428 h 388632"/>
                    <a:gd name="connsiteX79" fmla="*/ 2068566 w 2142282"/>
                    <a:gd name="connsiteY79" fmla="*/ 368024 h 388632"/>
                    <a:gd name="connsiteX80" fmla="*/ 2068566 w 2142282"/>
                    <a:gd name="connsiteY80" fmla="*/ 377595 h 388632"/>
                    <a:gd name="connsiteX81" fmla="*/ 2033894 w 2142282"/>
                    <a:gd name="connsiteY81" fmla="*/ 388632 h 388632"/>
                    <a:gd name="connsiteX82" fmla="*/ 2002640 w 2142282"/>
                    <a:gd name="connsiteY82" fmla="*/ 374763 h 388632"/>
                    <a:gd name="connsiteX83" fmla="*/ 1990724 w 2142282"/>
                    <a:gd name="connsiteY83" fmla="*/ 335598 h 388632"/>
                    <a:gd name="connsiteX84" fmla="*/ 2003176 w 2142282"/>
                    <a:gd name="connsiteY84" fmla="*/ 298728 h 388632"/>
                    <a:gd name="connsiteX85" fmla="*/ 2035554 w 2142282"/>
                    <a:gd name="connsiteY85" fmla="*/ 283736 h 388632"/>
                    <a:gd name="connsiteX86" fmla="*/ 1936736 w 2142282"/>
                    <a:gd name="connsiteY86" fmla="*/ 283736 h 388632"/>
                    <a:gd name="connsiteX87" fmla="*/ 1961544 w 2142282"/>
                    <a:gd name="connsiteY87" fmla="*/ 294528 h 388632"/>
                    <a:gd name="connsiteX88" fmla="*/ 1970140 w 2142282"/>
                    <a:gd name="connsiteY88" fmla="*/ 325343 h 388632"/>
                    <a:gd name="connsiteX89" fmla="*/ 1970140 w 2142282"/>
                    <a:gd name="connsiteY89" fmla="*/ 386190 h 388632"/>
                    <a:gd name="connsiteX90" fmla="*/ 1961154 w 2142282"/>
                    <a:gd name="connsiteY90" fmla="*/ 386190 h 388632"/>
                    <a:gd name="connsiteX91" fmla="*/ 1961154 w 2142282"/>
                    <a:gd name="connsiteY91" fmla="*/ 327980 h 388632"/>
                    <a:gd name="connsiteX92" fmla="*/ 1935174 w 2142282"/>
                    <a:gd name="connsiteY92" fmla="*/ 291940 h 388632"/>
                    <a:gd name="connsiteX93" fmla="*/ 1911440 w 2142282"/>
                    <a:gd name="connsiteY93" fmla="*/ 302537 h 388632"/>
                    <a:gd name="connsiteX94" fmla="*/ 1902162 w 2142282"/>
                    <a:gd name="connsiteY94" fmla="*/ 328761 h 388632"/>
                    <a:gd name="connsiteX95" fmla="*/ 1902162 w 2142282"/>
                    <a:gd name="connsiteY95" fmla="*/ 386190 h 388632"/>
                    <a:gd name="connsiteX96" fmla="*/ 1893176 w 2142282"/>
                    <a:gd name="connsiteY96" fmla="*/ 386190 h 388632"/>
                    <a:gd name="connsiteX97" fmla="*/ 1893176 w 2142282"/>
                    <a:gd name="connsiteY97" fmla="*/ 286178 h 388632"/>
                    <a:gd name="connsiteX98" fmla="*/ 1902162 w 2142282"/>
                    <a:gd name="connsiteY98" fmla="*/ 286178 h 388632"/>
                    <a:gd name="connsiteX99" fmla="*/ 1902162 w 2142282"/>
                    <a:gd name="connsiteY99" fmla="*/ 304344 h 388632"/>
                    <a:gd name="connsiteX100" fmla="*/ 1902552 w 2142282"/>
                    <a:gd name="connsiteY100" fmla="*/ 304344 h 388632"/>
                    <a:gd name="connsiteX101" fmla="*/ 1936736 w 2142282"/>
                    <a:gd name="connsiteY101" fmla="*/ 283736 h 388632"/>
                    <a:gd name="connsiteX102" fmla="*/ 1759328 w 2142282"/>
                    <a:gd name="connsiteY102" fmla="*/ 283736 h 388632"/>
                    <a:gd name="connsiteX103" fmla="*/ 1787946 w 2142282"/>
                    <a:gd name="connsiteY103" fmla="*/ 296824 h 388632"/>
                    <a:gd name="connsiteX104" fmla="*/ 1797908 w 2142282"/>
                    <a:gd name="connsiteY104" fmla="*/ 332570 h 388632"/>
                    <a:gd name="connsiteX105" fmla="*/ 1797908 w 2142282"/>
                    <a:gd name="connsiteY105" fmla="*/ 336575 h 388632"/>
                    <a:gd name="connsiteX106" fmla="*/ 1723876 w 2142282"/>
                    <a:gd name="connsiteY106" fmla="*/ 336575 h 388632"/>
                    <a:gd name="connsiteX107" fmla="*/ 1733398 w 2142282"/>
                    <a:gd name="connsiteY107" fmla="*/ 368805 h 388632"/>
                    <a:gd name="connsiteX108" fmla="*/ 1759524 w 2142282"/>
                    <a:gd name="connsiteY108" fmla="*/ 380428 h 388632"/>
                    <a:gd name="connsiteX109" fmla="*/ 1792340 w 2142282"/>
                    <a:gd name="connsiteY109" fmla="*/ 368024 h 388632"/>
                    <a:gd name="connsiteX110" fmla="*/ 1792340 w 2142282"/>
                    <a:gd name="connsiteY110" fmla="*/ 377595 h 388632"/>
                    <a:gd name="connsiteX111" fmla="*/ 1757668 w 2142282"/>
                    <a:gd name="connsiteY111" fmla="*/ 388632 h 388632"/>
                    <a:gd name="connsiteX112" fmla="*/ 1726414 w 2142282"/>
                    <a:gd name="connsiteY112" fmla="*/ 374763 h 388632"/>
                    <a:gd name="connsiteX113" fmla="*/ 1714500 w 2142282"/>
                    <a:gd name="connsiteY113" fmla="*/ 335598 h 388632"/>
                    <a:gd name="connsiteX114" fmla="*/ 1726952 w 2142282"/>
                    <a:gd name="connsiteY114" fmla="*/ 298728 h 388632"/>
                    <a:gd name="connsiteX115" fmla="*/ 1759328 w 2142282"/>
                    <a:gd name="connsiteY115" fmla="*/ 283736 h 388632"/>
                    <a:gd name="connsiteX116" fmla="*/ 1603362 w 2142282"/>
                    <a:gd name="connsiteY116" fmla="*/ 283736 h 388632"/>
                    <a:gd name="connsiteX117" fmla="*/ 1628170 w 2142282"/>
                    <a:gd name="connsiteY117" fmla="*/ 294528 h 388632"/>
                    <a:gd name="connsiteX118" fmla="*/ 1636764 w 2142282"/>
                    <a:gd name="connsiteY118" fmla="*/ 325343 h 388632"/>
                    <a:gd name="connsiteX119" fmla="*/ 1636764 w 2142282"/>
                    <a:gd name="connsiteY119" fmla="*/ 386190 h 388632"/>
                    <a:gd name="connsiteX120" fmla="*/ 1627778 w 2142282"/>
                    <a:gd name="connsiteY120" fmla="*/ 386190 h 388632"/>
                    <a:gd name="connsiteX121" fmla="*/ 1627778 w 2142282"/>
                    <a:gd name="connsiteY121" fmla="*/ 327980 h 388632"/>
                    <a:gd name="connsiteX122" fmla="*/ 1601800 w 2142282"/>
                    <a:gd name="connsiteY122" fmla="*/ 291940 h 388632"/>
                    <a:gd name="connsiteX123" fmla="*/ 1578066 w 2142282"/>
                    <a:gd name="connsiteY123" fmla="*/ 302537 h 388632"/>
                    <a:gd name="connsiteX124" fmla="*/ 1568788 w 2142282"/>
                    <a:gd name="connsiteY124" fmla="*/ 328761 h 388632"/>
                    <a:gd name="connsiteX125" fmla="*/ 1568788 w 2142282"/>
                    <a:gd name="connsiteY125" fmla="*/ 386190 h 388632"/>
                    <a:gd name="connsiteX126" fmla="*/ 1559802 w 2142282"/>
                    <a:gd name="connsiteY126" fmla="*/ 386190 h 388632"/>
                    <a:gd name="connsiteX127" fmla="*/ 1559802 w 2142282"/>
                    <a:gd name="connsiteY127" fmla="*/ 286178 h 388632"/>
                    <a:gd name="connsiteX128" fmla="*/ 1568788 w 2142282"/>
                    <a:gd name="connsiteY128" fmla="*/ 286178 h 388632"/>
                    <a:gd name="connsiteX129" fmla="*/ 1568788 w 2142282"/>
                    <a:gd name="connsiteY129" fmla="*/ 304344 h 388632"/>
                    <a:gd name="connsiteX130" fmla="*/ 1569178 w 2142282"/>
                    <a:gd name="connsiteY130" fmla="*/ 304344 h 388632"/>
                    <a:gd name="connsiteX131" fmla="*/ 1603362 w 2142282"/>
                    <a:gd name="connsiteY131" fmla="*/ 283736 h 388632"/>
                    <a:gd name="connsiteX132" fmla="*/ 1387854 w 2142282"/>
                    <a:gd name="connsiteY132" fmla="*/ 283736 h 388632"/>
                    <a:gd name="connsiteX133" fmla="*/ 1416470 w 2142282"/>
                    <a:gd name="connsiteY133" fmla="*/ 296824 h 388632"/>
                    <a:gd name="connsiteX134" fmla="*/ 1426432 w 2142282"/>
                    <a:gd name="connsiteY134" fmla="*/ 332570 h 388632"/>
                    <a:gd name="connsiteX135" fmla="*/ 1426432 w 2142282"/>
                    <a:gd name="connsiteY135" fmla="*/ 336575 h 388632"/>
                    <a:gd name="connsiteX136" fmla="*/ 1352400 w 2142282"/>
                    <a:gd name="connsiteY136" fmla="*/ 336575 h 388632"/>
                    <a:gd name="connsiteX137" fmla="*/ 1361924 w 2142282"/>
                    <a:gd name="connsiteY137" fmla="*/ 368805 h 388632"/>
                    <a:gd name="connsiteX138" fmla="*/ 1388050 w 2142282"/>
                    <a:gd name="connsiteY138" fmla="*/ 380428 h 388632"/>
                    <a:gd name="connsiteX139" fmla="*/ 1420866 w 2142282"/>
                    <a:gd name="connsiteY139" fmla="*/ 368024 h 388632"/>
                    <a:gd name="connsiteX140" fmla="*/ 1420866 w 2142282"/>
                    <a:gd name="connsiteY140" fmla="*/ 377595 h 388632"/>
                    <a:gd name="connsiteX141" fmla="*/ 1386194 w 2142282"/>
                    <a:gd name="connsiteY141" fmla="*/ 388632 h 388632"/>
                    <a:gd name="connsiteX142" fmla="*/ 1354940 w 2142282"/>
                    <a:gd name="connsiteY142" fmla="*/ 374763 h 388632"/>
                    <a:gd name="connsiteX143" fmla="*/ 1343024 w 2142282"/>
                    <a:gd name="connsiteY143" fmla="*/ 335598 h 388632"/>
                    <a:gd name="connsiteX144" fmla="*/ 1355476 w 2142282"/>
                    <a:gd name="connsiteY144" fmla="*/ 298728 h 388632"/>
                    <a:gd name="connsiteX145" fmla="*/ 1387854 w 2142282"/>
                    <a:gd name="connsiteY145" fmla="*/ 283736 h 388632"/>
                    <a:gd name="connsiteX146" fmla="*/ 1058092 w 2142282"/>
                    <a:gd name="connsiteY146" fmla="*/ 283736 h 388632"/>
                    <a:gd name="connsiteX147" fmla="*/ 1091886 w 2142282"/>
                    <a:gd name="connsiteY147" fmla="*/ 297703 h 388632"/>
                    <a:gd name="connsiteX148" fmla="*/ 1104290 w 2142282"/>
                    <a:gd name="connsiteY148" fmla="*/ 336379 h 388632"/>
                    <a:gd name="connsiteX149" fmla="*/ 1091642 w 2142282"/>
                    <a:gd name="connsiteY149" fmla="*/ 374177 h 388632"/>
                    <a:gd name="connsiteX150" fmla="*/ 1057018 w 2142282"/>
                    <a:gd name="connsiteY150" fmla="*/ 388632 h 388632"/>
                    <a:gd name="connsiteX151" fmla="*/ 1022394 w 2142282"/>
                    <a:gd name="connsiteY151" fmla="*/ 374226 h 388632"/>
                    <a:gd name="connsiteX152" fmla="*/ 1009648 w 2142282"/>
                    <a:gd name="connsiteY152" fmla="*/ 336770 h 388632"/>
                    <a:gd name="connsiteX153" fmla="*/ 1022980 w 2142282"/>
                    <a:gd name="connsiteY153" fmla="*/ 297800 h 388632"/>
                    <a:gd name="connsiteX154" fmla="*/ 1058092 w 2142282"/>
                    <a:gd name="connsiteY154" fmla="*/ 283736 h 388632"/>
                    <a:gd name="connsiteX155" fmla="*/ 702054 w 2142282"/>
                    <a:gd name="connsiteY155" fmla="*/ 283736 h 388632"/>
                    <a:gd name="connsiteX156" fmla="*/ 730670 w 2142282"/>
                    <a:gd name="connsiteY156" fmla="*/ 296824 h 388632"/>
                    <a:gd name="connsiteX157" fmla="*/ 740632 w 2142282"/>
                    <a:gd name="connsiteY157" fmla="*/ 332570 h 388632"/>
                    <a:gd name="connsiteX158" fmla="*/ 740632 w 2142282"/>
                    <a:gd name="connsiteY158" fmla="*/ 336575 h 388632"/>
                    <a:gd name="connsiteX159" fmla="*/ 666600 w 2142282"/>
                    <a:gd name="connsiteY159" fmla="*/ 336575 h 388632"/>
                    <a:gd name="connsiteX160" fmla="*/ 676124 w 2142282"/>
                    <a:gd name="connsiteY160" fmla="*/ 368805 h 388632"/>
                    <a:gd name="connsiteX161" fmla="*/ 702250 w 2142282"/>
                    <a:gd name="connsiteY161" fmla="*/ 380428 h 388632"/>
                    <a:gd name="connsiteX162" fmla="*/ 735066 w 2142282"/>
                    <a:gd name="connsiteY162" fmla="*/ 368024 h 388632"/>
                    <a:gd name="connsiteX163" fmla="*/ 735066 w 2142282"/>
                    <a:gd name="connsiteY163" fmla="*/ 377595 h 388632"/>
                    <a:gd name="connsiteX164" fmla="*/ 700394 w 2142282"/>
                    <a:gd name="connsiteY164" fmla="*/ 388632 h 388632"/>
                    <a:gd name="connsiteX165" fmla="*/ 669140 w 2142282"/>
                    <a:gd name="connsiteY165" fmla="*/ 374763 h 388632"/>
                    <a:gd name="connsiteX166" fmla="*/ 657224 w 2142282"/>
                    <a:gd name="connsiteY166" fmla="*/ 335598 h 388632"/>
                    <a:gd name="connsiteX167" fmla="*/ 669676 w 2142282"/>
                    <a:gd name="connsiteY167" fmla="*/ 298728 h 388632"/>
                    <a:gd name="connsiteX168" fmla="*/ 702054 w 2142282"/>
                    <a:gd name="connsiteY168" fmla="*/ 283736 h 388632"/>
                    <a:gd name="connsiteX169" fmla="*/ 564550 w 2142282"/>
                    <a:gd name="connsiteY169" fmla="*/ 283736 h 388632"/>
                    <a:gd name="connsiteX170" fmla="*/ 586722 w 2142282"/>
                    <a:gd name="connsiteY170" fmla="*/ 288424 h 388632"/>
                    <a:gd name="connsiteX171" fmla="*/ 586722 w 2142282"/>
                    <a:gd name="connsiteY171" fmla="*/ 298582 h 388632"/>
                    <a:gd name="connsiteX172" fmla="*/ 563184 w 2142282"/>
                    <a:gd name="connsiteY172" fmla="*/ 291940 h 388632"/>
                    <a:gd name="connsiteX173" fmla="*/ 534664 w 2142282"/>
                    <a:gd name="connsiteY173" fmla="*/ 304588 h 388632"/>
                    <a:gd name="connsiteX174" fmla="*/ 523726 w 2142282"/>
                    <a:gd name="connsiteY174" fmla="*/ 337356 h 388632"/>
                    <a:gd name="connsiteX175" fmla="*/ 533736 w 2142282"/>
                    <a:gd name="connsiteY175" fmla="*/ 368610 h 388632"/>
                    <a:gd name="connsiteX176" fmla="*/ 560156 w 2142282"/>
                    <a:gd name="connsiteY176" fmla="*/ 380428 h 388632"/>
                    <a:gd name="connsiteX177" fmla="*/ 586330 w 2142282"/>
                    <a:gd name="connsiteY177" fmla="*/ 372419 h 388632"/>
                    <a:gd name="connsiteX178" fmla="*/ 586330 w 2142282"/>
                    <a:gd name="connsiteY178" fmla="*/ 381795 h 388632"/>
                    <a:gd name="connsiteX179" fmla="*/ 559766 w 2142282"/>
                    <a:gd name="connsiteY179" fmla="*/ 388632 h 388632"/>
                    <a:gd name="connsiteX180" fmla="*/ 526850 w 2142282"/>
                    <a:gd name="connsiteY180" fmla="*/ 374617 h 388632"/>
                    <a:gd name="connsiteX181" fmla="*/ 514350 w 2142282"/>
                    <a:gd name="connsiteY181" fmla="*/ 337942 h 388632"/>
                    <a:gd name="connsiteX182" fmla="*/ 528414 w 2142282"/>
                    <a:gd name="connsiteY182" fmla="*/ 298923 h 388632"/>
                    <a:gd name="connsiteX183" fmla="*/ 564550 w 2142282"/>
                    <a:gd name="connsiteY183" fmla="*/ 283736 h 388632"/>
                    <a:gd name="connsiteX184" fmla="*/ 454404 w 2142282"/>
                    <a:gd name="connsiteY184" fmla="*/ 283736 h 388632"/>
                    <a:gd name="connsiteX185" fmla="*/ 483020 w 2142282"/>
                    <a:gd name="connsiteY185" fmla="*/ 296824 h 388632"/>
                    <a:gd name="connsiteX186" fmla="*/ 492984 w 2142282"/>
                    <a:gd name="connsiteY186" fmla="*/ 332570 h 388632"/>
                    <a:gd name="connsiteX187" fmla="*/ 492984 w 2142282"/>
                    <a:gd name="connsiteY187" fmla="*/ 336575 h 388632"/>
                    <a:gd name="connsiteX188" fmla="*/ 418950 w 2142282"/>
                    <a:gd name="connsiteY188" fmla="*/ 336575 h 388632"/>
                    <a:gd name="connsiteX189" fmla="*/ 428474 w 2142282"/>
                    <a:gd name="connsiteY189" fmla="*/ 368805 h 388632"/>
                    <a:gd name="connsiteX190" fmla="*/ 454600 w 2142282"/>
                    <a:gd name="connsiteY190" fmla="*/ 380428 h 388632"/>
                    <a:gd name="connsiteX191" fmla="*/ 487416 w 2142282"/>
                    <a:gd name="connsiteY191" fmla="*/ 368024 h 388632"/>
                    <a:gd name="connsiteX192" fmla="*/ 487416 w 2142282"/>
                    <a:gd name="connsiteY192" fmla="*/ 377595 h 388632"/>
                    <a:gd name="connsiteX193" fmla="*/ 452744 w 2142282"/>
                    <a:gd name="connsiteY193" fmla="*/ 388632 h 388632"/>
                    <a:gd name="connsiteX194" fmla="*/ 421490 w 2142282"/>
                    <a:gd name="connsiteY194" fmla="*/ 374763 h 388632"/>
                    <a:gd name="connsiteX195" fmla="*/ 409574 w 2142282"/>
                    <a:gd name="connsiteY195" fmla="*/ 335598 h 388632"/>
                    <a:gd name="connsiteX196" fmla="*/ 422028 w 2142282"/>
                    <a:gd name="connsiteY196" fmla="*/ 298728 h 388632"/>
                    <a:gd name="connsiteX197" fmla="*/ 454404 w 2142282"/>
                    <a:gd name="connsiteY197" fmla="*/ 283736 h 388632"/>
                    <a:gd name="connsiteX198" fmla="*/ 355586 w 2142282"/>
                    <a:gd name="connsiteY198" fmla="*/ 283736 h 388632"/>
                    <a:gd name="connsiteX199" fmla="*/ 380394 w 2142282"/>
                    <a:gd name="connsiteY199" fmla="*/ 294528 h 388632"/>
                    <a:gd name="connsiteX200" fmla="*/ 388990 w 2142282"/>
                    <a:gd name="connsiteY200" fmla="*/ 325343 h 388632"/>
                    <a:gd name="connsiteX201" fmla="*/ 388990 w 2142282"/>
                    <a:gd name="connsiteY201" fmla="*/ 386190 h 388632"/>
                    <a:gd name="connsiteX202" fmla="*/ 380004 w 2142282"/>
                    <a:gd name="connsiteY202" fmla="*/ 386190 h 388632"/>
                    <a:gd name="connsiteX203" fmla="*/ 380004 w 2142282"/>
                    <a:gd name="connsiteY203" fmla="*/ 327980 h 388632"/>
                    <a:gd name="connsiteX204" fmla="*/ 354024 w 2142282"/>
                    <a:gd name="connsiteY204" fmla="*/ 291940 h 388632"/>
                    <a:gd name="connsiteX205" fmla="*/ 330290 w 2142282"/>
                    <a:gd name="connsiteY205" fmla="*/ 302537 h 388632"/>
                    <a:gd name="connsiteX206" fmla="*/ 321012 w 2142282"/>
                    <a:gd name="connsiteY206" fmla="*/ 328761 h 388632"/>
                    <a:gd name="connsiteX207" fmla="*/ 321012 w 2142282"/>
                    <a:gd name="connsiteY207" fmla="*/ 386190 h 388632"/>
                    <a:gd name="connsiteX208" fmla="*/ 312026 w 2142282"/>
                    <a:gd name="connsiteY208" fmla="*/ 386190 h 388632"/>
                    <a:gd name="connsiteX209" fmla="*/ 312026 w 2142282"/>
                    <a:gd name="connsiteY209" fmla="*/ 286178 h 388632"/>
                    <a:gd name="connsiteX210" fmla="*/ 321012 w 2142282"/>
                    <a:gd name="connsiteY210" fmla="*/ 286178 h 388632"/>
                    <a:gd name="connsiteX211" fmla="*/ 321012 w 2142282"/>
                    <a:gd name="connsiteY211" fmla="*/ 304344 h 388632"/>
                    <a:gd name="connsiteX212" fmla="*/ 321402 w 2142282"/>
                    <a:gd name="connsiteY212" fmla="*/ 304344 h 388632"/>
                    <a:gd name="connsiteX213" fmla="*/ 355586 w 2142282"/>
                    <a:gd name="connsiteY213" fmla="*/ 283736 h 388632"/>
                    <a:gd name="connsiteX214" fmla="*/ 250812 w 2142282"/>
                    <a:gd name="connsiteY214" fmla="*/ 283736 h 388632"/>
                    <a:gd name="connsiteX215" fmla="*/ 275620 w 2142282"/>
                    <a:gd name="connsiteY215" fmla="*/ 294528 h 388632"/>
                    <a:gd name="connsiteX216" fmla="*/ 284214 w 2142282"/>
                    <a:gd name="connsiteY216" fmla="*/ 325343 h 388632"/>
                    <a:gd name="connsiteX217" fmla="*/ 284214 w 2142282"/>
                    <a:gd name="connsiteY217" fmla="*/ 386190 h 388632"/>
                    <a:gd name="connsiteX218" fmla="*/ 275228 w 2142282"/>
                    <a:gd name="connsiteY218" fmla="*/ 386190 h 388632"/>
                    <a:gd name="connsiteX219" fmla="*/ 275228 w 2142282"/>
                    <a:gd name="connsiteY219" fmla="*/ 327980 h 388632"/>
                    <a:gd name="connsiteX220" fmla="*/ 249250 w 2142282"/>
                    <a:gd name="connsiteY220" fmla="*/ 291940 h 388632"/>
                    <a:gd name="connsiteX221" fmla="*/ 225516 w 2142282"/>
                    <a:gd name="connsiteY221" fmla="*/ 302537 h 388632"/>
                    <a:gd name="connsiteX222" fmla="*/ 216238 w 2142282"/>
                    <a:gd name="connsiteY222" fmla="*/ 328761 h 388632"/>
                    <a:gd name="connsiteX223" fmla="*/ 216238 w 2142282"/>
                    <a:gd name="connsiteY223" fmla="*/ 386190 h 388632"/>
                    <a:gd name="connsiteX224" fmla="*/ 207252 w 2142282"/>
                    <a:gd name="connsiteY224" fmla="*/ 386190 h 388632"/>
                    <a:gd name="connsiteX225" fmla="*/ 207252 w 2142282"/>
                    <a:gd name="connsiteY225" fmla="*/ 286178 h 388632"/>
                    <a:gd name="connsiteX226" fmla="*/ 216238 w 2142282"/>
                    <a:gd name="connsiteY226" fmla="*/ 286178 h 388632"/>
                    <a:gd name="connsiteX227" fmla="*/ 216238 w 2142282"/>
                    <a:gd name="connsiteY227" fmla="*/ 304344 h 388632"/>
                    <a:gd name="connsiteX228" fmla="*/ 216628 w 2142282"/>
                    <a:gd name="connsiteY228" fmla="*/ 304344 h 388632"/>
                    <a:gd name="connsiteX229" fmla="*/ 250812 w 2142282"/>
                    <a:gd name="connsiteY229" fmla="*/ 283736 h 388632"/>
                    <a:gd name="connsiteX230" fmla="*/ 134168 w 2142282"/>
                    <a:gd name="connsiteY230" fmla="*/ 283736 h 388632"/>
                    <a:gd name="connsiteX231" fmla="*/ 167962 w 2142282"/>
                    <a:gd name="connsiteY231" fmla="*/ 297703 h 388632"/>
                    <a:gd name="connsiteX232" fmla="*/ 180364 w 2142282"/>
                    <a:gd name="connsiteY232" fmla="*/ 336379 h 388632"/>
                    <a:gd name="connsiteX233" fmla="*/ 167716 w 2142282"/>
                    <a:gd name="connsiteY233" fmla="*/ 374177 h 388632"/>
                    <a:gd name="connsiteX234" fmla="*/ 133094 w 2142282"/>
                    <a:gd name="connsiteY234" fmla="*/ 388632 h 388632"/>
                    <a:gd name="connsiteX235" fmla="*/ 98470 w 2142282"/>
                    <a:gd name="connsiteY235" fmla="*/ 374226 h 388632"/>
                    <a:gd name="connsiteX236" fmla="*/ 85724 w 2142282"/>
                    <a:gd name="connsiteY236" fmla="*/ 336770 h 388632"/>
                    <a:gd name="connsiteX237" fmla="*/ 99056 w 2142282"/>
                    <a:gd name="connsiteY237" fmla="*/ 297800 h 388632"/>
                    <a:gd name="connsiteX238" fmla="*/ 134168 w 2142282"/>
                    <a:gd name="connsiteY238" fmla="*/ 283736 h 388632"/>
                    <a:gd name="connsiteX239" fmla="*/ 50200 w 2142282"/>
                    <a:gd name="connsiteY239" fmla="*/ 283736 h 388632"/>
                    <a:gd name="connsiteX240" fmla="*/ 72372 w 2142282"/>
                    <a:gd name="connsiteY240" fmla="*/ 288424 h 388632"/>
                    <a:gd name="connsiteX241" fmla="*/ 72372 w 2142282"/>
                    <a:gd name="connsiteY241" fmla="*/ 298582 h 388632"/>
                    <a:gd name="connsiteX242" fmla="*/ 48834 w 2142282"/>
                    <a:gd name="connsiteY242" fmla="*/ 291940 h 388632"/>
                    <a:gd name="connsiteX243" fmla="*/ 20314 w 2142282"/>
                    <a:gd name="connsiteY243" fmla="*/ 304588 h 388632"/>
                    <a:gd name="connsiteX244" fmla="*/ 9376 w 2142282"/>
                    <a:gd name="connsiteY244" fmla="*/ 337356 h 388632"/>
                    <a:gd name="connsiteX245" fmla="*/ 19386 w 2142282"/>
                    <a:gd name="connsiteY245" fmla="*/ 368610 h 388632"/>
                    <a:gd name="connsiteX246" fmla="*/ 45806 w 2142282"/>
                    <a:gd name="connsiteY246" fmla="*/ 380428 h 388632"/>
                    <a:gd name="connsiteX247" fmla="*/ 71980 w 2142282"/>
                    <a:gd name="connsiteY247" fmla="*/ 372419 h 388632"/>
                    <a:gd name="connsiteX248" fmla="*/ 71980 w 2142282"/>
                    <a:gd name="connsiteY248" fmla="*/ 381795 h 388632"/>
                    <a:gd name="connsiteX249" fmla="*/ 45416 w 2142282"/>
                    <a:gd name="connsiteY249" fmla="*/ 388632 h 388632"/>
                    <a:gd name="connsiteX250" fmla="*/ 12500 w 2142282"/>
                    <a:gd name="connsiteY250" fmla="*/ 374617 h 388632"/>
                    <a:gd name="connsiteX251" fmla="*/ 0 w 2142282"/>
                    <a:gd name="connsiteY251" fmla="*/ 337942 h 388632"/>
                    <a:gd name="connsiteX252" fmla="*/ 14064 w 2142282"/>
                    <a:gd name="connsiteY252" fmla="*/ 298923 h 388632"/>
                    <a:gd name="connsiteX253" fmla="*/ 50200 w 2142282"/>
                    <a:gd name="connsiteY253" fmla="*/ 283736 h 388632"/>
                    <a:gd name="connsiteX254" fmla="*/ 2115912 w 2142282"/>
                    <a:gd name="connsiteY254" fmla="*/ 257170 h 388632"/>
                    <a:gd name="connsiteX255" fmla="*/ 2115912 w 2142282"/>
                    <a:gd name="connsiteY255" fmla="*/ 286178 h 388632"/>
                    <a:gd name="connsiteX256" fmla="*/ 2142282 w 2142282"/>
                    <a:gd name="connsiteY256" fmla="*/ 286178 h 388632"/>
                    <a:gd name="connsiteX257" fmla="*/ 2142282 w 2142282"/>
                    <a:gd name="connsiteY257" fmla="*/ 294382 h 388632"/>
                    <a:gd name="connsiteX258" fmla="*/ 2115912 w 2142282"/>
                    <a:gd name="connsiteY258" fmla="*/ 294382 h 388632"/>
                    <a:gd name="connsiteX259" fmla="*/ 2115912 w 2142282"/>
                    <a:gd name="connsiteY259" fmla="*/ 360406 h 388632"/>
                    <a:gd name="connsiteX260" fmla="*/ 2119184 w 2142282"/>
                    <a:gd name="connsiteY260" fmla="*/ 375398 h 388632"/>
                    <a:gd name="connsiteX261" fmla="*/ 2130268 w 2142282"/>
                    <a:gd name="connsiteY261" fmla="*/ 380037 h 388632"/>
                    <a:gd name="connsiteX262" fmla="*/ 2142282 w 2142282"/>
                    <a:gd name="connsiteY262" fmla="*/ 376423 h 388632"/>
                    <a:gd name="connsiteX263" fmla="*/ 2142282 w 2142282"/>
                    <a:gd name="connsiteY263" fmla="*/ 384823 h 388632"/>
                    <a:gd name="connsiteX264" fmla="*/ 2129096 w 2142282"/>
                    <a:gd name="connsiteY264" fmla="*/ 388144 h 388632"/>
                    <a:gd name="connsiteX265" fmla="*/ 2106926 w 2142282"/>
                    <a:gd name="connsiteY265" fmla="*/ 361578 h 388632"/>
                    <a:gd name="connsiteX266" fmla="*/ 2106926 w 2142282"/>
                    <a:gd name="connsiteY266" fmla="*/ 294382 h 388632"/>
                    <a:gd name="connsiteX267" fmla="*/ 2088956 w 2142282"/>
                    <a:gd name="connsiteY267" fmla="*/ 294382 h 388632"/>
                    <a:gd name="connsiteX268" fmla="*/ 2088956 w 2142282"/>
                    <a:gd name="connsiteY268" fmla="*/ 286178 h 388632"/>
                    <a:gd name="connsiteX269" fmla="*/ 2106926 w 2142282"/>
                    <a:gd name="connsiteY269" fmla="*/ 286178 h 388632"/>
                    <a:gd name="connsiteX270" fmla="*/ 2106926 w 2142282"/>
                    <a:gd name="connsiteY270" fmla="*/ 260198 h 388632"/>
                    <a:gd name="connsiteX271" fmla="*/ 2111420 w 2142282"/>
                    <a:gd name="connsiteY271" fmla="*/ 258635 h 388632"/>
                    <a:gd name="connsiteX272" fmla="*/ 2115912 w 2142282"/>
                    <a:gd name="connsiteY272" fmla="*/ 257170 h 388632"/>
                    <a:gd name="connsiteX273" fmla="*/ 1677762 w 2142282"/>
                    <a:gd name="connsiteY273" fmla="*/ 257170 h 388632"/>
                    <a:gd name="connsiteX274" fmla="*/ 1677762 w 2142282"/>
                    <a:gd name="connsiteY274" fmla="*/ 286178 h 388632"/>
                    <a:gd name="connsiteX275" fmla="*/ 1704132 w 2142282"/>
                    <a:gd name="connsiteY275" fmla="*/ 286178 h 388632"/>
                    <a:gd name="connsiteX276" fmla="*/ 1704132 w 2142282"/>
                    <a:gd name="connsiteY276" fmla="*/ 294382 h 388632"/>
                    <a:gd name="connsiteX277" fmla="*/ 1677762 w 2142282"/>
                    <a:gd name="connsiteY277" fmla="*/ 294382 h 388632"/>
                    <a:gd name="connsiteX278" fmla="*/ 1677762 w 2142282"/>
                    <a:gd name="connsiteY278" fmla="*/ 360406 h 388632"/>
                    <a:gd name="connsiteX279" fmla="*/ 1681034 w 2142282"/>
                    <a:gd name="connsiteY279" fmla="*/ 375398 h 388632"/>
                    <a:gd name="connsiteX280" fmla="*/ 1692120 w 2142282"/>
                    <a:gd name="connsiteY280" fmla="*/ 380037 h 388632"/>
                    <a:gd name="connsiteX281" fmla="*/ 1704132 w 2142282"/>
                    <a:gd name="connsiteY281" fmla="*/ 376423 h 388632"/>
                    <a:gd name="connsiteX282" fmla="*/ 1704132 w 2142282"/>
                    <a:gd name="connsiteY282" fmla="*/ 384823 h 388632"/>
                    <a:gd name="connsiteX283" fmla="*/ 1690948 w 2142282"/>
                    <a:gd name="connsiteY283" fmla="*/ 388144 h 388632"/>
                    <a:gd name="connsiteX284" fmla="*/ 1668776 w 2142282"/>
                    <a:gd name="connsiteY284" fmla="*/ 361578 h 388632"/>
                    <a:gd name="connsiteX285" fmla="*/ 1668776 w 2142282"/>
                    <a:gd name="connsiteY285" fmla="*/ 294382 h 388632"/>
                    <a:gd name="connsiteX286" fmla="*/ 1650806 w 2142282"/>
                    <a:gd name="connsiteY286" fmla="*/ 294382 h 388632"/>
                    <a:gd name="connsiteX287" fmla="*/ 1650806 w 2142282"/>
                    <a:gd name="connsiteY287" fmla="*/ 286178 h 388632"/>
                    <a:gd name="connsiteX288" fmla="*/ 1668776 w 2142282"/>
                    <a:gd name="connsiteY288" fmla="*/ 286178 h 388632"/>
                    <a:gd name="connsiteX289" fmla="*/ 1668776 w 2142282"/>
                    <a:gd name="connsiteY289" fmla="*/ 260198 h 388632"/>
                    <a:gd name="connsiteX290" fmla="*/ 1673268 w 2142282"/>
                    <a:gd name="connsiteY290" fmla="*/ 258635 h 388632"/>
                    <a:gd name="connsiteX291" fmla="*/ 1677762 w 2142282"/>
                    <a:gd name="connsiteY291" fmla="*/ 257170 h 388632"/>
                    <a:gd name="connsiteX292" fmla="*/ 1201512 w 2142282"/>
                    <a:gd name="connsiteY292" fmla="*/ 257170 h 388632"/>
                    <a:gd name="connsiteX293" fmla="*/ 1201512 w 2142282"/>
                    <a:gd name="connsiteY293" fmla="*/ 286178 h 388632"/>
                    <a:gd name="connsiteX294" fmla="*/ 1227882 w 2142282"/>
                    <a:gd name="connsiteY294" fmla="*/ 286178 h 388632"/>
                    <a:gd name="connsiteX295" fmla="*/ 1227882 w 2142282"/>
                    <a:gd name="connsiteY295" fmla="*/ 294382 h 388632"/>
                    <a:gd name="connsiteX296" fmla="*/ 1201512 w 2142282"/>
                    <a:gd name="connsiteY296" fmla="*/ 294382 h 388632"/>
                    <a:gd name="connsiteX297" fmla="*/ 1201512 w 2142282"/>
                    <a:gd name="connsiteY297" fmla="*/ 360406 h 388632"/>
                    <a:gd name="connsiteX298" fmla="*/ 1204784 w 2142282"/>
                    <a:gd name="connsiteY298" fmla="*/ 375398 h 388632"/>
                    <a:gd name="connsiteX299" fmla="*/ 1215868 w 2142282"/>
                    <a:gd name="connsiteY299" fmla="*/ 380037 h 388632"/>
                    <a:gd name="connsiteX300" fmla="*/ 1227882 w 2142282"/>
                    <a:gd name="connsiteY300" fmla="*/ 376423 h 388632"/>
                    <a:gd name="connsiteX301" fmla="*/ 1227882 w 2142282"/>
                    <a:gd name="connsiteY301" fmla="*/ 384823 h 388632"/>
                    <a:gd name="connsiteX302" fmla="*/ 1214696 w 2142282"/>
                    <a:gd name="connsiteY302" fmla="*/ 388144 h 388632"/>
                    <a:gd name="connsiteX303" fmla="*/ 1192526 w 2142282"/>
                    <a:gd name="connsiteY303" fmla="*/ 361578 h 388632"/>
                    <a:gd name="connsiteX304" fmla="*/ 1192526 w 2142282"/>
                    <a:gd name="connsiteY304" fmla="*/ 294382 h 388632"/>
                    <a:gd name="connsiteX305" fmla="*/ 1174556 w 2142282"/>
                    <a:gd name="connsiteY305" fmla="*/ 294382 h 388632"/>
                    <a:gd name="connsiteX306" fmla="*/ 1174556 w 2142282"/>
                    <a:gd name="connsiteY306" fmla="*/ 286178 h 388632"/>
                    <a:gd name="connsiteX307" fmla="*/ 1192526 w 2142282"/>
                    <a:gd name="connsiteY307" fmla="*/ 286178 h 388632"/>
                    <a:gd name="connsiteX308" fmla="*/ 1192526 w 2142282"/>
                    <a:gd name="connsiteY308" fmla="*/ 260198 h 388632"/>
                    <a:gd name="connsiteX309" fmla="*/ 1197020 w 2142282"/>
                    <a:gd name="connsiteY309" fmla="*/ 258635 h 388632"/>
                    <a:gd name="connsiteX310" fmla="*/ 1201512 w 2142282"/>
                    <a:gd name="connsiteY310" fmla="*/ 257170 h 388632"/>
                    <a:gd name="connsiteX311" fmla="*/ 972912 w 2142282"/>
                    <a:gd name="connsiteY311" fmla="*/ 257170 h 388632"/>
                    <a:gd name="connsiteX312" fmla="*/ 972912 w 2142282"/>
                    <a:gd name="connsiteY312" fmla="*/ 286178 h 388632"/>
                    <a:gd name="connsiteX313" fmla="*/ 999282 w 2142282"/>
                    <a:gd name="connsiteY313" fmla="*/ 286178 h 388632"/>
                    <a:gd name="connsiteX314" fmla="*/ 999282 w 2142282"/>
                    <a:gd name="connsiteY314" fmla="*/ 294382 h 388632"/>
                    <a:gd name="connsiteX315" fmla="*/ 972912 w 2142282"/>
                    <a:gd name="connsiteY315" fmla="*/ 294382 h 388632"/>
                    <a:gd name="connsiteX316" fmla="*/ 972912 w 2142282"/>
                    <a:gd name="connsiteY316" fmla="*/ 360406 h 388632"/>
                    <a:gd name="connsiteX317" fmla="*/ 976184 w 2142282"/>
                    <a:gd name="connsiteY317" fmla="*/ 375398 h 388632"/>
                    <a:gd name="connsiteX318" fmla="*/ 987270 w 2142282"/>
                    <a:gd name="connsiteY318" fmla="*/ 380037 h 388632"/>
                    <a:gd name="connsiteX319" fmla="*/ 999282 w 2142282"/>
                    <a:gd name="connsiteY319" fmla="*/ 376423 h 388632"/>
                    <a:gd name="connsiteX320" fmla="*/ 999282 w 2142282"/>
                    <a:gd name="connsiteY320" fmla="*/ 384823 h 388632"/>
                    <a:gd name="connsiteX321" fmla="*/ 986096 w 2142282"/>
                    <a:gd name="connsiteY321" fmla="*/ 388144 h 388632"/>
                    <a:gd name="connsiteX322" fmla="*/ 963926 w 2142282"/>
                    <a:gd name="connsiteY322" fmla="*/ 361578 h 388632"/>
                    <a:gd name="connsiteX323" fmla="*/ 963926 w 2142282"/>
                    <a:gd name="connsiteY323" fmla="*/ 294382 h 388632"/>
                    <a:gd name="connsiteX324" fmla="*/ 945956 w 2142282"/>
                    <a:gd name="connsiteY324" fmla="*/ 294382 h 388632"/>
                    <a:gd name="connsiteX325" fmla="*/ 945956 w 2142282"/>
                    <a:gd name="connsiteY325" fmla="*/ 286178 h 388632"/>
                    <a:gd name="connsiteX326" fmla="*/ 963926 w 2142282"/>
                    <a:gd name="connsiteY326" fmla="*/ 286178 h 388632"/>
                    <a:gd name="connsiteX327" fmla="*/ 963926 w 2142282"/>
                    <a:gd name="connsiteY327" fmla="*/ 260198 h 388632"/>
                    <a:gd name="connsiteX328" fmla="*/ 968420 w 2142282"/>
                    <a:gd name="connsiteY328" fmla="*/ 258635 h 388632"/>
                    <a:gd name="connsiteX329" fmla="*/ 972912 w 2142282"/>
                    <a:gd name="connsiteY329" fmla="*/ 257170 h 388632"/>
                    <a:gd name="connsiteX330" fmla="*/ 620488 w 2142282"/>
                    <a:gd name="connsiteY330" fmla="*/ 257170 h 388632"/>
                    <a:gd name="connsiteX331" fmla="*/ 620488 w 2142282"/>
                    <a:gd name="connsiteY331" fmla="*/ 286178 h 388632"/>
                    <a:gd name="connsiteX332" fmla="*/ 646858 w 2142282"/>
                    <a:gd name="connsiteY332" fmla="*/ 286178 h 388632"/>
                    <a:gd name="connsiteX333" fmla="*/ 646858 w 2142282"/>
                    <a:gd name="connsiteY333" fmla="*/ 294382 h 388632"/>
                    <a:gd name="connsiteX334" fmla="*/ 620488 w 2142282"/>
                    <a:gd name="connsiteY334" fmla="*/ 294382 h 388632"/>
                    <a:gd name="connsiteX335" fmla="*/ 620488 w 2142282"/>
                    <a:gd name="connsiteY335" fmla="*/ 360406 h 388632"/>
                    <a:gd name="connsiteX336" fmla="*/ 623758 w 2142282"/>
                    <a:gd name="connsiteY336" fmla="*/ 375398 h 388632"/>
                    <a:gd name="connsiteX337" fmla="*/ 634844 w 2142282"/>
                    <a:gd name="connsiteY337" fmla="*/ 380037 h 388632"/>
                    <a:gd name="connsiteX338" fmla="*/ 646858 w 2142282"/>
                    <a:gd name="connsiteY338" fmla="*/ 376423 h 388632"/>
                    <a:gd name="connsiteX339" fmla="*/ 646858 w 2142282"/>
                    <a:gd name="connsiteY339" fmla="*/ 384823 h 388632"/>
                    <a:gd name="connsiteX340" fmla="*/ 633672 w 2142282"/>
                    <a:gd name="connsiteY340" fmla="*/ 388144 h 388632"/>
                    <a:gd name="connsiteX341" fmla="*/ 611502 w 2142282"/>
                    <a:gd name="connsiteY341" fmla="*/ 361578 h 388632"/>
                    <a:gd name="connsiteX342" fmla="*/ 611502 w 2142282"/>
                    <a:gd name="connsiteY342" fmla="*/ 294382 h 388632"/>
                    <a:gd name="connsiteX343" fmla="*/ 593530 w 2142282"/>
                    <a:gd name="connsiteY343" fmla="*/ 294382 h 388632"/>
                    <a:gd name="connsiteX344" fmla="*/ 593530 w 2142282"/>
                    <a:gd name="connsiteY344" fmla="*/ 286178 h 388632"/>
                    <a:gd name="connsiteX345" fmla="*/ 611502 w 2142282"/>
                    <a:gd name="connsiteY345" fmla="*/ 286178 h 388632"/>
                    <a:gd name="connsiteX346" fmla="*/ 611502 w 2142282"/>
                    <a:gd name="connsiteY346" fmla="*/ 260198 h 388632"/>
                    <a:gd name="connsiteX347" fmla="*/ 615994 w 2142282"/>
                    <a:gd name="connsiteY347" fmla="*/ 258635 h 388632"/>
                    <a:gd name="connsiteX348" fmla="*/ 620488 w 2142282"/>
                    <a:gd name="connsiteY348" fmla="*/ 257170 h 388632"/>
                    <a:gd name="connsiteX349" fmla="*/ 1514130 w 2142282"/>
                    <a:gd name="connsiteY349" fmla="*/ 246134 h 388632"/>
                    <a:gd name="connsiteX350" fmla="*/ 1523800 w 2142282"/>
                    <a:gd name="connsiteY350" fmla="*/ 246134 h 388632"/>
                    <a:gd name="connsiteX351" fmla="*/ 1523800 w 2142282"/>
                    <a:gd name="connsiteY351" fmla="*/ 386190 h 388632"/>
                    <a:gd name="connsiteX352" fmla="*/ 1514130 w 2142282"/>
                    <a:gd name="connsiteY352" fmla="*/ 386190 h 388632"/>
                    <a:gd name="connsiteX353" fmla="*/ 1245476 w 2142282"/>
                    <a:gd name="connsiteY353" fmla="*/ 238125 h 388632"/>
                    <a:gd name="connsiteX354" fmla="*/ 1254462 w 2142282"/>
                    <a:gd name="connsiteY354" fmla="*/ 238125 h 388632"/>
                    <a:gd name="connsiteX355" fmla="*/ 1254462 w 2142282"/>
                    <a:gd name="connsiteY355" fmla="*/ 304149 h 388632"/>
                    <a:gd name="connsiteX356" fmla="*/ 1254852 w 2142282"/>
                    <a:gd name="connsiteY356" fmla="*/ 304149 h 388632"/>
                    <a:gd name="connsiteX357" fmla="*/ 1289232 w 2142282"/>
                    <a:gd name="connsiteY357" fmla="*/ 283736 h 388632"/>
                    <a:gd name="connsiteX358" fmla="*/ 1313942 w 2142282"/>
                    <a:gd name="connsiteY358" fmla="*/ 294187 h 388632"/>
                    <a:gd name="connsiteX359" fmla="*/ 1322440 w 2142282"/>
                    <a:gd name="connsiteY359" fmla="*/ 324171 h 388632"/>
                    <a:gd name="connsiteX360" fmla="*/ 1322440 w 2142282"/>
                    <a:gd name="connsiteY360" fmla="*/ 386190 h 388632"/>
                    <a:gd name="connsiteX361" fmla="*/ 1313454 w 2142282"/>
                    <a:gd name="connsiteY361" fmla="*/ 386190 h 388632"/>
                    <a:gd name="connsiteX362" fmla="*/ 1313454 w 2142282"/>
                    <a:gd name="connsiteY362" fmla="*/ 326222 h 388632"/>
                    <a:gd name="connsiteX363" fmla="*/ 1307008 w 2142282"/>
                    <a:gd name="connsiteY363" fmla="*/ 300193 h 388632"/>
                    <a:gd name="connsiteX364" fmla="*/ 1286888 w 2142282"/>
                    <a:gd name="connsiteY364" fmla="*/ 291940 h 388632"/>
                    <a:gd name="connsiteX365" fmla="*/ 1264228 w 2142282"/>
                    <a:gd name="connsiteY365" fmla="*/ 302000 h 388632"/>
                    <a:gd name="connsiteX366" fmla="*/ 1254462 w 2142282"/>
                    <a:gd name="connsiteY366" fmla="*/ 330812 h 388632"/>
                    <a:gd name="connsiteX367" fmla="*/ 1254462 w 2142282"/>
                    <a:gd name="connsiteY367" fmla="*/ 386190 h 388632"/>
                    <a:gd name="connsiteX368" fmla="*/ 1245476 w 2142282"/>
                    <a:gd name="connsiteY368" fmla="*/ 386190 h 388632"/>
                    <a:gd name="connsiteX369" fmla="*/ 840232 w 2142282"/>
                    <a:gd name="connsiteY369" fmla="*/ 238125 h 388632"/>
                    <a:gd name="connsiteX370" fmla="*/ 849216 w 2142282"/>
                    <a:gd name="connsiteY370" fmla="*/ 238125 h 388632"/>
                    <a:gd name="connsiteX371" fmla="*/ 849216 w 2142282"/>
                    <a:gd name="connsiteY371" fmla="*/ 386190 h 388632"/>
                    <a:gd name="connsiteX372" fmla="*/ 840232 w 2142282"/>
                    <a:gd name="connsiteY372" fmla="*/ 386190 h 388632"/>
                    <a:gd name="connsiteX373" fmla="*/ 840232 w 2142282"/>
                    <a:gd name="connsiteY373" fmla="*/ 368024 h 388632"/>
                    <a:gd name="connsiteX374" fmla="*/ 839840 w 2142282"/>
                    <a:gd name="connsiteY374" fmla="*/ 368024 h 388632"/>
                    <a:gd name="connsiteX375" fmla="*/ 825386 w 2142282"/>
                    <a:gd name="connsiteY375" fmla="*/ 383065 h 388632"/>
                    <a:gd name="connsiteX376" fmla="*/ 803802 w 2142282"/>
                    <a:gd name="connsiteY376" fmla="*/ 388632 h 388632"/>
                    <a:gd name="connsiteX377" fmla="*/ 773670 w 2142282"/>
                    <a:gd name="connsiteY377" fmla="*/ 375154 h 388632"/>
                    <a:gd name="connsiteX378" fmla="*/ 762000 w 2142282"/>
                    <a:gd name="connsiteY378" fmla="*/ 337942 h 388632"/>
                    <a:gd name="connsiteX379" fmla="*/ 774744 w 2142282"/>
                    <a:gd name="connsiteY379" fmla="*/ 298728 h 388632"/>
                    <a:gd name="connsiteX380" fmla="*/ 807806 w 2142282"/>
                    <a:gd name="connsiteY380" fmla="*/ 283736 h 388632"/>
                    <a:gd name="connsiteX381" fmla="*/ 839840 w 2142282"/>
                    <a:gd name="connsiteY381" fmla="*/ 302195 h 388632"/>
                    <a:gd name="connsiteX382" fmla="*/ 840232 w 2142282"/>
                    <a:gd name="connsiteY382" fmla="*/ 302195 h 388632"/>
                    <a:gd name="connsiteX383" fmla="*/ 1524428 w 2142282"/>
                    <a:gd name="connsiteY383" fmla="*/ 53815 h 388632"/>
                    <a:gd name="connsiteX384" fmla="*/ 1496250 w 2142282"/>
                    <a:gd name="connsiteY384" fmla="*/ 65731 h 388632"/>
                    <a:gd name="connsiteX385" fmla="*/ 1485750 w 2142282"/>
                    <a:gd name="connsiteY385" fmla="*/ 98840 h 388632"/>
                    <a:gd name="connsiteX386" fmla="*/ 1496006 w 2142282"/>
                    <a:gd name="connsiteY386" fmla="*/ 130387 h 388632"/>
                    <a:gd name="connsiteX387" fmla="*/ 1524036 w 2142282"/>
                    <a:gd name="connsiteY387" fmla="*/ 142303 h 388632"/>
                    <a:gd name="connsiteX388" fmla="*/ 1551872 w 2142282"/>
                    <a:gd name="connsiteY388" fmla="*/ 130583 h 388632"/>
                    <a:gd name="connsiteX389" fmla="*/ 1561638 w 2142282"/>
                    <a:gd name="connsiteY389" fmla="*/ 98059 h 388632"/>
                    <a:gd name="connsiteX390" fmla="*/ 1551920 w 2142282"/>
                    <a:gd name="connsiteY390" fmla="*/ 65242 h 388632"/>
                    <a:gd name="connsiteX391" fmla="*/ 1524428 w 2142282"/>
                    <a:gd name="connsiteY391" fmla="*/ 53815 h 388632"/>
                    <a:gd name="connsiteX392" fmla="*/ 1235064 w 2142282"/>
                    <a:gd name="connsiteY392" fmla="*/ 53815 h 388632"/>
                    <a:gd name="connsiteX393" fmla="*/ 1211770 w 2142282"/>
                    <a:gd name="connsiteY393" fmla="*/ 63240 h 388632"/>
                    <a:gd name="connsiteX394" fmla="*/ 1200392 w 2142282"/>
                    <a:gd name="connsiteY394" fmla="*/ 90246 h 388632"/>
                    <a:gd name="connsiteX395" fmla="*/ 1264656 w 2142282"/>
                    <a:gd name="connsiteY395" fmla="*/ 90246 h 388632"/>
                    <a:gd name="connsiteX396" fmla="*/ 1256356 w 2142282"/>
                    <a:gd name="connsiteY396" fmla="*/ 63387 h 388632"/>
                    <a:gd name="connsiteX397" fmla="*/ 1235064 w 2142282"/>
                    <a:gd name="connsiteY397" fmla="*/ 53815 h 388632"/>
                    <a:gd name="connsiteX398" fmla="*/ 867202 w 2142282"/>
                    <a:gd name="connsiteY398" fmla="*/ 53815 h 388632"/>
                    <a:gd name="connsiteX399" fmla="*/ 839024 w 2142282"/>
                    <a:gd name="connsiteY399" fmla="*/ 65731 h 388632"/>
                    <a:gd name="connsiteX400" fmla="*/ 828526 w 2142282"/>
                    <a:gd name="connsiteY400" fmla="*/ 98840 h 388632"/>
                    <a:gd name="connsiteX401" fmla="*/ 838780 w 2142282"/>
                    <a:gd name="connsiteY401" fmla="*/ 130387 h 388632"/>
                    <a:gd name="connsiteX402" fmla="*/ 866812 w 2142282"/>
                    <a:gd name="connsiteY402" fmla="*/ 142303 h 388632"/>
                    <a:gd name="connsiteX403" fmla="*/ 894646 w 2142282"/>
                    <a:gd name="connsiteY403" fmla="*/ 130583 h 388632"/>
                    <a:gd name="connsiteX404" fmla="*/ 904414 w 2142282"/>
                    <a:gd name="connsiteY404" fmla="*/ 98059 h 388632"/>
                    <a:gd name="connsiteX405" fmla="*/ 894696 w 2142282"/>
                    <a:gd name="connsiteY405" fmla="*/ 65242 h 388632"/>
                    <a:gd name="connsiteX406" fmla="*/ 867202 w 2142282"/>
                    <a:gd name="connsiteY406" fmla="*/ 53815 h 388632"/>
                    <a:gd name="connsiteX407" fmla="*/ 788276 w 2142282"/>
                    <a:gd name="connsiteY407" fmla="*/ 48053 h 388632"/>
                    <a:gd name="connsiteX408" fmla="*/ 797262 w 2142282"/>
                    <a:gd name="connsiteY408" fmla="*/ 48053 h 388632"/>
                    <a:gd name="connsiteX409" fmla="*/ 797262 w 2142282"/>
                    <a:gd name="connsiteY409" fmla="*/ 148065 h 388632"/>
                    <a:gd name="connsiteX410" fmla="*/ 788276 w 2142282"/>
                    <a:gd name="connsiteY410" fmla="*/ 148065 h 388632"/>
                    <a:gd name="connsiteX411" fmla="*/ 673976 w 2142282"/>
                    <a:gd name="connsiteY411" fmla="*/ 48053 h 388632"/>
                    <a:gd name="connsiteX412" fmla="*/ 682962 w 2142282"/>
                    <a:gd name="connsiteY412" fmla="*/ 48053 h 388632"/>
                    <a:gd name="connsiteX413" fmla="*/ 682962 w 2142282"/>
                    <a:gd name="connsiteY413" fmla="*/ 148065 h 388632"/>
                    <a:gd name="connsiteX414" fmla="*/ 673976 w 2142282"/>
                    <a:gd name="connsiteY414" fmla="*/ 148065 h 388632"/>
                    <a:gd name="connsiteX415" fmla="*/ 1635114 w 2142282"/>
                    <a:gd name="connsiteY415" fmla="*/ 46099 h 388632"/>
                    <a:gd name="connsiteX416" fmla="*/ 1645076 w 2142282"/>
                    <a:gd name="connsiteY416" fmla="*/ 47857 h 388632"/>
                    <a:gd name="connsiteX417" fmla="*/ 1645076 w 2142282"/>
                    <a:gd name="connsiteY417" fmla="*/ 57429 h 388632"/>
                    <a:gd name="connsiteX418" fmla="*/ 1634528 w 2142282"/>
                    <a:gd name="connsiteY418" fmla="*/ 54206 h 388632"/>
                    <a:gd name="connsiteX419" fmla="*/ 1614700 w 2142282"/>
                    <a:gd name="connsiteY419" fmla="*/ 66414 h 388632"/>
                    <a:gd name="connsiteX420" fmla="*/ 1606692 w 2142282"/>
                    <a:gd name="connsiteY420" fmla="*/ 101087 h 388632"/>
                    <a:gd name="connsiteX421" fmla="*/ 1606692 w 2142282"/>
                    <a:gd name="connsiteY421" fmla="*/ 148065 h 388632"/>
                    <a:gd name="connsiteX422" fmla="*/ 1597902 w 2142282"/>
                    <a:gd name="connsiteY422" fmla="*/ 148065 h 388632"/>
                    <a:gd name="connsiteX423" fmla="*/ 1597902 w 2142282"/>
                    <a:gd name="connsiteY423" fmla="*/ 48053 h 388632"/>
                    <a:gd name="connsiteX424" fmla="*/ 1606692 w 2142282"/>
                    <a:gd name="connsiteY424" fmla="*/ 48053 h 388632"/>
                    <a:gd name="connsiteX425" fmla="*/ 1606692 w 2142282"/>
                    <a:gd name="connsiteY425" fmla="*/ 70223 h 388632"/>
                    <a:gd name="connsiteX426" fmla="*/ 1607082 w 2142282"/>
                    <a:gd name="connsiteY426" fmla="*/ 70223 h 388632"/>
                    <a:gd name="connsiteX427" fmla="*/ 1617924 w 2142282"/>
                    <a:gd name="connsiteY427" fmla="*/ 52448 h 388632"/>
                    <a:gd name="connsiteX428" fmla="*/ 1635114 w 2142282"/>
                    <a:gd name="connsiteY428" fmla="*/ 46099 h 388632"/>
                    <a:gd name="connsiteX429" fmla="*/ 644514 w 2142282"/>
                    <a:gd name="connsiteY429" fmla="*/ 46099 h 388632"/>
                    <a:gd name="connsiteX430" fmla="*/ 654476 w 2142282"/>
                    <a:gd name="connsiteY430" fmla="*/ 47857 h 388632"/>
                    <a:gd name="connsiteX431" fmla="*/ 654476 w 2142282"/>
                    <a:gd name="connsiteY431" fmla="*/ 57429 h 388632"/>
                    <a:gd name="connsiteX432" fmla="*/ 643928 w 2142282"/>
                    <a:gd name="connsiteY432" fmla="*/ 54206 h 388632"/>
                    <a:gd name="connsiteX433" fmla="*/ 624100 w 2142282"/>
                    <a:gd name="connsiteY433" fmla="*/ 66414 h 388632"/>
                    <a:gd name="connsiteX434" fmla="*/ 616092 w 2142282"/>
                    <a:gd name="connsiteY434" fmla="*/ 101087 h 388632"/>
                    <a:gd name="connsiteX435" fmla="*/ 616092 w 2142282"/>
                    <a:gd name="connsiteY435" fmla="*/ 148065 h 388632"/>
                    <a:gd name="connsiteX436" fmla="*/ 607302 w 2142282"/>
                    <a:gd name="connsiteY436" fmla="*/ 148065 h 388632"/>
                    <a:gd name="connsiteX437" fmla="*/ 607302 w 2142282"/>
                    <a:gd name="connsiteY437" fmla="*/ 48053 h 388632"/>
                    <a:gd name="connsiteX438" fmla="*/ 616092 w 2142282"/>
                    <a:gd name="connsiteY438" fmla="*/ 48053 h 388632"/>
                    <a:gd name="connsiteX439" fmla="*/ 616092 w 2142282"/>
                    <a:gd name="connsiteY439" fmla="*/ 70223 h 388632"/>
                    <a:gd name="connsiteX440" fmla="*/ 616482 w 2142282"/>
                    <a:gd name="connsiteY440" fmla="*/ 70223 h 388632"/>
                    <a:gd name="connsiteX441" fmla="*/ 627324 w 2142282"/>
                    <a:gd name="connsiteY441" fmla="*/ 52448 h 388632"/>
                    <a:gd name="connsiteX442" fmla="*/ 644514 w 2142282"/>
                    <a:gd name="connsiteY442" fmla="*/ 46099 h 388632"/>
                    <a:gd name="connsiteX443" fmla="*/ 1692120 w 2142282"/>
                    <a:gd name="connsiteY443" fmla="*/ 45611 h 388632"/>
                    <a:gd name="connsiteX444" fmla="*/ 1714192 w 2142282"/>
                    <a:gd name="connsiteY444" fmla="*/ 50885 h 388632"/>
                    <a:gd name="connsiteX445" fmla="*/ 1714192 w 2142282"/>
                    <a:gd name="connsiteY445" fmla="*/ 61043 h 388632"/>
                    <a:gd name="connsiteX446" fmla="*/ 1691142 w 2142282"/>
                    <a:gd name="connsiteY446" fmla="*/ 53815 h 388632"/>
                    <a:gd name="connsiteX447" fmla="*/ 1675222 w 2142282"/>
                    <a:gd name="connsiteY447" fmla="*/ 58943 h 388632"/>
                    <a:gd name="connsiteX448" fmla="*/ 1669168 w 2142282"/>
                    <a:gd name="connsiteY448" fmla="*/ 72275 h 388632"/>
                    <a:gd name="connsiteX449" fmla="*/ 1672976 w 2142282"/>
                    <a:gd name="connsiteY449" fmla="*/ 83848 h 388632"/>
                    <a:gd name="connsiteX450" fmla="*/ 1689776 w 2142282"/>
                    <a:gd name="connsiteY450" fmla="*/ 94055 h 388632"/>
                    <a:gd name="connsiteX451" fmla="*/ 1711262 w 2142282"/>
                    <a:gd name="connsiteY451" fmla="*/ 107093 h 388632"/>
                    <a:gd name="connsiteX452" fmla="*/ 1717122 w 2142282"/>
                    <a:gd name="connsiteY452" fmla="*/ 123062 h 388632"/>
                    <a:gd name="connsiteX453" fmla="*/ 1708186 w 2142282"/>
                    <a:gd name="connsiteY453" fmla="*/ 142742 h 388632"/>
                    <a:gd name="connsiteX454" fmla="*/ 1683524 w 2142282"/>
                    <a:gd name="connsiteY454" fmla="*/ 150507 h 388632"/>
                    <a:gd name="connsiteX455" fmla="*/ 1659400 w 2142282"/>
                    <a:gd name="connsiteY455" fmla="*/ 143670 h 388632"/>
                    <a:gd name="connsiteX456" fmla="*/ 1659400 w 2142282"/>
                    <a:gd name="connsiteY456" fmla="*/ 132829 h 388632"/>
                    <a:gd name="connsiteX457" fmla="*/ 1671706 w 2142282"/>
                    <a:gd name="connsiteY457" fmla="*/ 139763 h 388632"/>
                    <a:gd name="connsiteX458" fmla="*/ 1684208 w 2142282"/>
                    <a:gd name="connsiteY458" fmla="*/ 142303 h 388632"/>
                    <a:gd name="connsiteX459" fmla="*/ 1707746 w 2142282"/>
                    <a:gd name="connsiteY459" fmla="*/ 123062 h 388632"/>
                    <a:gd name="connsiteX460" fmla="*/ 1702570 w 2142282"/>
                    <a:gd name="connsiteY460" fmla="*/ 111733 h 388632"/>
                    <a:gd name="connsiteX461" fmla="*/ 1685770 w 2142282"/>
                    <a:gd name="connsiteY461" fmla="*/ 102063 h 388632"/>
                    <a:gd name="connsiteX462" fmla="*/ 1665602 w 2142282"/>
                    <a:gd name="connsiteY462" fmla="*/ 89122 h 388632"/>
                    <a:gd name="connsiteX463" fmla="*/ 1659790 w 2142282"/>
                    <a:gd name="connsiteY463" fmla="*/ 72861 h 388632"/>
                    <a:gd name="connsiteX464" fmla="*/ 1669118 w 2142282"/>
                    <a:gd name="connsiteY464" fmla="*/ 53132 h 388632"/>
                    <a:gd name="connsiteX465" fmla="*/ 1692120 w 2142282"/>
                    <a:gd name="connsiteY465" fmla="*/ 45611 h 388632"/>
                    <a:gd name="connsiteX466" fmla="*/ 1524818 w 2142282"/>
                    <a:gd name="connsiteY466" fmla="*/ 45611 h 388632"/>
                    <a:gd name="connsiteX467" fmla="*/ 1558612 w 2142282"/>
                    <a:gd name="connsiteY467" fmla="*/ 59578 h 388632"/>
                    <a:gd name="connsiteX468" fmla="*/ 1571014 w 2142282"/>
                    <a:gd name="connsiteY468" fmla="*/ 98254 h 388632"/>
                    <a:gd name="connsiteX469" fmla="*/ 1558366 w 2142282"/>
                    <a:gd name="connsiteY469" fmla="*/ 136052 h 388632"/>
                    <a:gd name="connsiteX470" fmla="*/ 1523744 w 2142282"/>
                    <a:gd name="connsiteY470" fmla="*/ 150507 h 388632"/>
                    <a:gd name="connsiteX471" fmla="*/ 1489120 w 2142282"/>
                    <a:gd name="connsiteY471" fmla="*/ 136101 h 388632"/>
                    <a:gd name="connsiteX472" fmla="*/ 1476374 w 2142282"/>
                    <a:gd name="connsiteY472" fmla="*/ 98645 h 388632"/>
                    <a:gd name="connsiteX473" fmla="*/ 1489706 w 2142282"/>
                    <a:gd name="connsiteY473" fmla="*/ 59675 h 388632"/>
                    <a:gd name="connsiteX474" fmla="*/ 1524818 w 2142282"/>
                    <a:gd name="connsiteY474" fmla="*/ 45611 h 388632"/>
                    <a:gd name="connsiteX475" fmla="*/ 1434944 w 2142282"/>
                    <a:gd name="connsiteY475" fmla="*/ 45611 h 388632"/>
                    <a:gd name="connsiteX476" fmla="*/ 1457018 w 2142282"/>
                    <a:gd name="connsiteY476" fmla="*/ 50885 h 388632"/>
                    <a:gd name="connsiteX477" fmla="*/ 1457018 w 2142282"/>
                    <a:gd name="connsiteY477" fmla="*/ 61043 h 388632"/>
                    <a:gd name="connsiteX478" fmla="*/ 1433968 w 2142282"/>
                    <a:gd name="connsiteY478" fmla="*/ 53815 h 388632"/>
                    <a:gd name="connsiteX479" fmla="*/ 1418048 w 2142282"/>
                    <a:gd name="connsiteY479" fmla="*/ 58943 h 388632"/>
                    <a:gd name="connsiteX480" fmla="*/ 1411992 w 2142282"/>
                    <a:gd name="connsiteY480" fmla="*/ 72275 h 388632"/>
                    <a:gd name="connsiteX481" fmla="*/ 1415800 w 2142282"/>
                    <a:gd name="connsiteY481" fmla="*/ 83848 h 388632"/>
                    <a:gd name="connsiteX482" fmla="*/ 1432600 w 2142282"/>
                    <a:gd name="connsiteY482" fmla="*/ 94055 h 388632"/>
                    <a:gd name="connsiteX483" fmla="*/ 1454088 w 2142282"/>
                    <a:gd name="connsiteY483" fmla="*/ 107093 h 388632"/>
                    <a:gd name="connsiteX484" fmla="*/ 1459948 w 2142282"/>
                    <a:gd name="connsiteY484" fmla="*/ 123062 h 388632"/>
                    <a:gd name="connsiteX485" fmla="*/ 1451010 w 2142282"/>
                    <a:gd name="connsiteY485" fmla="*/ 142742 h 388632"/>
                    <a:gd name="connsiteX486" fmla="*/ 1426350 w 2142282"/>
                    <a:gd name="connsiteY486" fmla="*/ 150507 h 388632"/>
                    <a:gd name="connsiteX487" fmla="*/ 1402226 w 2142282"/>
                    <a:gd name="connsiteY487" fmla="*/ 143670 h 388632"/>
                    <a:gd name="connsiteX488" fmla="*/ 1402226 w 2142282"/>
                    <a:gd name="connsiteY488" fmla="*/ 132829 h 388632"/>
                    <a:gd name="connsiteX489" fmla="*/ 1414532 w 2142282"/>
                    <a:gd name="connsiteY489" fmla="*/ 139763 h 388632"/>
                    <a:gd name="connsiteX490" fmla="*/ 1427032 w 2142282"/>
                    <a:gd name="connsiteY490" fmla="*/ 142303 h 388632"/>
                    <a:gd name="connsiteX491" fmla="*/ 1450572 w 2142282"/>
                    <a:gd name="connsiteY491" fmla="*/ 123062 h 388632"/>
                    <a:gd name="connsiteX492" fmla="*/ 1445394 w 2142282"/>
                    <a:gd name="connsiteY492" fmla="*/ 111733 h 388632"/>
                    <a:gd name="connsiteX493" fmla="*/ 1428596 w 2142282"/>
                    <a:gd name="connsiteY493" fmla="*/ 102063 h 388632"/>
                    <a:gd name="connsiteX494" fmla="*/ 1408428 w 2142282"/>
                    <a:gd name="connsiteY494" fmla="*/ 89122 h 388632"/>
                    <a:gd name="connsiteX495" fmla="*/ 1402616 w 2142282"/>
                    <a:gd name="connsiteY495" fmla="*/ 72861 h 388632"/>
                    <a:gd name="connsiteX496" fmla="*/ 1411944 w 2142282"/>
                    <a:gd name="connsiteY496" fmla="*/ 53132 h 388632"/>
                    <a:gd name="connsiteX497" fmla="*/ 1434944 w 2142282"/>
                    <a:gd name="connsiteY497" fmla="*/ 45611 h 388632"/>
                    <a:gd name="connsiteX498" fmla="*/ 1346186 w 2142282"/>
                    <a:gd name="connsiteY498" fmla="*/ 45611 h 388632"/>
                    <a:gd name="connsiteX499" fmla="*/ 1370994 w 2142282"/>
                    <a:gd name="connsiteY499" fmla="*/ 56403 h 388632"/>
                    <a:gd name="connsiteX500" fmla="*/ 1379590 w 2142282"/>
                    <a:gd name="connsiteY500" fmla="*/ 87218 h 388632"/>
                    <a:gd name="connsiteX501" fmla="*/ 1379590 w 2142282"/>
                    <a:gd name="connsiteY501" fmla="*/ 148065 h 388632"/>
                    <a:gd name="connsiteX502" fmla="*/ 1370604 w 2142282"/>
                    <a:gd name="connsiteY502" fmla="*/ 148065 h 388632"/>
                    <a:gd name="connsiteX503" fmla="*/ 1370604 w 2142282"/>
                    <a:gd name="connsiteY503" fmla="*/ 89855 h 388632"/>
                    <a:gd name="connsiteX504" fmla="*/ 1344624 w 2142282"/>
                    <a:gd name="connsiteY504" fmla="*/ 53815 h 388632"/>
                    <a:gd name="connsiteX505" fmla="*/ 1320890 w 2142282"/>
                    <a:gd name="connsiteY505" fmla="*/ 64412 h 388632"/>
                    <a:gd name="connsiteX506" fmla="*/ 1311612 w 2142282"/>
                    <a:gd name="connsiteY506" fmla="*/ 90636 h 388632"/>
                    <a:gd name="connsiteX507" fmla="*/ 1311612 w 2142282"/>
                    <a:gd name="connsiteY507" fmla="*/ 148065 h 388632"/>
                    <a:gd name="connsiteX508" fmla="*/ 1302626 w 2142282"/>
                    <a:gd name="connsiteY508" fmla="*/ 148065 h 388632"/>
                    <a:gd name="connsiteX509" fmla="*/ 1302626 w 2142282"/>
                    <a:gd name="connsiteY509" fmla="*/ 48053 h 388632"/>
                    <a:gd name="connsiteX510" fmla="*/ 1311612 w 2142282"/>
                    <a:gd name="connsiteY510" fmla="*/ 48053 h 388632"/>
                    <a:gd name="connsiteX511" fmla="*/ 1311612 w 2142282"/>
                    <a:gd name="connsiteY511" fmla="*/ 66219 h 388632"/>
                    <a:gd name="connsiteX512" fmla="*/ 1312002 w 2142282"/>
                    <a:gd name="connsiteY512" fmla="*/ 66219 h 388632"/>
                    <a:gd name="connsiteX513" fmla="*/ 1346186 w 2142282"/>
                    <a:gd name="connsiteY513" fmla="*/ 45611 h 388632"/>
                    <a:gd name="connsiteX514" fmla="*/ 1235454 w 2142282"/>
                    <a:gd name="connsiteY514" fmla="*/ 45611 h 388632"/>
                    <a:gd name="connsiteX515" fmla="*/ 1264070 w 2142282"/>
                    <a:gd name="connsiteY515" fmla="*/ 58699 h 388632"/>
                    <a:gd name="connsiteX516" fmla="*/ 1274032 w 2142282"/>
                    <a:gd name="connsiteY516" fmla="*/ 94445 h 388632"/>
                    <a:gd name="connsiteX517" fmla="*/ 1274032 w 2142282"/>
                    <a:gd name="connsiteY517" fmla="*/ 98450 h 388632"/>
                    <a:gd name="connsiteX518" fmla="*/ 1200000 w 2142282"/>
                    <a:gd name="connsiteY518" fmla="*/ 98450 h 388632"/>
                    <a:gd name="connsiteX519" fmla="*/ 1209524 w 2142282"/>
                    <a:gd name="connsiteY519" fmla="*/ 130680 h 388632"/>
                    <a:gd name="connsiteX520" fmla="*/ 1235650 w 2142282"/>
                    <a:gd name="connsiteY520" fmla="*/ 142303 h 388632"/>
                    <a:gd name="connsiteX521" fmla="*/ 1268466 w 2142282"/>
                    <a:gd name="connsiteY521" fmla="*/ 129899 h 388632"/>
                    <a:gd name="connsiteX522" fmla="*/ 1268466 w 2142282"/>
                    <a:gd name="connsiteY522" fmla="*/ 139470 h 388632"/>
                    <a:gd name="connsiteX523" fmla="*/ 1233794 w 2142282"/>
                    <a:gd name="connsiteY523" fmla="*/ 150507 h 388632"/>
                    <a:gd name="connsiteX524" fmla="*/ 1202540 w 2142282"/>
                    <a:gd name="connsiteY524" fmla="*/ 136638 h 388632"/>
                    <a:gd name="connsiteX525" fmla="*/ 1190624 w 2142282"/>
                    <a:gd name="connsiteY525" fmla="*/ 97473 h 388632"/>
                    <a:gd name="connsiteX526" fmla="*/ 1203076 w 2142282"/>
                    <a:gd name="connsiteY526" fmla="*/ 60603 h 388632"/>
                    <a:gd name="connsiteX527" fmla="*/ 1235454 w 2142282"/>
                    <a:gd name="connsiteY527" fmla="*/ 45611 h 388632"/>
                    <a:gd name="connsiteX528" fmla="*/ 1149194 w 2142282"/>
                    <a:gd name="connsiteY528" fmla="*/ 45611 h 388632"/>
                    <a:gd name="connsiteX529" fmla="*/ 1171268 w 2142282"/>
                    <a:gd name="connsiteY529" fmla="*/ 50885 h 388632"/>
                    <a:gd name="connsiteX530" fmla="*/ 1171268 w 2142282"/>
                    <a:gd name="connsiteY530" fmla="*/ 61043 h 388632"/>
                    <a:gd name="connsiteX531" fmla="*/ 1148218 w 2142282"/>
                    <a:gd name="connsiteY531" fmla="*/ 53815 h 388632"/>
                    <a:gd name="connsiteX532" fmla="*/ 1132298 w 2142282"/>
                    <a:gd name="connsiteY532" fmla="*/ 58943 h 388632"/>
                    <a:gd name="connsiteX533" fmla="*/ 1126242 w 2142282"/>
                    <a:gd name="connsiteY533" fmla="*/ 72275 h 388632"/>
                    <a:gd name="connsiteX534" fmla="*/ 1130052 w 2142282"/>
                    <a:gd name="connsiteY534" fmla="*/ 83848 h 388632"/>
                    <a:gd name="connsiteX535" fmla="*/ 1146850 w 2142282"/>
                    <a:gd name="connsiteY535" fmla="*/ 94055 h 388632"/>
                    <a:gd name="connsiteX536" fmla="*/ 1168336 w 2142282"/>
                    <a:gd name="connsiteY536" fmla="*/ 107093 h 388632"/>
                    <a:gd name="connsiteX537" fmla="*/ 1174198 w 2142282"/>
                    <a:gd name="connsiteY537" fmla="*/ 123062 h 388632"/>
                    <a:gd name="connsiteX538" fmla="*/ 1165260 w 2142282"/>
                    <a:gd name="connsiteY538" fmla="*/ 142742 h 388632"/>
                    <a:gd name="connsiteX539" fmla="*/ 1140600 w 2142282"/>
                    <a:gd name="connsiteY539" fmla="*/ 150507 h 388632"/>
                    <a:gd name="connsiteX540" fmla="*/ 1116476 w 2142282"/>
                    <a:gd name="connsiteY540" fmla="*/ 143670 h 388632"/>
                    <a:gd name="connsiteX541" fmla="*/ 1116476 w 2142282"/>
                    <a:gd name="connsiteY541" fmla="*/ 132829 h 388632"/>
                    <a:gd name="connsiteX542" fmla="*/ 1128782 w 2142282"/>
                    <a:gd name="connsiteY542" fmla="*/ 139763 h 388632"/>
                    <a:gd name="connsiteX543" fmla="*/ 1141284 w 2142282"/>
                    <a:gd name="connsiteY543" fmla="*/ 142303 h 388632"/>
                    <a:gd name="connsiteX544" fmla="*/ 1164820 w 2142282"/>
                    <a:gd name="connsiteY544" fmla="*/ 123062 h 388632"/>
                    <a:gd name="connsiteX545" fmla="*/ 1159644 w 2142282"/>
                    <a:gd name="connsiteY545" fmla="*/ 111733 h 388632"/>
                    <a:gd name="connsiteX546" fmla="*/ 1142846 w 2142282"/>
                    <a:gd name="connsiteY546" fmla="*/ 102063 h 388632"/>
                    <a:gd name="connsiteX547" fmla="*/ 1122676 w 2142282"/>
                    <a:gd name="connsiteY547" fmla="*/ 89122 h 388632"/>
                    <a:gd name="connsiteX548" fmla="*/ 1116866 w 2142282"/>
                    <a:gd name="connsiteY548" fmla="*/ 72861 h 388632"/>
                    <a:gd name="connsiteX549" fmla="*/ 1126194 w 2142282"/>
                    <a:gd name="connsiteY549" fmla="*/ 53132 h 388632"/>
                    <a:gd name="connsiteX550" fmla="*/ 1149194 w 2142282"/>
                    <a:gd name="connsiteY550" fmla="*/ 45611 h 388632"/>
                    <a:gd name="connsiteX551" fmla="*/ 984236 w 2142282"/>
                    <a:gd name="connsiteY551" fmla="*/ 45611 h 388632"/>
                    <a:gd name="connsiteX552" fmla="*/ 1009044 w 2142282"/>
                    <a:gd name="connsiteY552" fmla="*/ 56403 h 388632"/>
                    <a:gd name="connsiteX553" fmla="*/ 1017640 w 2142282"/>
                    <a:gd name="connsiteY553" fmla="*/ 87218 h 388632"/>
                    <a:gd name="connsiteX554" fmla="*/ 1017640 w 2142282"/>
                    <a:gd name="connsiteY554" fmla="*/ 148065 h 388632"/>
                    <a:gd name="connsiteX555" fmla="*/ 1008654 w 2142282"/>
                    <a:gd name="connsiteY555" fmla="*/ 148065 h 388632"/>
                    <a:gd name="connsiteX556" fmla="*/ 1008654 w 2142282"/>
                    <a:gd name="connsiteY556" fmla="*/ 89855 h 388632"/>
                    <a:gd name="connsiteX557" fmla="*/ 982674 w 2142282"/>
                    <a:gd name="connsiteY557" fmla="*/ 53815 h 388632"/>
                    <a:gd name="connsiteX558" fmla="*/ 958940 w 2142282"/>
                    <a:gd name="connsiteY558" fmla="*/ 64412 h 388632"/>
                    <a:gd name="connsiteX559" fmla="*/ 949662 w 2142282"/>
                    <a:gd name="connsiteY559" fmla="*/ 90636 h 388632"/>
                    <a:gd name="connsiteX560" fmla="*/ 949662 w 2142282"/>
                    <a:gd name="connsiteY560" fmla="*/ 148065 h 388632"/>
                    <a:gd name="connsiteX561" fmla="*/ 940676 w 2142282"/>
                    <a:gd name="connsiteY561" fmla="*/ 148065 h 388632"/>
                    <a:gd name="connsiteX562" fmla="*/ 940676 w 2142282"/>
                    <a:gd name="connsiteY562" fmla="*/ 48053 h 388632"/>
                    <a:gd name="connsiteX563" fmla="*/ 949662 w 2142282"/>
                    <a:gd name="connsiteY563" fmla="*/ 48053 h 388632"/>
                    <a:gd name="connsiteX564" fmla="*/ 949662 w 2142282"/>
                    <a:gd name="connsiteY564" fmla="*/ 66219 h 388632"/>
                    <a:gd name="connsiteX565" fmla="*/ 950052 w 2142282"/>
                    <a:gd name="connsiteY565" fmla="*/ 66219 h 388632"/>
                    <a:gd name="connsiteX566" fmla="*/ 984236 w 2142282"/>
                    <a:gd name="connsiteY566" fmla="*/ 45611 h 388632"/>
                    <a:gd name="connsiteX567" fmla="*/ 867592 w 2142282"/>
                    <a:gd name="connsiteY567" fmla="*/ 45611 h 388632"/>
                    <a:gd name="connsiteX568" fmla="*/ 901386 w 2142282"/>
                    <a:gd name="connsiteY568" fmla="*/ 59578 h 388632"/>
                    <a:gd name="connsiteX569" fmla="*/ 913790 w 2142282"/>
                    <a:gd name="connsiteY569" fmla="*/ 98254 h 388632"/>
                    <a:gd name="connsiteX570" fmla="*/ 901142 w 2142282"/>
                    <a:gd name="connsiteY570" fmla="*/ 136052 h 388632"/>
                    <a:gd name="connsiteX571" fmla="*/ 866518 w 2142282"/>
                    <a:gd name="connsiteY571" fmla="*/ 150507 h 388632"/>
                    <a:gd name="connsiteX572" fmla="*/ 831896 w 2142282"/>
                    <a:gd name="connsiteY572" fmla="*/ 136101 h 388632"/>
                    <a:gd name="connsiteX573" fmla="*/ 819150 w 2142282"/>
                    <a:gd name="connsiteY573" fmla="*/ 98645 h 388632"/>
                    <a:gd name="connsiteX574" fmla="*/ 832480 w 2142282"/>
                    <a:gd name="connsiteY574" fmla="*/ 59675 h 388632"/>
                    <a:gd name="connsiteX575" fmla="*/ 867592 w 2142282"/>
                    <a:gd name="connsiteY575" fmla="*/ 45611 h 388632"/>
                    <a:gd name="connsiteX576" fmla="*/ 563336 w 2142282"/>
                    <a:gd name="connsiteY576" fmla="*/ 19045 h 388632"/>
                    <a:gd name="connsiteX577" fmla="*/ 563336 w 2142282"/>
                    <a:gd name="connsiteY577" fmla="*/ 48053 h 388632"/>
                    <a:gd name="connsiteX578" fmla="*/ 589708 w 2142282"/>
                    <a:gd name="connsiteY578" fmla="*/ 48053 h 388632"/>
                    <a:gd name="connsiteX579" fmla="*/ 589708 w 2142282"/>
                    <a:gd name="connsiteY579" fmla="*/ 56257 h 388632"/>
                    <a:gd name="connsiteX580" fmla="*/ 563336 w 2142282"/>
                    <a:gd name="connsiteY580" fmla="*/ 56257 h 388632"/>
                    <a:gd name="connsiteX581" fmla="*/ 563336 w 2142282"/>
                    <a:gd name="connsiteY581" fmla="*/ 122281 h 388632"/>
                    <a:gd name="connsiteX582" fmla="*/ 566608 w 2142282"/>
                    <a:gd name="connsiteY582" fmla="*/ 137273 h 388632"/>
                    <a:gd name="connsiteX583" fmla="*/ 577694 w 2142282"/>
                    <a:gd name="connsiteY583" fmla="*/ 141912 h 388632"/>
                    <a:gd name="connsiteX584" fmla="*/ 589708 w 2142282"/>
                    <a:gd name="connsiteY584" fmla="*/ 138298 h 388632"/>
                    <a:gd name="connsiteX585" fmla="*/ 589708 w 2142282"/>
                    <a:gd name="connsiteY585" fmla="*/ 146698 h 388632"/>
                    <a:gd name="connsiteX586" fmla="*/ 576522 w 2142282"/>
                    <a:gd name="connsiteY586" fmla="*/ 150019 h 388632"/>
                    <a:gd name="connsiteX587" fmla="*/ 554352 w 2142282"/>
                    <a:gd name="connsiteY587" fmla="*/ 123453 h 388632"/>
                    <a:gd name="connsiteX588" fmla="*/ 554352 w 2142282"/>
                    <a:gd name="connsiteY588" fmla="*/ 56257 h 388632"/>
                    <a:gd name="connsiteX589" fmla="*/ 536380 w 2142282"/>
                    <a:gd name="connsiteY589" fmla="*/ 56257 h 388632"/>
                    <a:gd name="connsiteX590" fmla="*/ 536380 w 2142282"/>
                    <a:gd name="connsiteY590" fmla="*/ 48053 h 388632"/>
                    <a:gd name="connsiteX591" fmla="*/ 554352 w 2142282"/>
                    <a:gd name="connsiteY591" fmla="*/ 48053 h 388632"/>
                    <a:gd name="connsiteX592" fmla="*/ 554352 w 2142282"/>
                    <a:gd name="connsiteY592" fmla="*/ 22073 h 388632"/>
                    <a:gd name="connsiteX593" fmla="*/ 558844 w 2142282"/>
                    <a:gd name="connsiteY593" fmla="*/ 20510 h 388632"/>
                    <a:gd name="connsiteX594" fmla="*/ 563336 w 2142282"/>
                    <a:gd name="connsiteY594" fmla="*/ 19045 h 388632"/>
                    <a:gd name="connsiteX595" fmla="*/ 792672 w 2142282"/>
                    <a:gd name="connsiteY595" fmla="*/ 8009 h 388632"/>
                    <a:gd name="connsiteX596" fmla="*/ 797994 w 2142282"/>
                    <a:gd name="connsiteY596" fmla="*/ 9962 h 388632"/>
                    <a:gd name="connsiteX597" fmla="*/ 800290 w 2142282"/>
                    <a:gd name="connsiteY597" fmla="*/ 15236 h 388632"/>
                    <a:gd name="connsiteX598" fmla="*/ 798044 w 2142282"/>
                    <a:gd name="connsiteY598" fmla="*/ 20608 h 388632"/>
                    <a:gd name="connsiteX599" fmla="*/ 792672 w 2142282"/>
                    <a:gd name="connsiteY599" fmla="*/ 22854 h 388632"/>
                    <a:gd name="connsiteX600" fmla="*/ 787496 w 2142282"/>
                    <a:gd name="connsiteY600" fmla="*/ 20706 h 388632"/>
                    <a:gd name="connsiteX601" fmla="*/ 785248 w 2142282"/>
                    <a:gd name="connsiteY601" fmla="*/ 15236 h 388632"/>
                    <a:gd name="connsiteX602" fmla="*/ 787544 w 2142282"/>
                    <a:gd name="connsiteY602" fmla="*/ 10011 h 388632"/>
                    <a:gd name="connsiteX603" fmla="*/ 792672 w 2142282"/>
                    <a:gd name="connsiteY603" fmla="*/ 8009 h 388632"/>
                    <a:gd name="connsiteX604" fmla="*/ 678372 w 2142282"/>
                    <a:gd name="connsiteY604" fmla="*/ 8009 h 388632"/>
                    <a:gd name="connsiteX605" fmla="*/ 683694 w 2142282"/>
                    <a:gd name="connsiteY605" fmla="*/ 9962 h 388632"/>
                    <a:gd name="connsiteX606" fmla="*/ 685990 w 2142282"/>
                    <a:gd name="connsiteY606" fmla="*/ 15236 h 388632"/>
                    <a:gd name="connsiteX607" fmla="*/ 683744 w 2142282"/>
                    <a:gd name="connsiteY607" fmla="*/ 20608 h 388632"/>
                    <a:gd name="connsiteX608" fmla="*/ 678372 w 2142282"/>
                    <a:gd name="connsiteY608" fmla="*/ 22854 h 388632"/>
                    <a:gd name="connsiteX609" fmla="*/ 673196 w 2142282"/>
                    <a:gd name="connsiteY609" fmla="*/ 20706 h 388632"/>
                    <a:gd name="connsiteX610" fmla="*/ 670948 w 2142282"/>
                    <a:gd name="connsiteY610" fmla="*/ 15236 h 388632"/>
                    <a:gd name="connsiteX611" fmla="*/ 673244 w 2142282"/>
                    <a:gd name="connsiteY611" fmla="*/ 10011 h 388632"/>
                    <a:gd name="connsiteX612" fmla="*/ 678372 w 2142282"/>
                    <a:gd name="connsiteY612" fmla="*/ 8009 h 388632"/>
                    <a:gd name="connsiteX613" fmla="*/ 458558 w 2142282"/>
                    <a:gd name="connsiteY613" fmla="*/ 4883 h 388632"/>
                    <a:gd name="connsiteX614" fmla="*/ 461682 w 2142282"/>
                    <a:gd name="connsiteY614" fmla="*/ 4883 h 388632"/>
                    <a:gd name="connsiteX615" fmla="*/ 461682 w 2142282"/>
                    <a:gd name="connsiteY615" fmla="*/ 148065 h 388632"/>
                    <a:gd name="connsiteX616" fmla="*/ 452698 w 2142282"/>
                    <a:gd name="connsiteY616" fmla="*/ 148065 h 388632"/>
                    <a:gd name="connsiteX617" fmla="*/ 452698 w 2142282"/>
                    <a:gd name="connsiteY617" fmla="*/ 19045 h 388632"/>
                    <a:gd name="connsiteX618" fmla="*/ 437314 w 2142282"/>
                    <a:gd name="connsiteY618" fmla="*/ 30179 h 388632"/>
                    <a:gd name="connsiteX619" fmla="*/ 418416 w 2142282"/>
                    <a:gd name="connsiteY619" fmla="*/ 38481 h 388632"/>
                    <a:gd name="connsiteX620" fmla="*/ 418416 w 2142282"/>
                    <a:gd name="connsiteY620" fmla="*/ 30277 h 388632"/>
                    <a:gd name="connsiteX621" fmla="*/ 429842 w 2142282"/>
                    <a:gd name="connsiteY621" fmla="*/ 25638 h 388632"/>
                    <a:gd name="connsiteX622" fmla="*/ 439952 w 2142282"/>
                    <a:gd name="connsiteY622" fmla="*/ 19924 h 388632"/>
                    <a:gd name="connsiteX623" fmla="*/ 449328 w 2142282"/>
                    <a:gd name="connsiteY623" fmla="*/ 13039 h 388632"/>
                    <a:gd name="connsiteX624" fmla="*/ 458558 w 2142282"/>
                    <a:gd name="connsiteY624" fmla="*/ 4883 h 388632"/>
                    <a:gd name="connsiteX625" fmla="*/ 750176 w 2142282"/>
                    <a:gd name="connsiteY625" fmla="*/ 0 h 388632"/>
                    <a:gd name="connsiteX626" fmla="*/ 759162 w 2142282"/>
                    <a:gd name="connsiteY626" fmla="*/ 0 h 388632"/>
                    <a:gd name="connsiteX627" fmla="*/ 759162 w 2142282"/>
                    <a:gd name="connsiteY627" fmla="*/ 148065 h 388632"/>
                    <a:gd name="connsiteX628" fmla="*/ 750176 w 2142282"/>
                    <a:gd name="connsiteY628" fmla="*/ 148065 h 388632"/>
                    <a:gd name="connsiteX629" fmla="*/ 712076 w 2142282"/>
                    <a:gd name="connsiteY629" fmla="*/ 0 h 388632"/>
                    <a:gd name="connsiteX630" fmla="*/ 721062 w 2142282"/>
                    <a:gd name="connsiteY630" fmla="*/ 0 h 388632"/>
                    <a:gd name="connsiteX631" fmla="*/ 721062 w 2142282"/>
                    <a:gd name="connsiteY631" fmla="*/ 148065 h 388632"/>
                    <a:gd name="connsiteX632" fmla="*/ 712076 w 2142282"/>
                    <a:gd name="connsiteY632" fmla="*/ 148065 h 388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</a:cxnLst>
                  <a:rect l="l" t="t" r="r" b="b"/>
                  <a:pathLst>
                    <a:path w="2142282" h="388632">
                      <a:moveTo>
                        <a:pt x="2035164" y="291940"/>
                      </a:moveTo>
                      <a:cubicBezTo>
                        <a:pt x="2025788" y="291940"/>
                        <a:pt x="2018022" y="295082"/>
                        <a:pt x="2011870" y="301365"/>
                      </a:cubicBezTo>
                      <a:cubicBezTo>
                        <a:pt x="2005716" y="307649"/>
                        <a:pt x="2001924" y="316650"/>
                        <a:pt x="2000492" y="328371"/>
                      </a:cubicBezTo>
                      <a:lnTo>
                        <a:pt x="2064756" y="328371"/>
                      </a:lnTo>
                      <a:cubicBezTo>
                        <a:pt x="2064366" y="316846"/>
                        <a:pt x="2061598" y="307893"/>
                        <a:pt x="2056456" y="301512"/>
                      </a:cubicBezTo>
                      <a:cubicBezTo>
                        <a:pt x="2051312" y="295131"/>
                        <a:pt x="2044214" y="291940"/>
                        <a:pt x="2035164" y="291940"/>
                      </a:cubicBezTo>
                      <a:close/>
                      <a:moveTo>
                        <a:pt x="1758938" y="291940"/>
                      </a:moveTo>
                      <a:cubicBezTo>
                        <a:pt x="1749562" y="291940"/>
                        <a:pt x="1741798" y="295082"/>
                        <a:pt x="1735644" y="301365"/>
                      </a:cubicBezTo>
                      <a:cubicBezTo>
                        <a:pt x="1729492" y="307649"/>
                        <a:pt x="1725698" y="316650"/>
                        <a:pt x="1724266" y="328371"/>
                      </a:cubicBezTo>
                      <a:lnTo>
                        <a:pt x="1788532" y="328371"/>
                      </a:lnTo>
                      <a:cubicBezTo>
                        <a:pt x="1788142" y="316846"/>
                        <a:pt x="1785374" y="307893"/>
                        <a:pt x="1780230" y="301512"/>
                      </a:cubicBezTo>
                      <a:cubicBezTo>
                        <a:pt x="1775086" y="295131"/>
                        <a:pt x="1767988" y="291940"/>
                        <a:pt x="1758938" y="291940"/>
                      </a:cubicBezTo>
                      <a:close/>
                      <a:moveTo>
                        <a:pt x="1387464" y="291940"/>
                      </a:moveTo>
                      <a:cubicBezTo>
                        <a:pt x="1378088" y="291940"/>
                        <a:pt x="1370322" y="295082"/>
                        <a:pt x="1364170" y="301365"/>
                      </a:cubicBezTo>
                      <a:cubicBezTo>
                        <a:pt x="1358016" y="307649"/>
                        <a:pt x="1354224" y="316650"/>
                        <a:pt x="1352792" y="328371"/>
                      </a:cubicBezTo>
                      <a:lnTo>
                        <a:pt x="1417056" y="328371"/>
                      </a:lnTo>
                      <a:cubicBezTo>
                        <a:pt x="1416666" y="316846"/>
                        <a:pt x="1413898" y="307893"/>
                        <a:pt x="1408756" y="301512"/>
                      </a:cubicBezTo>
                      <a:cubicBezTo>
                        <a:pt x="1403612" y="295131"/>
                        <a:pt x="1396514" y="291940"/>
                        <a:pt x="1387464" y="291940"/>
                      </a:cubicBezTo>
                      <a:close/>
                      <a:moveTo>
                        <a:pt x="1057702" y="291940"/>
                      </a:moveTo>
                      <a:cubicBezTo>
                        <a:pt x="1045916" y="291940"/>
                        <a:pt x="1036524" y="295912"/>
                        <a:pt x="1029524" y="303856"/>
                      </a:cubicBezTo>
                      <a:cubicBezTo>
                        <a:pt x="1022526" y="311799"/>
                        <a:pt x="1019026" y="322836"/>
                        <a:pt x="1019026" y="336965"/>
                      </a:cubicBezTo>
                      <a:cubicBezTo>
                        <a:pt x="1019026" y="350053"/>
                        <a:pt x="1022444" y="360569"/>
                        <a:pt x="1029280" y="368512"/>
                      </a:cubicBezTo>
                      <a:cubicBezTo>
                        <a:pt x="1036118" y="376456"/>
                        <a:pt x="1045460" y="380428"/>
                        <a:pt x="1057312" y="380428"/>
                      </a:cubicBezTo>
                      <a:cubicBezTo>
                        <a:pt x="1069356" y="380428"/>
                        <a:pt x="1078636" y="376521"/>
                        <a:pt x="1085146" y="368708"/>
                      </a:cubicBezTo>
                      <a:cubicBezTo>
                        <a:pt x="1091658" y="360894"/>
                        <a:pt x="1094914" y="350053"/>
                        <a:pt x="1094914" y="336184"/>
                      </a:cubicBezTo>
                      <a:cubicBezTo>
                        <a:pt x="1094914" y="321924"/>
                        <a:pt x="1091674" y="310986"/>
                        <a:pt x="1085196" y="303367"/>
                      </a:cubicBezTo>
                      <a:cubicBezTo>
                        <a:pt x="1078716" y="295749"/>
                        <a:pt x="1069552" y="291940"/>
                        <a:pt x="1057702" y="291940"/>
                      </a:cubicBezTo>
                      <a:close/>
                      <a:moveTo>
                        <a:pt x="807610" y="291940"/>
                      </a:moveTo>
                      <a:cubicBezTo>
                        <a:pt x="797128" y="291940"/>
                        <a:pt x="788468" y="295961"/>
                        <a:pt x="781630" y="304002"/>
                      </a:cubicBezTo>
                      <a:cubicBezTo>
                        <a:pt x="774794" y="312044"/>
                        <a:pt x="771376" y="323096"/>
                        <a:pt x="771376" y="337161"/>
                      </a:cubicBezTo>
                      <a:cubicBezTo>
                        <a:pt x="771376" y="350964"/>
                        <a:pt x="774452" y="361627"/>
                        <a:pt x="780604" y="369147"/>
                      </a:cubicBezTo>
                      <a:cubicBezTo>
                        <a:pt x="786758" y="376668"/>
                        <a:pt x="794686" y="380428"/>
                        <a:pt x="804388" y="380428"/>
                      </a:cubicBezTo>
                      <a:cubicBezTo>
                        <a:pt x="815782" y="380428"/>
                        <a:pt x="824604" y="376895"/>
                        <a:pt x="830856" y="369831"/>
                      </a:cubicBezTo>
                      <a:cubicBezTo>
                        <a:pt x="837106" y="362766"/>
                        <a:pt x="840232" y="354155"/>
                        <a:pt x="840232" y="343997"/>
                      </a:cubicBezTo>
                      <a:lnTo>
                        <a:pt x="840232" y="325343"/>
                      </a:lnTo>
                      <a:cubicBezTo>
                        <a:pt x="840232" y="316032"/>
                        <a:pt x="837286" y="308137"/>
                        <a:pt x="831392" y="301658"/>
                      </a:cubicBezTo>
                      <a:cubicBezTo>
                        <a:pt x="825500" y="295180"/>
                        <a:pt x="817572" y="291940"/>
                        <a:pt x="807610" y="291940"/>
                      </a:cubicBezTo>
                      <a:close/>
                      <a:moveTo>
                        <a:pt x="701664" y="291940"/>
                      </a:moveTo>
                      <a:cubicBezTo>
                        <a:pt x="692288" y="291940"/>
                        <a:pt x="684522" y="295082"/>
                        <a:pt x="678370" y="301365"/>
                      </a:cubicBezTo>
                      <a:cubicBezTo>
                        <a:pt x="672216" y="307649"/>
                        <a:pt x="668424" y="316650"/>
                        <a:pt x="666992" y="328371"/>
                      </a:cubicBezTo>
                      <a:lnTo>
                        <a:pt x="731256" y="328371"/>
                      </a:lnTo>
                      <a:cubicBezTo>
                        <a:pt x="730866" y="316846"/>
                        <a:pt x="728098" y="307893"/>
                        <a:pt x="722956" y="301512"/>
                      </a:cubicBezTo>
                      <a:cubicBezTo>
                        <a:pt x="717812" y="295131"/>
                        <a:pt x="710714" y="291940"/>
                        <a:pt x="701664" y="291940"/>
                      </a:cubicBezTo>
                      <a:close/>
                      <a:moveTo>
                        <a:pt x="454014" y="291940"/>
                      </a:moveTo>
                      <a:cubicBezTo>
                        <a:pt x="444638" y="291940"/>
                        <a:pt x="436872" y="295082"/>
                        <a:pt x="430720" y="301365"/>
                      </a:cubicBezTo>
                      <a:cubicBezTo>
                        <a:pt x="424566" y="307649"/>
                        <a:pt x="420774" y="316650"/>
                        <a:pt x="419340" y="328371"/>
                      </a:cubicBezTo>
                      <a:lnTo>
                        <a:pt x="483608" y="328371"/>
                      </a:lnTo>
                      <a:cubicBezTo>
                        <a:pt x="483216" y="316846"/>
                        <a:pt x="480448" y="307893"/>
                        <a:pt x="475306" y="301512"/>
                      </a:cubicBezTo>
                      <a:cubicBezTo>
                        <a:pt x="470162" y="295131"/>
                        <a:pt x="463064" y="291940"/>
                        <a:pt x="454014" y="291940"/>
                      </a:cubicBezTo>
                      <a:close/>
                      <a:moveTo>
                        <a:pt x="133776" y="291940"/>
                      </a:moveTo>
                      <a:cubicBezTo>
                        <a:pt x="121992" y="291940"/>
                        <a:pt x="112600" y="295912"/>
                        <a:pt x="105600" y="303856"/>
                      </a:cubicBezTo>
                      <a:cubicBezTo>
                        <a:pt x="98600" y="311799"/>
                        <a:pt x="95100" y="322836"/>
                        <a:pt x="95100" y="336965"/>
                      </a:cubicBezTo>
                      <a:cubicBezTo>
                        <a:pt x="95100" y="350053"/>
                        <a:pt x="98518" y="360569"/>
                        <a:pt x="105356" y="368512"/>
                      </a:cubicBezTo>
                      <a:cubicBezTo>
                        <a:pt x="112192" y="376456"/>
                        <a:pt x="121536" y="380428"/>
                        <a:pt x="133386" y="380428"/>
                      </a:cubicBezTo>
                      <a:cubicBezTo>
                        <a:pt x="145432" y="380428"/>
                        <a:pt x="154710" y="376521"/>
                        <a:pt x="161222" y="368708"/>
                      </a:cubicBezTo>
                      <a:cubicBezTo>
                        <a:pt x="167734" y="360894"/>
                        <a:pt x="170988" y="350053"/>
                        <a:pt x="170988" y="336184"/>
                      </a:cubicBezTo>
                      <a:cubicBezTo>
                        <a:pt x="170988" y="321924"/>
                        <a:pt x="167750" y="310986"/>
                        <a:pt x="161270" y="303367"/>
                      </a:cubicBezTo>
                      <a:cubicBezTo>
                        <a:pt x="154792" y="295749"/>
                        <a:pt x="145628" y="291940"/>
                        <a:pt x="133776" y="291940"/>
                      </a:cubicBezTo>
                      <a:close/>
                      <a:moveTo>
                        <a:pt x="1863714" y="284224"/>
                      </a:moveTo>
                      <a:cubicBezTo>
                        <a:pt x="1867424" y="284224"/>
                        <a:pt x="1870746" y="284810"/>
                        <a:pt x="1873676" y="285982"/>
                      </a:cubicBezTo>
                      <a:lnTo>
                        <a:pt x="1873676" y="295554"/>
                      </a:lnTo>
                      <a:cubicBezTo>
                        <a:pt x="1870680" y="293405"/>
                        <a:pt x="1867164" y="292331"/>
                        <a:pt x="1863128" y="292331"/>
                      </a:cubicBezTo>
                      <a:cubicBezTo>
                        <a:pt x="1855248" y="292331"/>
                        <a:pt x="1848640" y="296400"/>
                        <a:pt x="1843300" y="304539"/>
                      </a:cubicBezTo>
                      <a:cubicBezTo>
                        <a:pt x="1837962" y="312678"/>
                        <a:pt x="1835292" y="324236"/>
                        <a:pt x="1835292" y="339212"/>
                      </a:cubicBezTo>
                      <a:lnTo>
                        <a:pt x="1835292" y="386190"/>
                      </a:lnTo>
                      <a:lnTo>
                        <a:pt x="1826502" y="386190"/>
                      </a:lnTo>
                      <a:lnTo>
                        <a:pt x="1826502" y="286178"/>
                      </a:lnTo>
                      <a:lnTo>
                        <a:pt x="1835292" y="286178"/>
                      </a:lnTo>
                      <a:lnTo>
                        <a:pt x="1835292" y="308348"/>
                      </a:lnTo>
                      <a:lnTo>
                        <a:pt x="1835682" y="308348"/>
                      </a:lnTo>
                      <a:cubicBezTo>
                        <a:pt x="1837962" y="300730"/>
                        <a:pt x="1841576" y="294805"/>
                        <a:pt x="1846524" y="290573"/>
                      </a:cubicBezTo>
                      <a:cubicBezTo>
                        <a:pt x="1851472" y="286341"/>
                        <a:pt x="1857202" y="284224"/>
                        <a:pt x="1863714" y="284224"/>
                      </a:cubicBezTo>
                      <a:close/>
                      <a:moveTo>
                        <a:pt x="2035554" y="283736"/>
                      </a:moveTo>
                      <a:cubicBezTo>
                        <a:pt x="2047990" y="283736"/>
                        <a:pt x="2057530" y="288099"/>
                        <a:pt x="2064170" y="296824"/>
                      </a:cubicBezTo>
                      <a:cubicBezTo>
                        <a:pt x="2070812" y="305549"/>
                        <a:pt x="2074132" y="317464"/>
                        <a:pt x="2074132" y="332570"/>
                      </a:cubicBezTo>
                      <a:lnTo>
                        <a:pt x="2074132" y="336575"/>
                      </a:lnTo>
                      <a:lnTo>
                        <a:pt x="2000100" y="336575"/>
                      </a:lnTo>
                      <a:cubicBezTo>
                        <a:pt x="2000100" y="350313"/>
                        <a:pt x="2003274" y="361057"/>
                        <a:pt x="2009624" y="368805"/>
                      </a:cubicBezTo>
                      <a:cubicBezTo>
                        <a:pt x="2015972" y="376554"/>
                        <a:pt x="2024680" y="380428"/>
                        <a:pt x="2035750" y="380428"/>
                      </a:cubicBezTo>
                      <a:cubicBezTo>
                        <a:pt x="2046948" y="380428"/>
                        <a:pt x="2057888" y="376293"/>
                        <a:pt x="2068566" y="368024"/>
                      </a:cubicBezTo>
                      <a:lnTo>
                        <a:pt x="2068566" y="377595"/>
                      </a:lnTo>
                      <a:cubicBezTo>
                        <a:pt x="2058212" y="384953"/>
                        <a:pt x="2046656" y="388632"/>
                        <a:pt x="2033894" y="388632"/>
                      </a:cubicBezTo>
                      <a:cubicBezTo>
                        <a:pt x="2021002" y="388632"/>
                        <a:pt x="2010584" y="384009"/>
                        <a:pt x="2002640" y="374763"/>
                      </a:cubicBezTo>
                      <a:cubicBezTo>
                        <a:pt x="1994696" y="365517"/>
                        <a:pt x="1990724" y="352462"/>
                        <a:pt x="1990724" y="335598"/>
                      </a:cubicBezTo>
                      <a:cubicBezTo>
                        <a:pt x="1990724" y="321013"/>
                        <a:pt x="1994876" y="308723"/>
                        <a:pt x="2003176" y="298728"/>
                      </a:cubicBezTo>
                      <a:cubicBezTo>
                        <a:pt x="2011478" y="288733"/>
                        <a:pt x="2022272" y="283736"/>
                        <a:pt x="2035554" y="283736"/>
                      </a:cubicBezTo>
                      <a:close/>
                      <a:moveTo>
                        <a:pt x="1936736" y="283736"/>
                      </a:moveTo>
                      <a:cubicBezTo>
                        <a:pt x="1947546" y="283736"/>
                        <a:pt x="1955814" y="287333"/>
                        <a:pt x="1961544" y="294528"/>
                      </a:cubicBezTo>
                      <a:cubicBezTo>
                        <a:pt x="1967274" y="301723"/>
                        <a:pt x="1970140" y="311995"/>
                        <a:pt x="1970140" y="325343"/>
                      </a:cubicBezTo>
                      <a:lnTo>
                        <a:pt x="1970140" y="386190"/>
                      </a:lnTo>
                      <a:lnTo>
                        <a:pt x="1961154" y="386190"/>
                      </a:lnTo>
                      <a:lnTo>
                        <a:pt x="1961154" y="327980"/>
                      </a:lnTo>
                      <a:cubicBezTo>
                        <a:pt x="1961154" y="303953"/>
                        <a:pt x="1952494" y="291940"/>
                        <a:pt x="1935174" y="291940"/>
                      </a:cubicBezTo>
                      <a:cubicBezTo>
                        <a:pt x="1925538" y="291940"/>
                        <a:pt x="1917626" y="295473"/>
                        <a:pt x="1911440" y="302537"/>
                      </a:cubicBezTo>
                      <a:cubicBezTo>
                        <a:pt x="1905256" y="309602"/>
                        <a:pt x="1902162" y="318343"/>
                        <a:pt x="1902162" y="328761"/>
                      </a:cubicBezTo>
                      <a:lnTo>
                        <a:pt x="1902162" y="386190"/>
                      </a:lnTo>
                      <a:lnTo>
                        <a:pt x="1893176" y="386190"/>
                      </a:lnTo>
                      <a:lnTo>
                        <a:pt x="1893176" y="286178"/>
                      </a:lnTo>
                      <a:lnTo>
                        <a:pt x="1902162" y="286178"/>
                      </a:lnTo>
                      <a:lnTo>
                        <a:pt x="1902162" y="304344"/>
                      </a:lnTo>
                      <a:lnTo>
                        <a:pt x="1902552" y="304344"/>
                      </a:lnTo>
                      <a:cubicBezTo>
                        <a:pt x="1909846" y="290605"/>
                        <a:pt x="1921240" y="283736"/>
                        <a:pt x="1936736" y="283736"/>
                      </a:cubicBezTo>
                      <a:close/>
                      <a:moveTo>
                        <a:pt x="1759328" y="283736"/>
                      </a:moveTo>
                      <a:cubicBezTo>
                        <a:pt x="1771766" y="283736"/>
                        <a:pt x="1781304" y="288099"/>
                        <a:pt x="1787946" y="296824"/>
                      </a:cubicBezTo>
                      <a:cubicBezTo>
                        <a:pt x="1794588" y="305549"/>
                        <a:pt x="1797908" y="317464"/>
                        <a:pt x="1797908" y="332570"/>
                      </a:cubicBezTo>
                      <a:lnTo>
                        <a:pt x="1797908" y="336575"/>
                      </a:lnTo>
                      <a:lnTo>
                        <a:pt x="1723876" y="336575"/>
                      </a:lnTo>
                      <a:cubicBezTo>
                        <a:pt x="1723876" y="350313"/>
                        <a:pt x="1727050" y="361057"/>
                        <a:pt x="1733398" y="368805"/>
                      </a:cubicBezTo>
                      <a:cubicBezTo>
                        <a:pt x="1739746" y="376554"/>
                        <a:pt x="1748456" y="380428"/>
                        <a:pt x="1759524" y="380428"/>
                      </a:cubicBezTo>
                      <a:cubicBezTo>
                        <a:pt x="1770724" y="380428"/>
                        <a:pt x="1781662" y="376293"/>
                        <a:pt x="1792340" y="368024"/>
                      </a:cubicBezTo>
                      <a:lnTo>
                        <a:pt x="1792340" y="377595"/>
                      </a:lnTo>
                      <a:cubicBezTo>
                        <a:pt x="1781988" y="384953"/>
                        <a:pt x="1770430" y="388632"/>
                        <a:pt x="1757668" y="388632"/>
                      </a:cubicBezTo>
                      <a:cubicBezTo>
                        <a:pt x="1744776" y="388632"/>
                        <a:pt x="1734358" y="384009"/>
                        <a:pt x="1726414" y="374763"/>
                      </a:cubicBezTo>
                      <a:cubicBezTo>
                        <a:pt x="1718472" y="365517"/>
                        <a:pt x="1714500" y="352462"/>
                        <a:pt x="1714500" y="335598"/>
                      </a:cubicBezTo>
                      <a:cubicBezTo>
                        <a:pt x="1714500" y="321013"/>
                        <a:pt x="1718650" y="308723"/>
                        <a:pt x="1726952" y="298728"/>
                      </a:cubicBezTo>
                      <a:cubicBezTo>
                        <a:pt x="1735254" y="288733"/>
                        <a:pt x="1746046" y="283736"/>
                        <a:pt x="1759328" y="283736"/>
                      </a:cubicBezTo>
                      <a:close/>
                      <a:moveTo>
                        <a:pt x="1603362" y="283736"/>
                      </a:moveTo>
                      <a:cubicBezTo>
                        <a:pt x="1614170" y="283736"/>
                        <a:pt x="1622440" y="287333"/>
                        <a:pt x="1628170" y="294528"/>
                      </a:cubicBezTo>
                      <a:cubicBezTo>
                        <a:pt x="1633900" y="301723"/>
                        <a:pt x="1636764" y="311995"/>
                        <a:pt x="1636764" y="325343"/>
                      </a:cubicBezTo>
                      <a:lnTo>
                        <a:pt x="1636764" y="386190"/>
                      </a:lnTo>
                      <a:lnTo>
                        <a:pt x="1627778" y="386190"/>
                      </a:lnTo>
                      <a:lnTo>
                        <a:pt x="1627778" y="327980"/>
                      </a:lnTo>
                      <a:cubicBezTo>
                        <a:pt x="1627778" y="303953"/>
                        <a:pt x="1619120" y="291940"/>
                        <a:pt x="1601800" y="291940"/>
                      </a:cubicBezTo>
                      <a:cubicBezTo>
                        <a:pt x="1592162" y="291940"/>
                        <a:pt x="1584252" y="295473"/>
                        <a:pt x="1578066" y="302537"/>
                      </a:cubicBezTo>
                      <a:cubicBezTo>
                        <a:pt x="1571880" y="309602"/>
                        <a:pt x="1568788" y="318343"/>
                        <a:pt x="1568788" y="328761"/>
                      </a:cubicBezTo>
                      <a:lnTo>
                        <a:pt x="1568788" y="386190"/>
                      </a:lnTo>
                      <a:lnTo>
                        <a:pt x="1559802" y="386190"/>
                      </a:lnTo>
                      <a:lnTo>
                        <a:pt x="1559802" y="286178"/>
                      </a:lnTo>
                      <a:lnTo>
                        <a:pt x="1568788" y="286178"/>
                      </a:lnTo>
                      <a:lnTo>
                        <a:pt x="1568788" y="304344"/>
                      </a:lnTo>
                      <a:lnTo>
                        <a:pt x="1569178" y="304344"/>
                      </a:lnTo>
                      <a:cubicBezTo>
                        <a:pt x="1576470" y="290605"/>
                        <a:pt x="1587864" y="283736"/>
                        <a:pt x="1603362" y="283736"/>
                      </a:cubicBezTo>
                      <a:close/>
                      <a:moveTo>
                        <a:pt x="1387854" y="283736"/>
                      </a:moveTo>
                      <a:cubicBezTo>
                        <a:pt x="1400290" y="283736"/>
                        <a:pt x="1409830" y="288099"/>
                        <a:pt x="1416470" y="296824"/>
                      </a:cubicBezTo>
                      <a:cubicBezTo>
                        <a:pt x="1423112" y="305549"/>
                        <a:pt x="1426432" y="317464"/>
                        <a:pt x="1426432" y="332570"/>
                      </a:cubicBezTo>
                      <a:lnTo>
                        <a:pt x="1426432" y="336575"/>
                      </a:lnTo>
                      <a:lnTo>
                        <a:pt x="1352400" y="336575"/>
                      </a:lnTo>
                      <a:cubicBezTo>
                        <a:pt x="1352400" y="350313"/>
                        <a:pt x="1355574" y="361057"/>
                        <a:pt x="1361924" y="368805"/>
                      </a:cubicBezTo>
                      <a:cubicBezTo>
                        <a:pt x="1368272" y="376554"/>
                        <a:pt x="1376980" y="380428"/>
                        <a:pt x="1388050" y="380428"/>
                      </a:cubicBezTo>
                      <a:cubicBezTo>
                        <a:pt x="1399248" y="380428"/>
                        <a:pt x="1410188" y="376293"/>
                        <a:pt x="1420866" y="368024"/>
                      </a:cubicBezTo>
                      <a:lnTo>
                        <a:pt x="1420866" y="377595"/>
                      </a:lnTo>
                      <a:cubicBezTo>
                        <a:pt x="1410512" y="384953"/>
                        <a:pt x="1398956" y="388632"/>
                        <a:pt x="1386194" y="388632"/>
                      </a:cubicBezTo>
                      <a:cubicBezTo>
                        <a:pt x="1373302" y="388632"/>
                        <a:pt x="1362884" y="384009"/>
                        <a:pt x="1354940" y="374763"/>
                      </a:cubicBezTo>
                      <a:cubicBezTo>
                        <a:pt x="1346996" y="365517"/>
                        <a:pt x="1343024" y="352462"/>
                        <a:pt x="1343024" y="335598"/>
                      </a:cubicBezTo>
                      <a:cubicBezTo>
                        <a:pt x="1343024" y="321013"/>
                        <a:pt x="1347176" y="308723"/>
                        <a:pt x="1355476" y="298728"/>
                      </a:cubicBezTo>
                      <a:cubicBezTo>
                        <a:pt x="1363778" y="288733"/>
                        <a:pt x="1374572" y="283736"/>
                        <a:pt x="1387854" y="283736"/>
                      </a:cubicBezTo>
                      <a:close/>
                      <a:moveTo>
                        <a:pt x="1058092" y="283736"/>
                      </a:moveTo>
                      <a:cubicBezTo>
                        <a:pt x="1072352" y="283736"/>
                        <a:pt x="1083616" y="288392"/>
                        <a:pt x="1091886" y="297703"/>
                      </a:cubicBezTo>
                      <a:cubicBezTo>
                        <a:pt x="1100156" y="307014"/>
                        <a:pt x="1104290" y="319906"/>
                        <a:pt x="1104290" y="336379"/>
                      </a:cubicBezTo>
                      <a:cubicBezTo>
                        <a:pt x="1104290" y="351941"/>
                        <a:pt x="1100074" y="364540"/>
                        <a:pt x="1091642" y="374177"/>
                      </a:cubicBezTo>
                      <a:cubicBezTo>
                        <a:pt x="1083210" y="383814"/>
                        <a:pt x="1071668" y="388632"/>
                        <a:pt x="1057018" y="388632"/>
                      </a:cubicBezTo>
                      <a:cubicBezTo>
                        <a:pt x="1042434" y="388632"/>
                        <a:pt x="1030892" y="383830"/>
                        <a:pt x="1022394" y="374226"/>
                      </a:cubicBezTo>
                      <a:cubicBezTo>
                        <a:pt x="1013898" y="364622"/>
                        <a:pt x="1009648" y="352136"/>
                        <a:pt x="1009648" y="336770"/>
                      </a:cubicBezTo>
                      <a:cubicBezTo>
                        <a:pt x="1009648" y="320166"/>
                        <a:pt x="1014094" y="307176"/>
                        <a:pt x="1022980" y="297800"/>
                      </a:cubicBezTo>
                      <a:cubicBezTo>
                        <a:pt x="1031868" y="288424"/>
                        <a:pt x="1043572" y="283736"/>
                        <a:pt x="1058092" y="283736"/>
                      </a:cubicBezTo>
                      <a:close/>
                      <a:moveTo>
                        <a:pt x="702054" y="283736"/>
                      </a:moveTo>
                      <a:cubicBezTo>
                        <a:pt x="714490" y="283736"/>
                        <a:pt x="724030" y="288099"/>
                        <a:pt x="730670" y="296824"/>
                      </a:cubicBezTo>
                      <a:cubicBezTo>
                        <a:pt x="737312" y="305549"/>
                        <a:pt x="740632" y="317464"/>
                        <a:pt x="740632" y="332570"/>
                      </a:cubicBezTo>
                      <a:lnTo>
                        <a:pt x="740632" y="336575"/>
                      </a:lnTo>
                      <a:lnTo>
                        <a:pt x="666600" y="336575"/>
                      </a:lnTo>
                      <a:cubicBezTo>
                        <a:pt x="666600" y="350313"/>
                        <a:pt x="669774" y="361057"/>
                        <a:pt x="676124" y="368805"/>
                      </a:cubicBezTo>
                      <a:cubicBezTo>
                        <a:pt x="682472" y="376554"/>
                        <a:pt x="691180" y="380428"/>
                        <a:pt x="702250" y="380428"/>
                      </a:cubicBezTo>
                      <a:cubicBezTo>
                        <a:pt x="713448" y="380428"/>
                        <a:pt x="724388" y="376293"/>
                        <a:pt x="735066" y="368024"/>
                      </a:cubicBezTo>
                      <a:lnTo>
                        <a:pt x="735066" y="377595"/>
                      </a:lnTo>
                      <a:cubicBezTo>
                        <a:pt x="724712" y="384953"/>
                        <a:pt x="713156" y="388632"/>
                        <a:pt x="700394" y="388632"/>
                      </a:cubicBezTo>
                      <a:cubicBezTo>
                        <a:pt x="687502" y="388632"/>
                        <a:pt x="677084" y="384009"/>
                        <a:pt x="669140" y="374763"/>
                      </a:cubicBezTo>
                      <a:cubicBezTo>
                        <a:pt x="661196" y="365517"/>
                        <a:pt x="657224" y="352462"/>
                        <a:pt x="657224" y="335598"/>
                      </a:cubicBezTo>
                      <a:cubicBezTo>
                        <a:pt x="657224" y="321013"/>
                        <a:pt x="661376" y="308723"/>
                        <a:pt x="669676" y="298728"/>
                      </a:cubicBezTo>
                      <a:cubicBezTo>
                        <a:pt x="677978" y="288733"/>
                        <a:pt x="688772" y="283736"/>
                        <a:pt x="702054" y="283736"/>
                      </a:cubicBezTo>
                      <a:close/>
                      <a:moveTo>
                        <a:pt x="564550" y="283736"/>
                      </a:moveTo>
                      <a:cubicBezTo>
                        <a:pt x="572168" y="283736"/>
                        <a:pt x="579560" y="285299"/>
                        <a:pt x="586722" y="288424"/>
                      </a:cubicBezTo>
                      <a:lnTo>
                        <a:pt x="586722" y="298582"/>
                      </a:lnTo>
                      <a:cubicBezTo>
                        <a:pt x="579560" y="294154"/>
                        <a:pt x="571714" y="291940"/>
                        <a:pt x="563184" y="291940"/>
                      </a:cubicBezTo>
                      <a:cubicBezTo>
                        <a:pt x="551464" y="291940"/>
                        <a:pt x="541956" y="296156"/>
                        <a:pt x="534664" y="304588"/>
                      </a:cubicBezTo>
                      <a:cubicBezTo>
                        <a:pt x="527372" y="313020"/>
                        <a:pt x="523726" y="323943"/>
                        <a:pt x="523726" y="337356"/>
                      </a:cubicBezTo>
                      <a:cubicBezTo>
                        <a:pt x="523726" y="350313"/>
                        <a:pt x="527062" y="360731"/>
                        <a:pt x="533736" y="368610"/>
                      </a:cubicBezTo>
                      <a:cubicBezTo>
                        <a:pt x="540410" y="376488"/>
                        <a:pt x="549216" y="380428"/>
                        <a:pt x="560156" y="380428"/>
                      </a:cubicBezTo>
                      <a:cubicBezTo>
                        <a:pt x="570184" y="380428"/>
                        <a:pt x="578908" y="377758"/>
                        <a:pt x="586330" y="372419"/>
                      </a:cubicBezTo>
                      <a:lnTo>
                        <a:pt x="586330" y="381795"/>
                      </a:lnTo>
                      <a:cubicBezTo>
                        <a:pt x="578908" y="386353"/>
                        <a:pt x="570052" y="388632"/>
                        <a:pt x="559766" y="388632"/>
                      </a:cubicBezTo>
                      <a:cubicBezTo>
                        <a:pt x="546156" y="388632"/>
                        <a:pt x="535186" y="383960"/>
                        <a:pt x="526850" y="374617"/>
                      </a:cubicBezTo>
                      <a:cubicBezTo>
                        <a:pt x="518516" y="365273"/>
                        <a:pt x="514350" y="353048"/>
                        <a:pt x="514350" y="337942"/>
                      </a:cubicBezTo>
                      <a:cubicBezTo>
                        <a:pt x="514350" y="322055"/>
                        <a:pt x="519038" y="309048"/>
                        <a:pt x="528414" y="298923"/>
                      </a:cubicBezTo>
                      <a:cubicBezTo>
                        <a:pt x="537790" y="288798"/>
                        <a:pt x="549836" y="283736"/>
                        <a:pt x="564550" y="283736"/>
                      </a:cubicBezTo>
                      <a:close/>
                      <a:moveTo>
                        <a:pt x="454404" y="283736"/>
                      </a:moveTo>
                      <a:cubicBezTo>
                        <a:pt x="466840" y="283736"/>
                        <a:pt x="476380" y="288099"/>
                        <a:pt x="483020" y="296824"/>
                      </a:cubicBezTo>
                      <a:cubicBezTo>
                        <a:pt x="489662" y="305549"/>
                        <a:pt x="492984" y="317464"/>
                        <a:pt x="492984" y="332570"/>
                      </a:cubicBezTo>
                      <a:lnTo>
                        <a:pt x="492984" y="336575"/>
                      </a:lnTo>
                      <a:lnTo>
                        <a:pt x="418950" y="336575"/>
                      </a:lnTo>
                      <a:cubicBezTo>
                        <a:pt x="418950" y="350313"/>
                        <a:pt x="422124" y="361057"/>
                        <a:pt x="428474" y="368805"/>
                      </a:cubicBezTo>
                      <a:cubicBezTo>
                        <a:pt x="434822" y="376554"/>
                        <a:pt x="443530" y="380428"/>
                        <a:pt x="454600" y="380428"/>
                      </a:cubicBezTo>
                      <a:cubicBezTo>
                        <a:pt x="465798" y="380428"/>
                        <a:pt x="476738" y="376293"/>
                        <a:pt x="487416" y="368024"/>
                      </a:cubicBezTo>
                      <a:lnTo>
                        <a:pt x="487416" y="377595"/>
                      </a:lnTo>
                      <a:cubicBezTo>
                        <a:pt x="477064" y="384953"/>
                        <a:pt x="465506" y="388632"/>
                        <a:pt x="452744" y="388632"/>
                      </a:cubicBezTo>
                      <a:cubicBezTo>
                        <a:pt x="439852" y="388632"/>
                        <a:pt x="429434" y="384009"/>
                        <a:pt x="421490" y="374763"/>
                      </a:cubicBezTo>
                      <a:cubicBezTo>
                        <a:pt x="413546" y="365517"/>
                        <a:pt x="409574" y="352462"/>
                        <a:pt x="409574" y="335598"/>
                      </a:cubicBezTo>
                      <a:cubicBezTo>
                        <a:pt x="409574" y="321013"/>
                        <a:pt x="413726" y="308723"/>
                        <a:pt x="422028" y="298728"/>
                      </a:cubicBezTo>
                      <a:cubicBezTo>
                        <a:pt x="430328" y="288733"/>
                        <a:pt x="441122" y="283736"/>
                        <a:pt x="454404" y="283736"/>
                      </a:cubicBezTo>
                      <a:close/>
                      <a:moveTo>
                        <a:pt x="355586" y="283736"/>
                      </a:moveTo>
                      <a:cubicBezTo>
                        <a:pt x="366396" y="283736"/>
                        <a:pt x="374664" y="287333"/>
                        <a:pt x="380394" y="294528"/>
                      </a:cubicBezTo>
                      <a:cubicBezTo>
                        <a:pt x="386124" y="301723"/>
                        <a:pt x="388990" y="311995"/>
                        <a:pt x="388990" y="325343"/>
                      </a:cubicBezTo>
                      <a:lnTo>
                        <a:pt x="388990" y="386190"/>
                      </a:lnTo>
                      <a:lnTo>
                        <a:pt x="380004" y="386190"/>
                      </a:lnTo>
                      <a:lnTo>
                        <a:pt x="380004" y="327980"/>
                      </a:lnTo>
                      <a:cubicBezTo>
                        <a:pt x="380004" y="303953"/>
                        <a:pt x="371344" y="291940"/>
                        <a:pt x="354024" y="291940"/>
                      </a:cubicBezTo>
                      <a:cubicBezTo>
                        <a:pt x="344388" y="291940"/>
                        <a:pt x="336476" y="295473"/>
                        <a:pt x="330290" y="302537"/>
                      </a:cubicBezTo>
                      <a:cubicBezTo>
                        <a:pt x="324104" y="309602"/>
                        <a:pt x="321012" y="318343"/>
                        <a:pt x="321012" y="328761"/>
                      </a:cubicBezTo>
                      <a:lnTo>
                        <a:pt x="321012" y="386190"/>
                      </a:lnTo>
                      <a:lnTo>
                        <a:pt x="312026" y="386190"/>
                      </a:lnTo>
                      <a:lnTo>
                        <a:pt x="312026" y="286178"/>
                      </a:lnTo>
                      <a:lnTo>
                        <a:pt x="321012" y="286178"/>
                      </a:lnTo>
                      <a:lnTo>
                        <a:pt x="321012" y="304344"/>
                      </a:lnTo>
                      <a:lnTo>
                        <a:pt x="321402" y="304344"/>
                      </a:lnTo>
                      <a:cubicBezTo>
                        <a:pt x="328696" y="290605"/>
                        <a:pt x="340090" y="283736"/>
                        <a:pt x="355586" y="283736"/>
                      </a:cubicBezTo>
                      <a:close/>
                      <a:moveTo>
                        <a:pt x="250812" y="283736"/>
                      </a:moveTo>
                      <a:cubicBezTo>
                        <a:pt x="261620" y="283736"/>
                        <a:pt x="269890" y="287333"/>
                        <a:pt x="275620" y="294528"/>
                      </a:cubicBezTo>
                      <a:cubicBezTo>
                        <a:pt x="281350" y="301723"/>
                        <a:pt x="284214" y="311995"/>
                        <a:pt x="284214" y="325343"/>
                      </a:cubicBezTo>
                      <a:lnTo>
                        <a:pt x="284214" y="386190"/>
                      </a:lnTo>
                      <a:lnTo>
                        <a:pt x="275228" y="386190"/>
                      </a:lnTo>
                      <a:lnTo>
                        <a:pt x="275228" y="327980"/>
                      </a:lnTo>
                      <a:cubicBezTo>
                        <a:pt x="275228" y="303953"/>
                        <a:pt x="266568" y="291940"/>
                        <a:pt x="249250" y="291940"/>
                      </a:cubicBezTo>
                      <a:cubicBezTo>
                        <a:pt x="239612" y="291940"/>
                        <a:pt x="231702" y="295473"/>
                        <a:pt x="225516" y="302537"/>
                      </a:cubicBezTo>
                      <a:cubicBezTo>
                        <a:pt x="219330" y="309602"/>
                        <a:pt x="216238" y="318343"/>
                        <a:pt x="216238" y="328761"/>
                      </a:cubicBezTo>
                      <a:lnTo>
                        <a:pt x="216238" y="386190"/>
                      </a:lnTo>
                      <a:lnTo>
                        <a:pt x="207252" y="386190"/>
                      </a:lnTo>
                      <a:lnTo>
                        <a:pt x="207252" y="286178"/>
                      </a:lnTo>
                      <a:lnTo>
                        <a:pt x="216238" y="286178"/>
                      </a:lnTo>
                      <a:lnTo>
                        <a:pt x="216238" y="304344"/>
                      </a:lnTo>
                      <a:lnTo>
                        <a:pt x="216628" y="304344"/>
                      </a:lnTo>
                      <a:cubicBezTo>
                        <a:pt x="223920" y="290605"/>
                        <a:pt x="235316" y="283736"/>
                        <a:pt x="250812" y="283736"/>
                      </a:cubicBezTo>
                      <a:close/>
                      <a:moveTo>
                        <a:pt x="134168" y="283736"/>
                      </a:moveTo>
                      <a:cubicBezTo>
                        <a:pt x="148428" y="283736"/>
                        <a:pt x="159692" y="288392"/>
                        <a:pt x="167962" y="297703"/>
                      </a:cubicBezTo>
                      <a:cubicBezTo>
                        <a:pt x="176230" y="307014"/>
                        <a:pt x="180364" y="319906"/>
                        <a:pt x="180364" y="336379"/>
                      </a:cubicBezTo>
                      <a:cubicBezTo>
                        <a:pt x="180364" y="351941"/>
                        <a:pt x="176148" y="364540"/>
                        <a:pt x="167716" y="374177"/>
                      </a:cubicBezTo>
                      <a:cubicBezTo>
                        <a:pt x="159284" y="383814"/>
                        <a:pt x="147744" y="388632"/>
                        <a:pt x="133094" y="388632"/>
                      </a:cubicBezTo>
                      <a:cubicBezTo>
                        <a:pt x="118508" y="388632"/>
                        <a:pt x="106968" y="383830"/>
                        <a:pt x="98470" y="374226"/>
                      </a:cubicBezTo>
                      <a:cubicBezTo>
                        <a:pt x="89972" y="364622"/>
                        <a:pt x="85724" y="352136"/>
                        <a:pt x="85724" y="336770"/>
                      </a:cubicBezTo>
                      <a:cubicBezTo>
                        <a:pt x="85724" y="320166"/>
                        <a:pt x="90168" y="307176"/>
                        <a:pt x="99056" y="297800"/>
                      </a:cubicBezTo>
                      <a:cubicBezTo>
                        <a:pt x="107944" y="288424"/>
                        <a:pt x="119648" y="283736"/>
                        <a:pt x="134168" y="283736"/>
                      </a:cubicBezTo>
                      <a:close/>
                      <a:moveTo>
                        <a:pt x="50200" y="283736"/>
                      </a:moveTo>
                      <a:cubicBezTo>
                        <a:pt x="57820" y="283736"/>
                        <a:pt x="65210" y="285299"/>
                        <a:pt x="72372" y="288424"/>
                      </a:cubicBezTo>
                      <a:lnTo>
                        <a:pt x="72372" y="298582"/>
                      </a:lnTo>
                      <a:cubicBezTo>
                        <a:pt x="65210" y="294154"/>
                        <a:pt x="57364" y="291940"/>
                        <a:pt x="48834" y="291940"/>
                      </a:cubicBezTo>
                      <a:cubicBezTo>
                        <a:pt x="37114" y="291940"/>
                        <a:pt x="27606" y="296156"/>
                        <a:pt x="20314" y="304588"/>
                      </a:cubicBezTo>
                      <a:cubicBezTo>
                        <a:pt x="13022" y="313020"/>
                        <a:pt x="9376" y="323943"/>
                        <a:pt x="9376" y="337356"/>
                      </a:cubicBezTo>
                      <a:cubicBezTo>
                        <a:pt x="9376" y="350313"/>
                        <a:pt x="12712" y="360731"/>
                        <a:pt x="19386" y="368610"/>
                      </a:cubicBezTo>
                      <a:cubicBezTo>
                        <a:pt x="26060" y="376488"/>
                        <a:pt x="34866" y="380428"/>
                        <a:pt x="45806" y="380428"/>
                      </a:cubicBezTo>
                      <a:cubicBezTo>
                        <a:pt x="55832" y="380428"/>
                        <a:pt x="64558" y="377758"/>
                        <a:pt x="71980" y="372419"/>
                      </a:cubicBezTo>
                      <a:lnTo>
                        <a:pt x="71980" y="381795"/>
                      </a:lnTo>
                      <a:cubicBezTo>
                        <a:pt x="64558" y="386353"/>
                        <a:pt x="55702" y="388632"/>
                        <a:pt x="45416" y="388632"/>
                      </a:cubicBezTo>
                      <a:cubicBezTo>
                        <a:pt x="31806" y="388632"/>
                        <a:pt x="20836" y="383960"/>
                        <a:pt x="12500" y="374617"/>
                      </a:cubicBezTo>
                      <a:cubicBezTo>
                        <a:pt x="4166" y="365273"/>
                        <a:pt x="0" y="353048"/>
                        <a:pt x="0" y="337942"/>
                      </a:cubicBezTo>
                      <a:cubicBezTo>
                        <a:pt x="0" y="322055"/>
                        <a:pt x="4688" y="309048"/>
                        <a:pt x="14064" y="298923"/>
                      </a:cubicBezTo>
                      <a:cubicBezTo>
                        <a:pt x="23440" y="288798"/>
                        <a:pt x="35486" y="283736"/>
                        <a:pt x="50200" y="283736"/>
                      </a:cubicBezTo>
                      <a:close/>
                      <a:moveTo>
                        <a:pt x="2115912" y="257170"/>
                      </a:moveTo>
                      <a:lnTo>
                        <a:pt x="2115912" y="286178"/>
                      </a:lnTo>
                      <a:lnTo>
                        <a:pt x="2142282" y="286178"/>
                      </a:lnTo>
                      <a:lnTo>
                        <a:pt x="2142282" y="294382"/>
                      </a:lnTo>
                      <a:lnTo>
                        <a:pt x="2115912" y="294382"/>
                      </a:lnTo>
                      <a:lnTo>
                        <a:pt x="2115912" y="360406"/>
                      </a:lnTo>
                      <a:cubicBezTo>
                        <a:pt x="2115912" y="367308"/>
                        <a:pt x="2117002" y="372305"/>
                        <a:pt x="2119184" y="375398"/>
                      </a:cubicBezTo>
                      <a:cubicBezTo>
                        <a:pt x="2121366" y="378491"/>
                        <a:pt x="2125060" y="380037"/>
                        <a:pt x="2130268" y="380037"/>
                      </a:cubicBezTo>
                      <a:cubicBezTo>
                        <a:pt x="2133980" y="380037"/>
                        <a:pt x="2137984" y="378833"/>
                        <a:pt x="2142282" y="376423"/>
                      </a:cubicBezTo>
                      <a:lnTo>
                        <a:pt x="2142282" y="384823"/>
                      </a:lnTo>
                      <a:cubicBezTo>
                        <a:pt x="2137594" y="387037"/>
                        <a:pt x="2133200" y="388144"/>
                        <a:pt x="2129096" y="388144"/>
                      </a:cubicBezTo>
                      <a:cubicBezTo>
                        <a:pt x="2114316" y="388144"/>
                        <a:pt x="2106926" y="379288"/>
                        <a:pt x="2106926" y="361578"/>
                      </a:cubicBezTo>
                      <a:lnTo>
                        <a:pt x="2106926" y="294382"/>
                      </a:lnTo>
                      <a:lnTo>
                        <a:pt x="2088956" y="294382"/>
                      </a:lnTo>
                      <a:lnTo>
                        <a:pt x="2088956" y="286178"/>
                      </a:lnTo>
                      <a:lnTo>
                        <a:pt x="2106926" y="286178"/>
                      </a:lnTo>
                      <a:lnTo>
                        <a:pt x="2106926" y="260198"/>
                      </a:lnTo>
                      <a:cubicBezTo>
                        <a:pt x="2108358" y="259677"/>
                        <a:pt x="2109856" y="259156"/>
                        <a:pt x="2111420" y="258635"/>
                      </a:cubicBezTo>
                      <a:cubicBezTo>
                        <a:pt x="2112982" y="258179"/>
                        <a:pt x="2114480" y="257691"/>
                        <a:pt x="2115912" y="257170"/>
                      </a:cubicBezTo>
                      <a:close/>
                      <a:moveTo>
                        <a:pt x="1677762" y="257170"/>
                      </a:moveTo>
                      <a:lnTo>
                        <a:pt x="1677762" y="286178"/>
                      </a:lnTo>
                      <a:lnTo>
                        <a:pt x="1704132" y="286178"/>
                      </a:lnTo>
                      <a:lnTo>
                        <a:pt x="1704132" y="294382"/>
                      </a:lnTo>
                      <a:lnTo>
                        <a:pt x="1677762" y="294382"/>
                      </a:lnTo>
                      <a:lnTo>
                        <a:pt x="1677762" y="360406"/>
                      </a:lnTo>
                      <a:cubicBezTo>
                        <a:pt x="1677762" y="367308"/>
                        <a:pt x="1678852" y="372305"/>
                        <a:pt x="1681034" y="375398"/>
                      </a:cubicBezTo>
                      <a:cubicBezTo>
                        <a:pt x="1683216" y="378491"/>
                        <a:pt x="1686910" y="380037"/>
                        <a:pt x="1692120" y="380037"/>
                      </a:cubicBezTo>
                      <a:cubicBezTo>
                        <a:pt x="1695830" y="380037"/>
                        <a:pt x="1699836" y="378833"/>
                        <a:pt x="1704132" y="376423"/>
                      </a:cubicBezTo>
                      <a:lnTo>
                        <a:pt x="1704132" y="384823"/>
                      </a:lnTo>
                      <a:cubicBezTo>
                        <a:pt x="1699444" y="387037"/>
                        <a:pt x="1695050" y="388144"/>
                        <a:pt x="1690948" y="388144"/>
                      </a:cubicBezTo>
                      <a:cubicBezTo>
                        <a:pt x="1676166" y="388144"/>
                        <a:pt x="1668776" y="379288"/>
                        <a:pt x="1668776" y="361578"/>
                      </a:cubicBezTo>
                      <a:lnTo>
                        <a:pt x="1668776" y="294382"/>
                      </a:lnTo>
                      <a:lnTo>
                        <a:pt x="1650806" y="294382"/>
                      </a:lnTo>
                      <a:lnTo>
                        <a:pt x="1650806" y="286178"/>
                      </a:lnTo>
                      <a:lnTo>
                        <a:pt x="1668776" y="286178"/>
                      </a:lnTo>
                      <a:lnTo>
                        <a:pt x="1668776" y="260198"/>
                      </a:lnTo>
                      <a:cubicBezTo>
                        <a:pt x="1670208" y="259677"/>
                        <a:pt x="1671706" y="259156"/>
                        <a:pt x="1673268" y="258635"/>
                      </a:cubicBezTo>
                      <a:cubicBezTo>
                        <a:pt x="1674832" y="258179"/>
                        <a:pt x="1676330" y="257691"/>
                        <a:pt x="1677762" y="257170"/>
                      </a:cubicBezTo>
                      <a:close/>
                      <a:moveTo>
                        <a:pt x="1201512" y="257170"/>
                      </a:moveTo>
                      <a:lnTo>
                        <a:pt x="1201512" y="286178"/>
                      </a:lnTo>
                      <a:lnTo>
                        <a:pt x="1227882" y="286178"/>
                      </a:lnTo>
                      <a:lnTo>
                        <a:pt x="1227882" y="294382"/>
                      </a:lnTo>
                      <a:lnTo>
                        <a:pt x="1201512" y="294382"/>
                      </a:lnTo>
                      <a:lnTo>
                        <a:pt x="1201512" y="360406"/>
                      </a:lnTo>
                      <a:cubicBezTo>
                        <a:pt x="1201512" y="367308"/>
                        <a:pt x="1202602" y="372305"/>
                        <a:pt x="1204784" y="375398"/>
                      </a:cubicBezTo>
                      <a:cubicBezTo>
                        <a:pt x="1206966" y="378491"/>
                        <a:pt x="1210660" y="380037"/>
                        <a:pt x="1215868" y="380037"/>
                      </a:cubicBezTo>
                      <a:cubicBezTo>
                        <a:pt x="1219580" y="380037"/>
                        <a:pt x="1223584" y="378833"/>
                        <a:pt x="1227882" y="376423"/>
                      </a:cubicBezTo>
                      <a:lnTo>
                        <a:pt x="1227882" y="384823"/>
                      </a:lnTo>
                      <a:cubicBezTo>
                        <a:pt x="1223194" y="387037"/>
                        <a:pt x="1218800" y="388144"/>
                        <a:pt x="1214696" y="388144"/>
                      </a:cubicBezTo>
                      <a:cubicBezTo>
                        <a:pt x="1199916" y="388144"/>
                        <a:pt x="1192526" y="379288"/>
                        <a:pt x="1192526" y="361578"/>
                      </a:cubicBezTo>
                      <a:lnTo>
                        <a:pt x="1192526" y="294382"/>
                      </a:lnTo>
                      <a:lnTo>
                        <a:pt x="1174556" y="294382"/>
                      </a:lnTo>
                      <a:lnTo>
                        <a:pt x="1174556" y="286178"/>
                      </a:lnTo>
                      <a:lnTo>
                        <a:pt x="1192526" y="286178"/>
                      </a:lnTo>
                      <a:lnTo>
                        <a:pt x="1192526" y="260198"/>
                      </a:lnTo>
                      <a:cubicBezTo>
                        <a:pt x="1193958" y="259677"/>
                        <a:pt x="1195456" y="259156"/>
                        <a:pt x="1197020" y="258635"/>
                      </a:cubicBezTo>
                      <a:cubicBezTo>
                        <a:pt x="1198582" y="258179"/>
                        <a:pt x="1200080" y="257691"/>
                        <a:pt x="1201512" y="257170"/>
                      </a:cubicBezTo>
                      <a:close/>
                      <a:moveTo>
                        <a:pt x="972912" y="257170"/>
                      </a:moveTo>
                      <a:lnTo>
                        <a:pt x="972912" y="286178"/>
                      </a:lnTo>
                      <a:lnTo>
                        <a:pt x="999282" y="286178"/>
                      </a:lnTo>
                      <a:lnTo>
                        <a:pt x="999282" y="294382"/>
                      </a:lnTo>
                      <a:lnTo>
                        <a:pt x="972912" y="294382"/>
                      </a:lnTo>
                      <a:lnTo>
                        <a:pt x="972912" y="360406"/>
                      </a:lnTo>
                      <a:cubicBezTo>
                        <a:pt x="972912" y="367308"/>
                        <a:pt x="974002" y="372305"/>
                        <a:pt x="976184" y="375398"/>
                      </a:cubicBezTo>
                      <a:cubicBezTo>
                        <a:pt x="978364" y="378491"/>
                        <a:pt x="982060" y="380037"/>
                        <a:pt x="987270" y="380037"/>
                      </a:cubicBezTo>
                      <a:cubicBezTo>
                        <a:pt x="990980" y="380037"/>
                        <a:pt x="994984" y="378833"/>
                        <a:pt x="999282" y="376423"/>
                      </a:cubicBezTo>
                      <a:lnTo>
                        <a:pt x="999282" y="384823"/>
                      </a:lnTo>
                      <a:cubicBezTo>
                        <a:pt x="994594" y="387037"/>
                        <a:pt x="990200" y="388144"/>
                        <a:pt x="986096" y="388144"/>
                      </a:cubicBezTo>
                      <a:cubicBezTo>
                        <a:pt x="971316" y="388144"/>
                        <a:pt x="963926" y="379288"/>
                        <a:pt x="963926" y="361578"/>
                      </a:cubicBezTo>
                      <a:lnTo>
                        <a:pt x="963926" y="294382"/>
                      </a:lnTo>
                      <a:lnTo>
                        <a:pt x="945956" y="294382"/>
                      </a:lnTo>
                      <a:lnTo>
                        <a:pt x="945956" y="286178"/>
                      </a:lnTo>
                      <a:lnTo>
                        <a:pt x="963926" y="286178"/>
                      </a:lnTo>
                      <a:lnTo>
                        <a:pt x="963926" y="260198"/>
                      </a:lnTo>
                      <a:cubicBezTo>
                        <a:pt x="965360" y="259677"/>
                        <a:pt x="966856" y="259156"/>
                        <a:pt x="968420" y="258635"/>
                      </a:cubicBezTo>
                      <a:cubicBezTo>
                        <a:pt x="969982" y="258179"/>
                        <a:pt x="971480" y="257691"/>
                        <a:pt x="972912" y="257170"/>
                      </a:cubicBezTo>
                      <a:close/>
                      <a:moveTo>
                        <a:pt x="620488" y="257170"/>
                      </a:moveTo>
                      <a:lnTo>
                        <a:pt x="620488" y="286178"/>
                      </a:lnTo>
                      <a:lnTo>
                        <a:pt x="646858" y="286178"/>
                      </a:lnTo>
                      <a:lnTo>
                        <a:pt x="646858" y="294382"/>
                      </a:lnTo>
                      <a:lnTo>
                        <a:pt x="620488" y="294382"/>
                      </a:lnTo>
                      <a:lnTo>
                        <a:pt x="620488" y="360406"/>
                      </a:lnTo>
                      <a:cubicBezTo>
                        <a:pt x="620488" y="367308"/>
                        <a:pt x="621578" y="372305"/>
                        <a:pt x="623758" y="375398"/>
                      </a:cubicBezTo>
                      <a:cubicBezTo>
                        <a:pt x="625940" y="378491"/>
                        <a:pt x="629636" y="380037"/>
                        <a:pt x="634844" y="380037"/>
                      </a:cubicBezTo>
                      <a:cubicBezTo>
                        <a:pt x="638556" y="380037"/>
                        <a:pt x="642560" y="378833"/>
                        <a:pt x="646858" y="376423"/>
                      </a:cubicBezTo>
                      <a:lnTo>
                        <a:pt x="646858" y="384823"/>
                      </a:lnTo>
                      <a:cubicBezTo>
                        <a:pt x="642170" y="387037"/>
                        <a:pt x="637774" y="388144"/>
                        <a:pt x="633672" y="388144"/>
                      </a:cubicBezTo>
                      <a:cubicBezTo>
                        <a:pt x="618892" y="388144"/>
                        <a:pt x="611502" y="379288"/>
                        <a:pt x="611502" y="361578"/>
                      </a:cubicBezTo>
                      <a:lnTo>
                        <a:pt x="611502" y="294382"/>
                      </a:lnTo>
                      <a:lnTo>
                        <a:pt x="593530" y="294382"/>
                      </a:lnTo>
                      <a:lnTo>
                        <a:pt x="593530" y="286178"/>
                      </a:lnTo>
                      <a:lnTo>
                        <a:pt x="611502" y="286178"/>
                      </a:lnTo>
                      <a:lnTo>
                        <a:pt x="611502" y="260198"/>
                      </a:lnTo>
                      <a:cubicBezTo>
                        <a:pt x="612934" y="259677"/>
                        <a:pt x="614432" y="259156"/>
                        <a:pt x="615994" y="258635"/>
                      </a:cubicBezTo>
                      <a:cubicBezTo>
                        <a:pt x="617556" y="258179"/>
                        <a:pt x="619054" y="257691"/>
                        <a:pt x="620488" y="257170"/>
                      </a:cubicBezTo>
                      <a:close/>
                      <a:moveTo>
                        <a:pt x="1514130" y="246134"/>
                      </a:moveTo>
                      <a:lnTo>
                        <a:pt x="1523800" y="246134"/>
                      </a:lnTo>
                      <a:lnTo>
                        <a:pt x="1523800" y="386190"/>
                      </a:lnTo>
                      <a:lnTo>
                        <a:pt x="1514130" y="386190"/>
                      </a:lnTo>
                      <a:close/>
                      <a:moveTo>
                        <a:pt x="1245476" y="238125"/>
                      </a:moveTo>
                      <a:lnTo>
                        <a:pt x="1254462" y="238125"/>
                      </a:lnTo>
                      <a:lnTo>
                        <a:pt x="1254462" y="304149"/>
                      </a:lnTo>
                      <a:lnTo>
                        <a:pt x="1254852" y="304149"/>
                      </a:lnTo>
                      <a:cubicBezTo>
                        <a:pt x="1262732" y="290540"/>
                        <a:pt x="1274192" y="283736"/>
                        <a:pt x="1289232" y="283736"/>
                      </a:cubicBezTo>
                      <a:cubicBezTo>
                        <a:pt x="1300040" y="283736"/>
                        <a:pt x="1308278" y="287220"/>
                        <a:pt x="1313942" y="294187"/>
                      </a:cubicBezTo>
                      <a:cubicBezTo>
                        <a:pt x="1319608" y="301154"/>
                        <a:pt x="1322440" y="311148"/>
                        <a:pt x="1322440" y="324171"/>
                      </a:cubicBezTo>
                      <a:lnTo>
                        <a:pt x="1322440" y="386190"/>
                      </a:lnTo>
                      <a:lnTo>
                        <a:pt x="1313454" y="386190"/>
                      </a:lnTo>
                      <a:lnTo>
                        <a:pt x="1313454" y="326222"/>
                      </a:lnTo>
                      <a:cubicBezTo>
                        <a:pt x="1313454" y="314371"/>
                        <a:pt x="1311304" y="305695"/>
                        <a:pt x="1307008" y="300193"/>
                      </a:cubicBezTo>
                      <a:cubicBezTo>
                        <a:pt x="1302710" y="294691"/>
                        <a:pt x="1296004" y="291940"/>
                        <a:pt x="1286888" y="291940"/>
                      </a:cubicBezTo>
                      <a:cubicBezTo>
                        <a:pt x="1278294" y="291940"/>
                        <a:pt x="1270740" y="295293"/>
                        <a:pt x="1264228" y="302000"/>
                      </a:cubicBezTo>
                      <a:cubicBezTo>
                        <a:pt x="1257718" y="308707"/>
                        <a:pt x="1254462" y="318311"/>
                        <a:pt x="1254462" y="330812"/>
                      </a:cubicBezTo>
                      <a:lnTo>
                        <a:pt x="1254462" y="386190"/>
                      </a:lnTo>
                      <a:lnTo>
                        <a:pt x="1245476" y="386190"/>
                      </a:lnTo>
                      <a:close/>
                      <a:moveTo>
                        <a:pt x="840232" y="238125"/>
                      </a:moveTo>
                      <a:lnTo>
                        <a:pt x="849216" y="238125"/>
                      </a:lnTo>
                      <a:lnTo>
                        <a:pt x="849216" y="386190"/>
                      </a:lnTo>
                      <a:lnTo>
                        <a:pt x="840232" y="386190"/>
                      </a:lnTo>
                      <a:lnTo>
                        <a:pt x="840232" y="368024"/>
                      </a:lnTo>
                      <a:lnTo>
                        <a:pt x="839840" y="368024"/>
                      </a:lnTo>
                      <a:cubicBezTo>
                        <a:pt x="836586" y="374340"/>
                        <a:pt x="831768" y="379353"/>
                        <a:pt x="825386" y="383065"/>
                      </a:cubicBezTo>
                      <a:cubicBezTo>
                        <a:pt x="819004" y="386776"/>
                        <a:pt x="811810" y="388632"/>
                        <a:pt x="803802" y="388632"/>
                      </a:cubicBezTo>
                      <a:cubicBezTo>
                        <a:pt x="791496" y="388632"/>
                        <a:pt x="781452" y="384139"/>
                        <a:pt x="773670" y="375154"/>
                      </a:cubicBezTo>
                      <a:cubicBezTo>
                        <a:pt x="765890" y="366168"/>
                        <a:pt x="762000" y="353764"/>
                        <a:pt x="762000" y="337942"/>
                      </a:cubicBezTo>
                      <a:cubicBezTo>
                        <a:pt x="762000" y="321794"/>
                        <a:pt x="766248" y="308723"/>
                        <a:pt x="774744" y="298728"/>
                      </a:cubicBezTo>
                      <a:cubicBezTo>
                        <a:pt x="783242" y="288733"/>
                        <a:pt x="794262" y="283736"/>
                        <a:pt x="807806" y="283736"/>
                      </a:cubicBezTo>
                      <a:cubicBezTo>
                        <a:pt x="822782" y="283736"/>
                        <a:pt x="833460" y="289889"/>
                        <a:pt x="839840" y="302195"/>
                      </a:cubicBezTo>
                      <a:lnTo>
                        <a:pt x="840232" y="302195"/>
                      </a:lnTo>
                      <a:close/>
                      <a:moveTo>
                        <a:pt x="1524428" y="53815"/>
                      </a:moveTo>
                      <a:cubicBezTo>
                        <a:pt x="1512642" y="53815"/>
                        <a:pt x="1503250" y="57787"/>
                        <a:pt x="1496250" y="65731"/>
                      </a:cubicBezTo>
                      <a:cubicBezTo>
                        <a:pt x="1489250" y="73674"/>
                        <a:pt x="1485750" y="84711"/>
                        <a:pt x="1485750" y="98840"/>
                      </a:cubicBezTo>
                      <a:cubicBezTo>
                        <a:pt x="1485750" y="111928"/>
                        <a:pt x="1489168" y="122444"/>
                        <a:pt x="1496006" y="130387"/>
                      </a:cubicBezTo>
                      <a:cubicBezTo>
                        <a:pt x="1502842" y="138331"/>
                        <a:pt x="1512186" y="142303"/>
                        <a:pt x="1524036" y="142303"/>
                      </a:cubicBezTo>
                      <a:cubicBezTo>
                        <a:pt x="1536082" y="142303"/>
                        <a:pt x="1545360" y="138396"/>
                        <a:pt x="1551872" y="130583"/>
                      </a:cubicBezTo>
                      <a:cubicBezTo>
                        <a:pt x="1558384" y="122769"/>
                        <a:pt x="1561638" y="111928"/>
                        <a:pt x="1561638" y="98059"/>
                      </a:cubicBezTo>
                      <a:cubicBezTo>
                        <a:pt x="1561638" y="83799"/>
                        <a:pt x="1558400" y="72861"/>
                        <a:pt x="1551920" y="65242"/>
                      </a:cubicBezTo>
                      <a:cubicBezTo>
                        <a:pt x="1545442" y="57624"/>
                        <a:pt x="1536278" y="53815"/>
                        <a:pt x="1524428" y="53815"/>
                      </a:cubicBezTo>
                      <a:close/>
                      <a:moveTo>
                        <a:pt x="1235064" y="53815"/>
                      </a:moveTo>
                      <a:cubicBezTo>
                        <a:pt x="1225688" y="53815"/>
                        <a:pt x="1217922" y="56957"/>
                        <a:pt x="1211770" y="63240"/>
                      </a:cubicBezTo>
                      <a:cubicBezTo>
                        <a:pt x="1205616" y="69524"/>
                        <a:pt x="1201824" y="78525"/>
                        <a:pt x="1200392" y="90246"/>
                      </a:cubicBezTo>
                      <a:lnTo>
                        <a:pt x="1264656" y="90246"/>
                      </a:lnTo>
                      <a:cubicBezTo>
                        <a:pt x="1264266" y="78721"/>
                        <a:pt x="1261498" y="69768"/>
                        <a:pt x="1256356" y="63387"/>
                      </a:cubicBezTo>
                      <a:cubicBezTo>
                        <a:pt x="1251212" y="57006"/>
                        <a:pt x="1244114" y="53815"/>
                        <a:pt x="1235064" y="53815"/>
                      </a:cubicBezTo>
                      <a:close/>
                      <a:moveTo>
                        <a:pt x="867202" y="53815"/>
                      </a:moveTo>
                      <a:cubicBezTo>
                        <a:pt x="855416" y="53815"/>
                        <a:pt x="846024" y="57787"/>
                        <a:pt x="839024" y="65731"/>
                      </a:cubicBezTo>
                      <a:cubicBezTo>
                        <a:pt x="832026" y="73674"/>
                        <a:pt x="828526" y="84711"/>
                        <a:pt x="828526" y="98840"/>
                      </a:cubicBezTo>
                      <a:cubicBezTo>
                        <a:pt x="828526" y="111928"/>
                        <a:pt x="831944" y="122444"/>
                        <a:pt x="838780" y="130387"/>
                      </a:cubicBezTo>
                      <a:cubicBezTo>
                        <a:pt x="845618" y="138331"/>
                        <a:pt x="854960" y="142303"/>
                        <a:pt x="866812" y="142303"/>
                      </a:cubicBezTo>
                      <a:cubicBezTo>
                        <a:pt x="878858" y="142303"/>
                        <a:pt x="888136" y="138396"/>
                        <a:pt x="894646" y="130583"/>
                      </a:cubicBezTo>
                      <a:cubicBezTo>
                        <a:pt x="901158" y="122769"/>
                        <a:pt x="904414" y="111928"/>
                        <a:pt x="904414" y="98059"/>
                      </a:cubicBezTo>
                      <a:cubicBezTo>
                        <a:pt x="904414" y="83799"/>
                        <a:pt x="901174" y="72861"/>
                        <a:pt x="894696" y="65242"/>
                      </a:cubicBezTo>
                      <a:cubicBezTo>
                        <a:pt x="888216" y="57624"/>
                        <a:pt x="879052" y="53815"/>
                        <a:pt x="867202" y="53815"/>
                      </a:cubicBezTo>
                      <a:close/>
                      <a:moveTo>
                        <a:pt x="788276" y="48053"/>
                      </a:moveTo>
                      <a:lnTo>
                        <a:pt x="797262" y="48053"/>
                      </a:lnTo>
                      <a:lnTo>
                        <a:pt x="797262" y="148065"/>
                      </a:lnTo>
                      <a:lnTo>
                        <a:pt x="788276" y="148065"/>
                      </a:lnTo>
                      <a:close/>
                      <a:moveTo>
                        <a:pt x="673976" y="48053"/>
                      </a:moveTo>
                      <a:lnTo>
                        <a:pt x="682962" y="48053"/>
                      </a:lnTo>
                      <a:lnTo>
                        <a:pt x="682962" y="148065"/>
                      </a:lnTo>
                      <a:lnTo>
                        <a:pt x="673976" y="148065"/>
                      </a:lnTo>
                      <a:close/>
                      <a:moveTo>
                        <a:pt x="1635114" y="46099"/>
                      </a:moveTo>
                      <a:cubicBezTo>
                        <a:pt x="1638824" y="46099"/>
                        <a:pt x="1642146" y="46685"/>
                        <a:pt x="1645076" y="47857"/>
                      </a:cubicBezTo>
                      <a:lnTo>
                        <a:pt x="1645076" y="57429"/>
                      </a:lnTo>
                      <a:cubicBezTo>
                        <a:pt x="1642080" y="55280"/>
                        <a:pt x="1638564" y="54206"/>
                        <a:pt x="1634528" y="54206"/>
                      </a:cubicBezTo>
                      <a:cubicBezTo>
                        <a:pt x="1626648" y="54206"/>
                        <a:pt x="1620040" y="58275"/>
                        <a:pt x="1614700" y="66414"/>
                      </a:cubicBezTo>
                      <a:cubicBezTo>
                        <a:pt x="1609362" y="74553"/>
                        <a:pt x="1606692" y="86111"/>
                        <a:pt x="1606692" y="101087"/>
                      </a:cubicBezTo>
                      <a:lnTo>
                        <a:pt x="1606692" y="148065"/>
                      </a:lnTo>
                      <a:lnTo>
                        <a:pt x="1597902" y="148065"/>
                      </a:lnTo>
                      <a:lnTo>
                        <a:pt x="1597902" y="48053"/>
                      </a:lnTo>
                      <a:lnTo>
                        <a:pt x="1606692" y="48053"/>
                      </a:lnTo>
                      <a:lnTo>
                        <a:pt x="1606692" y="70223"/>
                      </a:lnTo>
                      <a:lnTo>
                        <a:pt x="1607082" y="70223"/>
                      </a:lnTo>
                      <a:cubicBezTo>
                        <a:pt x="1609362" y="62605"/>
                        <a:pt x="1612976" y="56680"/>
                        <a:pt x="1617924" y="52448"/>
                      </a:cubicBezTo>
                      <a:cubicBezTo>
                        <a:pt x="1622872" y="48216"/>
                        <a:pt x="1628602" y="46099"/>
                        <a:pt x="1635114" y="46099"/>
                      </a:cubicBezTo>
                      <a:close/>
                      <a:moveTo>
                        <a:pt x="644514" y="46099"/>
                      </a:moveTo>
                      <a:cubicBezTo>
                        <a:pt x="648224" y="46099"/>
                        <a:pt x="651546" y="46685"/>
                        <a:pt x="654476" y="47857"/>
                      </a:cubicBezTo>
                      <a:lnTo>
                        <a:pt x="654476" y="57429"/>
                      </a:lnTo>
                      <a:cubicBezTo>
                        <a:pt x="651480" y="55280"/>
                        <a:pt x="647964" y="54206"/>
                        <a:pt x="643928" y="54206"/>
                      </a:cubicBezTo>
                      <a:cubicBezTo>
                        <a:pt x="636048" y="54206"/>
                        <a:pt x="629440" y="58275"/>
                        <a:pt x="624100" y="66414"/>
                      </a:cubicBezTo>
                      <a:cubicBezTo>
                        <a:pt x="618762" y="74553"/>
                        <a:pt x="616092" y="86111"/>
                        <a:pt x="616092" y="101087"/>
                      </a:cubicBezTo>
                      <a:lnTo>
                        <a:pt x="616092" y="148065"/>
                      </a:lnTo>
                      <a:lnTo>
                        <a:pt x="607302" y="148065"/>
                      </a:lnTo>
                      <a:lnTo>
                        <a:pt x="607302" y="48053"/>
                      </a:lnTo>
                      <a:lnTo>
                        <a:pt x="616092" y="48053"/>
                      </a:lnTo>
                      <a:lnTo>
                        <a:pt x="616092" y="70223"/>
                      </a:lnTo>
                      <a:lnTo>
                        <a:pt x="616482" y="70223"/>
                      </a:lnTo>
                      <a:cubicBezTo>
                        <a:pt x="618762" y="62605"/>
                        <a:pt x="622376" y="56680"/>
                        <a:pt x="627324" y="52448"/>
                      </a:cubicBezTo>
                      <a:cubicBezTo>
                        <a:pt x="632272" y="48216"/>
                        <a:pt x="638002" y="46099"/>
                        <a:pt x="644514" y="46099"/>
                      </a:cubicBezTo>
                      <a:close/>
                      <a:moveTo>
                        <a:pt x="1692120" y="45611"/>
                      </a:moveTo>
                      <a:cubicBezTo>
                        <a:pt x="1700714" y="45611"/>
                        <a:pt x="1708072" y="47369"/>
                        <a:pt x="1714192" y="50885"/>
                      </a:cubicBezTo>
                      <a:lnTo>
                        <a:pt x="1714192" y="61043"/>
                      </a:lnTo>
                      <a:cubicBezTo>
                        <a:pt x="1706770" y="56224"/>
                        <a:pt x="1699086" y="53815"/>
                        <a:pt x="1691142" y="53815"/>
                      </a:cubicBezTo>
                      <a:cubicBezTo>
                        <a:pt x="1684566" y="53815"/>
                        <a:pt x="1679260" y="55524"/>
                        <a:pt x="1675222" y="58943"/>
                      </a:cubicBezTo>
                      <a:cubicBezTo>
                        <a:pt x="1671186" y="62361"/>
                        <a:pt x="1669168" y="66805"/>
                        <a:pt x="1669168" y="72275"/>
                      </a:cubicBezTo>
                      <a:cubicBezTo>
                        <a:pt x="1669168" y="77028"/>
                        <a:pt x="1670436" y="80886"/>
                        <a:pt x="1672976" y="83848"/>
                      </a:cubicBezTo>
                      <a:cubicBezTo>
                        <a:pt x="1675516" y="86811"/>
                        <a:pt x="1681116" y="90213"/>
                        <a:pt x="1689776" y="94055"/>
                      </a:cubicBezTo>
                      <a:cubicBezTo>
                        <a:pt x="1700192" y="98743"/>
                        <a:pt x="1707356" y="103089"/>
                        <a:pt x="1711262" y="107093"/>
                      </a:cubicBezTo>
                      <a:cubicBezTo>
                        <a:pt x="1715168" y="111098"/>
                        <a:pt x="1717122" y="116421"/>
                        <a:pt x="1717122" y="123062"/>
                      </a:cubicBezTo>
                      <a:cubicBezTo>
                        <a:pt x="1717122" y="131006"/>
                        <a:pt x="1714144" y="137566"/>
                        <a:pt x="1708186" y="142742"/>
                      </a:cubicBezTo>
                      <a:cubicBezTo>
                        <a:pt x="1702228" y="147919"/>
                        <a:pt x="1694008" y="150507"/>
                        <a:pt x="1683524" y="150507"/>
                      </a:cubicBezTo>
                      <a:cubicBezTo>
                        <a:pt x="1673888" y="150507"/>
                        <a:pt x="1665846" y="148228"/>
                        <a:pt x="1659400" y="143670"/>
                      </a:cubicBezTo>
                      <a:lnTo>
                        <a:pt x="1659400" y="132829"/>
                      </a:lnTo>
                      <a:cubicBezTo>
                        <a:pt x="1662786" y="135759"/>
                        <a:pt x="1666888" y="138070"/>
                        <a:pt x="1671706" y="139763"/>
                      </a:cubicBezTo>
                      <a:cubicBezTo>
                        <a:pt x="1676524" y="141456"/>
                        <a:pt x="1680692" y="142303"/>
                        <a:pt x="1684208" y="142303"/>
                      </a:cubicBezTo>
                      <a:cubicBezTo>
                        <a:pt x="1699900" y="142303"/>
                        <a:pt x="1707746" y="135889"/>
                        <a:pt x="1707746" y="123062"/>
                      </a:cubicBezTo>
                      <a:cubicBezTo>
                        <a:pt x="1707746" y="118634"/>
                        <a:pt x="1706020" y="114858"/>
                        <a:pt x="1702570" y="111733"/>
                      </a:cubicBezTo>
                      <a:cubicBezTo>
                        <a:pt x="1699118" y="108607"/>
                        <a:pt x="1693520" y="105384"/>
                        <a:pt x="1685770" y="102063"/>
                      </a:cubicBezTo>
                      <a:cubicBezTo>
                        <a:pt x="1676200" y="97896"/>
                        <a:pt x="1669476" y="93583"/>
                        <a:pt x="1665602" y="89122"/>
                      </a:cubicBezTo>
                      <a:cubicBezTo>
                        <a:pt x="1661728" y="84662"/>
                        <a:pt x="1659790" y="79242"/>
                        <a:pt x="1659790" y="72861"/>
                      </a:cubicBezTo>
                      <a:cubicBezTo>
                        <a:pt x="1659790" y="64721"/>
                        <a:pt x="1662900" y="58145"/>
                        <a:pt x="1669118" y="53132"/>
                      </a:cubicBezTo>
                      <a:cubicBezTo>
                        <a:pt x="1675336" y="48118"/>
                        <a:pt x="1683004" y="45611"/>
                        <a:pt x="1692120" y="45611"/>
                      </a:cubicBezTo>
                      <a:close/>
                      <a:moveTo>
                        <a:pt x="1524818" y="45611"/>
                      </a:moveTo>
                      <a:cubicBezTo>
                        <a:pt x="1539078" y="45611"/>
                        <a:pt x="1550342" y="50267"/>
                        <a:pt x="1558612" y="59578"/>
                      </a:cubicBezTo>
                      <a:cubicBezTo>
                        <a:pt x="1566880" y="68889"/>
                        <a:pt x="1571014" y="81781"/>
                        <a:pt x="1571014" y="98254"/>
                      </a:cubicBezTo>
                      <a:cubicBezTo>
                        <a:pt x="1571014" y="113816"/>
                        <a:pt x="1566798" y="126415"/>
                        <a:pt x="1558366" y="136052"/>
                      </a:cubicBezTo>
                      <a:cubicBezTo>
                        <a:pt x="1549934" y="145689"/>
                        <a:pt x="1538394" y="150507"/>
                        <a:pt x="1523744" y="150507"/>
                      </a:cubicBezTo>
                      <a:cubicBezTo>
                        <a:pt x="1509158" y="150507"/>
                        <a:pt x="1497616" y="145705"/>
                        <a:pt x="1489120" y="136101"/>
                      </a:cubicBezTo>
                      <a:cubicBezTo>
                        <a:pt x="1480622" y="126497"/>
                        <a:pt x="1476374" y="114011"/>
                        <a:pt x="1476374" y="98645"/>
                      </a:cubicBezTo>
                      <a:cubicBezTo>
                        <a:pt x="1476374" y="82041"/>
                        <a:pt x="1480818" y="69051"/>
                        <a:pt x="1489706" y="59675"/>
                      </a:cubicBezTo>
                      <a:cubicBezTo>
                        <a:pt x="1498594" y="50299"/>
                        <a:pt x="1510298" y="45611"/>
                        <a:pt x="1524818" y="45611"/>
                      </a:cubicBezTo>
                      <a:close/>
                      <a:moveTo>
                        <a:pt x="1434944" y="45611"/>
                      </a:moveTo>
                      <a:cubicBezTo>
                        <a:pt x="1443540" y="45611"/>
                        <a:pt x="1450896" y="47369"/>
                        <a:pt x="1457018" y="50885"/>
                      </a:cubicBezTo>
                      <a:lnTo>
                        <a:pt x="1457018" y="61043"/>
                      </a:lnTo>
                      <a:cubicBezTo>
                        <a:pt x="1449594" y="56224"/>
                        <a:pt x="1441912" y="53815"/>
                        <a:pt x="1433968" y="53815"/>
                      </a:cubicBezTo>
                      <a:cubicBezTo>
                        <a:pt x="1427392" y="53815"/>
                        <a:pt x="1422084" y="55524"/>
                        <a:pt x="1418048" y="58943"/>
                      </a:cubicBezTo>
                      <a:cubicBezTo>
                        <a:pt x="1414010" y="62361"/>
                        <a:pt x="1411992" y="66805"/>
                        <a:pt x="1411992" y="72275"/>
                      </a:cubicBezTo>
                      <a:cubicBezTo>
                        <a:pt x="1411992" y="77028"/>
                        <a:pt x="1413262" y="80886"/>
                        <a:pt x="1415800" y="83848"/>
                      </a:cubicBezTo>
                      <a:cubicBezTo>
                        <a:pt x="1418340" y="86811"/>
                        <a:pt x="1423940" y="90213"/>
                        <a:pt x="1432600" y="94055"/>
                      </a:cubicBezTo>
                      <a:cubicBezTo>
                        <a:pt x="1443018" y="98743"/>
                        <a:pt x="1450180" y="103089"/>
                        <a:pt x="1454088" y="107093"/>
                      </a:cubicBezTo>
                      <a:cubicBezTo>
                        <a:pt x="1457994" y="111098"/>
                        <a:pt x="1459948" y="116421"/>
                        <a:pt x="1459948" y="123062"/>
                      </a:cubicBezTo>
                      <a:cubicBezTo>
                        <a:pt x="1459948" y="131006"/>
                        <a:pt x="1456968" y="137566"/>
                        <a:pt x="1451010" y="142742"/>
                      </a:cubicBezTo>
                      <a:cubicBezTo>
                        <a:pt x="1445052" y="147919"/>
                        <a:pt x="1436832" y="150507"/>
                        <a:pt x="1426350" y="150507"/>
                      </a:cubicBezTo>
                      <a:cubicBezTo>
                        <a:pt x="1416712" y="150507"/>
                        <a:pt x="1408672" y="148228"/>
                        <a:pt x="1402226" y="143670"/>
                      </a:cubicBezTo>
                      <a:lnTo>
                        <a:pt x="1402226" y="132829"/>
                      </a:lnTo>
                      <a:cubicBezTo>
                        <a:pt x="1405612" y="135759"/>
                        <a:pt x="1409712" y="138070"/>
                        <a:pt x="1414532" y="139763"/>
                      </a:cubicBezTo>
                      <a:cubicBezTo>
                        <a:pt x="1419350" y="141456"/>
                        <a:pt x="1423516" y="142303"/>
                        <a:pt x="1427032" y="142303"/>
                      </a:cubicBezTo>
                      <a:cubicBezTo>
                        <a:pt x="1442724" y="142303"/>
                        <a:pt x="1450572" y="135889"/>
                        <a:pt x="1450572" y="123062"/>
                      </a:cubicBezTo>
                      <a:cubicBezTo>
                        <a:pt x="1450572" y="118634"/>
                        <a:pt x="1448846" y="114858"/>
                        <a:pt x="1445394" y="111733"/>
                      </a:cubicBezTo>
                      <a:cubicBezTo>
                        <a:pt x="1441944" y="108607"/>
                        <a:pt x="1436344" y="105384"/>
                        <a:pt x="1428596" y="102063"/>
                      </a:cubicBezTo>
                      <a:cubicBezTo>
                        <a:pt x="1419024" y="97896"/>
                        <a:pt x="1412302" y="93583"/>
                        <a:pt x="1408428" y="89122"/>
                      </a:cubicBezTo>
                      <a:cubicBezTo>
                        <a:pt x="1404552" y="84662"/>
                        <a:pt x="1402616" y="79242"/>
                        <a:pt x="1402616" y="72861"/>
                      </a:cubicBezTo>
                      <a:cubicBezTo>
                        <a:pt x="1402616" y="64721"/>
                        <a:pt x="1405724" y="58145"/>
                        <a:pt x="1411944" y="53132"/>
                      </a:cubicBezTo>
                      <a:cubicBezTo>
                        <a:pt x="1418162" y="48118"/>
                        <a:pt x="1425828" y="45611"/>
                        <a:pt x="1434944" y="45611"/>
                      </a:cubicBezTo>
                      <a:close/>
                      <a:moveTo>
                        <a:pt x="1346186" y="45611"/>
                      </a:moveTo>
                      <a:cubicBezTo>
                        <a:pt x="1356996" y="45611"/>
                        <a:pt x="1365264" y="49208"/>
                        <a:pt x="1370994" y="56403"/>
                      </a:cubicBezTo>
                      <a:cubicBezTo>
                        <a:pt x="1376724" y="63598"/>
                        <a:pt x="1379590" y="73870"/>
                        <a:pt x="1379590" y="87218"/>
                      </a:cubicBezTo>
                      <a:lnTo>
                        <a:pt x="1379590" y="148065"/>
                      </a:lnTo>
                      <a:lnTo>
                        <a:pt x="1370604" y="148065"/>
                      </a:lnTo>
                      <a:lnTo>
                        <a:pt x="1370604" y="89855"/>
                      </a:lnTo>
                      <a:cubicBezTo>
                        <a:pt x="1370604" y="65828"/>
                        <a:pt x="1361944" y="53815"/>
                        <a:pt x="1344624" y="53815"/>
                      </a:cubicBezTo>
                      <a:cubicBezTo>
                        <a:pt x="1334988" y="53815"/>
                        <a:pt x="1327076" y="57348"/>
                        <a:pt x="1320890" y="64412"/>
                      </a:cubicBezTo>
                      <a:cubicBezTo>
                        <a:pt x="1314704" y="71477"/>
                        <a:pt x="1311612" y="80218"/>
                        <a:pt x="1311612" y="90636"/>
                      </a:cubicBezTo>
                      <a:lnTo>
                        <a:pt x="1311612" y="148065"/>
                      </a:lnTo>
                      <a:lnTo>
                        <a:pt x="1302626" y="148065"/>
                      </a:lnTo>
                      <a:lnTo>
                        <a:pt x="1302626" y="48053"/>
                      </a:lnTo>
                      <a:lnTo>
                        <a:pt x="1311612" y="48053"/>
                      </a:lnTo>
                      <a:lnTo>
                        <a:pt x="1311612" y="66219"/>
                      </a:lnTo>
                      <a:lnTo>
                        <a:pt x="1312002" y="66219"/>
                      </a:lnTo>
                      <a:cubicBezTo>
                        <a:pt x="1319296" y="52480"/>
                        <a:pt x="1330690" y="45611"/>
                        <a:pt x="1346186" y="45611"/>
                      </a:cubicBezTo>
                      <a:close/>
                      <a:moveTo>
                        <a:pt x="1235454" y="45611"/>
                      </a:moveTo>
                      <a:cubicBezTo>
                        <a:pt x="1247890" y="45611"/>
                        <a:pt x="1257430" y="49974"/>
                        <a:pt x="1264070" y="58699"/>
                      </a:cubicBezTo>
                      <a:cubicBezTo>
                        <a:pt x="1270712" y="67424"/>
                        <a:pt x="1274032" y="79339"/>
                        <a:pt x="1274032" y="94445"/>
                      </a:cubicBezTo>
                      <a:lnTo>
                        <a:pt x="1274032" y="98450"/>
                      </a:lnTo>
                      <a:lnTo>
                        <a:pt x="1200000" y="98450"/>
                      </a:lnTo>
                      <a:cubicBezTo>
                        <a:pt x="1200000" y="112188"/>
                        <a:pt x="1203174" y="122932"/>
                        <a:pt x="1209524" y="130680"/>
                      </a:cubicBezTo>
                      <a:cubicBezTo>
                        <a:pt x="1215872" y="138429"/>
                        <a:pt x="1224580" y="142303"/>
                        <a:pt x="1235650" y="142303"/>
                      </a:cubicBezTo>
                      <a:cubicBezTo>
                        <a:pt x="1246848" y="142303"/>
                        <a:pt x="1257788" y="138168"/>
                        <a:pt x="1268466" y="129899"/>
                      </a:cubicBezTo>
                      <a:lnTo>
                        <a:pt x="1268466" y="139470"/>
                      </a:lnTo>
                      <a:cubicBezTo>
                        <a:pt x="1258112" y="146828"/>
                        <a:pt x="1246556" y="150507"/>
                        <a:pt x="1233794" y="150507"/>
                      </a:cubicBezTo>
                      <a:cubicBezTo>
                        <a:pt x="1220902" y="150507"/>
                        <a:pt x="1210484" y="145884"/>
                        <a:pt x="1202540" y="136638"/>
                      </a:cubicBezTo>
                      <a:cubicBezTo>
                        <a:pt x="1194596" y="127392"/>
                        <a:pt x="1190624" y="114337"/>
                        <a:pt x="1190624" y="97473"/>
                      </a:cubicBezTo>
                      <a:cubicBezTo>
                        <a:pt x="1190624" y="82888"/>
                        <a:pt x="1194776" y="70598"/>
                        <a:pt x="1203076" y="60603"/>
                      </a:cubicBezTo>
                      <a:cubicBezTo>
                        <a:pt x="1211378" y="50608"/>
                        <a:pt x="1222172" y="45611"/>
                        <a:pt x="1235454" y="45611"/>
                      </a:cubicBezTo>
                      <a:close/>
                      <a:moveTo>
                        <a:pt x="1149194" y="45611"/>
                      </a:moveTo>
                      <a:cubicBezTo>
                        <a:pt x="1157788" y="45611"/>
                        <a:pt x="1165146" y="47369"/>
                        <a:pt x="1171268" y="50885"/>
                      </a:cubicBezTo>
                      <a:lnTo>
                        <a:pt x="1171268" y="61043"/>
                      </a:lnTo>
                      <a:cubicBezTo>
                        <a:pt x="1163844" y="56224"/>
                        <a:pt x="1156160" y="53815"/>
                        <a:pt x="1148218" y="53815"/>
                      </a:cubicBezTo>
                      <a:cubicBezTo>
                        <a:pt x="1141640" y="53815"/>
                        <a:pt x="1136334" y="55524"/>
                        <a:pt x="1132298" y="58943"/>
                      </a:cubicBezTo>
                      <a:cubicBezTo>
                        <a:pt x="1128260" y="62361"/>
                        <a:pt x="1126242" y="66805"/>
                        <a:pt x="1126242" y="72275"/>
                      </a:cubicBezTo>
                      <a:cubicBezTo>
                        <a:pt x="1126242" y="77028"/>
                        <a:pt x="1127512" y="80886"/>
                        <a:pt x="1130052" y="83848"/>
                      </a:cubicBezTo>
                      <a:cubicBezTo>
                        <a:pt x="1132590" y="86811"/>
                        <a:pt x="1138190" y="90213"/>
                        <a:pt x="1146850" y="94055"/>
                      </a:cubicBezTo>
                      <a:cubicBezTo>
                        <a:pt x="1157268" y="98743"/>
                        <a:pt x="1164430" y="103089"/>
                        <a:pt x="1168336" y="107093"/>
                      </a:cubicBezTo>
                      <a:cubicBezTo>
                        <a:pt x="1172244" y="111098"/>
                        <a:pt x="1174198" y="116421"/>
                        <a:pt x="1174198" y="123062"/>
                      </a:cubicBezTo>
                      <a:cubicBezTo>
                        <a:pt x="1174198" y="131006"/>
                        <a:pt x="1171218" y="137566"/>
                        <a:pt x="1165260" y="142742"/>
                      </a:cubicBezTo>
                      <a:cubicBezTo>
                        <a:pt x="1159302" y="147919"/>
                        <a:pt x="1151082" y="150507"/>
                        <a:pt x="1140600" y="150507"/>
                      </a:cubicBezTo>
                      <a:cubicBezTo>
                        <a:pt x="1130962" y="150507"/>
                        <a:pt x="1122922" y="148228"/>
                        <a:pt x="1116476" y="143670"/>
                      </a:cubicBezTo>
                      <a:lnTo>
                        <a:pt x="1116476" y="132829"/>
                      </a:lnTo>
                      <a:cubicBezTo>
                        <a:pt x="1119860" y="135759"/>
                        <a:pt x="1123964" y="138070"/>
                        <a:pt x="1128782" y="139763"/>
                      </a:cubicBezTo>
                      <a:cubicBezTo>
                        <a:pt x="1133600" y="141456"/>
                        <a:pt x="1137768" y="142303"/>
                        <a:pt x="1141284" y="142303"/>
                      </a:cubicBezTo>
                      <a:cubicBezTo>
                        <a:pt x="1156976" y="142303"/>
                        <a:pt x="1164820" y="135889"/>
                        <a:pt x="1164820" y="123062"/>
                      </a:cubicBezTo>
                      <a:cubicBezTo>
                        <a:pt x="1164820" y="118634"/>
                        <a:pt x="1163096" y="114858"/>
                        <a:pt x="1159644" y="111733"/>
                      </a:cubicBezTo>
                      <a:cubicBezTo>
                        <a:pt x="1156194" y="108607"/>
                        <a:pt x="1150594" y="105384"/>
                        <a:pt x="1142846" y="102063"/>
                      </a:cubicBezTo>
                      <a:cubicBezTo>
                        <a:pt x="1133274" y="97896"/>
                        <a:pt x="1126552" y="93583"/>
                        <a:pt x="1122676" y="89122"/>
                      </a:cubicBezTo>
                      <a:cubicBezTo>
                        <a:pt x="1118804" y="84662"/>
                        <a:pt x="1116866" y="79242"/>
                        <a:pt x="1116866" y="72861"/>
                      </a:cubicBezTo>
                      <a:cubicBezTo>
                        <a:pt x="1116866" y="64721"/>
                        <a:pt x="1119976" y="58145"/>
                        <a:pt x="1126194" y="53132"/>
                      </a:cubicBezTo>
                      <a:cubicBezTo>
                        <a:pt x="1132412" y="48118"/>
                        <a:pt x="1140078" y="45611"/>
                        <a:pt x="1149194" y="45611"/>
                      </a:cubicBezTo>
                      <a:close/>
                      <a:moveTo>
                        <a:pt x="984236" y="45611"/>
                      </a:moveTo>
                      <a:cubicBezTo>
                        <a:pt x="995046" y="45611"/>
                        <a:pt x="1003314" y="49208"/>
                        <a:pt x="1009044" y="56403"/>
                      </a:cubicBezTo>
                      <a:cubicBezTo>
                        <a:pt x="1014774" y="63598"/>
                        <a:pt x="1017640" y="73870"/>
                        <a:pt x="1017640" y="87218"/>
                      </a:cubicBezTo>
                      <a:lnTo>
                        <a:pt x="1017640" y="148065"/>
                      </a:lnTo>
                      <a:lnTo>
                        <a:pt x="1008654" y="148065"/>
                      </a:lnTo>
                      <a:lnTo>
                        <a:pt x="1008654" y="89855"/>
                      </a:lnTo>
                      <a:cubicBezTo>
                        <a:pt x="1008654" y="65828"/>
                        <a:pt x="999994" y="53815"/>
                        <a:pt x="982674" y="53815"/>
                      </a:cubicBezTo>
                      <a:cubicBezTo>
                        <a:pt x="973038" y="53815"/>
                        <a:pt x="965126" y="57348"/>
                        <a:pt x="958940" y="64412"/>
                      </a:cubicBezTo>
                      <a:cubicBezTo>
                        <a:pt x="952756" y="71477"/>
                        <a:pt x="949662" y="80218"/>
                        <a:pt x="949662" y="90636"/>
                      </a:cubicBezTo>
                      <a:lnTo>
                        <a:pt x="949662" y="148065"/>
                      </a:lnTo>
                      <a:lnTo>
                        <a:pt x="940676" y="148065"/>
                      </a:lnTo>
                      <a:lnTo>
                        <a:pt x="940676" y="48053"/>
                      </a:lnTo>
                      <a:lnTo>
                        <a:pt x="949662" y="48053"/>
                      </a:lnTo>
                      <a:lnTo>
                        <a:pt x="949662" y="66219"/>
                      </a:lnTo>
                      <a:lnTo>
                        <a:pt x="950052" y="66219"/>
                      </a:lnTo>
                      <a:cubicBezTo>
                        <a:pt x="957346" y="52480"/>
                        <a:pt x="968740" y="45611"/>
                        <a:pt x="984236" y="45611"/>
                      </a:cubicBezTo>
                      <a:close/>
                      <a:moveTo>
                        <a:pt x="867592" y="45611"/>
                      </a:moveTo>
                      <a:cubicBezTo>
                        <a:pt x="881852" y="45611"/>
                        <a:pt x="893116" y="50267"/>
                        <a:pt x="901386" y="59578"/>
                      </a:cubicBezTo>
                      <a:cubicBezTo>
                        <a:pt x="909656" y="68889"/>
                        <a:pt x="913790" y="81781"/>
                        <a:pt x="913790" y="98254"/>
                      </a:cubicBezTo>
                      <a:cubicBezTo>
                        <a:pt x="913790" y="113816"/>
                        <a:pt x="909574" y="126415"/>
                        <a:pt x="901142" y="136052"/>
                      </a:cubicBezTo>
                      <a:cubicBezTo>
                        <a:pt x="892710" y="145689"/>
                        <a:pt x="881168" y="150507"/>
                        <a:pt x="866518" y="150507"/>
                      </a:cubicBezTo>
                      <a:cubicBezTo>
                        <a:pt x="851934" y="150507"/>
                        <a:pt x="840392" y="145705"/>
                        <a:pt x="831896" y="136101"/>
                      </a:cubicBezTo>
                      <a:cubicBezTo>
                        <a:pt x="823398" y="126497"/>
                        <a:pt x="819150" y="114011"/>
                        <a:pt x="819150" y="98645"/>
                      </a:cubicBezTo>
                      <a:cubicBezTo>
                        <a:pt x="819150" y="82041"/>
                        <a:pt x="823592" y="69051"/>
                        <a:pt x="832480" y="59675"/>
                      </a:cubicBezTo>
                      <a:cubicBezTo>
                        <a:pt x="841368" y="50299"/>
                        <a:pt x="853072" y="45611"/>
                        <a:pt x="867592" y="45611"/>
                      </a:cubicBezTo>
                      <a:close/>
                      <a:moveTo>
                        <a:pt x="563336" y="19045"/>
                      </a:moveTo>
                      <a:lnTo>
                        <a:pt x="563336" y="48053"/>
                      </a:lnTo>
                      <a:lnTo>
                        <a:pt x="589708" y="48053"/>
                      </a:lnTo>
                      <a:lnTo>
                        <a:pt x="589708" y="56257"/>
                      </a:lnTo>
                      <a:lnTo>
                        <a:pt x="563336" y="56257"/>
                      </a:lnTo>
                      <a:lnTo>
                        <a:pt x="563336" y="122281"/>
                      </a:lnTo>
                      <a:cubicBezTo>
                        <a:pt x="563336" y="129183"/>
                        <a:pt x="564428" y="134180"/>
                        <a:pt x="566608" y="137273"/>
                      </a:cubicBezTo>
                      <a:cubicBezTo>
                        <a:pt x="568790" y="140366"/>
                        <a:pt x="572486" y="141912"/>
                        <a:pt x="577694" y="141912"/>
                      </a:cubicBezTo>
                      <a:cubicBezTo>
                        <a:pt x="581406" y="141912"/>
                        <a:pt x="585410" y="140708"/>
                        <a:pt x="589708" y="138298"/>
                      </a:cubicBezTo>
                      <a:lnTo>
                        <a:pt x="589708" y="146698"/>
                      </a:lnTo>
                      <a:cubicBezTo>
                        <a:pt x="585020" y="148912"/>
                        <a:pt x="580624" y="150019"/>
                        <a:pt x="576522" y="150019"/>
                      </a:cubicBezTo>
                      <a:cubicBezTo>
                        <a:pt x="561742" y="150019"/>
                        <a:pt x="554352" y="141163"/>
                        <a:pt x="554352" y="123453"/>
                      </a:cubicBezTo>
                      <a:lnTo>
                        <a:pt x="554352" y="56257"/>
                      </a:lnTo>
                      <a:lnTo>
                        <a:pt x="536380" y="56257"/>
                      </a:lnTo>
                      <a:lnTo>
                        <a:pt x="536380" y="48053"/>
                      </a:lnTo>
                      <a:lnTo>
                        <a:pt x="554352" y="48053"/>
                      </a:lnTo>
                      <a:lnTo>
                        <a:pt x="554352" y="22073"/>
                      </a:lnTo>
                      <a:cubicBezTo>
                        <a:pt x="555784" y="21552"/>
                        <a:pt x="557282" y="21031"/>
                        <a:pt x="558844" y="20510"/>
                      </a:cubicBezTo>
                      <a:cubicBezTo>
                        <a:pt x="560406" y="20054"/>
                        <a:pt x="561904" y="19566"/>
                        <a:pt x="563336" y="19045"/>
                      </a:cubicBezTo>
                      <a:close/>
                      <a:moveTo>
                        <a:pt x="792672" y="8009"/>
                      </a:moveTo>
                      <a:cubicBezTo>
                        <a:pt x="794690" y="8009"/>
                        <a:pt x="796464" y="8660"/>
                        <a:pt x="797994" y="9962"/>
                      </a:cubicBezTo>
                      <a:cubicBezTo>
                        <a:pt x="799524" y="11264"/>
                        <a:pt x="800290" y="13022"/>
                        <a:pt x="800290" y="15236"/>
                      </a:cubicBezTo>
                      <a:cubicBezTo>
                        <a:pt x="800290" y="17320"/>
                        <a:pt x="799540" y="19110"/>
                        <a:pt x="798044" y="20608"/>
                      </a:cubicBezTo>
                      <a:cubicBezTo>
                        <a:pt x="796546" y="22105"/>
                        <a:pt x="794756" y="22854"/>
                        <a:pt x="792672" y="22854"/>
                      </a:cubicBezTo>
                      <a:cubicBezTo>
                        <a:pt x="790718" y="22854"/>
                        <a:pt x="788992" y="22138"/>
                        <a:pt x="787496" y="20706"/>
                      </a:cubicBezTo>
                      <a:cubicBezTo>
                        <a:pt x="785998" y="19273"/>
                        <a:pt x="785248" y="17450"/>
                        <a:pt x="785248" y="15236"/>
                      </a:cubicBezTo>
                      <a:cubicBezTo>
                        <a:pt x="785248" y="13087"/>
                        <a:pt x="786014" y="11346"/>
                        <a:pt x="787544" y="10011"/>
                      </a:cubicBezTo>
                      <a:cubicBezTo>
                        <a:pt x="789074" y="8676"/>
                        <a:pt x="790784" y="8009"/>
                        <a:pt x="792672" y="8009"/>
                      </a:cubicBezTo>
                      <a:close/>
                      <a:moveTo>
                        <a:pt x="678372" y="8009"/>
                      </a:moveTo>
                      <a:cubicBezTo>
                        <a:pt x="680390" y="8009"/>
                        <a:pt x="682164" y="8660"/>
                        <a:pt x="683694" y="9962"/>
                      </a:cubicBezTo>
                      <a:cubicBezTo>
                        <a:pt x="685224" y="11264"/>
                        <a:pt x="685990" y="13022"/>
                        <a:pt x="685990" y="15236"/>
                      </a:cubicBezTo>
                      <a:cubicBezTo>
                        <a:pt x="685990" y="17320"/>
                        <a:pt x="685240" y="19110"/>
                        <a:pt x="683744" y="20608"/>
                      </a:cubicBezTo>
                      <a:cubicBezTo>
                        <a:pt x="682246" y="22105"/>
                        <a:pt x="680456" y="22854"/>
                        <a:pt x="678372" y="22854"/>
                      </a:cubicBezTo>
                      <a:cubicBezTo>
                        <a:pt x="676418" y="22854"/>
                        <a:pt x="674692" y="22138"/>
                        <a:pt x="673196" y="20706"/>
                      </a:cubicBezTo>
                      <a:cubicBezTo>
                        <a:pt x="671698" y="19273"/>
                        <a:pt x="670948" y="17450"/>
                        <a:pt x="670948" y="15236"/>
                      </a:cubicBezTo>
                      <a:cubicBezTo>
                        <a:pt x="670948" y="13087"/>
                        <a:pt x="671714" y="11346"/>
                        <a:pt x="673244" y="10011"/>
                      </a:cubicBezTo>
                      <a:cubicBezTo>
                        <a:pt x="674774" y="8676"/>
                        <a:pt x="676484" y="8009"/>
                        <a:pt x="678372" y="8009"/>
                      </a:cubicBezTo>
                      <a:close/>
                      <a:moveTo>
                        <a:pt x="458558" y="4883"/>
                      </a:moveTo>
                      <a:lnTo>
                        <a:pt x="461682" y="4883"/>
                      </a:lnTo>
                      <a:lnTo>
                        <a:pt x="461682" y="148065"/>
                      </a:lnTo>
                      <a:lnTo>
                        <a:pt x="452698" y="148065"/>
                      </a:lnTo>
                      <a:lnTo>
                        <a:pt x="452698" y="19045"/>
                      </a:lnTo>
                      <a:cubicBezTo>
                        <a:pt x="448204" y="23343"/>
                        <a:pt x="443076" y="27054"/>
                        <a:pt x="437314" y="30179"/>
                      </a:cubicBezTo>
                      <a:cubicBezTo>
                        <a:pt x="431552" y="33305"/>
                        <a:pt x="425252" y="36072"/>
                        <a:pt x="418416" y="38481"/>
                      </a:cubicBezTo>
                      <a:lnTo>
                        <a:pt x="418416" y="30277"/>
                      </a:lnTo>
                      <a:cubicBezTo>
                        <a:pt x="422518" y="28910"/>
                        <a:pt x="426326" y="27363"/>
                        <a:pt x="429842" y="25638"/>
                      </a:cubicBezTo>
                      <a:cubicBezTo>
                        <a:pt x="433358" y="23912"/>
                        <a:pt x="436728" y="22008"/>
                        <a:pt x="439952" y="19924"/>
                      </a:cubicBezTo>
                      <a:cubicBezTo>
                        <a:pt x="443174" y="17841"/>
                        <a:pt x="446300" y="15545"/>
                        <a:pt x="449328" y="13039"/>
                      </a:cubicBezTo>
                      <a:cubicBezTo>
                        <a:pt x="452356" y="10532"/>
                        <a:pt x="455432" y="7813"/>
                        <a:pt x="458558" y="4883"/>
                      </a:cubicBezTo>
                      <a:close/>
                      <a:moveTo>
                        <a:pt x="750176" y="0"/>
                      </a:moveTo>
                      <a:lnTo>
                        <a:pt x="759162" y="0"/>
                      </a:lnTo>
                      <a:lnTo>
                        <a:pt x="759162" y="148065"/>
                      </a:lnTo>
                      <a:lnTo>
                        <a:pt x="750176" y="148065"/>
                      </a:lnTo>
                      <a:close/>
                      <a:moveTo>
                        <a:pt x="712076" y="0"/>
                      </a:moveTo>
                      <a:lnTo>
                        <a:pt x="721062" y="0"/>
                      </a:lnTo>
                      <a:lnTo>
                        <a:pt x="721062" y="148065"/>
                      </a:lnTo>
                      <a:lnTo>
                        <a:pt x="712076" y="148065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1 </a:t>
                  </a: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триллион</a:t>
                  </a:r>
                  <a:r>
                    <a:rPr kumimoji="0" lang="ru-RU" sz="1800" b="0" i="0" u="none" strike="noStrike" kern="0" cap="none" spc="0" normalizeH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 датчиков будет подключен к Интернету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59" name="Robiv pharmacist"/>
              <p:cNvGrpSpPr/>
              <p:nvPr/>
            </p:nvGrpSpPr>
            <p:grpSpPr>
              <a:xfrm>
                <a:off x="23629512" y="2288543"/>
                <a:ext cx="4132666" cy="2187715"/>
                <a:chOff x="8318113" y="2107242"/>
                <a:chExt cx="4132666" cy="2187715"/>
              </a:xfrm>
            </p:grpSpPr>
            <p:grpSp>
              <p:nvGrpSpPr>
                <p:cNvPr id="58" name="Group 57"/>
                <p:cNvGrpSpPr/>
                <p:nvPr/>
              </p:nvGrpSpPr>
              <p:grpSpPr>
                <a:xfrm>
                  <a:off x="9872699" y="2107242"/>
                  <a:ext cx="1418225" cy="1584800"/>
                  <a:chOff x="7313112" y="4109820"/>
                  <a:chExt cx="1615647" cy="1805410"/>
                </a:xfrm>
              </p:grpSpPr>
              <p:grpSp>
                <p:nvGrpSpPr>
                  <p:cNvPr id="41" name="Group 40"/>
                  <p:cNvGrpSpPr/>
                  <p:nvPr/>
                </p:nvGrpSpPr>
                <p:grpSpPr>
                  <a:xfrm>
                    <a:off x="7313112" y="5375438"/>
                    <a:ext cx="682266" cy="539792"/>
                    <a:chOff x="6672263" y="2243138"/>
                    <a:chExt cx="3633787" cy="2874962"/>
                  </a:xfrm>
                  <a:solidFill>
                    <a:schemeClr val="bg1"/>
                  </a:solidFill>
                </p:grpSpPr>
                <p:sp>
                  <p:nvSpPr>
                    <p:cNvPr id="42" name="Freeform 1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672263" y="2243138"/>
                      <a:ext cx="3633787" cy="2874962"/>
                    </a:xfrm>
                    <a:custGeom>
                      <a:avLst/>
                      <a:gdLst>
                        <a:gd name="T0" fmla="*/ 1221 w 1221"/>
                        <a:gd name="T1" fmla="*/ 81 h 966"/>
                        <a:gd name="T2" fmla="*/ 1140 w 1221"/>
                        <a:gd name="T3" fmla="*/ 0 h 966"/>
                        <a:gd name="T4" fmla="*/ 81 w 1221"/>
                        <a:gd name="T5" fmla="*/ 0 h 966"/>
                        <a:gd name="T6" fmla="*/ 0 w 1221"/>
                        <a:gd name="T7" fmla="*/ 81 h 966"/>
                        <a:gd name="T8" fmla="*/ 0 w 1221"/>
                        <a:gd name="T9" fmla="*/ 885 h 966"/>
                        <a:gd name="T10" fmla="*/ 81 w 1221"/>
                        <a:gd name="T11" fmla="*/ 966 h 966"/>
                        <a:gd name="T12" fmla="*/ 576 w 1221"/>
                        <a:gd name="T13" fmla="*/ 966 h 966"/>
                        <a:gd name="T14" fmla="*/ 1221 w 1221"/>
                        <a:gd name="T15" fmla="*/ 321 h 966"/>
                        <a:gd name="T16" fmla="*/ 1221 w 1221"/>
                        <a:gd name="T17" fmla="*/ 81 h 966"/>
                        <a:gd name="T18" fmla="*/ 81 w 1221"/>
                        <a:gd name="T19" fmla="*/ 912 h 966"/>
                        <a:gd name="T20" fmla="*/ 54 w 1221"/>
                        <a:gd name="T21" fmla="*/ 885 h 966"/>
                        <a:gd name="T22" fmla="*/ 54 w 1221"/>
                        <a:gd name="T23" fmla="*/ 81 h 966"/>
                        <a:gd name="T24" fmla="*/ 81 w 1221"/>
                        <a:gd name="T25" fmla="*/ 54 h 966"/>
                        <a:gd name="T26" fmla="*/ 1140 w 1221"/>
                        <a:gd name="T27" fmla="*/ 54 h 966"/>
                        <a:gd name="T28" fmla="*/ 1167 w 1221"/>
                        <a:gd name="T29" fmla="*/ 81 h 966"/>
                        <a:gd name="T30" fmla="*/ 1167 w 1221"/>
                        <a:gd name="T31" fmla="*/ 321 h 966"/>
                        <a:gd name="T32" fmla="*/ 850 w 1221"/>
                        <a:gd name="T33" fmla="*/ 581 h 966"/>
                        <a:gd name="T34" fmla="*/ 840 w 1221"/>
                        <a:gd name="T35" fmla="*/ 584 h 966"/>
                        <a:gd name="T36" fmla="*/ 836 w 1221"/>
                        <a:gd name="T37" fmla="*/ 595 h 966"/>
                        <a:gd name="T38" fmla="*/ 576 w 1221"/>
                        <a:gd name="T39" fmla="*/ 912 h 966"/>
                        <a:gd name="T40" fmla="*/ 81 w 1221"/>
                        <a:gd name="T41" fmla="*/ 912 h 9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221" h="966">
                          <a:moveTo>
                            <a:pt x="1221" y="81"/>
                          </a:moveTo>
                          <a:cubicBezTo>
                            <a:pt x="1221" y="36"/>
                            <a:pt x="1185" y="0"/>
                            <a:pt x="1140" y="0"/>
                          </a:cubicBezTo>
                          <a:cubicBezTo>
                            <a:pt x="81" y="0"/>
                            <a:pt x="81" y="0"/>
                            <a:pt x="81" y="0"/>
                          </a:cubicBezTo>
                          <a:cubicBezTo>
                            <a:pt x="36" y="0"/>
                            <a:pt x="0" y="36"/>
                            <a:pt x="0" y="81"/>
                          </a:cubicBezTo>
                          <a:cubicBezTo>
                            <a:pt x="0" y="885"/>
                            <a:pt x="0" y="885"/>
                            <a:pt x="0" y="885"/>
                          </a:cubicBezTo>
                          <a:cubicBezTo>
                            <a:pt x="0" y="930"/>
                            <a:pt x="36" y="966"/>
                            <a:pt x="81" y="966"/>
                          </a:cubicBezTo>
                          <a:cubicBezTo>
                            <a:pt x="576" y="966"/>
                            <a:pt x="576" y="966"/>
                            <a:pt x="576" y="966"/>
                          </a:cubicBezTo>
                          <a:cubicBezTo>
                            <a:pt x="877" y="966"/>
                            <a:pt x="1221" y="674"/>
                            <a:pt x="1221" y="321"/>
                          </a:cubicBezTo>
                          <a:lnTo>
                            <a:pt x="1221" y="81"/>
                          </a:lnTo>
                          <a:close/>
                          <a:moveTo>
                            <a:pt x="81" y="912"/>
                          </a:moveTo>
                          <a:cubicBezTo>
                            <a:pt x="66" y="912"/>
                            <a:pt x="54" y="900"/>
                            <a:pt x="54" y="885"/>
                          </a:cubicBezTo>
                          <a:cubicBezTo>
                            <a:pt x="54" y="81"/>
                            <a:pt x="54" y="81"/>
                            <a:pt x="54" y="81"/>
                          </a:cubicBezTo>
                          <a:cubicBezTo>
                            <a:pt x="54" y="66"/>
                            <a:pt x="66" y="54"/>
                            <a:pt x="81" y="54"/>
                          </a:cubicBezTo>
                          <a:cubicBezTo>
                            <a:pt x="1140" y="54"/>
                            <a:pt x="1140" y="54"/>
                            <a:pt x="1140" y="54"/>
                          </a:cubicBezTo>
                          <a:cubicBezTo>
                            <a:pt x="1155" y="54"/>
                            <a:pt x="1167" y="66"/>
                            <a:pt x="1167" y="81"/>
                          </a:cubicBezTo>
                          <a:cubicBezTo>
                            <a:pt x="1167" y="321"/>
                            <a:pt x="1167" y="321"/>
                            <a:pt x="1167" y="321"/>
                          </a:cubicBezTo>
                          <a:cubicBezTo>
                            <a:pt x="1167" y="422"/>
                            <a:pt x="1100" y="605"/>
                            <a:pt x="850" y="581"/>
                          </a:cubicBezTo>
                          <a:cubicBezTo>
                            <a:pt x="846" y="580"/>
                            <a:pt x="842" y="582"/>
                            <a:pt x="840" y="584"/>
                          </a:cubicBezTo>
                          <a:cubicBezTo>
                            <a:pt x="837" y="587"/>
                            <a:pt x="835" y="591"/>
                            <a:pt x="836" y="595"/>
                          </a:cubicBezTo>
                          <a:cubicBezTo>
                            <a:pt x="855" y="800"/>
                            <a:pt x="721" y="912"/>
                            <a:pt x="576" y="912"/>
                          </a:cubicBezTo>
                          <a:lnTo>
                            <a:pt x="81" y="912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3" name="Freeform 1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172325" y="2671763"/>
                      <a:ext cx="1609725" cy="1976437"/>
                    </a:xfrm>
                    <a:custGeom>
                      <a:avLst/>
                      <a:gdLst>
                        <a:gd name="T0" fmla="*/ 531 w 541"/>
                        <a:gd name="T1" fmla="*/ 664 h 664"/>
                        <a:gd name="T2" fmla="*/ 539 w 541"/>
                        <a:gd name="T3" fmla="*/ 659 h 664"/>
                        <a:gd name="T4" fmla="*/ 539 w 541"/>
                        <a:gd name="T5" fmla="*/ 650 h 664"/>
                        <a:gd name="T6" fmla="*/ 430 w 541"/>
                        <a:gd name="T7" fmla="*/ 488 h 664"/>
                        <a:gd name="T8" fmla="*/ 532 w 541"/>
                        <a:gd name="T9" fmla="*/ 334 h 664"/>
                        <a:gd name="T10" fmla="*/ 532 w 541"/>
                        <a:gd name="T11" fmla="*/ 325 h 664"/>
                        <a:gd name="T12" fmla="*/ 524 w 541"/>
                        <a:gd name="T13" fmla="*/ 320 h 664"/>
                        <a:gd name="T14" fmla="*/ 434 w 541"/>
                        <a:gd name="T15" fmla="*/ 320 h 664"/>
                        <a:gd name="T16" fmla="*/ 420 w 541"/>
                        <a:gd name="T17" fmla="*/ 327 h 664"/>
                        <a:gd name="T18" fmla="*/ 365 w 541"/>
                        <a:gd name="T19" fmla="*/ 410 h 664"/>
                        <a:gd name="T20" fmla="*/ 290 w 541"/>
                        <a:gd name="T21" fmla="*/ 294 h 664"/>
                        <a:gd name="T22" fmla="*/ 363 w 541"/>
                        <a:gd name="T23" fmla="*/ 156 h 664"/>
                        <a:gd name="T24" fmla="*/ 182 w 541"/>
                        <a:gd name="T25" fmla="*/ 0 h 664"/>
                        <a:gd name="T26" fmla="*/ 16 w 541"/>
                        <a:gd name="T27" fmla="*/ 0 h 664"/>
                        <a:gd name="T28" fmla="*/ 0 w 541"/>
                        <a:gd name="T29" fmla="*/ 16 h 664"/>
                        <a:gd name="T30" fmla="*/ 0 w 541"/>
                        <a:gd name="T31" fmla="*/ 425 h 664"/>
                        <a:gd name="T32" fmla="*/ 16 w 541"/>
                        <a:gd name="T33" fmla="*/ 441 h 664"/>
                        <a:gd name="T34" fmla="*/ 88 w 541"/>
                        <a:gd name="T35" fmla="*/ 441 h 664"/>
                        <a:gd name="T36" fmla="*/ 104 w 541"/>
                        <a:gd name="T37" fmla="*/ 425 h 664"/>
                        <a:gd name="T38" fmla="*/ 104 w 541"/>
                        <a:gd name="T39" fmla="*/ 319 h 664"/>
                        <a:gd name="T40" fmla="*/ 182 w 541"/>
                        <a:gd name="T41" fmla="*/ 319 h 664"/>
                        <a:gd name="T42" fmla="*/ 184 w 541"/>
                        <a:gd name="T43" fmla="*/ 319 h 664"/>
                        <a:gd name="T44" fmla="*/ 299 w 541"/>
                        <a:gd name="T45" fmla="*/ 488 h 664"/>
                        <a:gd name="T46" fmla="*/ 188 w 541"/>
                        <a:gd name="T47" fmla="*/ 649 h 664"/>
                        <a:gd name="T48" fmla="*/ 187 w 541"/>
                        <a:gd name="T49" fmla="*/ 659 h 664"/>
                        <a:gd name="T50" fmla="*/ 195 w 541"/>
                        <a:gd name="T51" fmla="*/ 664 h 664"/>
                        <a:gd name="T52" fmla="*/ 287 w 541"/>
                        <a:gd name="T53" fmla="*/ 664 h 664"/>
                        <a:gd name="T54" fmla="*/ 300 w 541"/>
                        <a:gd name="T55" fmla="*/ 657 h 664"/>
                        <a:gd name="T56" fmla="*/ 364 w 541"/>
                        <a:gd name="T57" fmla="*/ 565 h 664"/>
                        <a:gd name="T58" fmla="*/ 424 w 541"/>
                        <a:gd name="T59" fmla="*/ 656 h 664"/>
                        <a:gd name="T60" fmla="*/ 437 w 541"/>
                        <a:gd name="T61" fmla="*/ 664 h 664"/>
                        <a:gd name="T62" fmla="*/ 531 w 541"/>
                        <a:gd name="T63" fmla="*/ 664 h 664"/>
                        <a:gd name="T64" fmla="*/ 182 w 541"/>
                        <a:gd name="T65" fmla="*/ 222 h 664"/>
                        <a:gd name="T66" fmla="*/ 104 w 541"/>
                        <a:gd name="T67" fmla="*/ 222 h 664"/>
                        <a:gd name="T68" fmla="*/ 104 w 541"/>
                        <a:gd name="T69" fmla="*/ 98 h 664"/>
                        <a:gd name="T70" fmla="*/ 182 w 541"/>
                        <a:gd name="T71" fmla="*/ 98 h 664"/>
                        <a:gd name="T72" fmla="*/ 263 w 541"/>
                        <a:gd name="T73" fmla="*/ 158 h 664"/>
                        <a:gd name="T74" fmla="*/ 182 w 541"/>
                        <a:gd name="T75" fmla="*/ 222 h 6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541" h="664">
                          <a:moveTo>
                            <a:pt x="531" y="664"/>
                          </a:moveTo>
                          <a:cubicBezTo>
                            <a:pt x="535" y="664"/>
                            <a:pt x="538" y="662"/>
                            <a:pt x="539" y="659"/>
                          </a:cubicBezTo>
                          <a:cubicBezTo>
                            <a:pt x="541" y="656"/>
                            <a:pt x="541" y="652"/>
                            <a:pt x="539" y="650"/>
                          </a:cubicBezTo>
                          <a:cubicBezTo>
                            <a:pt x="430" y="488"/>
                            <a:pt x="430" y="488"/>
                            <a:pt x="430" y="488"/>
                          </a:cubicBezTo>
                          <a:cubicBezTo>
                            <a:pt x="532" y="334"/>
                            <a:pt x="532" y="334"/>
                            <a:pt x="532" y="334"/>
                          </a:cubicBezTo>
                          <a:cubicBezTo>
                            <a:pt x="534" y="331"/>
                            <a:pt x="534" y="328"/>
                            <a:pt x="532" y="325"/>
                          </a:cubicBezTo>
                          <a:cubicBezTo>
                            <a:pt x="531" y="322"/>
                            <a:pt x="527" y="320"/>
                            <a:pt x="524" y="320"/>
                          </a:cubicBezTo>
                          <a:cubicBezTo>
                            <a:pt x="434" y="320"/>
                            <a:pt x="434" y="320"/>
                            <a:pt x="434" y="320"/>
                          </a:cubicBezTo>
                          <a:cubicBezTo>
                            <a:pt x="428" y="320"/>
                            <a:pt x="423" y="323"/>
                            <a:pt x="420" y="327"/>
                          </a:cubicBezTo>
                          <a:cubicBezTo>
                            <a:pt x="365" y="410"/>
                            <a:pt x="365" y="410"/>
                            <a:pt x="365" y="410"/>
                          </a:cubicBezTo>
                          <a:cubicBezTo>
                            <a:pt x="290" y="294"/>
                            <a:pt x="290" y="294"/>
                            <a:pt x="290" y="294"/>
                          </a:cubicBezTo>
                          <a:cubicBezTo>
                            <a:pt x="337" y="267"/>
                            <a:pt x="363" y="219"/>
                            <a:pt x="363" y="156"/>
                          </a:cubicBezTo>
                          <a:cubicBezTo>
                            <a:pt x="363" y="59"/>
                            <a:pt x="296" y="0"/>
                            <a:pt x="182" y="0"/>
                          </a:cubicBezTo>
                          <a:cubicBezTo>
                            <a:pt x="16" y="0"/>
                            <a:pt x="16" y="0"/>
                            <a:pt x="16" y="0"/>
                          </a:cubicBezTo>
                          <a:cubicBezTo>
                            <a:pt x="7" y="0"/>
                            <a:pt x="0" y="7"/>
                            <a:pt x="0" y="16"/>
                          </a:cubicBezTo>
                          <a:cubicBezTo>
                            <a:pt x="0" y="425"/>
                            <a:pt x="0" y="425"/>
                            <a:pt x="0" y="425"/>
                          </a:cubicBezTo>
                          <a:cubicBezTo>
                            <a:pt x="0" y="434"/>
                            <a:pt x="7" y="441"/>
                            <a:pt x="16" y="441"/>
                          </a:cubicBezTo>
                          <a:cubicBezTo>
                            <a:pt x="88" y="441"/>
                            <a:pt x="88" y="441"/>
                            <a:pt x="88" y="441"/>
                          </a:cubicBezTo>
                          <a:cubicBezTo>
                            <a:pt x="97" y="441"/>
                            <a:pt x="104" y="434"/>
                            <a:pt x="104" y="425"/>
                          </a:cubicBezTo>
                          <a:cubicBezTo>
                            <a:pt x="104" y="319"/>
                            <a:pt x="104" y="319"/>
                            <a:pt x="104" y="319"/>
                          </a:cubicBezTo>
                          <a:cubicBezTo>
                            <a:pt x="182" y="319"/>
                            <a:pt x="182" y="319"/>
                            <a:pt x="182" y="319"/>
                          </a:cubicBezTo>
                          <a:cubicBezTo>
                            <a:pt x="183" y="319"/>
                            <a:pt x="183" y="319"/>
                            <a:pt x="184" y="319"/>
                          </a:cubicBezTo>
                          <a:cubicBezTo>
                            <a:pt x="299" y="488"/>
                            <a:pt x="299" y="488"/>
                            <a:pt x="299" y="488"/>
                          </a:cubicBezTo>
                          <a:cubicBezTo>
                            <a:pt x="188" y="649"/>
                            <a:pt x="188" y="649"/>
                            <a:pt x="188" y="649"/>
                          </a:cubicBezTo>
                          <a:cubicBezTo>
                            <a:pt x="186" y="652"/>
                            <a:pt x="186" y="656"/>
                            <a:pt x="187" y="659"/>
                          </a:cubicBezTo>
                          <a:cubicBezTo>
                            <a:pt x="189" y="662"/>
                            <a:pt x="192" y="664"/>
                            <a:pt x="195" y="664"/>
                          </a:cubicBezTo>
                          <a:cubicBezTo>
                            <a:pt x="287" y="664"/>
                            <a:pt x="287" y="664"/>
                            <a:pt x="287" y="664"/>
                          </a:cubicBezTo>
                          <a:cubicBezTo>
                            <a:pt x="292" y="664"/>
                            <a:pt x="297" y="661"/>
                            <a:pt x="300" y="657"/>
                          </a:cubicBezTo>
                          <a:cubicBezTo>
                            <a:pt x="364" y="565"/>
                            <a:pt x="364" y="565"/>
                            <a:pt x="364" y="565"/>
                          </a:cubicBezTo>
                          <a:cubicBezTo>
                            <a:pt x="424" y="656"/>
                            <a:pt x="424" y="656"/>
                            <a:pt x="424" y="656"/>
                          </a:cubicBezTo>
                          <a:cubicBezTo>
                            <a:pt x="427" y="661"/>
                            <a:pt x="432" y="664"/>
                            <a:pt x="437" y="664"/>
                          </a:cubicBezTo>
                          <a:lnTo>
                            <a:pt x="531" y="664"/>
                          </a:lnTo>
                          <a:close/>
                          <a:moveTo>
                            <a:pt x="182" y="222"/>
                          </a:moveTo>
                          <a:cubicBezTo>
                            <a:pt x="104" y="222"/>
                            <a:pt x="104" y="222"/>
                            <a:pt x="104" y="222"/>
                          </a:cubicBezTo>
                          <a:cubicBezTo>
                            <a:pt x="104" y="98"/>
                            <a:pt x="104" y="98"/>
                            <a:pt x="104" y="98"/>
                          </a:cubicBezTo>
                          <a:cubicBezTo>
                            <a:pt x="182" y="98"/>
                            <a:pt x="182" y="98"/>
                            <a:pt x="182" y="98"/>
                          </a:cubicBezTo>
                          <a:cubicBezTo>
                            <a:pt x="254" y="98"/>
                            <a:pt x="263" y="132"/>
                            <a:pt x="263" y="158"/>
                          </a:cubicBezTo>
                          <a:cubicBezTo>
                            <a:pt x="263" y="185"/>
                            <a:pt x="254" y="222"/>
                            <a:pt x="182" y="22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4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8893175" y="2644775"/>
                      <a:ext cx="1041400" cy="160337"/>
                    </a:xfrm>
                    <a:custGeom>
                      <a:avLst/>
                      <a:gdLst>
                        <a:gd name="T0" fmla="*/ 27 w 350"/>
                        <a:gd name="T1" fmla="*/ 54 h 54"/>
                        <a:gd name="T2" fmla="*/ 323 w 350"/>
                        <a:gd name="T3" fmla="*/ 54 h 54"/>
                        <a:gd name="T4" fmla="*/ 350 w 350"/>
                        <a:gd name="T5" fmla="*/ 27 h 54"/>
                        <a:gd name="T6" fmla="*/ 323 w 350"/>
                        <a:gd name="T7" fmla="*/ 0 h 54"/>
                        <a:gd name="T8" fmla="*/ 27 w 350"/>
                        <a:gd name="T9" fmla="*/ 0 h 54"/>
                        <a:gd name="T10" fmla="*/ 0 w 350"/>
                        <a:gd name="T11" fmla="*/ 27 h 54"/>
                        <a:gd name="T12" fmla="*/ 27 w 350"/>
                        <a:gd name="T13" fmla="*/ 54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0" h="54">
                          <a:moveTo>
                            <a:pt x="27" y="54"/>
                          </a:moveTo>
                          <a:cubicBezTo>
                            <a:pt x="323" y="54"/>
                            <a:pt x="323" y="54"/>
                            <a:pt x="323" y="54"/>
                          </a:cubicBezTo>
                          <a:cubicBezTo>
                            <a:pt x="338" y="54"/>
                            <a:pt x="350" y="42"/>
                            <a:pt x="350" y="27"/>
                          </a:cubicBezTo>
                          <a:cubicBezTo>
                            <a:pt x="350" y="12"/>
                            <a:pt x="338" y="0"/>
                            <a:pt x="323" y="0"/>
                          </a:cubicBezTo>
                          <a:cubicBezTo>
                            <a:pt x="27" y="0"/>
                            <a:pt x="27" y="0"/>
                            <a:pt x="27" y="0"/>
                          </a:cubicBezTo>
                          <a:cubicBezTo>
                            <a:pt x="12" y="0"/>
                            <a:pt x="0" y="12"/>
                            <a:pt x="0" y="27"/>
                          </a:cubicBezTo>
                          <a:cubicBezTo>
                            <a:pt x="0" y="42"/>
                            <a:pt x="12" y="54"/>
                            <a:pt x="27" y="5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5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8893175" y="2971800"/>
                      <a:ext cx="1041400" cy="160337"/>
                    </a:xfrm>
                    <a:custGeom>
                      <a:avLst/>
                      <a:gdLst>
                        <a:gd name="T0" fmla="*/ 0 w 350"/>
                        <a:gd name="T1" fmla="*/ 27 h 54"/>
                        <a:gd name="T2" fmla="*/ 27 w 350"/>
                        <a:gd name="T3" fmla="*/ 54 h 54"/>
                        <a:gd name="T4" fmla="*/ 323 w 350"/>
                        <a:gd name="T5" fmla="*/ 54 h 54"/>
                        <a:gd name="T6" fmla="*/ 350 w 350"/>
                        <a:gd name="T7" fmla="*/ 27 h 54"/>
                        <a:gd name="T8" fmla="*/ 323 w 350"/>
                        <a:gd name="T9" fmla="*/ 0 h 54"/>
                        <a:gd name="T10" fmla="*/ 27 w 350"/>
                        <a:gd name="T11" fmla="*/ 0 h 54"/>
                        <a:gd name="T12" fmla="*/ 0 w 350"/>
                        <a:gd name="T13" fmla="*/ 27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0" h="54">
                          <a:moveTo>
                            <a:pt x="0" y="27"/>
                          </a:moveTo>
                          <a:cubicBezTo>
                            <a:pt x="0" y="42"/>
                            <a:pt x="12" y="54"/>
                            <a:pt x="27" y="54"/>
                          </a:cubicBezTo>
                          <a:cubicBezTo>
                            <a:pt x="323" y="54"/>
                            <a:pt x="323" y="54"/>
                            <a:pt x="323" y="54"/>
                          </a:cubicBezTo>
                          <a:cubicBezTo>
                            <a:pt x="338" y="54"/>
                            <a:pt x="350" y="42"/>
                            <a:pt x="350" y="27"/>
                          </a:cubicBezTo>
                          <a:cubicBezTo>
                            <a:pt x="350" y="12"/>
                            <a:pt x="338" y="0"/>
                            <a:pt x="323" y="0"/>
                          </a:cubicBezTo>
                          <a:cubicBezTo>
                            <a:pt x="27" y="0"/>
                            <a:pt x="27" y="0"/>
                            <a:pt x="27" y="0"/>
                          </a:cubicBezTo>
                          <a:cubicBezTo>
                            <a:pt x="12" y="0"/>
                            <a:pt x="0" y="12"/>
                            <a:pt x="0" y="2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6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8893175" y="3295650"/>
                      <a:ext cx="1041400" cy="161925"/>
                    </a:xfrm>
                    <a:custGeom>
                      <a:avLst/>
                      <a:gdLst>
                        <a:gd name="T0" fmla="*/ 0 w 350"/>
                        <a:gd name="T1" fmla="*/ 27 h 54"/>
                        <a:gd name="T2" fmla="*/ 27 w 350"/>
                        <a:gd name="T3" fmla="*/ 54 h 54"/>
                        <a:gd name="T4" fmla="*/ 323 w 350"/>
                        <a:gd name="T5" fmla="*/ 54 h 54"/>
                        <a:gd name="T6" fmla="*/ 350 w 350"/>
                        <a:gd name="T7" fmla="*/ 27 h 54"/>
                        <a:gd name="T8" fmla="*/ 323 w 350"/>
                        <a:gd name="T9" fmla="*/ 0 h 54"/>
                        <a:gd name="T10" fmla="*/ 27 w 350"/>
                        <a:gd name="T11" fmla="*/ 0 h 54"/>
                        <a:gd name="T12" fmla="*/ 0 w 350"/>
                        <a:gd name="T13" fmla="*/ 27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0" h="54">
                          <a:moveTo>
                            <a:pt x="0" y="27"/>
                          </a:moveTo>
                          <a:cubicBezTo>
                            <a:pt x="0" y="42"/>
                            <a:pt x="12" y="54"/>
                            <a:pt x="27" y="54"/>
                          </a:cubicBezTo>
                          <a:cubicBezTo>
                            <a:pt x="323" y="54"/>
                            <a:pt x="323" y="54"/>
                            <a:pt x="323" y="54"/>
                          </a:cubicBezTo>
                          <a:cubicBezTo>
                            <a:pt x="338" y="54"/>
                            <a:pt x="350" y="42"/>
                            <a:pt x="350" y="27"/>
                          </a:cubicBezTo>
                          <a:cubicBezTo>
                            <a:pt x="350" y="12"/>
                            <a:pt x="338" y="0"/>
                            <a:pt x="323" y="0"/>
                          </a:cubicBezTo>
                          <a:cubicBezTo>
                            <a:pt x="27" y="0"/>
                            <a:pt x="27" y="0"/>
                            <a:pt x="27" y="0"/>
                          </a:cubicBezTo>
                          <a:cubicBezTo>
                            <a:pt x="12" y="0"/>
                            <a:pt x="0" y="12"/>
                            <a:pt x="0" y="2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7" name="Group 46"/>
                  <p:cNvGrpSpPr/>
                  <p:nvPr/>
                </p:nvGrpSpPr>
                <p:grpSpPr>
                  <a:xfrm>
                    <a:off x="7789647" y="4109820"/>
                    <a:ext cx="1139112" cy="1625319"/>
                    <a:chOff x="5613401" y="2778125"/>
                    <a:chExt cx="1822449" cy="2600325"/>
                  </a:xfrm>
                  <a:solidFill>
                    <a:srgbClr val="969696"/>
                  </a:solidFill>
                </p:grpSpPr>
                <p:sp>
                  <p:nvSpPr>
                    <p:cNvPr id="48" name="Freeform 5"/>
                    <p:cNvSpPr>
                      <a:spLocks/>
                    </p:cNvSpPr>
                    <p:nvPr/>
                  </p:nvSpPr>
                  <p:spPr bwMode="auto">
                    <a:xfrm>
                      <a:off x="5662613" y="2906713"/>
                      <a:ext cx="1003300" cy="419100"/>
                    </a:xfrm>
                    <a:custGeom>
                      <a:avLst/>
                      <a:gdLst>
                        <a:gd name="T0" fmla="*/ 1177 w 1177"/>
                        <a:gd name="T1" fmla="*/ 0 h 492"/>
                        <a:gd name="T2" fmla="*/ 1063 w 1177"/>
                        <a:gd name="T3" fmla="*/ 347 h 492"/>
                        <a:gd name="T4" fmla="*/ 907 w 1177"/>
                        <a:gd name="T5" fmla="*/ 174 h 492"/>
                        <a:gd name="T6" fmla="*/ 904 w 1177"/>
                        <a:gd name="T7" fmla="*/ 171 h 492"/>
                        <a:gd name="T8" fmla="*/ 877 w 1177"/>
                        <a:gd name="T9" fmla="*/ 146 h 492"/>
                        <a:gd name="T10" fmla="*/ 631 w 1177"/>
                        <a:gd name="T11" fmla="*/ 53 h 492"/>
                        <a:gd name="T12" fmla="*/ 353 w 1177"/>
                        <a:gd name="T13" fmla="*/ 179 h 492"/>
                        <a:gd name="T14" fmla="*/ 261 w 1177"/>
                        <a:gd name="T15" fmla="*/ 448 h 492"/>
                        <a:gd name="T16" fmla="*/ 266 w 1177"/>
                        <a:gd name="T17" fmla="*/ 492 h 492"/>
                        <a:gd name="T18" fmla="*/ 0 w 1177"/>
                        <a:gd name="T19" fmla="*/ 0 h 492"/>
                        <a:gd name="T20" fmla="*/ 1177 w 1177"/>
                        <a:gd name="T21" fmla="*/ 0 h 4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177" h="492">
                          <a:moveTo>
                            <a:pt x="1177" y="0"/>
                          </a:moveTo>
                          <a:cubicBezTo>
                            <a:pt x="1177" y="129"/>
                            <a:pt x="1135" y="249"/>
                            <a:pt x="1063" y="347"/>
                          </a:cubicBezTo>
                          <a:cubicBezTo>
                            <a:pt x="998" y="269"/>
                            <a:pt x="948" y="214"/>
                            <a:pt x="907" y="174"/>
                          </a:cubicBezTo>
                          <a:cubicBezTo>
                            <a:pt x="904" y="171"/>
                            <a:pt x="904" y="171"/>
                            <a:pt x="904" y="171"/>
                          </a:cubicBezTo>
                          <a:cubicBezTo>
                            <a:pt x="877" y="146"/>
                            <a:pt x="877" y="146"/>
                            <a:pt x="877" y="146"/>
                          </a:cubicBezTo>
                          <a:cubicBezTo>
                            <a:pt x="809" y="86"/>
                            <a:pt x="722" y="53"/>
                            <a:pt x="631" y="53"/>
                          </a:cubicBezTo>
                          <a:cubicBezTo>
                            <a:pt x="524" y="53"/>
                            <a:pt x="423" y="99"/>
                            <a:pt x="353" y="179"/>
                          </a:cubicBezTo>
                          <a:cubicBezTo>
                            <a:pt x="287" y="253"/>
                            <a:pt x="254" y="349"/>
                            <a:pt x="261" y="448"/>
                          </a:cubicBezTo>
                          <a:cubicBezTo>
                            <a:pt x="261" y="463"/>
                            <a:pt x="263" y="477"/>
                            <a:pt x="266" y="492"/>
                          </a:cubicBezTo>
                          <a:cubicBezTo>
                            <a:pt x="106" y="387"/>
                            <a:pt x="0" y="206"/>
                            <a:pt x="0" y="0"/>
                          </a:cubicBezTo>
                          <a:lnTo>
                            <a:pt x="1177" y="0"/>
                          </a:ln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9" name="Rectangle 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613401" y="2778125"/>
                      <a:ext cx="1100137" cy="74613"/>
                    </a:xfrm>
                    <a:prstGeom prst="rect">
                      <a:avLst/>
                    </a:pr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0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6097588" y="3163888"/>
                      <a:ext cx="223837" cy="223838"/>
                    </a:xfrm>
                    <a:custGeom>
                      <a:avLst/>
                      <a:gdLst>
                        <a:gd name="T0" fmla="*/ 209 w 262"/>
                        <a:gd name="T1" fmla="*/ 43 h 263"/>
                        <a:gd name="T2" fmla="*/ 220 w 262"/>
                        <a:gd name="T3" fmla="*/ 209 h 263"/>
                        <a:gd name="T4" fmla="*/ 53 w 262"/>
                        <a:gd name="T5" fmla="*/ 220 h 263"/>
                        <a:gd name="T6" fmla="*/ 43 w 262"/>
                        <a:gd name="T7" fmla="*/ 53 h 263"/>
                        <a:gd name="T8" fmla="*/ 209 w 262"/>
                        <a:gd name="T9" fmla="*/ 43 h 2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62" h="263">
                          <a:moveTo>
                            <a:pt x="209" y="43"/>
                          </a:moveTo>
                          <a:cubicBezTo>
                            <a:pt x="258" y="86"/>
                            <a:pt x="262" y="160"/>
                            <a:pt x="220" y="209"/>
                          </a:cubicBezTo>
                          <a:cubicBezTo>
                            <a:pt x="176" y="258"/>
                            <a:pt x="102" y="263"/>
                            <a:pt x="53" y="220"/>
                          </a:cubicBezTo>
                          <a:cubicBezTo>
                            <a:pt x="4" y="177"/>
                            <a:pt x="0" y="102"/>
                            <a:pt x="43" y="53"/>
                          </a:cubicBezTo>
                          <a:cubicBezTo>
                            <a:pt x="86" y="4"/>
                            <a:pt x="160" y="0"/>
                            <a:pt x="209" y="43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1" name="Freeform 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900738" y="2967038"/>
                      <a:ext cx="1165225" cy="1030288"/>
                    </a:xfrm>
                    <a:custGeom>
                      <a:avLst/>
                      <a:gdLst>
                        <a:gd name="T0" fmla="*/ 1056 w 1367"/>
                        <a:gd name="T1" fmla="*/ 670 h 1209"/>
                        <a:gd name="T2" fmla="*/ 1012 w 1367"/>
                        <a:gd name="T3" fmla="*/ 627 h 1209"/>
                        <a:gd name="T4" fmla="*/ 889 w 1367"/>
                        <a:gd name="T5" fmla="*/ 766 h 1209"/>
                        <a:gd name="T6" fmla="*/ 827 w 1367"/>
                        <a:gd name="T7" fmla="*/ 770 h 1209"/>
                        <a:gd name="T8" fmla="*/ 823 w 1367"/>
                        <a:gd name="T9" fmla="*/ 708 h 1209"/>
                        <a:gd name="T10" fmla="*/ 952 w 1367"/>
                        <a:gd name="T11" fmla="*/ 561 h 1209"/>
                        <a:gd name="T12" fmla="*/ 928 w 1367"/>
                        <a:gd name="T13" fmla="*/ 533 h 1209"/>
                        <a:gd name="T14" fmla="*/ 796 w 1367"/>
                        <a:gd name="T15" fmla="*/ 684 h 1209"/>
                        <a:gd name="T16" fmla="*/ 733 w 1367"/>
                        <a:gd name="T17" fmla="*/ 688 h 1209"/>
                        <a:gd name="T18" fmla="*/ 729 w 1367"/>
                        <a:gd name="T19" fmla="*/ 626 h 1209"/>
                        <a:gd name="T20" fmla="*/ 870 w 1367"/>
                        <a:gd name="T21" fmla="*/ 465 h 1209"/>
                        <a:gd name="T22" fmla="*/ 847 w 1367"/>
                        <a:gd name="T23" fmla="*/ 437 h 1209"/>
                        <a:gd name="T24" fmla="*/ 702 w 1367"/>
                        <a:gd name="T25" fmla="*/ 601 h 1209"/>
                        <a:gd name="T26" fmla="*/ 639 w 1367"/>
                        <a:gd name="T27" fmla="*/ 606 h 1209"/>
                        <a:gd name="T28" fmla="*/ 635 w 1367"/>
                        <a:gd name="T29" fmla="*/ 543 h 1209"/>
                        <a:gd name="T30" fmla="*/ 790 w 1367"/>
                        <a:gd name="T31" fmla="*/ 368 h 1209"/>
                        <a:gd name="T32" fmla="*/ 588 w 1367"/>
                        <a:gd name="T33" fmla="*/ 141 h 1209"/>
                        <a:gd name="T34" fmla="*/ 586 w 1367"/>
                        <a:gd name="T35" fmla="*/ 139 h 1209"/>
                        <a:gd name="T36" fmla="*/ 573 w 1367"/>
                        <a:gd name="T37" fmla="*/ 127 h 1209"/>
                        <a:gd name="T38" fmla="*/ 561 w 1367"/>
                        <a:gd name="T39" fmla="*/ 116 h 1209"/>
                        <a:gd name="T40" fmla="*/ 115 w 1367"/>
                        <a:gd name="T41" fmla="*/ 144 h 1209"/>
                        <a:gd name="T42" fmla="*/ 144 w 1367"/>
                        <a:gd name="T43" fmla="*/ 590 h 1209"/>
                        <a:gd name="T44" fmla="*/ 156 w 1367"/>
                        <a:gd name="T45" fmla="*/ 600 h 1209"/>
                        <a:gd name="T46" fmla="*/ 171 w 1367"/>
                        <a:gd name="T47" fmla="*/ 613 h 1209"/>
                        <a:gd name="T48" fmla="*/ 172 w 1367"/>
                        <a:gd name="T49" fmla="*/ 614 h 1209"/>
                        <a:gd name="T50" fmla="*/ 757 w 1367"/>
                        <a:gd name="T51" fmla="*/ 1010 h 1209"/>
                        <a:gd name="T52" fmla="*/ 940 w 1367"/>
                        <a:gd name="T53" fmla="*/ 1209 h 1209"/>
                        <a:gd name="T54" fmla="*/ 1033 w 1367"/>
                        <a:gd name="T55" fmla="*/ 1038 h 1209"/>
                        <a:gd name="T56" fmla="*/ 1367 w 1367"/>
                        <a:gd name="T57" fmla="*/ 887 h 1209"/>
                        <a:gd name="T58" fmla="*/ 1056 w 1367"/>
                        <a:gd name="T59" fmla="*/ 670 h 1209"/>
                        <a:gd name="T60" fmla="*/ 497 w 1367"/>
                        <a:gd name="T61" fmla="*/ 480 h 1209"/>
                        <a:gd name="T62" fmla="*/ 244 w 1367"/>
                        <a:gd name="T63" fmla="*/ 496 h 1209"/>
                        <a:gd name="T64" fmla="*/ 227 w 1367"/>
                        <a:gd name="T65" fmla="*/ 243 h 1209"/>
                        <a:gd name="T66" fmla="*/ 481 w 1367"/>
                        <a:gd name="T67" fmla="*/ 226 h 1209"/>
                        <a:gd name="T68" fmla="*/ 497 w 1367"/>
                        <a:gd name="T69" fmla="*/ 480 h 12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</a:cxnLst>
                      <a:rect l="0" t="0" r="r" b="b"/>
                      <a:pathLst>
                        <a:path w="1367" h="1209">
                          <a:moveTo>
                            <a:pt x="1056" y="670"/>
                          </a:moveTo>
                          <a:cubicBezTo>
                            <a:pt x="1043" y="659"/>
                            <a:pt x="1028" y="644"/>
                            <a:pt x="1012" y="627"/>
                          </a:cubicBezTo>
                          <a:cubicBezTo>
                            <a:pt x="889" y="766"/>
                            <a:pt x="889" y="766"/>
                            <a:pt x="889" y="766"/>
                          </a:cubicBezTo>
                          <a:cubicBezTo>
                            <a:pt x="873" y="785"/>
                            <a:pt x="845" y="786"/>
                            <a:pt x="827" y="770"/>
                          </a:cubicBezTo>
                          <a:cubicBezTo>
                            <a:pt x="809" y="754"/>
                            <a:pt x="807" y="726"/>
                            <a:pt x="823" y="708"/>
                          </a:cubicBezTo>
                          <a:cubicBezTo>
                            <a:pt x="952" y="561"/>
                            <a:pt x="952" y="561"/>
                            <a:pt x="952" y="561"/>
                          </a:cubicBezTo>
                          <a:cubicBezTo>
                            <a:pt x="944" y="552"/>
                            <a:pt x="936" y="543"/>
                            <a:pt x="928" y="533"/>
                          </a:cubicBezTo>
                          <a:cubicBezTo>
                            <a:pt x="796" y="684"/>
                            <a:pt x="796" y="684"/>
                            <a:pt x="796" y="684"/>
                          </a:cubicBezTo>
                          <a:cubicBezTo>
                            <a:pt x="780" y="702"/>
                            <a:pt x="751" y="704"/>
                            <a:pt x="733" y="688"/>
                          </a:cubicBezTo>
                          <a:cubicBezTo>
                            <a:pt x="715" y="672"/>
                            <a:pt x="713" y="644"/>
                            <a:pt x="729" y="626"/>
                          </a:cubicBezTo>
                          <a:cubicBezTo>
                            <a:pt x="870" y="465"/>
                            <a:pt x="870" y="465"/>
                            <a:pt x="870" y="465"/>
                          </a:cubicBezTo>
                          <a:cubicBezTo>
                            <a:pt x="863" y="456"/>
                            <a:pt x="855" y="446"/>
                            <a:pt x="847" y="437"/>
                          </a:cubicBezTo>
                          <a:cubicBezTo>
                            <a:pt x="702" y="601"/>
                            <a:pt x="702" y="601"/>
                            <a:pt x="702" y="601"/>
                          </a:cubicBezTo>
                          <a:cubicBezTo>
                            <a:pt x="686" y="620"/>
                            <a:pt x="658" y="621"/>
                            <a:pt x="639" y="606"/>
                          </a:cubicBezTo>
                          <a:cubicBezTo>
                            <a:pt x="621" y="589"/>
                            <a:pt x="619" y="561"/>
                            <a:pt x="635" y="543"/>
                          </a:cubicBezTo>
                          <a:cubicBezTo>
                            <a:pt x="790" y="368"/>
                            <a:pt x="790" y="368"/>
                            <a:pt x="790" y="368"/>
                          </a:cubicBezTo>
                          <a:cubicBezTo>
                            <a:pt x="719" y="282"/>
                            <a:pt x="647" y="199"/>
                            <a:pt x="588" y="141"/>
                          </a:cubicBezTo>
                          <a:cubicBezTo>
                            <a:pt x="586" y="139"/>
                            <a:pt x="586" y="139"/>
                            <a:pt x="586" y="139"/>
                          </a:cubicBezTo>
                          <a:cubicBezTo>
                            <a:pt x="573" y="127"/>
                            <a:pt x="573" y="127"/>
                            <a:pt x="573" y="127"/>
                          </a:cubicBezTo>
                          <a:cubicBezTo>
                            <a:pt x="561" y="116"/>
                            <a:pt x="561" y="116"/>
                            <a:pt x="561" y="116"/>
                          </a:cubicBezTo>
                          <a:cubicBezTo>
                            <a:pt x="430" y="0"/>
                            <a:pt x="230" y="13"/>
                            <a:pt x="115" y="144"/>
                          </a:cubicBezTo>
                          <a:cubicBezTo>
                            <a:pt x="0" y="275"/>
                            <a:pt x="13" y="474"/>
                            <a:pt x="144" y="590"/>
                          </a:cubicBezTo>
                          <a:cubicBezTo>
                            <a:pt x="156" y="600"/>
                            <a:pt x="156" y="600"/>
                            <a:pt x="156" y="600"/>
                          </a:cubicBezTo>
                          <a:cubicBezTo>
                            <a:pt x="171" y="613"/>
                            <a:pt x="171" y="613"/>
                            <a:pt x="171" y="613"/>
                          </a:cubicBezTo>
                          <a:cubicBezTo>
                            <a:pt x="172" y="614"/>
                            <a:pt x="172" y="614"/>
                            <a:pt x="172" y="614"/>
                          </a:cubicBezTo>
                          <a:cubicBezTo>
                            <a:pt x="328" y="737"/>
                            <a:pt x="646" y="912"/>
                            <a:pt x="757" y="1010"/>
                          </a:cubicBezTo>
                          <a:cubicBezTo>
                            <a:pt x="818" y="1064"/>
                            <a:pt x="877" y="1134"/>
                            <a:pt x="940" y="1209"/>
                          </a:cubicBezTo>
                          <a:cubicBezTo>
                            <a:pt x="957" y="1148"/>
                            <a:pt x="988" y="1089"/>
                            <a:pt x="1033" y="1038"/>
                          </a:cubicBezTo>
                          <a:cubicBezTo>
                            <a:pt x="1118" y="942"/>
                            <a:pt x="1239" y="887"/>
                            <a:pt x="1367" y="887"/>
                          </a:cubicBezTo>
                          <a:cubicBezTo>
                            <a:pt x="1254" y="809"/>
                            <a:pt x="1139" y="743"/>
                            <a:pt x="1056" y="670"/>
                          </a:cubicBezTo>
                          <a:close/>
                          <a:moveTo>
                            <a:pt x="497" y="480"/>
                          </a:moveTo>
                          <a:cubicBezTo>
                            <a:pt x="432" y="554"/>
                            <a:pt x="318" y="562"/>
                            <a:pt x="244" y="496"/>
                          </a:cubicBezTo>
                          <a:cubicBezTo>
                            <a:pt x="169" y="431"/>
                            <a:pt x="162" y="317"/>
                            <a:pt x="227" y="243"/>
                          </a:cubicBezTo>
                          <a:cubicBezTo>
                            <a:pt x="293" y="168"/>
                            <a:pt x="406" y="161"/>
                            <a:pt x="481" y="226"/>
                          </a:cubicBezTo>
                          <a:cubicBezTo>
                            <a:pt x="555" y="292"/>
                            <a:pt x="563" y="405"/>
                            <a:pt x="497" y="480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2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6383338" y="4194175"/>
                      <a:ext cx="584200" cy="517525"/>
                    </a:xfrm>
                    <a:custGeom>
                      <a:avLst/>
                      <a:gdLst>
                        <a:gd name="T0" fmla="*/ 684 w 684"/>
                        <a:gd name="T1" fmla="*/ 319 h 607"/>
                        <a:gd name="T2" fmla="*/ 222 w 684"/>
                        <a:gd name="T3" fmla="*/ 607 h 607"/>
                        <a:gd name="T4" fmla="*/ 0 w 684"/>
                        <a:gd name="T5" fmla="*/ 318 h 607"/>
                        <a:gd name="T6" fmla="*/ 369 w 684"/>
                        <a:gd name="T7" fmla="*/ 0 h 607"/>
                        <a:gd name="T8" fmla="*/ 507 w 684"/>
                        <a:gd name="T9" fmla="*/ 224 h 607"/>
                        <a:gd name="T10" fmla="*/ 684 w 684"/>
                        <a:gd name="T11" fmla="*/ 319 h 6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84" h="607">
                          <a:moveTo>
                            <a:pt x="684" y="319"/>
                          </a:moveTo>
                          <a:cubicBezTo>
                            <a:pt x="222" y="607"/>
                            <a:pt x="222" y="607"/>
                            <a:pt x="222" y="607"/>
                          </a:cubicBezTo>
                          <a:cubicBezTo>
                            <a:pt x="0" y="318"/>
                            <a:pt x="0" y="318"/>
                            <a:pt x="0" y="318"/>
                          </a:cubicBezTo>
                          <a:cubicBezTo>
                            <a:pt x="369" y="0"/>
                            <a:pt x="369" y="0"/>
                            <a:pt x="369" y="0"/>
                          </a:cubicBezTo>
                          <a:cubicBezTo>
                            <a:pt x="391" y="84"/>
                            <a:pt x="436" y="163"/>
                            <a:pt x="507" y="224"/>
                          </a:cubicBezTo>
                          <a:cubicBezTo>
                            <a:pt x="558" y="269"/>
                            <a:pt x="619" y="302"/>
                            <a:pt x="684" y="319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3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6208713" y="4443413"/>
                      <a:ext cx="384175" cy="438150"/>
                    </a:xfrm>
                    <a:custGeom>
                      <a:avLst/>
                      <a:gdLst>
                        <a:gd name="T0" fmla="*/ 451 w 451"/>
                        <a:gd name="T1" fmla="*/ 406 h 513"/>
                        <a:gd name="T2" fmla="*/ 311 w 451"/>
                        <a:gd name="T3" fmla="*/ 513 h 513"/>
                        <a:gd name="T4" fmla="*/ 260 w 451"/>
                        <a:gd name="T5" fmla="*/ 434 h 513"/>
                        <a:gd name="T6" fmla="*/ 273 w 451"/>
                        <a:gd name="T7" fmla="*/ 388 h 513"/>
                        <a:gd name="T8" fmla="*/ 111 w 451"/>
                        <a:gd name="T9" fmla="*/ 177 h 513"/>
                        <a:gd name="T10" fmla="*/ 86 w 451"/>
                        <a:gd name="T11" fmla="*/ 176 h 513"/>
                        <a:gd name="T12" fmla="*/ 63 w 451"/>
                        <a:gd name="T13" fmla="*/ 177 h 513"/>
                        <a:gd name="T14" fmla="*/ 0 w 451"/>
                        <a:gd name="T15" fmla="*/ 107 h 513"/>
                        <a:gd name="T16" fmla="*/ 139 w 451"/>
                        <a:gd name="T17" fmla="*/ 0 h 513"/>
                        <a:gd name="T18" fmla="*/ 451 w 451"/>
                        <a:gd name="T19" fmla="*/ 406 h 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1" h="513">
                          <a:moveTo>
                            <a:pt x="451" y="406"/>
                          </a:moveTo>
                          <a:cubicBezTo>
                            <a:pt x="311" y="513"/>
                            <a:pt x="311" y="513"/>
                            <a:pt x="311" y="513"/>
                          </a:cubicBezTo>
                          <a:cubicBezTo>
                            <a:pt x="297" y="486"/>
                            <a:pt x="280" y="460"/>
                            <a:pt x="260" y="434"/>
                          </a:cubicBezTo>
                          <a:cubicBezTo>
                            <a:pt x="267" y="419"/>
                            <a:pt x="271" y="404"/>
                            <a:pt x="273" y="388"/>
                          </a:cubicBezTo>
                          <a:cubicBezTo>
                            <a:pt x="286" y="286"/>
                            <a:pt x="214" y="191"/>
                            <a:pt x="111" y="177"/>
                          </a:cubicBezTo>
                          <a:cubicBezTo>
                            <a:pt x="102" y="176"/>
                            <a:pt x="95" y="176"/>
                            <a:pt x="86" y="176"/>
                          </a:cubicBezTo>
                          <a:cubicBezTo>
                            <a:pt x="78" y="176"/>
                            <a:pt x="71" y="176"/>
                            <a:pt x="63" y="177"/>
                          </a:cubicBezTo>
                          <a:cubicBezTo>
                            <a:pt x="44" y="151"/>
                            <a:pt x="23" y="128"/>
                            <a:pt x="0" y="107"/>
                          </a:cubicBezTo>
                          <a:cubicBezTo>
                            <a:pt x="139" y="0"/>
                            <a:pt x="139" y="0"/>
                            <a:pt x="139" y="0"/>
                          </a:cubicBezTo>
                          <a:lnTo>
                            <a:pt x="451" y="406"/>
                          </a:ln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4" name="Freeform 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643563" y="4448175"/>
                      <a:ext cx="869950" cy="930275"/>
                    </a:xfrm>
                    <a:custGeom>
                      <a:avLst/>
                      <a:gdLst>
                        <a:gd name="T0" fmla="*/ 879 w 1019"/>
                        <a:gd name="T1" fmla="*/ 435 h 1092"/>
                        <a:gd name="T2" fmla="*/ 898 w 1019"/>
                        <a:gd name="T3" fmla="*/ 378 h 1092"/>
                        <a:gd name="T4" fmla="*/ 768 w 1019"/>
                        <a:gd name="T5" fmla="*/ 209 h 1092"/>
                        <a:gd name="T6" fmla="*/ 708 w 1019"/>
                        <a:gd name="T7" fmla="*/ 213 h 1092"/>
                        <a:gd name="T8" fmla="*/ 304 w 1019"/>
                        <a:gd name="T9" fmla="*/ 42 h 1092"/>
                        <a:gd name="T10" fmla="*/ 61 w 1019"/>
                        <a:gd name="T11" fmla="*/ 539 h 1092"/>
                        <a:gd name="T12" fmla="*/ 115 w 1019"/>
                        <a:gd name="T13" fmla="*/ 474 h 1092"/>
                        <a:gd name="T14" fmla="*/ 336 w 1019"/>
                        <a:gd name="T15" fmla="*/ 159 h 1092"/>
                        <a:gd name="T16" fmla="*/ 612 w 1019"/>
                        <a:gd name="T17" fmla="*/ 294 h 1092"/>
                        <a:gd name="T18" fmla="*/ 599 w 1019"/>
                        <a:gd name="T19" fmla="*/ 339 h 1092"/>
                        <a:gd name="T20" fmla="*/ 729 w 1019"/>
                        <a:gd name="T21" fmla="*/ 508 h 1092"/>
                        <a:gd name="T22" fmla="*/ 776 w 1019"/>
                        <a:gd name="T23" fmla="*/ 507 h 1092"/>
                        <a:gd name="T24" fmla="*/ 834 w 1019"/>
                        <a:gd name="T25" fmla="*/ 809 h 1092"/>
                        <a:gd name="T26" fmla="*/ 473 w 1019"/>
                        <a:gd name="T27" fmla="*/ 941 h 1092"/>
                        <a:gd name="T28" fmla="*/ 396 w 1019"/>
                        <a:gd name="T29" fmla="*/ 976 h 1092"/>
                        <a:gd name="T30" fmla="*/ 939 w 1019"/>
                        <a:gd name="T31" fmla="*/ 870 h 1092"/>
                        <a:gd name="T32" fmla="*/ 879 w 1019"/>
                        <a:gd name="T33" fmla="*/ 435 h 1092"/>
                        <a:gd name="T34" fmla="*/ 736 w 1019"/>
                        <a:gd name="T35" fmla="*/ 452 h 1092"/>
                        <a:gd name="T36" fmla="*/ 708 w 1019"/>
                        <a:gd name="T37" fmla="*/ 444 h 1092"/>
                        <a:gd name="T38" fmla="*/ 656 w 1019"/>
                        <a:gd name="T39" fmla="*/ 375 h 1092"/>
                        <a:gd name="T40" fmla="*/ 655 w 1019"/>
                        <a:gd name="T41" fmla="*/ 346 h 1092"/>
                        <a:gd name="T42" fmla="*/ 737 w 1019"/>
                        <a:gd name="T43" fmla="*/ 265 h 1092"/>
                        <a:gd name="T44" fmla="*/ 761 w 1019"/>
                        <a:gd name="T45" fmla="*/ 265 h 1092"/>
                        <a:gd name="T46" fmla="*/ 842 w 1019"/>
                        <a:gd name="T47" fmla="*/ 371 h 1092"/>
                        <a:gd name="T48" fmla="*/ 836 w 1019"/>
                        <a:gd name="T49" fmla="*/ 393 h 1092"/>
                        <a:gd name="T50" fmla="*/ 736 w 1019"/>
                        <a:gd name="T51" fmla="*/ 452 h 10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</a:cxnLst>
                      <a:rect l="0" t="0" r="r" b="b"/>
                      <a:pathLst>
                        <a:path w="1019" h="1092">
                          <a:moveTo>
                            <a:pt x="879" y="435"/>
                          </a:moveTo>
                          <a:cubicBezTo>
                            <a:pt x="888" y="418"/>
                            <a:pt x="895" y="399"/>
                            <a:pt x="898" y="378"/>
                          </a:cubicBezTo>
                          <a:cubicBezTo>
                            <a:pt x="909" y="296"/>
                            <a:pt x="851" y="220"/>
                            <a:pt x="768" y="209"/>
                          </a:cubicBezTo>
                          <a:cubicBezTo>
                            <a:pt x="747" y="206"/>
                            <a:pt x="727" y="208"/>
                            <a:pt x="708" y="213"/>
                          </a:cubicBezTo>
                          <a:cubicBezTo>
                            <a:pt x="617" y="73"/>
                            <a:pt x="456" y="0"/>
                            <a:pt x="304" y="42"/>
                          </a:cubicBezTo>
                          <a:cubicBezTo>
                            <a:pt x="109" y="96"/>
                            <a:pt x="0" y="318"/>
                            <a:pt x="61" y="539"/>
                          </a:cubicBezTo>
                          <a:cubicBezTo>
                            <a:pt x="115" y="474"/>
                            <a:pt x="115" y="474"/>
                            <a:pt x="115" y="474"/>
                          </a:cubicBezTo>
                          <a:cubicBezTo>
                            <a:pt x="135" y="303"/>
                            <a:pt x="192" y="199"/>
                            <a:pt x="336" y="159"/>
                          </a:cubicBezTo>
                          <a:cubicBezTo>
                            <a:pt x="451" y="128"/>
                            <a:pt x="555" y="193"/>
                            <a:pt x="612" y="294"/>
                          </a:cubicBezTo>
                          <a:cubicBezTo>
                            <a:pt x="605" y="308"/>
                            <a:pt x="601" y="323"/>
                            <a:pt x="599" y="339"/>
                          </a:cubicBezTo>
                          <a:cubicBezTo>
                            <a:pt x="588" y="422"/>
                            <a:pt x="646" y="497"/>
                            <a:pt x="729" y="508"/>
                          </a:cubicBezTo>
                          <a:cubicBezTo>
                            <a:pt x="745" y="510"/>
                            <a:pt x="760" y="510"/>
                            <a:pt x="776" y="507"/>
                          </a:cubicBezTo>
                          <a:cubicBezTo>
                            <a:pt x="858" y="588"/>
                            <a:pt x="895" y="706"/>
                            <a:pt x="834" y="809"/>
                          </a:cubicBezTo>
                          <a:cubicBezTo>
                            <a:pt x="759" y="937"/>
                            <a:pt x="643" y="965"/>
                            <a:pt x="473" y="941"/>
                          </a:cubicBezTo>
                          <a:cubicBezTo>
                            <a:pt x="396" y="976"/>
                            <a:pt x="396" y="976"/>
                            <a:pt x="396" y="976"/>
                          </a:cubicBezTo>
                          <a:cubicBezTo>
                            <a:pt x="594" y="1092"/>
                            <a:pt x="837" y="1044"/>
                            <a:pt x="939" y="870"/>
                          </a:cubicBezTo>
                          <a:cubicBezTo>
                            <a:pt x="1019" y="733"/>
                            <a:pt x="990" y="560"/>
                            <a:pt x="879" y="435"/>
                          </a:cubicBezTo>
                          <a:close/>
                          <a:moveTo>
                            <a:pt x="736" y="452"/>
                          </a:moveTo>
                          <a:cubicBezTo>
                            <a:pt x="726" y="451"/>
                            <a:pt x="717" y="448"/>
                            <a:pt x="708" y="444"/>
                          </a:cubicBezTo>
                          <a:cubicBezTo>
                            <a:pt x="681" y="431"/>
                            <a:pt x="661" y="405"/>
                            <a:pt x="656" y="375"/>
                          </a:cubicBezTo>
                          <a:cubicBezTo>
                            <a:pt x="654" y="366"/>
                            <a:pt x="654" y="356"/>
                            <a:pt x="655" y="346"/>
                          </a:cubicBezTo>
                          <a:cubicBezTo>
                            <a:pt x="661" y="303"/>
                            <a:pt x="695" y="270"/>
                            <a:pt x="737" y="265"/>
                          </a:cubicBezTo>
                          <a:cubicBezTo>
                            <a:pt x="745" y="264"/>
                            <a:pt x="753" y="264"/>
                            <a:pt x="761" y="265"/>
                          </a:cubicBezTo>
                          <a:cubicBezTo>
                            <a:pt x="812" y="272"/>
                            <a:pt x="849" y="319"/>
                            <a:pt x="842" y="371"/>
                          </a:cubicBezTo>
                          <a:cubicBezTo>
                            <a:pt x="841" y="379"/>
                            <a:pt x="839" y="386"/>
                            <a:pt x="836" y="393"/>
                          </a:cubicBezTo>
                          <a:cubicBezTo>
                            <a:pt x="821" y="432"/>
                            <a:pt x="780" y="458"/>
                            <a:pt x="736" y="452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5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6923088" y="3959225"/>
                      <a:ext cx="285750" cy="285750"/>
                    </a:xfrm>
                    <a:custGeom>
                      <a:avLst/>
                      <a:gdLst>
                        <a:gd name="T0" fmla="*/ 275 w 334"/>
                        <a:gd name="T1" fmla="*/ 60 h 335"/>
                        <a:gd name="T2" fmla="*/ 275 w 334"/>
                        <a:gd name="T3" fmla="*/ 275 h 335"/>
                        <a:gd name="T4" fmla="*/ 59 w 334"/>
                        <a:gd name="T5" fmla="*/ 275 h 335"/>
                        <a:gd name="T6" fmla="*/ 59 w 334"/>
                        <a:gd name="T7" fmla="*/ 60 h 335"/>
                        <a:gd name="T8" fmla="*/ 275 w 334"/>
                        <a:gd name="T9" fmla="*/ 60 h 3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4" h="335">
                          <a:moveTo>
                            <a:pt x="275" y="60"/>
                          </a:moveTo>
                          <a:cubicBezTo>
                            <a:pt x="334" y="119"/>
                            <a:pt x="334" y="215"/>
                            <a:pt x="275" y="275"/>
                          </a:cubicBezTo>
                          <a:cubicBezTo>
                            <a:pt x="215" y="335"/>
                            <a:pt x="119" y="335"/>
                            <a:pt x="59" y="275"/>
                          </a:cubicBezTo>
                          <a:cubicBezTo>
                            <a:pt x="0" y="216"/>
                            <a:pt x="0" y="119"/>
                            <a:pt x="59" y="60"/>
                          </a:cubicBezTo>
                          <a:cubicBezTo>
                            <a:pt x="119" y="0"/>
                            <a:pt x="215" y="0"/>
                            <a:pt x="275" y="60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6" name="Freeform 1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696075" y="3732213"/>
                      <a:ext cx="739775" cy="738188"/>
                    </a:xfrm>
                    <a:custGeom>
                      <a:avLst/>
                      <a:gdLst>
                        <a:gd name="T0" fmla="*/ 691 w 868"/>
                        <a:gd name="T1" fmla="*/ 142 h 867"/>
                        <a:gd name="T2" fmla="*/ 142 w 868"/>
                        <a:gd name="T3" fmla="*/ 176 h 867"/>
                        <a:gd name="T4" fmla="*/ 177 w 868"/>
                        <a:gd name="T5" fmla="*/ 725 h 867"/>
                        <a:gd name="T6" fmla="*/ 726 w 868"/>
                        <a:gd name="T7" fmla="*/ 690 h 867"/>
                        <a:gd name="T8" fmla="*/ 691 w 868"/>
                        <a:gd name="T9" fmla="*/ 142 h 867"/>
                        <a:gd name="T10" fmla="*/ 606 w 868"/>
                        <a:gd name="T11" fmla="*/ 606 h 867"/>
                        <a:gd name="T12" fmla="*/ 261 w 868"/>
                        <a:gd name="T13" fmla="*/ 606 h 867"/>
                        <a:gd name="T14" fmla="*/ 261 w 868"/>
                        <a:gd name="T15" fmla="*/ 261 h 867"/>
                        <a:gd name="T16" fmla="*/ 606 w 868"/>
                        <a:gd name="T17" fmla="*/ 261 h 867"/>
                        <a:gd name="T18" fmla="*/ 606 w 868"/>
                        <a:gd name="T19" fmla="*/ 606 h 8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68" h="867">
                          <a:moveTo>
                            <a:pt x="691" y="142"/>
                          </a:moveTo>
                          <a:cubicBezTo>
                            <a:pt x="530" y="0"/>
                            <a:pt x="284" y="15"/>
                            <a:pt x="142" y="176"/>
                          </a:cubicBezTo>
                          <a:cubicBezTo>
                            <a:pt x="0" y="338"/>
                            <a:pt x="16" y="583"/>
                            <a:pt x="177" y="725"/>
                          </a:cubicBezTo>
                          <a:cubicBezTo>
                            <a:pt x="338" y="867"/>
                            <a:pt x="584" y="851"/>
                            <a:pt x="726" y="690"/>
                          </a:cubicBezTo>
                          <a:cubicBezTo>
                            <a:pt x="868" y="529"/>
                            <a:pt x="852" y="284"/>
                            <a:pt x="691" y="142"/>
                          </a:cubicBezTo>
                          <a:close/>
                          <a:moveTo>
                            <a:pt x="606" y="606"/>
                          </a:moveTo>
                          <a:cubicBezTo>
                            <a:pt x="511" y="701"/>
                            <a:pt x="357" y="701"/>
                            <a:pt x="261" y="606"/>
                          </a:cubicBezTo>
                          <a:cubicBezTo>
                            <a:pt x="166" y="511"/>
                            <a:pt x="166" y="356"/>
                            <a:pt x="261" y="261"/>
                          </a:cubicBezTo>
                          <a:cubicBezTo>
                            <a:pt x="357" y="166"/>
                            <a:pt x="511" y="166"/>
                            <a:pt x="606" y="261"/>
                          </a:cubicBezTo>
                          <a:cubicBezTo>
                            <a:pt x="702" y="356"/>
                            <a:pt x="702" y="511"/>
                            <a:pt x="606" y="606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57" name="Freeform: Shape 56"/>
                <p:cNvSpPr>
                  <a:spLocks noChangeAspect="1"/>
                </p:cNvSpPr>
                <p:nvPr/>
              </p:nvSpPr>
              <p:spPr>
                <a:xfrm>
                  <a:off x="8318113" y="3792037"/>
                  <a:ext cx="4132666" cy="502920"/>
                </a:xfrm>
                <a:custGeom>
                  <a:avLst/>
                  <a:gdLst>
                    <a:gd name="connsiteX0" fmla="*/ 105444 w 2003216"/>
                    <a:gd name="connsiteY0" fmla="*/ 332375 h 388632"/>
                    <a:gd name="connsiteX1" fmla="*/ 77902 w 2003216"/>
                    <a:gd name="connsiteY1" fmla="*/ 336379 h 388632"/>
                    <a:gd name="connsiteX2" fmla="*/ 55828 w 2003216"/>
                    <a:gd name="connsiteY2" fmla="*/ 343656 h 388632"/>
                    <a:gd name="connsiteX3" fmla="*/ 49480 w 2003216"/>
                    <a:gd name="connsiteY3" fmla="*/ 360015 h 388632"/>
                    <a:gd name="connsiteX4" fmla="*/ 55390 w 2003216"/>
                    <a:gd name="connsiteY4" fmla="*/ 374665 h 388632"/>
                    <a:gd name="connsiteX5" fmla="*/ 71846 w 2003216"/>
                    <a:gd name="connsiteY5" fmla="*/ 380428 h 388632"/>
                    <a:gd name="connsiteX6" fmla="*/ 95872 w 2003216"/>
                    <a:gd name="connsiteY6" fmla="*/ 369733 h 388632"/>
                    <a:gd name="connsiteX7" fmla="*/ 105444 w 2003216"/>
                    <a:gd name="connsiteY7" fmla="*/ 342142 h 388632"/>
                    <a:gd name="connsiteX8" fmla="*/ 1835482 w 2003216"/>
                    <a:gd name="connsiteY8" fmla="*/ 291940 h 388632"/>
                    <a:gd name="connsiteX9" fmla="*/ 1812188 w 2003216"/>
                    <a:gd name="connsiteY9" fmla="*/ 301365 h 388632"/>
                    <a:gd name="connsiteX10" fmla="*/ 1800810 w 2003216"/>
                    <a:gd name="connsiteY10" fmla="*/ 328371 h 388632"/>
                    <a:gd name="connsiteX11" fmla="*/ 1865076 w 2003216"/>
                    <a:gd name="connsiteY11" fmla="*/ 328371 h 388632"/>
                    <a:gd name="connsiteX12" fmla="*/ 1856774 w 2003216"/>
                    <a:gd name="connsiteY12" fmla="*/ 301512 h 388632"/>
                    <a:gd name="connsiteX13" fmla="*/ 1835482 w 2003216"/>
                    <a:gd name="connsiteY13" fmla="*/ 291940 h 388632"/>
                    <a:gd name="connsiteX14" fmla="*/ 1686696 w 2003216"/>
                    <a:gd name="connsiteY14" fmla="*/ 291940 h 388632"/>
                    <a:gd name="connsiteX15" fmla="*/ 1658520 w 2003216"/>
                    <a:gd name="connsiteY15" fmla="*/ 303856 h 388632"/>
                    <a:gd name="connsiteX16" fmla="*/ 1648020 w 2003216"/>
                    <a:gd name="connsiteY16" fmla="*/ 336965 h 388632"/>
                    <a:gd name="connsiteX17" fmla="*/ 1658276 w 2003216"/>
                    <a:gd name="connsiteY17" fmla="*/ 368512 h 388632"/>
                    <a:gd name="connsiteX18" fmla="*/ 1686306 w 2003216"/>
                    <a:gd name="connsiteY18" fmla="*/ 380428 h 388632"/>
                    <a:gd name="connsiteX19" fmla="*/ 1714142 w 2003216"/>
                    <a:gd name="connsiteY19" fmla="*/ 368708 h 388632"/>
                    <a:gd name="connsiteX20" fmla="*/ 1723908 w 2003216"/>
                    <a:gd name="connsiteY20" fmla="*/ 336184 h 388632"/>
                    <a:gd name="connsiteX21" fmla="*/ 1714190 w 2003216"/>
                    <a:gd name="connsiteY21" fmla="*/ 303367 h 388632"/>
                    <a:gd name="connsiteX22" fmla="*/ 1686696 w 2003216"/>
                    <a:gd name="connsiteY22" fmla="*/ 291940 h 388632"/>
                    <a:gd name="connsiteX23" fmla="*/ 1444958 w 2003216"/>
                    <a:gd name="connsiteY23" fmla="*/ 291940 h 388632"/>
                    <a:gd name="connsiteX24" fmla="*/ 1421664 w 2003216"/>
                    <a:gd name="connsiteY24" fmla="*/ 301365 h 388632"/>
                    <a:gd name="connsiteX25" fmla="*/ 1410286 w 2003216"/>
                    <a:gd name="connsiteY25" fmla="*/ 328371 h 388632"/>
                    <a:gd name="connsiteX26" fmla="*/ 1474552 w 2003216"/>
                    <a:gd name="connsiteY26" fmla="*/ 328371 h 388632"/>
                    <a:gd name="connsiteX27" fmla="*/ 1466250 w 2003216"/>
                    <a:gd name="connsiteY27" fmla="*/ 301512 h 388632"/>
                    <a:gd name="connsiteX28" fmla="*/ 1444958 w 2003216"/>
                    <a:gd name="connsiteY28" fmla="*/ 291940 h 388632"/>
                    <a:gd name="connsiteX29" fmla="*/ 1044908 w 2003216"/>
                    <a:gd name="connsiteY29" fmla="*/ 291940 h 388632"/>
                    <a:gd name="connsiteX30" fmla="*/ 1021614 w 2003216"/>
                    <a:gd name="connsiteY30" fmla="*/ 301365 h 388632"/>
                    <a:gd name="connsiteX31" fmla="*/ 1010236 w 2003216"/>
                    <a:gd name="connsiteY31" fmla="*/ 328371 h 388632"/>
                    <a:gd name="connsiteX32" fmla="*/ 1074502 w 2003216"/>
                    <a:gd name="connsiteY32" fmla="*/ 328371 h 388632"/>
                    <a:gd name="connsiteX33" fmla="*/ 1066200 w 2003216"/>
                    <a:gd name="connsiteY33" fmla="*/ 301512 h 388632"/>
                    <a:gd name="connsiteX34" fmla="*/ 1044908 w 2003216"/>
                    <a:gd name="connsiteY34" fmla="*/ 291940 h 388632"/>
                    <a:gd name="connsiteX35" fmla="*/ 740108 w 2003216"/>
                    <a:gd name="connsiteY35" fmla="*/ 291940 h 388632"/>
                    <a:gd name="connsiteX36" fmla="*/ 716814 w 2003216"/>
                    <a:gd name="connsiteY36" fmla="*/ 301365 h 388632"/>
                    <a:gd name="connsiteX37" fmla="*/ 705436 w 2003216"/>
                    <a:gd name="connsiteY37" fmla="*/ 328371 h 388632"/>
                    <a:gd name="connsiteX38" fmla="*/ 769702 w 2003216"/>
                    <a:gd name="connsiteY38" fmla="*/ 328371 h 388632"/>
                    <a:gd name="connsiteX39" fmla="*/ 761400 w 2003216"/>
                    <a:gd name="connsiteY39" fmla="*/ 301512 h 388632"/>
                    <a:gd name="connsiteX40" fmla="*/ 740108 w 2003216"/>
                    <a:gd name="connsiteY40" fmla="*/ 291940 h 388632"/>
                    <a:gd name="connsiteX41" fmla="*/ 467496 w 2003216"/>
                    <a:gd name="connsiteY41" fmla="*/ 291940 h 388632"/>
                    <a:gd name="connsiteX42" fmla="*/ 439320 w 2003216"/>
                    <a:gd name="connsiteY42" fmla="*/ 303856 h 388632"/>
                    <a:gd name="connsiteX43" fmla="*/ 428820 w 2003216"/>
                    <a:gd name="connsiteY43" fmla="*/ 336965 h 388632"/>
                    <a:gd name="connsiteX44" fmla="*/ 439076 w 2003216"/>
                    <a:gd name="connsiteY44" fmla="*/ 368512 h 388632"/>
                    <a:gd name="connsiteX45" fmla="*/ 467106 w 2003216"/>
                    <a:gd name="connsiteY45" fmla="*/ 380428 h 388632"/>
                    <a:gd name="connsiteX46" fmla="*/ 494942 w 2003216"/>
                    <a:gd name="connsiteY46" fmla="*/ 368708 h 388632"/>
                    <a:gd name="connsiteX47" fmla="*/ 504708 w 2003216"/>
                    <a:gd name="connsiteY47" fmla="*/ 336184 h 388632"/>
                    <a:gd name="connsiteX48" fmla="*/ 494990 w 2003216"/>
                    <a:gd name="connsiteY48" fmla="*/ 303367 h 388632"/>
                    <a:gd name="connsiteX49" fmla="*/ 467496 w 2003216"/>
                    <a:gd name="connsiteY49" fmla="*/ 291940 h 388632"/>
                    <a:gd name="connsiteX50" fmla="*/ 284080 w 2003216"/>
                    <a:gd name="connsiteY50" fmla="*/ 291940 h 388632"/>
                    <a:gd name="connsiteX51" fmla="*/ 258100 w 2003216"/>
                    <a:gd name="connsiteY51" fmla="*/ 304002 h 388632"/>
                    <a:gd name="connsiteX52" fmla="*/ 247844 w 2003216"/>
                    <a:gd name="connsiteY52" fmla="*/ 337161 h 388632"/>
                    <a:gd name="connsiteX53" fmla="*/ 257074 w 2003216"/>
                    <a:gd name="connsiteY53" fmla="*/ 369147 h 388632"/>
                    <a:gd name="connsiteX54" fmla="*/ 280856 w 2003216"/>
                    <a:gd name="connsiteY54" fmla="*/ 380428 h 388632"/>
                    <a:gd name="connsiteX55" fmla="*/ 307324 w 2003216"/>
                    <a:gd name="connsiteY55" fmla="*/ 369831 h 388632"/>
                    <a:gd name="connsiteX56" fmla="*/ 316702 w 2003216"/>
                    <a:gd name="connsiteY56" fmla="*/ 343997 h 388632"/>
                    <a:gd name="connsiteX57" fmla="*/ 316702 w 2003216"/>
                    <a:gd name="connsiteY57" fmla="*/ 325343 h 388632"/>
                    <a:gd name="connsiteX58" fmla="*/ 307862 w 2003216"/>
                    <a:gd name="connsiteY58" fmla="*/ 301658 h 388632"/>
                    <a:gd name="connsiteX59" fmla="*/ 284080 w 2003216"/>
                    <a:gd name="connsiteY59" fmla="*/ 291940 h 388632"/>
                    <a:gd name="connsiteX60" fmla="*/ 1283922 w 2003216"/>
                    <a:gd name="connsiteY60" fmla="*/ 286178 h 388632"/>
                    <a:gd name="connsiteX61" fmla="*/ 1292906 w 2003216"/>
                    <a:gd name="connsiteY61" fmla="*/ 286178 h 388632"/>
                    <a:gd name="connsiteX62" fmla="*/ 1292906 w 2003216"/>
                    <a:gd name="connsiteY62" fmla="*/ 386190 h 388632"/>
                    <a:gd name="connsiteX63" fmla="*/ 1283922 w 2003216"/>
                    <a:gd name="connsiteY63" fmla="*/ 386190 h 388632"/>
                    <a:gd name="connsiteX64" fmla="*/ 1174608 w 2003216"/>
                    <a:gd name="connsiteY64" fmla="*/ 286178 h 388632"/>
                    <a:gd name="connsiteX65" fmla="*/ 1184666 w 2003216"/>
                    <a:gd name="connsiteY65" fmla="*/ 286178 h 388632"/>
                    <a:gd name="connsiteX66" fmla="*/ 1214456 w 2003216"/>
                    <a:gd name="connsiteY66" fmla="*/ 365778 h 388632"/>
                    <a:gd name="connsiteX67" fmla="*/ 1217484 w 2003216"/>
                    <a:gd name="connsiteY67" fmla="*/ 376228 h 388632"/>
                    <a:gd name="connsiteX68" fmla="*/ 1217874 w 2003216"/>
                    <a:gd name="connsiteY68" fmla="*/ 376228 h 388632"/>
                    <a:gd name="connsiteX69" fmla="*/ 1220706 w 2003216"/>
                    <a:gd name="connsiteY69" fmla="*/ 366168 h 388632"/>
                    <a:gd name="connsiteX70" fmla="*/ 1251472 w 2003216"/>
                    <a:gd name="connsiteY70" fmla="*/ 286178 h 388632"/>
                    <a:gd name="connsiteX71" fmla="*/ 1261238 w 2003216"/>
                    <a:gd name="connsiteY71" fmla="*/ 286178 h 388632"/>
                    <a:gd name="connsiteX72" fmla="*/ 1221488 w 2003216"/>
                    <a:gd name="connsiteY72" fmla="*/ 386190 h 388632"/>
                    <a:gd name="connsiteX73" fmla="*/ 1213284 w 2003216"/>
                    <a:gd name="connsiteY73" fmla="*/ 386190 h 388632"/>
                    <a:gd name="connsiteX74" fmla="*/ 1616408 w 2003216"/>
                    <a:gd name="connsiteY74" fmla="*/ 284224 h 388632"/>
                    <a:gd name="connsiteX75" fmla="*/ 1626370 w 2003216"/>
                    <a:gd name="connsiteY75" fmla="*/ 285982 h 388632"/>
                    <a:gd name="connsiteX76" fmla="*/ 1626370 w 2003216"/>
                    <a:gd name="connsiteY76" fmla="*/ 295554 h 388632"/>
                    <a:gd name="connsiteX77" fmla="*/ 1615822 w 2003216"/>
                    <a:gd name="connsiteY77" fmla="*/ 292331 h 388632"/>
                    <a:gd name="connsiteX78" fmla="*/ 1595996 w 2003216"/>
                    <a:gd name="connsiteY78" fmla="*/ 304539 h 388632"/>
                    <a:gd name="connsiteX79" fmla="*/ 1587986 w 2003216"/>
                    <a:gd name="connsiteY79" fmla="*/ 339212 h 388632"/>
                    <a:gd name="connsiteX80" fmla="*/ 1587986 w 2003216"/>
                    <a:gd name="connsiteY80" fmla="*/ 386190 h 388632"/>
                    <a:gd name="connsiteX81" fmla="*/ 1579196 w 2003216"/>
                    <a:gd name="connsiteY81" fmla="*/ 386190 h 388632"/>
                    <a:gd name="connsiteX82" fmla="*/ 1579196 w 2003216"/>
                    <a:gd name="connsiteY82" fmla="*/ 286178 h 388632"/>
                    <a:gd name="connsiteX83" fmla="*/ 1587986 w 2003216"/>
                    <a:gd name="connsiteY83" fmla="*/ 286178 h 388632"/>
                    <a:gd name="connsiteX84" fmla="*/ 1587986 w 2003216"/>
                    <a:gd name="connsiteY84" fmla="*/ 308348 h 388632"/>
                    <a:gd name="connsiteX85" fmla="*/ 1588376 w 2003216"/>
                    <a:gd name="connsiteY85" fmla="*/ 308348 h 388632"/>
                    <a:gd name="connsiteX86" fmla="*/ 1599218 w 2003216"/>
                    <a:gd name="connsiteY86" fmla="*/ 290573 h 388632"/>
                    <a:gd name="connsiteX87" fmla="*/ 1616408 w 2003216"/>
                    <a:gd name="connsiteY87" fmla="*/ 284224 h 388632"/>
                    <a:gd name="connsiteX88" fmla="*/ 1149682 w 2003216"/>
                    <a:gd name="connsiteY88" fmla="*/ 284224 h 388632"/>
                    <a:gd name="connsiteX89" fmla="*/ 1159644 w 2003216"/>
                    <a:gd name="connsiteY89" fmla="*/ 285982 h 388632"/>
                    <a:gd name="connsiteX90" fmla="*/ 1159644 w 2003216"/>
                    <a:gd name="connsiteY90" fmla="*/ 295554 h 388632"/>
                    <a:gd name="connsiteX91" fmla="*/ 1149096 w 2003216"/>
                    <a:gd name="connsiteY91" fmla="*/ 292331 h 388632"/>
                    <a:gd name="connsiteX92" fmla="*/ 1129270 w 2003216"/>
                    <a:gd name="connsiteY92" fmla="*/ 304539 h 388632"/>
                    <a:gd name="connsiteX93" fmla="*/ 1121262 w 2003216"/>
                    <a:gd name="connsiteY93" fmla="*/ 339212 h 388632"/>
                    <a:gd name="connsiteX94" fmla="*/ 1121262 w 2003216"/>
                    <a:gd name="connsiteY94" fmla="*/ 386190 h 388632"/>
                    <a:gd name="connsiteX95" fmla="*/ 1112472 w 2003216"/>
                    <a:gd name="connsiteY95" fmla="*/ 386190 h 388632"/>
                    <a:gd name="connsiteX96" fmla="*/ 1112472 w 2003216"/>
                    <a:gd name="connsiteY96" fmla="*/ 286178 h 388632"/>
                    <a:gd name="connsiteX97" fmla="*/ 1121262 w 2003216"/>
                    <a:gd name="connsiteY97" fmla="*/ 286178 h 388632"/>
                    <a:gd name="connsiteX98" fmla="*/ 1121262 w 2003216"/>
                    <a:gd name="connsiteY98" fmla="*/ 308348 h 388632"/>
                    <a:gd name="connsiteX99" fmla="*/ 1121652 w 2003216"/>
                    <a:gd name="connsiteY99" fmla="*/ 308348 h 388632"/>
                    <a:gd name="connsiteX100" fmla="*/ 1132494 w 2003216"/>
                    <a:gd name="connsiteY100" fmla="*/ 290573 h 388632"/>
                    <a:gd name="connsiteX101" fmla="*/ 1149682 w 2003216"/>
                    <a:gd name="connsiteY101" fmla="*/ 284224 h 388632"/>
                    <a:gd name="connsiteX102" fmla="*/ 844882 w 2003216"/>
                    <a:gd name="connsiteY102" fmla="*/ 284224 h 388632"/>
                    <a:gd name="connsiteX103" fmla="*/ 854844 w 2003216"/>
                    <a:gd name="connsiteY103" fmla="*/ 285982 h 388632"/>
                    <a:gd name="connsiteX104" fmla="*/ 854844 w 2003216"/>
                    <a:gd name="connsiteY104" fmla="*/ 295554 h 388632"/>
                    <a:gd name="connsiteX105" fmla="*/ 844296 w 2003216"/>
                    <a:gd name="connsiteY105" fmla="*/ 292331 h 388632"/>
                    <a:gd name="connsiteX106" fmla="*/ 824470 w 2003216"/>
                    <a:gd name="connsiteY106" fmla="*/ 304539 h 388632"/>
                    <a:gd name="connsiteX107" fmla="*/ 816462 w 2003216"/>
                    <a:gd name="connsiteY107" fmla="*/ 339212 h 388632"/>
                    <a:gd name="connsiteX108" fmla="*/ 816462 w 2003216"/>
                    <a:gd name="connsiteY108" fmla="*/ 386190 h 388632"/>
                    <a:gd name="connsiteX109" fmla="*/ 807672 w 2003216"/>
                    <a:gd name="connsiteY109" fmla="*/ 386190 h 388632"/>
                    <a:gd name="connsiteX110" fmla="*/ 807672 w 2003216"/>
                    <a:gd name="connsiteY110" fmla="*/ 286178 h 388632"/>
                    <a:gd name="connsiteX111" fmla="*/ 816462 w 2003216"/>
                    <a:gd name="connsiteY111" fmla="*/ 286178 h 388632"/>
                    <a:gd name="connsiteX112" fmla="*/ 816462 w 2003216"/>
                    <a:gd name="connsiteY112" fmla="*/ 308348 h 388632"/>
                    <a:gd name="connsiteX113" fmla="*/ 816852 w 2003216"/>
                    <a:gd name="connsiteY113" fmla="*/ 308348 h 388632"/>
                    <a:gd name="connsiteX114" fmla="*/ 827694 w 2003216"/>
                    <a:gd name="connsiteY114" fmla="*/ 290573 h 388632"/>
                    <a:gd name="connsiteX115" fmla="*/ 844882 w 2003216"/>
                    <a:gd name="connsiteY115" fmla="*/ 284224 h 388632"/>
                    <a:gd name="connsiteX116" fmla="*/ 1930588 w 2003216"/>
                    <a:gd name="connsiteY116" fmla="*/ 283736 h 388632"/>
                    <a:gd name="connsiteX117" fmla="*/ 1952662 w 2003216"/>
                    <a:gd name="connsiteY117" fmla="*/ 289010 h 388632"/>
                    <a:gd name="connsiteX118" fmla="*/ 1952662 w 2003216"/>
                    <a:gd name="connsiteY118" fmla="*/ 299168 h 388632"/>
                    <a:gd name="connsiteX119" fmla="*/ 1929612 w 2003216"/>
                    <a:gd name="connsiteY119" fmla="*/ 291940 h 388632"/>
                    <a:gd name="connsiteX120" fmla="*/ 1913692 w 2003216"/>
                    <a:gd name="connsiteY120" fmla="*/ 297068 h 388632"/>
                    <a:gd name="connsiteX121" fmla="*/ 1907636 w 2003216"/>
                    <a:gd name="connsiteY121" fmla="*/ 310400 h 388632"/>
                    <a:gd name="connsiteX122" fmla="*/ 1911446 w 2003216"/>
                    <a:gd name="connsiteY122" fmla="*/ 321973 h 388632"/>
                    <a:gd name="connsiteX123" fmla="*/ 1928244 w 2003216"/>
                    <a:gd name="connsiteY123" fmla="*/ 332180 h 388632"/>
                    <a:gd name="connsiteX124" fmla="*/ 1949732 w 2003216"/>
                    <a:gd name="connsiteY124" fmla="*/ 345218 h 388632"/>
                    <a:gd name="connsiteX125" fmla="*/ 1955592 w 2003216"/>
                    <a:gd name="connsiteY125" fmla="*/ 361187 h 388632"/>
                    <a:gd name="connsiteX126" fmla="*/ 1946656 w 2003216"/>
                    <a:gd name="connsiteY126" fmla="*/ 380867 h 388632"/>
                    <a:gd name="connsiteX127" fmla="*/ 1921994 w 2003216"/>
                    <a:gd name="connsiteY127" fmla="*/ 388632 h 388632"/>
                    <a:gd name="connsiteX128" fmla="*/ 1897870 w 2003216"/>
                    <a:gd name="connsiteY128" fmla="*/ 381795 h 388632"/>
                    <a:gd name="connsiteX129" fmla="*/ 1897870 w 2003216"/>
                    <a:gd name="connsiteY129" fmla="*/ 370954 h 388632"/>
                    <a:gd name="connsiteX130" fmla="*/ 1910176 w 2003216"/>
                    <a:gd name="connsiteY130" fmla="*/ 377888 h 388632"/>
                    <a:gd name="connsiteX131" fmla="*/ 1922678 w 2003216"/>
                    <a:gd name="connsiteY131" fmla="*/ 380428 h 388632"/>
                    <a:gd name="connsiteX132" fmla="*/ 1946216 w 2003216"/>
                    <a:gd name="connsiteY132" fmla="*/ 361187 h 388632"/>
                    <a:gd name="connsiteX133" fmla="*/ 1941040 w 2003216"/>
                    <a:gd name="connsiteY133" fmla="*/ 349858 h 388632"/>
                    <a:gd name="connsiteX134" fmla="*/ 1924240 w 2003216"/>
                    <a:gd name="connsiteY134" fmla="*/ 340188 h 388632"/>
                    <a:gd name="connsiteX135" fmla="*/ 1904072 w 2003216"/>
                    <a:gd name="connsiteY135" fmla="*/ 327247 h 388632"/>
                    <a:gd name="connsiteX136" fmla="*/ 1898260 w 2003216"/>
                    <a:gd name="connsiteY136" fmla="*/ 310986 h 388632"/>
                    <a:gd name="connsiteX137" fmla="*/ 1907588 w 2003216"/>
                    <a:gd name="connsiteY137" fmla="*/ 291256 h 388632"/>
                    <a:gd name="connsiteX138" fmla="*/ 1930588 w 2003216"/>
                    <a:gd name="connsiteY138" fmla="*/ 283736 h 388632"/>
                    <a:gd name="connsiteX139" fmla="*/ 1835874 w 2003216"/>
                    <a:gd name="connsiteY139" fmla="*/ 283736 h 388632"/>
                    <a:gd name="connsiteX140" fmla="*/ 1864490 w 2003216"/>
                    <a:gd name="connsiteY140" fmla="*/ 296824 h 388632"/>
                    <a:gd name="connsiteX141" fmla="*/ 1874452 w 2003216"/>
                    <a:gd name="connsiteY141" fmla="*/ 332570 h 388632"/>
                    <a:gd name="connsiteX142" fmla="*/ 1874452 w 2003216"/>
                    <a:gd name="connsiteY142" fmla="*/ 336575 h 388632"/>
                    <a:gd name="connsiteX143" fmla="*/ 1800420 w 2003216"/>
                    <a:gd name="connsiteY143" fmla="*/ 336575 h 388632"/>
                    <a:gd name="connsiteX144" fmla="*/ 1809942 w 2003216"/>
                    <a:gd name="connsiteY144" fmla="*/ 368805 h 388632"/>
                    <a:gd name="connsiteX145" fmla="*/ 1836068 w 2003216"/>
                    <a:gd name="connsiteY145" fmla="*/ 380428 h 388632"/>
                    <a:gd name="connsiteX146" fmla="*/ 1868886 w 2003216"/>
                    <a:gd name="connsiteY146" fmla="*/ 368024 h 388632"/>
                    <a:gd name="connsiteX147" fmla="*/ 1868886 w 2003216"/>
                    <a:gd name="connsiteY147" fmla="*/ 377595 h 388632"/>
                    <a:gd name="connsiteX148" fmla="*/ 1834214 w 2003216"/>
                    <a:gd name="connsiteY148" fmla="*/ 388632 h 388632"/>
                    <a:gd name="connsiteX149" fmla="*/ 1802960 w 2003216"/>
                    <a:gd name="connsiteY149" fmla="*/ 374763 h 388632"/>
                    <a:gd name="connsiteX150" fmla="*/ 1791044 w 2003216"/>
                    <a:gd name="connsiteY150" fmla="*/ 335598 h 388632"/>
                    <a:gd name="connsiteX151" fmla="*/ 1803496 w 2003216"/>
                    <a:gd name="connsiteY151" fmla="*/ 298728 h 388632"/>
                    <a:gd name="connsiteX152" fmla="*/ 1835874 w 2003216"/>
                    <a:gd name="connsiteY152" fmla="*/ 283736 h 388632"/>
                    <a:gd name="connsiteX153" fmla="*/ 1687088 w 2003216"/>
                    <a:gd name="connsiteY153" fmla="*/ 283736 h 388632"/>
                    <a:gd name="connsiteX154" fmla="*/ 1720880 w 2003216"/>
                    <a:gd name="connsiteY154" fmla="*/ 297703 h 388632"/>
                    <a:gd name="connsiteX155" fmla="*/ 1733284 w 2003216"/>
                    <a:gd name="connsiteY155" fmla="*/ 336379 h 388632"/>
                    <a:gd name="connsiteX156" fmla="*/ 1720636 w 2003216"/>
                    <a:gd name="connsiteY156" fmla="*/ 374177 h 388632"/>
                    <a:gd name="connsiteX157" fmla="*/ 1686012 w 2003216"/>
                    <a:gd name="connsiteY157" fmla="*/ 388632 h 388632"/>
                    <a:gd name="connsiteX158" fmla="*/ 1651390 w 2003216"/>
                    <a:gd name="connsiteY158" fmla="*/ 374226 h 388632"/>
                    <a:gd name="connsiteX159" fmla="*/ 1638644 w 2003216"/>
                    <a:gd name="connsiteY159" fmla="*/ 336770 h 388632"/>
                    <a:gd name="connsiteX160" fmla="*/ 1651976 w 2003216"/>
                    <a:gd name="connsiteY160" fmla="*/ 297800 h 388632"/>
                    <a:gd name="connsiteX161" fmla="*/ 1687088 w 2003216"/>
                    <a:gd name="connsiteY161" fmla="*/ 283736 h 388632"/>
                    <a:gd name="connsiteX162" fmla="*/ 1445348 w 2003216"/>
                    <a:gd name="connsiteY162" fmla="*/ 283736 h 388632"/>
                    <a:gd name="connsiteX163" fmla="*/ 1473966 w 2003216"/>
                    <a:gd name="connsiteY163" fmla="*/ 296824 h 388632"/>
                    <a:gd name="connsiteX164" fmla="*/ 1483928 w 2003216"/>
                    <a:gd name="connsiteY164" fmla="*/ 332570 h 388632"/>
                    <a:gd name="connsiteX165" fmla="*/ 1483928 w 2003216"/>
                    <a:gd name="connsiteY165" fmla="*/ 336575 h 388632"/>
                    <a:gd name="connsiteX166" fmla="*/ 1409896 w 2003216"/>
                    <a:gd name="connsiteY166" fmla="*/ 336575 h 388632"/>
                    <a:gd name="connsiteX167" fmla="*/ 1419418 w 2003216"/>
                    <a:gd name="connsiteY167" fmla="*/ 368805 h 388632"/>
                    <a:gd name="connsiteX168" fmla="*/ 1445544 w 2003216"/>
                    <a:gd name="connsiteY168" fmla="*/ 380428 h 388632"/>
                    <a:gd name="connsiteX169" fmla="*/ 1478360 w 2003216"/>
                    <a:gd name="connsiteY169" fmla="*/ 368024 h 388632"/>
                    <a:gd name="connsiteX170" fmla="*/ 1478360 w 2003216"/>
                    <a:gd name="connsiteY170" fmla="*/ 377595 h 388632"/>
                    <a:gd name="connsiteX171" fmla="*/ 1443688 w 2003216"/>
                    <a:gd name="connsiteY171" fmla="*/ 388632 h 388632"/>
                    <a:gd name="connsiteX172" fmla="*/ 1412434 w 2003216"/>
                    <a:gd name="connsiteY172" fmla="*/ 374763 h 388632"/>
                    <a:gd name="connsiteX173" fmla="*/ 1400518 w 2003216"/>
                    <a:gd name="connsiteY173" fmla="*/ 335598 h 388632"/>
                    <a:gd name="connsiteX174" fmla="*/ 1412972 w 2003216"/>
                    <a:gd name="connsiteY174" fmla="*/ 298728 h 388632"/>
                    <a:gd name="connsiteX175" fmla="*/ 1445348 w 2003216"/>
                    <a:gd name="connsiteY175" fmla="*/ 283736 h 388632"/>
                    <a:gd name="connsiteX176" fmla="*/ 1364996 w 2003216"/>
                    <a:gd name="connsiteY176" fmla="*/ 283736 h 388632"/>
                    <a:gd name="connsiteX177" fmla="*/ 1387166 w 2003216"/>
                    <a:gd name="connsiteY177" fmla="*/ 288424 h 388632"/>
                    <a:gd name="connsiteX178" fmla="*/ 1387166 w 2003216"/>
                    <a:gd name="connsiteY178" fmla="*/ 298582 h 388632"/>
                    <a:gd name="connsiteX179" fmla="*/ 1363628 w 2003216"/>
                    <a:gd name="connsiteY179" fmla="*/ 291940 h 388632"/>
                    <a:gd name="connsiteX180" fmla="*/ 1335108 w 2003216"/>
                    <a:gd name="connsiteY180" fmla="*/ 304588 h 388632"/>
                    <a:gd name="connsiteX181" fmla="*/ 1324170 w 2003216"/>
                    <a:gd name="connsiteY181" fmla="*/ 337356 h 388632"/>
                    <a:gd name="connsiteX182" fmla="*/ 1334180 w 2003216"/>
                    <a:gd name="connsiteY182" fmla="*/ 368610 h 388632"/>
                    <a:gd name="connsiteX183" fmla="*/ 1360600 w 2003216"/>
                    <a:gd name="connsiteY183" fmla="*/ 380428 h 388632"/>
                    <a:gd name="connsiteX184" fmla="*/ 1386776 w 2003216"/>
                    <a:gd name="connsiteY184" fmla="*/ 372419 h 388632"/>
                    <a:gd name="connsiteX185" fmla="*/ 1386776 w 2003216"/>
                    <a:gd name="connsiteY185" fmla="*/ 381795 h 388632"/>
                    <a:gd name="connsiteX186" fmla="*/ 1360210 w 2003216"/>
                    <a:gd name="connsiteY186" fmla="*/ 388632 h 388632"/>
                    <a:gd name="connsiteX187" fmla="*/ 1327296 w 2003216"/>
                    <a:gd name="connsiteY187" fmla="*/ 374617 h 388632"/>
                    <a:gd name="connsiteX188" fmla="*/ 1314794 w 2003216"/>
                    <a:gd name="connsiteY188" fmla="*/ 337942 h 388632"/>
                    <a:gd name="connsiteX189" fmla="*/ 1328858 w 2003216"/>
                    <a:gd name="connsiteY189" fmla="*/ 298923 h 388632"/>
                    <a:gd name="connsiteX190" fmla="*/ 1364996 w 2003216"/>
                    <a:gd name="connsiteY190" fmla="*/ 283736 h 388632"/>
                    <a:gd name="connsiteX191" fmla="*/ 1045298 w 2003216"/>
                    <a:gd name="connsiteY191" fmla="*/ 283736 h 388632"/>
                    <a:gd name="connsiteX192" fmla="*/ 1073916 w 2003216"/>
                    <a:gd name="connsiteY192" fmla="*/ 296824 h 388632"/>
                    <a:gd name="connsiteX193" fmla="*/ 1083878 w 2003216"/>
                    <a:gd name="connsiteY193" fmla="*/ 332570 h 388632"/>
                    <a:gd name="connsiteX194" fmla="*/ 1083878 w 2003216"/>
                    <a:gd name="connsiteY194" fmla="*/ 336575 h 388632"/>
                    <a:gd name="connsiteX195" fmla="*/ 1009844 w 2003216"/>
                    <a:gd name="connsiteY195" fmla="*/ 336575 h 388632"/>
                    <a:gd name="connsiteX196" fmla="*/ 1019368 w 2003216"/>
                    <a:gd name="connsiteY196" fmla="*/ 368805 h 388632"/>
                    <a:gd name="connsiteX197" fmla="*/ 1045494 w 2003216"/>
                    <a:gd name="connsiteY197" fmla="*/ 380428 h 388632"/>
                    <a:gd name="connsiteX198" fmla="*/ 1078310 w 2003216"/>
                    <a:gd name="connsiteY198" fmla="*/ 368024 h 388632"/>
                    <a:gd name="connsiteX199" fmla="*/ 1078310 w 2003216"/>
                    <a:gd name="connsiteY199" fmla="*/ 377595 h 388632"/>
                    <a:gd name="connsiteX200" fmla="*/ 1043638 w 2003216"/>
                    <a:gd name="connsiteY200" fmla="*/ 388632 h 388632"/>
                    <a:gd name="connsiteX201" fmla="*/ 1012384 w 2003216"/>
                    <a:gd name="connsiteY201" fmla="*/ 374763 h 388632"/>
                    <a:gd name="connsiteX202" fmla="*/ 1000468 w 2003216"/>
                    <a:gd name="connsiteY202" fmla="*/ 335598 h 388632"/>
                    <a:gd name="connsiteX203" fmla="*/ 1012922 w 2003216"/>
                    <a:gd name="connsiteY203" fmla="*/ 298728 h 388632"/>
                    <a:gd name="connsiteX204" fmla="*/ 1045298 w 2003216"/>
                    <a:gd name="connsiteY204" fmla="*/ 283736 h 388632"/>
                    <a:gd name="connsiteX205" fmla="*/ 959038 w 2003216"/>
                    <a:gd name="connsiteY205" fmla="*/ 283736 h 388632"/>
                    <a:gd name="connsiteX206" fmla="*/ 981112 w 2003216"/>
                    <a:gd name="connsiteY206" fmla="*/ 289010 h 388632"/>
                    <a:gd name="connsiteX207" fmla="*/ 981112 w 2003216"/>
                    <a:gd name="connsiteY207" fmla="*/ 299168 h 388632"/>
                    <a:gd name="connsiteX208" fmla="*/ 958062 w 2003216"/>
                    <a:gd name="connsiteY208" fmla="*/ 291940 h 388632"/>
                    <a:gd name="connsiteX209" fmla="*/ 942142 w 2003216"/>
                    <a:gd name="connsiteY209" fmla="*/ 297068 h 388632"/>
                    <a:gd name="connsiteX210" fmla="*/ 936086 w 2003216"/>
                    <a:gd name="connsiteY210" fmla="*/ 310400 h 388632"/>
                    <a:gd name="connsiteX211" fmla="*/ 939896 w 2003216"/>
                    <a:gd name="connsiteY211" fmla="*/ 321973 h 388632"/>
                    <a:gd name="connsiteX212" fmla="*/ 956694 w 2003216"/>
                    <a:gd name="connsiteY212" fmla="*/ 332180 h 388632"/>
                    <a:gd name="connsiteX213" fmla="*/ 978182 w 2003216"/>
                    <a:gd name="connsiteY213" fmla="*/ 345218 h 388632"/>
                    <a:gd name="connsiteX214" fmla="*/ 984042 w 2003216"/>
                    <a:gd name="connsiteY214" fmla="*/ 361187 h 388632"/>
                    <a:gd name="connsiteX215" fmla="*/ 975104 w 2003216"/>
                    <a:gd name="connsiteY215" fmla="*/ 380867 h 388632"/>
                    <a:gd name="connsiteX216" fmla="*/ 950444 w 2003216"/>
                    <a:gd name="connsiteY216" fmla="*/ 388632 h 388632"/>
                    <a:gd name="connsiteX217" fmla="*/ 926320 w 2003216"/>
                    <a:gd name="connsiteY217" fmla="*/ 381795 h 388632"/>
                    <a:gd name="connsiteX218" fmla="*/ 926320 w 2003216"/>
                    <a:gd name="connsiteY218" fmla="*/ 370954 h 388632"/>
                    <a:gd name="connsiteX219" fmla="*/ 938626 w 2003216"/>
                    <a:gd name="connsiteY219" fmla="*/ 377888 h 388632"/>
                    <a:gd name="connsiteX220" fmla="*/ 951128 w 2003216"/>
                    <a:gd name="connsiteY220" fmla="*/ 380428 h 388632"/>
                    <a:gd name="connsiteX221" fmla="*/ 974666 w 2003216"/>
                    <a:gd name="connsiteY221" fmla="*/ 361187 h 388632"/>
                    <a:gd name="connsiteX222" fmla="*/ 969488 w 2003216"/>
                    <a:gd name="connsiteY222" fmla="*/ 349858 h 388632"/>
                    <a:gd name="connsiteX223" fmla="*/ 952690 w 2003216"/>
                    <a:gd name="connsiteY223" fmla="*/ 340188 h 388632"/>
                    <a:gd name="connsiteX224" fmla="*/ 932522 w 2003216"/>
                    <a:gd name="connsiteY224" fmla="*/ 327247 h 388632"/>
                    <a:gd name="connsiteX225" fmla="*/ 926710 w 2003216"/>
                    <a:gd name="connsiteY225" fmla="*/ 310986 h 388632"/>
                    <a:gd name="connsiteX226" fmla="*/ 936038 w 2003216"/>
                    <a:gd name="connsiteY226" fmla="*/ 291256 h 388632"/>
                    <a:gd name="connsiteX227" fmla="*/ 959038 w 2003216"/>
                    <a:gd name="connsiteY227" fmla="*/ 283736 h 388632"/>
                    <a:gd name="connsiteX228" fmla="*/ 740498 w 2003216"/>
                    <a:gd name="connsiteY228" fmla="*/ 283736 h 388632"/>
                    <a:gd name="connsiteX229" fmla="*/ 769116 w 2003216"/>
                    <a:gd name="connsiteY229" fmla="*/ 296824 h 388632"/>
                    <a:gd name="connsiteX230" fmla="*/ 779078 w 2003216"/>
                    <a:gd name="connsiteY230" fmla="*/ 332570 h 388632"/>
                    <a:gd name="connsiteX231" fmla="*/ 779078 w 2003216"/>
                    <a:gd name="connsiteY231" fmla="*/ 336575 h 388632"/>
                    <a:gd name="connsiteX232" fmla="*/ 705044 w 2003216"/>
                    <a:gd name="connsiteY232" fmla="*/ 336575 h 388632"/>
                    <a:gd name="connsiteX233" fmla="*/ 714568 w 2003216"/>
                    <a:gd name="connsiteY233" fmla="*/ 368805 h 388632"/>
                    <a:gd name="connsiteX234" fmla="*/ 740694 w 2003216"/>
                    <a:gd name="connsiteY234" fmla="*/ 380428 h 388632"/>
                    <a:gd name="connsiteX235" fmla="*/ 773510 w 2003216"/>
                    <a:gd name="connsiteY235" fmla="*/ 368024 h 388632"/>
                    <a:gd name="connsiteX236" fmla="*/ 773510 w 2003216"/>
                    <a:gd name="connsiteY236" fmla="*/ 377595 h 388632"/>
                    <a:gd name="connsiteX237" fmla="*/ 738838 w 2003216"/>
                    <a:gd name="connsiteY237" fmla="*/ 388632 h 388632"/>
                    <a:gd name="connsiteX238" fmla="*/ 707584 w 2003216"/>
                    <a:gd name="connsiteY238" fmla="*/ 374763 h 388632"/>
                    <a:gd name="connsiteX239" fmla="*/ 695668 w 2003216"/>
                    <a:gd name="connsiteY239" fmla="*/ 335598 h 388632"/>
                    <a:gd name="connsiteX240" fmla="*/ 708122 w 2003216"/>
                    <a:gd name="connsiteY240" fmla="*/ 298728 h 388632"/>
                    <a:gd name="connsiteX241" fmla="*/ 740498 w 2003216"/>
                    <a:gd name="connsiteY241" fmla="*/ 283736 h 388632"/>
                    <a:gd name="connsiteX242" fmla="*/ 467888 w 2003216"/>
                    <a:gd name="connsiteY242" fmla="*/ 283736 h 388632"/>
                    <a:gd name="connsiteX243" fmla="*/ 501680 w 2003216"/>
                    <a:gd name="connsiteY243" fmla="*/ 297703 h 388632"/>
                    <a:gd name="connsiteX244" fmla="*/ 514084 w 2003216"/>
                    <a:gd name="connsiteY244" fmla="*/ 336379 h 388632"/>
                    <a:gd name="connsiteX245" fmla="*/ 501436 w 2003216"/>
                    <a:gd name="connsiteY245" fmla="*/ 374177 h 388632"/>
                    <a:gd name="connsiteX246" fmla="*/ 466812 w 2003216"/>
                    <a:gd name="connsiteY246" fmla="*/ 388632 h 388632"/>
                    <a:gd name="connsiteX247" fmla="*/ 432190 w 2003216"/>
                    <a:gd name="connsiteY247" fmla="*/ 374226 h 388632"/>
                    <a:gd name="connsiteX248" fmla="*/ 419444 w 2003216"/>
                    <a:gd name="connsiteY248" fmla="*/ 336770 h 388632"/>
                    <a:gd name="connsiteX249" fmla="*/ 432776 w 2003216"/>
                    <a:gd name="connsiteY249" fmla="*/ 297800 h 388632"/>
                    <a:gd name="connsiteX250" fmla="*/ 467888 w 2003216"/>
                    <a:gd name="connsiteY250" fmla="*/ 283736 h 388632"/>
                    <a:gd name="connsiteX251" fmla="*/ 184482 w 2003216"/>
                    <a:gd name="connsiteY251" fmla="*/ 283736 h 388632"/>
                    <a:gd name="connsiteX252" fmla="*/ 209290 w 2003216"/>
                    <a:gd name="connsiteY252" fmla="*/ 294528 h 388632"/>
                    <a:gd name="connsiteX253" fmla="*/ 217884 w 2003216"/>
                    <a:gd name="connsiteY253" fmla="*/ 325343 h 388632"/>
                    <a:gd name="connsiteX254" fmla="*/ 217884 w 2003216"/>
                    <a:gd name="connsiteY254" fmla="*/ 386190 h 388632"/>
                    <a:gd name="connsiteX255" fmla="*/ 208898 w 2003216"/>
                    <a:gd name="connsiteY255" fmla="*/ 386190 h 388632"/>
                    <a:gd name="connsiteX256" fmla="*/ 208898 w 2003216"/>
                    <a:gd name="connsiteY256" fmla="*/ 327980 h 388632"/>
                    <a:gd name="connsiteX257" fmla="*/ 182918 w 2003216"/>
                    <a:gd name="connsiteY257" fmla="*/ 291940 h 388632"/>
                    <a:gd name="connsiteX258" fmla="*/ 159186 w 2003216"/>
                    <a:gd name="connsiteY258" fmla="*/ 302537 h 388632"/>
                    <a:gd name="connsiteX259" fmla="*/ 149906 w 2003216"/>
                    <a:gd name="connsiteY259" fmla="*/ 328761 h 388632"/>
                    <a:gd name="connsiteX260" fmla="*/ 149906 w 2003216"/>
                    <a:gd name="connsiteY260" fmla="*/ 386190 h 388632"/>
                    <a:gd name="connsiteX261" fmla="*/ 140922 w 2003216"/>
                    <a:gd name="connsiteY261" fmla="*/ 386190 h 388632"/>
                    <a:gd name="connsiteX262" fmla="*/ 140922 w 2003216"/>
                    <a:gd name="connsiteY262" fmla="*/ 286178 h 388632"/>
                    <a:gd name="connsiteX263" fmla="*/ 149906 w 2003216"/>
                    <a:gd name="connsiteY263" fmla="*/ 286178 h 388632"/>
                    <a:gd name="connsiteX264" fmla="*/ 149906 w 2003216"/>
                    <a:gd name="connsiteY264" fmla="*/ 304344 h 388632"/>
                    <a:gd name="connsiteX265" fmla="*/ 150298 w 2003216"/>
                    <a:gd name="connsiteY265" fmla="*/ 304344 h 388632"/>
                    <a:gd name="connsiteX266" fmla="*/ 184482 w 2003216"/>
                    <a:gd name="connsiteY266" fmla="*/ 283736 h 388632"/>
                    <a:gd name="connsiteX267" fmla="*/ 82102 w 2003216"/>
                    <a:gd name="connsiteY267" fmla="*/ 283736 h 388632"/>
                    <a:gd name="connsiteX268" fmla="*/ 105982 w 2003216"/>
                    <a:gd name="connsiteY268" fmla="*/ 293308 h 388632"/>
                    <a:gd name="connsiteX269" fmla="*/ 114430 w 2003216"/>
                    <a:gd name="connsiteY269" fmla="*/ 321143 h 388632"/>
                    <a:gd name="connsiteX270" fmla="*/ 114430 w 2003216"/>
                    <a:gd name="connsiteY270" fmla="*/ 386190 h 388632"/>
                    <a:gd name="connsiteX271" fmla="*/ 105444 w 2003216"/>
                    <a:gd name="connsiteY271" fmla="*/ 386190 h 388632"/>
                    <a:gd name="connsiteX272" fmla="*/ 105444 w 2003216"/>
                    <a:gd name="connsiteY272" fmla="*/ 366168 h 388632"/>
                    <a:gd name="connsiteX273" fmla="*/ 105054 w 2003216"/>
                    <a:gd name="connsiteY273" fmla="*/ 366168 h 388632"/>
                    <a:gd name="connsiteX274" fmla="*/ 91136 w 2003216"/>
                    <a:gd name="connsiteY274" fmla="*/ 382528 h 388632"/>
                    <a:gd name="connsiteX275" fmla="*/ 70870 w 2003216"/>
                    <a:gd name="connsiteY275" fmla="*/ 388632 h 388632"/>
                    <a:gd name="connsiteX276" fmla="*/ 48308 w 2003216"/>
                    <a:gd name="connsiteY276" fmla="*/ 380623 h 388632"/>
                    <a:gd name="connsiteX277" fmla="*/ 40006 w 2003216"/>
                    <a:gd name="connsiteY277" fmla="*/ 360406 h 388632"/>
                    <a:gd name="connsiteX278" fmla="*/ 74678 w 2003216"/>
                    <a:gd name="connsiteY278" fmla="*/ 328761 h 388632"/>
                    <a:gd name="connsiteX279" fmla="*/ 105444 w 2003216"/>
                    <a:gd name="connsiteY279" fmla="*/ 324171 h 388632"/>
                    <a:gd name="connsiteX280" fmla="*/ 81222 w 2003216"/>
                    <a:gd name="connsiteY280" fmla="*/ 291940 h 388632"/>
                    <a:gd name="connsiteX281" fmla="*/ 49090 w 2003216"/>
                    <a:gd name="connsiteY281" fmla="*/ 305223 h 388632"/>
                    <a:gd name="connsiteX282" fmla="*/ 49090 w 2003216"/>
                    <a:gd name="connsiteY282" fmla="*/ 294382 h 388632"/>
                    <a:gd name="connsiteX283" fmla="*/ 64180 w 2003216"/>
                    <a:gd name="connsiteY283" fmla="*/ 286861 h 388632"/>
                    <a:gd name="connsiteX284" fmla="*/ 82102 w 2003216"/>
                    <a:gd name="connsiteY284" fmla="*/ 283736 h 388632"/>
                    <a:gd name="connsiteX285" fmla="*/ 554156 w 2003216"/>
                    <a:gd name="connsiteY285" fmla="*/ 257170 h 388632"/>
                    <a:gd name="connsiteX286" fmla="*/ 554156 w 2003216"/>
                    <a:gd name="connsiteY286" fmla="*/ 286178 h 388632"/>
                    <a:gd name="connsiteX287" fmla="*/ 580526 w 2003216"/>
                    <a:gd name="connsiteY287" fmla="*/ 286178 h 388632"/>
                    <a:gd name="connsiteX288" fmla="*/ 580526 w 2003216"/>
                    <a:gd name="connsiteY288" fmla="*/ 294382 h 388632"/>
                    <a:gd name="connsiteX289" fmla="*/ 554156 w 2003216"/>
                    <a:gd name="connsiteY289" fmla="*/ 294382 h 388632"/>
                    <a:gd name="connsiteX290" fmla="*/ 554156 w 2003216"/>
                    <a:gd name="connsiteY290" fmla="*/ 360406 h 388632"/>
                    <a:gd name="connsiteX291" fmla="*/ 557428 w 2003216"/>
                    <a:gd name="connsiteY291" fmla="*/ 375398 h 388632"/>
                    <a:gd name="connsiteX292" fmla="*/ 568514 w 2003216"/>
                    <a:gd name="connsiteY292" fmla="*/ 380037 h 388632"/>
                    <a:gd name="connsiteX293" fmla="*/ 580526 w 2003216"/>
                    <a:gd name="connsiteY293" fmla="*/ 376423 h 388632"/>
                    <a:gd name="connsiteX294" fmla="*/ 580526 w 2003216"/>
                    <a:gd name="connsiteY294" fmla="*/ 384823 h 388632"/>
                    <a:gd name="connsiteX295" fmla="*/ 567342 w 2003216"/>
                    <a:gd name="connsiteY295" fmla="*/ 388144 h 388632"/>
                    <a:gd name="connsiteX296" fmla="*/ 545170 w 2003216"/>
                    <a:gd name="connsiteY296" fmla="*/ 361578 h 388632"/>
                    <a:gd name="connsiteX297" fmla="*/ 545170 w 2003216"/>
                    <a:gd name="connsiteY297" fmla="*/ 294382 h 388632"/>
                    <a:gd name="connsiteX298" fmla="*/ 527200 w 2003216"/>
                    <a:gd name="connsiteY298" fmla="*/ 294382 h 388632"/>
                    <a:gd name="connsiteX299" fmla="*/ 527200 w 2003216"/>
                    <a:gd name="connsiteY299" fmla="*/ 286178 h 388632"/>
                    <a:gd name="connsiteX300" fmla="*/ 545170 w 2003216"/>
                    <a:gd name="connsiteY300" fmla="*/ 286178 h 388632"/>
                    <a:gd name="connsiteX301" fmla="*/ 545170 w 2003216"/>
                    <a:gd name="connsiteY301" fmla="*/ 260198 h 388632"/>
                    <a:gd name="connsiteX302" fmla="*/ 549664 w 2003216"/>
                    <a:gd name="connsiteY302" fmla="*/ 258635 h 388632"/>
                    <a:gd name="connsiteX303" fmla="*/ 554156 w 2003216"/>
                    <a:gd name="connsiteY303" fmla="*/ 257170 h 388632"/>
                    <a:gd name="connsiteX304" fmla="*/ 1288316 w 2003216"/>
                    <a:gd name="connsiteY304" fmla="*/ 246134 h 388632"/>
                    <a:gd name="connsiteX305" fmla="*/ 1293640 w 2003216"/>
                    <a:gd name="connsiteY305" fmla="*/ 248087 h 388632"/>
                    <a:gd name="connsiteX306" fmla="*/ 1295934 w 2003216"/>
                    <a:gd name="connsiteY306" fmla="*/ 253361 h 388632"/>
                    <a:gd name="connsiteX307" fmla="*/ 1293688 w 2003216"/>
                    <a:gd name="connsiteY307" fmla="*/ 258733 h 388632"/>
                    <a:gd name="connsiteX308" fmla="*/ 1288316 w 2003216"/>
                    <a:gd name="connsiteY308" fmla="*/ 260979 h 388632"/>
                    <a:gd name="connsiteX309" fmla="*/ 1283140 w 2003216"/>
                    <a:gd name="connsiteY309" fmla="*/ 258831 h 388632"/>
                    <a:gd name="connsiteX310" fmla="*/ 1280894 w 2003216"/>
                    <a:gd name="connsiteY310" fmla="*/ 253361 h 388632"/>
                    <a:gd name="connsiteX311" fmla="*/ 1283188 w 2003216"/>
                    <a:gd name="connsiteY311" fmla="*/ 248136 h 388632"/>
                    <a:gd name="connsiteX312" fmla="*/ 1288316 w 2003216"/>
                    <a:gd name="connsiteY312" fmla="*/ 246134 h 388632"/>
                    <a:gd name="connsiteX313" fmla="*/ 1760172 w 2003216"/>
                    <a:gd name="connsiteY313" fmla="*/ 238125 h 388632"/>
                    <a:gd name="connsiteX314" fmla="*/ 1769156 w 2003216"/>
                    <a:gd name="connsiteY314" fmla="*/ 238125 h 388632"/>
                    <a:gd name="connsiteX315" fmla="*/ 1769156 w 2003216"/>
                    <a:gd name="connsiteY315" fmla="*/ 386190 h 388632"/>
                    <a:gd name="connsiteX316" fmla="*/ 1760172 w 2003216"/>
                    <a:gd name="connsiteY316" fmla="*/ 386190 h 388632"/>
                    <a:gd name="connsiteX317" fmla="*/ 598122 w 2003216"/>
                    <a:gd name="connsiteY317" fmla="*/ 238125 h 388632"/>
                    <a:gd name="connsiteX318" fmla="*/ 607106 w 2003216"/>
                    <a:gd name="connsiteY318" fmla="*/ 238125 h 388632"/>
                    <a:gd name="connsiteX319" fmla="*/ 607106 w 2003216"/>
                    <a:gd name="connsiteY319" fmla="*/ 304149 h 388632"/>
                    <a:gd name="connsiteX320" fmla="*/ 607498 w 2003216"/>
                    <a:gd name="connsiteY320" fmla="*/ 304149 h 388632"/>
                    <a:gd name="connsiteX321" fmla="*/ 641876 w 2003216"/>
                    <a:gd name="connsiteY321" fmla="*/ 283736 h 388632"/>
                    <a:gd name="connsiteX322" fmla="*/ 666586 w 2003216"/>
                    <a:gd name="connsiteY322" fmla="*/ 294187 h 388632"/>
                    <a:gd name="connsiteX323" fmla="*/ 675084 w 2003216"/>
                    <a:gd name="connsiteY323" fmla="*/ 324171 h 388632"/>
                    <a:gd name="connsiteX324" fmla="*/ 675084 w 2003216"/>
                    <a:gd name="connsiteY324" fmla="*/ 386190 h 388632"/>
                    <a:gd name="connsiteX325" fmla="*/ 666098 w 2003216"/>
                    <a:gd name="connsiteY325" fmla="*/ 386190 h 388632"/>
                    <a:gd name="connsiteX326" fmla="*/ 666098 w 2003216"/>
                    <a:gd name="connsiteY326" fmla="*/ 326222 h 388632"/>
                    <a:gd name="connsiteX327" fmla="*/ 659652 w 2003216"/>
                    <a:gd name="connsiteY327" fmla="*/ 300193 h 388632"/>
                    <a:gd name="connsiteX328" fmla="*/ 639532 w 2003216"/>
                    <a:gd name="connsiteY328" fmla="*/ 291940 h 388632"/>
                    <a:gd name="connsiteX329" fmla="*/ 616874 w 2003216"/>
                    <a:gd name="connsiteY329" fmla="*/ 302000 h 388632"/>
                    <a:gd name="connsiteX330" fmla="*/ 607106 w 2003216"/>
                    <a:gd name="connsiteY330" fmla="*/ 330812 h 388632"/>
                    <a:gd name="connsiteX331" fmla="*/ 607106 w 2003216"/>
                    <a:gd name="connsiteY331" fmla="*/ 386190 h 388632"/>
                    <a:gd name="connsiteX332" fmla="*/ 598122 w 2003216"/>
                    <a:gd name="connsiteY332" fmla="*/ 386190 h 388632"/>
                    <a:gd name="connsiteX333" fmla="*/ 316702 w 2003216"/>
                    <a:gd name="connsiteY333" fmla="*/ 238125 h 388632"/>
                    <a:gd name="connsiteX334" fmla="*/ 325686 w 2003216"/>
                    <a:gd name="connsiteY334" fmla="*/ 238125 h 388632"/>
                    <a:gd name="connsiteX335" fmla="*/ 325686 w 2003216"/>
                    <a:gd name="connsiteY335" fmla="*/ 386190 h 388632"/>
                    <a:gd name="connsiteX336" fmla="*/ 316702 w 2003216"/>
                    <a:gd name="connsiteY336" fmla="*/ 386190 h 388632"/>
                    <a:gd name="connsiteX337" fmla="*/ 316702 w 2003216"/>
                    <a:gd name="connsiteY337" fmla="*/ 368024 h 388632"/>
                    <a:gd name="connsiteX338" fmla="*/ 316310 w 2003216"/>
                    <a:gd name="connsiteY338" fmla="*/ 368024 h 388632"/>
                    <a:gd name="connsiteX339" fmla="*/ 301856 w 2003216"/>
                    <a:gd name="connsiteY339" fmla="*/ 383065 h 388632"/>
                    <a:gd name="connsiteX340" fmla="*/ 280270 w 2003216"/>
                    <a:gd name="connsiteY340" fmla="*/ 388632 h 388632"/>
                    <a:gd name="connsiteX341" fmla="*/ 250140 w 2003216"/>
                    <a:gd name="connsiteY341" fmla="*/ 375154 h 388632"/>
                    <a:gd name="connsiteX342" fmla="*/ 238468 w 2003216"/>
                    <a:gd name="connsiteY342" fmla="*/ 337942 h 388632"/>
                    <a:gd name="connsiteX343" fmla="*/ 251214 w 2003216"/>
                    <a:gd name="connsiteY343" fmla="*/ 298728 h 388632"/>
                    <a:gd name="connsiteX344" fmla="*/ 284276 w 2003216"/>
                    <a:gd name="connsiteY344" fmla="*/ 283736 h 388632"/>
                    <a:gd name="connsiteX345" fmla="*/ 316310 w 2003216"/>
                    <a:gd name="connsiteY345" fmla="*/ 302195 h 388632"/>
                    <a:gd name="connsiteX346" fmla="*/ 316702 w 2003216"/>
                    <a:gd name="connsiteY346" fmla="*/ 302195 h 388632"/>
                    <a:gd name="connsiteX347" fmla="*/ 1658020 w 2003216"/>
                    <a:gd name="connsiteY347" fmla="*/ 94250 h 388632"/>
                    <a:gd name="connsiteX348" fmla="*/ 1630476 w 2003216"/>
                    <a:gd name="connsiteY348" fmla="*/ 98254 h 388632"/>
                    <a:gd name="connsiteX349" fmla="*/ 1608404 w 2003216"/>
                    <a:gd name="connsiteY349" fmla="*/ 105531 h 388632"/>
                    <a:gd name="connsiteX350" fmla="*/ 1602056 w 2003216"/>
                    <a:gd name="connsiteY350" fmla="*/ 121890 h 388632"/>
                    <a:gd name="connsiteX351" fmla="*/ 1607964 w 2003216"/>
                    <a:gd name="connsiteY351" fmla="*/ 136540 h 388632"/>
                    <a:gd name="connsiteX352" fmla="*/ 1624422 w 2003216"/>
                    <a:gd name="connsiteY352" fmla="*/ 142303 h 388632"/>
                    <a:gd name="connsiteX353" fmla="*/ 1648448 w 2003216"/>
                    <a:gd name="connsiteY353" fmla="*/ 131608 h 388632"/>
                    <a:gd name="connsiteX354" fmla="*/ 1658020 w 2003216"/>
                    <a:gd name="connsiteY354" fmla="*/ 104017 h 388632"/>
                    <a:gd name="connsiteX355" fmla="*/ 1334170 w 2003216"/>
                    <a:gd name="connsiteY355" fmla="*/ 94250 h 388632"/>
                    <a:gd name="connsiteX356" fmla="*/ 1306626 w 2003216"/>
                    <a:gd name="connsiteY356" fmla="*/ 98254 h 388632"/>
                    <a:gd name="connsiteX357" fmla="*/ 1284554 w 2003216"/>
                    <a:gd name="connsiteY357" fmla="*/ 105531 h 388632"/>
                    <a:gd name="connsiteX358" fmla="*/ 1278206 w 2003216"/>
                    <a:gd name="connsiteY358" fmla="*/ 121890 h 388632"/>
                    <a:gd name="connsiteX359" fmla="*/ 1284114 w 2003216"/>
                    <a:gd name="connsiteY359" fmla="*/ 136540 h 388632"/>
                    <a:gd name="connsiteX360" fmla="*/ 1300572 w 2003216"/>
                    <a:gd name="connsiteY360" fmla="*/ 142303 h 388632"/>
                    <a:gd name="connsiteX361" fmla="*/ 1324598 w 2003216"/>
                    <a:gd name="connsiteY361" fmla="*/ 131608 h 388632"/>
                    <a:gd name="connsiteX362" fmla="*/ 1334170 w 2003216"/>
                    <a:gd name="connsiteY362" fmla="*/ 104017 h 388632"/>
                    <a:gd name="connsiteX363" fmla="*/ 1100932 w 2003216"/>
                    <a:gd name="connsiteY363" fmla="*/ 53815 h 388632"/>
                    <a:gd name="connsiteX364" fmla="*/ 1073878 w 2003216"/>
                    <a:gd name="connsiteY364" fmla="*/ 65535 h 388632"/>
                    <a:gd name="connsiteX365" fmla="*/ 1064306 w 2003216"/>
                    <a:gd name="connsiteY365" fmla="*/ 93078 h 388632"/>
                    <a:gd name="connsiteX366" fmla="*/ 1064306 w 2003216"/>
                    <a:gd name="connsiteY366" fmla="*/ 105677 h 388632"/>
                    <a:gd name="connsiteX367" fmla="*/ 1073780 w 2003216"/>
                    <a:gd name="connsiteY367" fmla="*/ 131510 h 388632"/>
                    <a:gd name="connsiteX368" fmla="*/ 1098686 w 2003216"/>
                    <a:gd name="connsiteY368" fmla="*/ 142303 h 388632"/>
                    <a:gd name="connsiteX369" fmla="*/ 1123592 w 2003216"/>
                    <a:gd name="connsiteY369" fmla="*/ 129166 h 388632"/>
                    <a:gd name="connsiteX370" fmla="*/ 1133164 w 2003216"/>
                    <a:gd name="connsiteY370" fmla="*/ 94641 h 388632"/>
                    <a:gd name="connsiteX371" fmla="*/ 1124372 w 2003216"/>
                    <a:gd name="connsiteY371" fmla="*/ 64852 h 388632"/>
                    <a:gd name="connsiteX372" fmla="*/ 1100932 w 2003216"/>
                    <a:gd name="connsiteY372" fmla="*/ 53815 h 388632"/>
                    <a:gd name="connsiteX373" fmla="*/ 734196 w 2003216"/>
                    <a:gd name="connsiteY373" fmla="*/ 53815 h 388632"/>
                    <a:gd name="connsiteX374" fmla="*/ 706020 w 2003216"/>
                    <a:gd name="connsiteY374" fmla="*/ 65731 h 388632"/>
                    <a:gd name="connsiteX375" fmla="*/ 695520 w 2003216"/>
                    <a:gd name="connsiteY375" fmla="*/ 98840 h 388632"/>
                    <a:gd name="connsiteX376" fmla="*/ 705776 w 2003216"/>
                    <a:gd name="connsiteY376" fmla="*/ 130387 h 388632"/>
                    <a:gd name="connsiteX377" fmla="*/ 733806 w 2003216"/>
                    <a:gd name="connsiteY377" fmla="*/ 142303 h 388632"/>
                    <a:gd name="connsiteX378" fmla="*/ 761642 w 2003216"/>
                    <a:gd name="connsiteY378" fmla="*/ 130583 h 388632"/>
                    <a:gd name="connsiteX379" fmla="*/ 771408 w 2003216"/>
                    <a:gd name="connsiteY379" fmla="*/ 98059 h 388632"/>
                    <a:gd name="connsiteX380" fmla="*/ 761690 w 2003216"/>
                    <a:gd name="connsiteY380" fmla="*/ 65242 h 388632"/>
                    <a:gd name="connsiteX381" fmla="*/ 734196 w 2003216"/>
                    <a:gd name="connsiteY381" fmla="*/ 53815 h 388632"/>
                    <a:gd name="connsiteX382" fmla="*/ 624682 w 2003216"/>
                    <a:gd name="connsiteY382" fmla="*/ 53815 h 388632"/>
                    <a:gd name="connsiteX383" fmla="*/ 597628 w 2003216"/>
                    <a:gd name="connsiteY383" fmla="*/ 65535 h 388632"/>
                    <a:gd name="connsiteX384" fmla="*/ 588056 w 2003216"/>
                    <a:gd name="connsiteY384" fmla="*/ 93078 h 388632"/>
                    <a:gd name="connsiteX385" fmla="*/ 588056 w 2003216"/>
                    <a:gd name="connsiteY385" fmla="*/ 105677 h 388632"/>
                    <a:gd name="connsiteX386" fmla="*/ 597530 w 2003216"/>
                    <a:gd name="connsiteY386" fmla="*/ 131510 h 388632"/>
                    <a:gd name="connsiteX387" fmla="*/ 622436 w 2003216"/>
                    <a:gd name="connsiteY387" fmla="*/ 142303 h 388632"/>
                    <a:gd name="connsiteX388" fmla="*/ 647342 w 2003216"/>
                    <a:gd name="connsiteY388" fmla="*/ 129166 h 388632"/>
                    <a:gd name="connsiteX389" fmla="*/ 656912 w 2003216"/>
                    <a:gd name="connsiteY389" fmla="*/ 94641 h 388632"/>
                    <a:gd name="connsiteX390" fmla="*/ 648122 w 2003216"/>
                    <a:gd name="connsiteY390" fmla="*/ 64852 h 388632"/>
                    <a:gd name="connsiteX391" fmla="*/ 624682 w 2003216"/>
                    <a:gd name="connsiteY391" fmla="*/ 53815 h 388632"/>
                    <a:gd name="connsiteX392" fmla="*/ 505596 w 2003216"/>
                    <a:gd name="connsiteY392" fmla="*/ 53815 h 388632"/>
                    <a:gd name="connsiteX393" fmla="*/ 477420 w 2003216"/>
                    <a:gd name="connsiteY393" fmla="*/ 65731 h 388632"/>
                    <a:gd name="connsiteX394" fmla="*/ 466920 w 2003216"/>
                    <a:gd name="connsiteY394" fmla="*/ 98840 h 388632"/>
                    <a:gd name="connsiteX395" fmla="*/ 477176 w 2003216"/>
                    <a:gd name="connsiteY395" fmla="*/ 130387 h 388632"/>
                    <a:gd name="connsiteX396" fmla="*/ 505206 w 2003216"/>
                    <a:gd name="connsiteY396" fmla="*/ 142303 h 388632"/>
                    <a:gd name="connsiteX397" fmla="*/ 533042 w 2003216"/>
                    <a:gd name="connsiteY397" fmla="*/ 130583 h 388632"/>
                    <a:gd name="connsiteX398" fmla="*/ 542808 w 2003216"/>
                    <a:gd name="connsiteY398" fmla="*/ 98059 h 388632"/>
                    <a:gd name="connsiteX399" fmla="*/ 533090 w 2003216"/>
                    <a:gd name="connsiteY399" fmla="*/ 65242 h 388632"/>
                    <a:gd name="connsiteX400" fmla="*/ 505596 w 2003216"/>
                    <a:gd name="connsiteY400" fmla="*/ 53815 h 388632"/>
                    <a:gd name="connsiteX401" fmla="*/ 1779222 w 2003216"/>
                    <a:gd name="connsiteY401" fmla="*/ 48053 h 388632"/>
                    <a:gd name="connsiteX402" fmla="*/ 1788206 w 2003216"/>
                    <a:gd name="connsiteY402" fmla="*/ 48053 h 388632"/>
                    <a:gd name="connsiteX403" fmla="*/ 1788206 w 2003216"/>
                    <a:gd name="connsiteY403" fmla="*/ 148065 h 388632"/>
                    <a:gd name="connsiteX404" fmla="*/ 1779222 w 2003216"/>
                    <a:gd name="connsiteY404" fmla="*/ 148065 h 388632"/>
                    <a:gd name="connsiteX405" fmla="*/ 864822 w 2003216"/>
                    <a:gd name="connsiteY405" fmla="*/ 48053 h 388632"/>
                    <a:gd name="connsiteX406" fmla="*/ 873806 w 2003216"/>
                    <a:gd name="connsiteY406" fmla="*/ 48053 h 388632"/>
                    <a:gd name="connsiteX407" fmla="*/ 873806 w 2003216"/>
                    <a:gd name="connsiteY407" fmla="*/ 148065 h 388632"/>
                    <a:gd name="connsiteX408" fmla="*/ 864822 w 2003216"/>
                    <a:gd name="connsiteY408" fmla="*/ 148065 h 388632"/>
                    <a:gd name="connsiteX409" fmla="*/ 93296 w 2003216"/>
                    <a:gd name="connsiteY409" fmla="*/ 48053 h 388632"/>
                    <a:gd name="connsiteX410" fmla="*/ 102282 w 2003216"/>
                    <a:gd name="connsiteY410" fmla="*/ 48053 h 388632"/>
                    <a:gd name="connsiteX411" fmla="*/ 102282 w 2003216"/>
                    <a:gd name="connsiteY411" fmla="*/ 148065 h 388632"/>
                    <a:gd name="connsiteX412" fmla="*/ 93296 w 2003216"/>
                    <a:gd name="connsiteY412" fmla="*/ 148065 h 388632"/>
                    <a:gd name="connsiteX413" fmla="*/ 1406858 w 2003216"/>
                    <a:gd name="connsiteY413" fmla="*/ 46099 h 388632"/>
                    <a:gd name="connsiteX414" fmla="*/ 1416820 w 2003216"/>
                    <a:gd name="connsiteY414" fmla="*/ 47857 h 388632"/>
                    <a:gd name="connsiteX415" fmla="*/ 1416820 w 2003216"/>
                    <a:gd name="connsiteY415" fmla="*/ 57429 h 388632"/>
                    <a:gd name="connsiteX416" fmla="*/ 1406272 w 2003216"/>
                    <a:gd name="connsiteY416" fmla="*/ 54206 h 388632"/>
                    <a:gd name="connsiteX417" fmla="*/ 1386446 w 2003216"/>
                    <a:gd name="connsiteY417" fmla="*/ 66414 h 388632"/>
                    <a:gd name="connsiteX418" fmla="*/ 1378436 w 2003216"/>
                    <a:gd name="connsiteY418" fmla="*/ 101087 h 388632"/>
                    <a:gd name="connsiteX419" fmla="*/ 1378436 w 2003216"/>
                    <a:gd name="connsiteY419" fmla="*/ 148065 h 388632"/>
                    <a:gd name="connsiteX420" fmla="*/ 1369646 w 2003216"/>
                    <a:gd name="connsiteY420" fmla="*/ 148065 h 388632"/>
                    <a:gd name="connsiteX421" fmla="*/ 1369646 w 2003216"/>
                    <a:gd name="connsiteY421" fmla="*/ 48053 h 388632"/>
                    <a:gd name="connsiteX422" fmla="*/ 1378436 w 2003216"/>
                    <a:gd name="connsiteY422" fmla="*/ 48053 h 388632"/>
                    <a:gd name="connsiteX423" fmla="*/ 1378436 w 2003216"/>
                    <a:gd name="connsiteY423" fmla="*/ 70223 h 388632"/>
                    <a:gd name="connsiteX424" fmla="*/ 1378828 w 2003216"/>
                    <a:gd name="connsiteY424" fmla="*/ 70223 h 388632"/>
                    <a:gd name="connsiteX425" fmla="*/ 1389668 w 2003216"/>
                    <a:gd name="connsiteY425" fmla="*/ 52448 h 388632"/>
                    <a:gd name="connsiteX426" fmla="*/ 1406858 w 2003216"/>
                    <a:gd name="connsiteY426" fmla="*/ 46099 h 388632"/>
                    <a:gd name="connsiteX427" fmla="*/ 435308 w 2003216"/>
                    <a:gd name="connsiteY427" fmla="*/ 46099 h 388632"/>
                    <a:gd name="connsiteX428" fmla="*/ 445270 w 2003216"/>
                    <a:gd name="connsiteY428" fmla="*/ 47857 h 388632"/>
                    <a:gd name="connsiteX429" fmla="*/ 445270 w 2003216"/>
                    <a:gd name="connsiteY429" fmla="*/ 57429 h 388632"/>
                    <a:gd name="connsiteX430" fmla="*/ 434722 w 2003216"/>
                    <a:gd name="connsiteY430" fmla="*/ 54206 h 388632"/>
                    <a:gd name="connsiteX431" fmla="*/ 414896 w 2003216"/>
                    <a:gd name="connsiteY431" fmla="*/ 66414 h 388632"/>
                    <a:gd name="connsiteX432" fmla="*/ 406886 w 2003216"/>
                    <a:gd name="connsiteY432" fmla="*/ 101087 h 388632"/>
                    <a:gd name="connsiteX433" fmla="*/ 406886 w 2003216"/>
                    <a:gd name="connsiteY433" fmla="*/ 148065 h 388632"/>
                    <a:gd name="connsiteX434" fmla="*/ 398096 w 2003216"/>
                    <a:gd name="connsiteY434" fmla="*/ 148065 h 388632"/>
                    <a:gd name="connsiteX435" fmla="*/ 398096 w 2003216"/>
                    <a:gd name="connsiteY435" fmla="*/ 48053 h 388632"/>
                    <a:gd name="connsiteX436" fmla="*/ 406886 w 2003216"/>
                    <a:gd name="connsiteY436" fmla="*/ 48053 h 388632"/>
                    <a:gd name="connsiteX437" fmla="*/ 406886 w 2003216"/>
                    <a:gd name="connsiteY437" fmla="*/ 70223 h 388632"/>
                    <a:gd name="connsiteX438" fmla="*/ 407276 w 2003216"/>
                    <a:gd name="connsiteY438" fmla="*/ 70223 h 388632"/>
                    <a:gd name="connsiteX439" fmla="*/ 418118 w 2003216"/>
                    <a:gd name="connsiteY439" fmla="*/ 52448 h 388632"/>
                    <a:gd name="connsiteX440" fmla="*/ 435308 w 2003216"/>
                    <a:gd name="connsiteY440" fmla="*/ 46099 h 388632"/>
                    <a:gd name="connsiteX441" fmla="*/ 168608 w 2003216"/>
                    <a:gd name="connsiteY441" fmla="*/ 46099 h 388632"/>
                    <a:gd name="connsiteX442" fmla="*/ 178570 w 2003216"/>
                    <a:gd name="connsiteY442" fmla="*/ 47857 h 388632"/>
                    <a:gd name="connsiteX443" fmla="*/ 178570 w 2003216"/>
                    <a:gd name="connsiteY443" fmla="*/ 57429 h 388632"/>
                    <a:gd name="connsiteX444" fmla="*/ 168022 w 2003216"/>
                    <a:gd name="connsiteY444" fmla="*/ 54206 h 388632"/>
                    <a:gd name="connsiteX445" fmla="*/ 148196 w 2003216"/>
                    <a:gd name="connsiteY445" fmla="*/ 66414 h 388632"/>
                    <a:gd name="connsiteX446" fmla="*/ 140186 w 2003216"/>
                    <a:gd name="connsiteY446" fmla="*/ 101087 h 388632"/>
                    <a:gd name="connsiteX447" fmla="*/ 140186 w 2003216"/>
                    <a:gd name="connsiteY447" fmla="*/ 148065 h 388632"/>
                    <a:gd name="connsiteX448" fmla="*/ 131396 w 2003216"/>
                    <a:gd name="connsiteY448" fmla="*/ 148065 h 388632"/>
                    <a:gd name="connsiteX449" fmla="*/ 131396 w 2003216"/>
                    <a:gd name="connsiteY449" fmla="*/ 48053 h 388632"/>
                    <a:gd name="connsiteX450" fmla="*/ 140186 w 2003216"/>
                    <a:gd name="connsiteY450" fmla="*/ 48053 h 388632"/>
                    <a:gd name="connsiteX451" fmla="*/ 140186 w 2003216"/>
                    <a:gd name="connsiteY451" fmla="*/ 70223 h 388632"/>
                    <a:gd name="connsiteX452" fmla="*/ 140576 w 2003216"/>
                    <a:gd name="connsiteY452" fmla="*/ 70223 h 388632"/>
                    <a:gd name="connsiteX453" fmla="*/ 151418 w 2003216"/>
                    <a:gd name="connsiteY453" fmla="*/ 52448 h 388632"/>
                    <a:gd name="connsiteX454" fmla="*/ 168608 w 2003216"/>
                    <a:gd name="connsiteY454" fmla="*/ 46099 h 388632"/>
                    <a:gd name="connsiteX455" fmla="*/ 1978214 w 2003216"/>
                    <a:gd name="connsiteY455" fmla="*/ 45611 h 388632"/>
                    <a:gd name="connsiteX456" fmla="*/ 2000286 w 2003216"/>
                    <a:gd name="connsiteY456" fmla="*/ 50885 h 388632"/>
                    <a:gd name="connsiteX457" fmla="*/ 2000286 w 2003216"/>
                    <a:gd name="connsiteY457" fmla="*/ 61043 h 388632"/>
                    <a:gd name="connsiteX458" fmla="*/ 1977236 w 2003216"/>
                    <a:gd name="connsiteY458" fmla="*/ 53815 h 388632"/>
                    <a:gd name="connsiteX459" fmla="*/ 1961316 w 2003216"/>
                    <a:gd name="connsiteY459" fmla="*/ 58943 h 388632"/>
                    <a:gd name="connsiteX460" fmla="*/ 1955262 w 2003216"/>
                    <a:gd name="connsiteY460" fmla="*/ 72275 h 388632"/>
                    <a:gd name="connsiteX461" fmla="*/ 1959070 w 2003216"/>
                    <a:gd name="connsiteY461" fmla="*/ 83848 h 388632"/>
                    <a:gd name="connsiteX462" fmla="*/ 1975870 w 2003216"/>
                    <a:gd name="connsiteY462" fmla="*/ 94055 h 388632"/>
                    <a:gd name="connsiteX463" fmla="*/ 1997356 w 2003216"/>
                    <a:gd name="connsiteY463" fmla="*/ 107093 h 388632"/>
                    <a:gd name="connsiteX464" fmla="*/ 2003216 w 2003216"/>
                    <a:gd name="connsiteY464" fmla="*/ 123062 h 388632"/>
                    <a:gd name="connsiteX465" fmla="*/ 1994280 w 2003216"/>
                    <a:gd name="connsiteY465" fmla="*/ 142742 h 388632"/>
                    <a:gd name="connsiteX466" fmla="*/ 1969618 w 2003216"/>
                    <a:gd name="connsiteY466" fmla="*/ 150507 h 388632"/>
                    <a:gd name="connsiteX467" fmla="*/ 1945494 w 2003216"/>
                    <a:gd name="connsiteY467" fmla="*/ 143670 h 388632"/>
                    <a:gd name="connsiteX468" fmla="*/ 1945494 w 2003216"/>
                    <a:gd name="connsiteY468" fmla="*/ 132829 h 388632"/>
                    <a:gd name="connsiteX469" fmla="*/ 1957800 w 2003216"/>
                    <a:gd name="connsiteY469" fmla="*/ 139763 h 388632"/>
                    <a:gd name="connsiteX470" fmla="*/ 1970302 w 2003216"/>
                    <a:gd name="connsiteY470" fmla="*/ 142303 h 388632"/>
                    <a:gd name="connsiteX471" fmla="*/ 1993840 w 2003216"/>
                    <a:gd name="connsiteY471" fmla="*/ 123062 h 388632"/>
                    <a:gd name="connsiteX472" fmla="*/ 1988664 w 2003216"/>
                    <a:gd name="connsiteY472" fmla="*/ 111733 h 388632"/>
                    <a:gd name="connsiteX473" fmla="*/ 1971866 w 2003216"/>
                    <a:gd name="connsiteY473" fmla="*/ 102063 h 388632"/>
                    <a:gd name="connsiteX474" fmla="*/ 1951696 w 2003216"/>
                    <a:gd name="connsiteY474" fmla="*/ 89122 h 388632"/>
                    <a:gd name="connsiteX475" fmla="*/ 1945886 w 2003216"/>
                    <a:gd name="connsiteY475" fmla="*/ 72861 h 388632"/>
                    <a:gd name="connsiteX476" fmla="*/ 1955212 w 2003216"/>
                    <a:gd name="connsiteY476" fmla="*/ 53132 h 388632"/>
                    <a:gd name="connsiteX477" fmla="*/ 1978214 w 2003216"/>
                    <a:gd name="connsiteY477" fmla="*/ 45611 h 388632"/>
                    <a:gd name="connsiteX478" fmla="*/ 1844864 w 2003216"/>
                    <a:gd name="connsiteY478" fmla="*/ 45611 h 388632"/>
                    <a:gd name="connsiteX479" fmla="*/ 1866936 w 2003216"/>
                    <a:gd name="connsiteY479" fmla="*/ 50885 h 388632"/>
                    <a:gd name="connsiteX480" fmla="*/ 1866936 w 2003216"/>
                    <a:gd name="connsiteY480" fmla="*/ 61043 h 388632"/>
                    <a:gd name="connsiteX481" fmla="*/ 1843888 w 2003216"/>
                    <a:gd name="connsiteY481" fmla="*/ 53815 h 388632"/>
                    <a:gd name="connsiteX482" fmla="*/ 1827968 w 2003216"/>
                    <a:gd name="connsiteY482" fmla="*/ 58943 h 388632"/>
                    <a:gd name="connsiteX483" fmla="*/ 1821912 w 2003216"/>
                    <a:gd name="connsiteY483" fmla="*/ 72275 h 388632"/>
                    <a:gd name="connsiteX484" fmla="*/ 1825720 w 2003216"/>
                    <a:gd name="connsiteY484" fmla="*/ 83848 h 388632"/>
                    <a:gd name="connsiteX485" fmla="*/ 1842520 w 2003216"/>
                    <a:gd name="connsiteY485" fmla="*/ 94055 h 388632"/>
                    <a:gd name="connsiteX486" fmla="*/ 1864006 w 2003216"/>
                    <a:gd name="connsiteY486" fmla="*/ 107093 h 388632"/>
                    <a:gd name="connsiteX487" fmla="*/ 1869866 w 2003216"/>
                    <a:gd name="connsiteY487" fmla="*/ 123062 h 388632"/>
                    <a:gd name="connsiteX488" fmla="*/ 1860930 w 2003216"/>
                    <a:gd name="connsiteY488" fmla="*/ 142742 h 388632"/>
                    <a:gd name="connsiteX489" fmla="*/ 1836268 w 2003216"/>
                    <a:gd name="connsiteY489" fmla="*/ 150507 h 388632"/>
                    <a:gd name="connsiteX490" fmla="*/ 1812144 w 2003216"/>
                    <a:gd name="connsiteY490" fmla="*/ 143670 h 388632"/>
                    <a:gd name="connsiteX491" fmla="*/ 1812144 w 2003216"/>
                    <a:gd name="connsiteY491" fmla="*/ 132829 h 388632"/>
                    <a:gd name="connsiteX492" fmla="*/ 1824452 w 2003216"/>
                    <a:gd name="connsiteY492" fmla="*/ 139763 h 388632"/>
                    <a:gd name="connsiteX493" fmla="*/ 1836952 w 2003216"/>
                    <a:gd name="connsiteY493" fmla="*/ 142303 h 388632"/>
                    <a:gd name="connsiteX494" fmla="*/ 1860490 w 2003216"/>
                    <a:gd name="connsiteY494" fmla="*/ 123062 h 388632"/>
                    <a:gd name="connsiteX495" fmla="*/ 1855314 w 2003216"/>
                    <a:gd name="connsiteY495" fmla="*/ 111733 h 388632"/>
                    <a:gd name="connsiteX496" fmla="*/ 1838516 w 2003216"/>
                    <a:gd name="connsiteY496" fmla="*/ 102063 h 388632"/>
                    <a:gd name="connsiteX497" fmla="*/ 1818346 w 2003216"/>
                    <a:gd name="connsiteY497" fmla="*/ 89122 h 388632"/>
                    <a:gd name="connsiteX498" fmla="*/ 1812536 w 2003216"/>
                    <a:gd name="connsiteY498" fmla="*/ 72861 h 388632"/>
                    <a:gd name="connsiteX499" fmla="*/ 1821862 w 2003216"/>
                    <a:gd name="connsiteY499" fmla="*/ 53132 h 388632"/>
                    <a:gd name="connsiteX500" fmla="*/ 1844864 w 2003216"/>
                    <a:gd name="connsiteY500" fmla="*/ 45611 h 388632"/>
                    <a:gd name="connsiteX501" fmla="*/ 1736470 w 2003216"/>
                    <a:gd name="connsiteY501" fmla="*/ 45611 h 388632"/>
                    <a:gd name="connsiteX502" fmla="*/ 1758640 w 2003216"/>
                    <a:gd name="connsiteY502" fmla="*/ 50299 h 388632"/>
                    <a:gd name="connsiteX503" fmla="*/ 1758640 w 2003216"/>
                    <a:gd name="connsiteY503" fmla="*/ 60457 h 388632"/>
                    <a:gd name="connsiteX504" fmla="*/ 1735104 w 2003216"/>
                    <a:gd name="connsiteY504" fmla="*/ 53815 h 388632"/>
                    <a:gd name="connsiteX505" fmla="*/ 1706584 w 2003216"/>
                    <a:gd name="connsiteY505" fmla="*/ 66463 h 388632"/>
                    <a:gd name="connsiteX506" fmla="*/ 1695644 w 2003216"/>
                    <a:gd name="connsiteY506" fmla="*/ 99231 h 388632"/>
                    <a:gd name="connsiteX507" fmla="*/ 1705656 w 2003216"/>
                    <a:gd name="connsiteY507" fmla="*/ 130485 h 388632"/>
                    <a:gd name="connsiteX508" fmla="*/ 1732076 w 2003216"/>
                    <a:gd name="connsiteY508" fmla="*/ 142303 h 388632"/>
                    <a:gd name="connsiteX509" fmla="*/ 1758250 w 2003216"/>
                    <a:gd name="connsiteY509" fmla="*/ 134294 h 388632"/>
                    <a:gd name="connsiteX510" fmla="*/ 1758250 w 2003216"/>
                    <a:gd name="connsiteY510" fmla="*/ 143670 h 388632"/>
                    <a:gd name="connsiteX511" fmla="*/ 1731684 w 2003216"/>
                    <a:gd name="connsiteY511" fmla="*/ 150507 h 388632"/>
                    <a:gd name="connsiteX512" fmla="*/ 1698770 w 2003216"/>
                    <a:gd name="connsiteY512" fmla="*/ 136492 h 388632"/>
                    <a:gd name="connsiteX513" fmla="*/ 1686268 w 2003216"/>
                    <a:gd name="connsiteY513" fmla="*/ 99817 h 388632"/>
                    <a:gd name="connsiteX514" fmla="*/ 1700332 w 2003216"/>
                    <a:gd name="connsiteY514" fmla="*/ 60798 h 388632"/>
                    <a:gd name="connsiteX515" fmla="*/ 1736470 w 2003216"/>
                    <a:gd name="connsiteY515" fmla="*/ 45611 h 388632"/>
                    <a:gd name="connsiteX516" fmla="*/ 1634676 w 2003216"/>
                    <a:gd name="connsiteY516" fmla="*/ 45611 h 388632"/>
                    <a:gd name="connsiteX517" fmla="*/ 1658556 w 2003216"/>
                    <a:gd name="connsiteY517" fmla="*/ 55183 h 388632"/>
                    <a:gd name="connsiteX518" fmla="*/ 1667004 w 2003216"/>
                    <a:gd name="connsiteY518" fmla="*/ 83018 h 388632"/>
                    <a:gd name="connsiteX519" fmla="*/ 1667004 w 2003216"/>
                    <a:gd name="connsiteY519" fmla="*/ 148065 h 388632"/>
                    <a:gd name="connsiteX520" fmla="*/ 1658020 w 2003216"/>
                    <a:gd name="connsiteY520" fmla="*/ 148065 h 388632"/>
                    <a:gd name="connsiteX521" fmla="*/ 1658020 w 2003216"/>
                    <a:gd name="connsiteY521" fmla="*/ 128043 h 388632"/>
                    <a:gd name="connsiteX522" fmla="*/ 1657628 w 2003216"/>
                    <a:gd name="connsiteY522" fmla="*/ 128043 h 388632"/>
                    <a:gd name="connsiteX523" fmla="*/ 1643710 w 2003216"/>
                    <a:gd name="connsiteY523" fmla="*/ 144403 h 388632"/>
                    <a:gd name="connsiteX524" fmla="*/ 1623444 w 2003216"/>
                    <a:gd name="connsiteY524" fmla="*/ 150507 h 388632"/>
                    <a:gd name="connsiteX525" fmla="*/ 1600884 w 2003216"/>
                    <a:gd name="connsiteY525" fmla="*/ 142498 h 388632"/>
                    <a:gd name="connsiteX526" fmla="*/ 1592582 w 2003216"/>
                    <a:gd name="connsiteY526" fmla="*/ 122281 h 388632"/>
                    <a:gd name="connsiteX527" fmla="*/ 1627254 w 2003216"/>
                    <a:gd name="connsiteY527" fmla="*/ 90636 h 388632"/>
                    <a:gd name="connsiteX528" fmla="*/ 1658020 w 2003216"/>
                    <a:gd name="connsiteY528" fmla="*/ 86046 h 388632"/>
                    <a:gd name="connsiteX529" fmla="*/ 1633798 w 2003216"/>
                    <a:gd name="connsiteY529" fmla="*/ 53815 h 388632"/>
                    <a:gd name="connsiteX530" fmla="*/ 1601664 w 2003216"/>
                    <a:gd name="connsiteY530" fmla="*/ 67098 h 388632"/>
                    <a:gd name="connsiteX531" fmla="*/ 1601664 w 2003216"/>
                    <a:gd name="connsiteY531" fmla="*/ 56257 h 388632"/>
                    <a:gd name="connsiteX532" fmla="*/ 1616754 w 2003216"/>
                    <a:gd name="connsiteY532" fmla="*/ 48736 h 388632"/>
                    <a:gd name="connsiteX533" fmla="*/ 1634676 w 2003216"/>
                    <a:gd name="connsiteY533" fmla="*/ 45611 h 388632"/>
                    <a:gd name="connsiteX534" fmla="*/ 1476268 w 2003216"/>
                    <a:gd name="connsiteY534" fmla="*/ 45611 h 388632"/>
                    <a:gd name="connsiteX535" fmla="*/ 1494972 w 2003216"/>
                    <a:gd name="connsiteY535" fmla="*/ 51911 h 388632"/>
                    <a:gd name="connsiteX536" fmla="*/ 1505470 w 2003216"/>
                    <a:gd name="connsiteY536" fmla="*/ 68465 h 388632"/>
                    <a:gd name="connsiteX537" fmla="*/ 1518900 w 2003216"/>
                    <a:gd name="connsiteY537" fmla="*/ 51618 h 388632"/>
                    <a:gd name="connsiteX538" fmla="*/ 1537896 w 2003216"/>
                    <a:gd name="connsiteY538" fmla="*/ 45611 h 388632"/>
                    <a:gd name="connsiteX539" fmla="*/ 1570712 w 2003216"/>
                    <a:gd name="connsiteY539" fmla="*/ 86241 h 388632"/>
                    <a:gd name="connsiteX540" fmla="*/ 1570712 w 2003216"/>
                    <a:gd name="connsiteY540" fmla="*/ 148065 h 388632"/>
                    <a:gd name="connsiteX541" fmla="*/ 1561728 w 2003216"/>
                    <a:gd name="connsiteY541" fmla="*/ 148065 h 388632"/>
                    <a:gd name="connsiteX542" fmla="*/ 1561728 w 2003216"/>
                    <a:gd name="connsiteY542" fmla="*/ 87901 h 388632"/>
                    <a:gd name="connsiteX543" fmla="*/ 1555818 w 2003216"/>
                    <a:gd name="connsiteY543" fmla="*/ 61433 h 388632"/>
                    <a:gd name="connsiteX544" fmla="*/ 1537116 w 2003216"/>
                    <a:gd name="connsiteY544" fmla="*/ 53815 h 388632"/>
                    <a:gd name="connsiteX545" fmla="*/ 1516702 w 2003216"/>
                    <a:gd name="connsiteY545" fmla="*/ 63973 h 388632"/>
                    <a:gd name="connsiteX546" fmla="*/ 1508108 w 2003216"/>
                    <a:gd name="connsiteY546" fmla="*/ 89464 h 388632"/>
                    <a:gd name="connsiteX547" fmla="*/ 1508108 w 2003216"/>
                    <a:gd name="connsiteY547" fmla="*/ 148065 h 388632"/>
                    <a:gd name="connsiteX548" fmla="*/ 1499122 w 2003216"/>
                    <a:gd name="connsiteY548" fmla="*/ 148065 h 388632"/>
                    <a:gd name="connsiteX549" fmla="*/ 1499122 w 2003216"/>
                    <a:gd name="connsiteY549" fmla="*/ 87218 h 388632"/>
                    <a:gd name="connsiteX550" fmla="*/ 1473728 w 2003216"/>
                    <a:gd name="connsiteY550" fmla="*/ 53815 h 388632"/>
                    <a:gd name="connsiteX551" fmla="*/ 1453414 w 2003216"/>
                    <a:gd name="connsiteY551" fmla="*/ 64022 h 388632"/>
                    <a:gd name="connsiteX552" fmla="*/ 1445306 w 2003216"/>
                    <a:gd name="connsiteY552" fmla="*/ 90441 h 388632"/>
                    <a:gd name="connsiteX553" fmla="*/ 1445306 w 2003216"/>
                    <a:gd name="connsiteY553" fmla="*/ 148065 h 388632"/>
                    <a:gd name="connsiteX554" fmla="*/ 1436322 w 2003216"/>
                    <a:gd name="connsiteY554" fmla="*/ 148065 h 388632"/>
                    <a:gd name="connsiteX555" fmla="*/ 1436322 w 2003216"/>
                    <a:gd name="connsiteY555" fmla="*/ 48053 h 388632"/>
                    <a:gd name="connsiteX556" fmla="*/ 1445306 w 2003216"/>
                    <a:gd name="connsiteY556" fmla="*/ 48053 h 388632"/>
                    <a:gd name="connsiteX557" fmla="*/ 1445306 w 2003216"/>
                    <a:gd name="connsiteY557" fmla="*/ 64656 h 388632"/>
                    <a:gd name="connsiteX558" fmla="*/ 1445698 w 2003216"/>
                    <a:gd name="connsiteY558" fmla="*/ 64656 h 388632"/>
                    <a:gd name="connsiteX559" fmla="*/ 1476268 w 2003216"/>
                    <a:gd name="connsiteY559" fmla="*/ 45611 h 388632"/>
                    <a:gd name="connsiteX560" fmla="*/ 1310826 w 2003216"/>
                    <a:gd name="connsiteY560" fmla="*/ 45611 h 388632"/>
                    <a:gd name="connsiteX561" fmla="*/ 1334706 w 2003216"/>
                    <a:gd name="connsiteY561" fmla="*/ 55183 h 388632"/>
                    <a:gd name="connsiteX562" fmla="*/ 1343154 w 2003216"/>
                    <a:gd name="connsiteY562" fmla="*/ 83018 h 388632"/>
                    <a:gd name="connsiteX563" fmla="*/ 1343154 w 2003216"/>
                    <a:gd name="connsiteY563" fmla="*/ 148065 h 388632"/>
                    <a:gd name="connsiteX564" fmla="*/ 1334170 w 2003216"/>
                    <a:gd name="connsiteY564" fmla="*/ 148065 h 388632"/>
                    <a:gd name="connsiteX565" fmla="*/ 1334170 w 2003216"/>
                    <a:gd name="connsiteY565" fmla="*/ 128043 h 388632"/>
                    <a:gd name="connsiteX566" fmla="*/ 1333778 w 2003216"/>
                    <a:gd name="connsiteY566" fmla="*/ 128043 h 388632"/>
                    <a:gd name="connsiteX567" fmla="*/ 1319860 w 2003216"/>
                    <a:gd name="connsiteY567" fmla="*/ 144403 h 388632"/>
                    <a:gd name="connsiteX568" fmla="*/ 1299594 w 2003216"/>
                    <a:gd name="connsiteY568" fmla="*/ 150507 h 388632"/>
                    <a:gd name="connsiteX569" fmla="*/ 1277034 w 2003216"/>
                    <a:gd name="connsiteY569" fmla="*/ 142498 h 388632"/>
                    <a:gd name="connsiteX570" fmla="*/ 1268732 w 2003216"/>
                    <a:gd name="connsiteY570" fmla="*/ 122281 h 388632"/>
                    <a:gd name="connsiteX571" fmla="*/ 1303404 w 2003216"/>
                    <a:gd name="connsiteY571" fmla="*/ 90636 h 388632"/>
                    <a:gd name="connsiteX572" fmla="*/ 1334170 w 2003216"/>
                    <a:gd name="connsiteY572" fmla="*/ 86046 h 388632"/>
                    <a:gd name="connsiteX573" fmla="*/ 1309948 w 2003216"/>
                    <a:gd name="connsiteY573" fmla="*/ 53815 h 388632"/>
                    <a:gd name="connsiteX574" fmla="*/ 1277814 w 2003216"/>
                    <a:gd name="connsiteY574" fmla="*/ 67098 h 388632"/>
                    <a:gd name="connsiteX575" fmla="*/ 1277814 w 2003216"/>
                    <a:gd name="connsiteY575" fmla="*/ 56257 h 388632"/>
                    <a:gd name="connsiteX576" fmla="*/ 1292904 w 2003216"/>
                    <a:gd name="connsiteY576" fmla="*/ 48736 h 388632"/>
                    <a:gd name="connsiteX577" fmla="*/ 1310826 w 2003216"/>
                    <a:gd name="connsiteY577" fmla="*/ 45611 h 388632"/>
                    <a:gd name="connsiteX578" fmla="*/ 1102104 w 2003216"/>
                    <a:gd name="connsiteY578" fmla="*/ 45611 h 388632"/>
                    <a:gd name="connsiteX579" fmla="*/ 1131844 w 2003216"/>
                    <a:gd name="connsiteY579" fmla="*/ 58747 h 388632"/>
                    <a:gd name="connsiteX580" fmla="*/ 1142540 w 2003216"/>
                    <a:gd name="connsiteY580" fmla="*/ 94445 h 388632"/>
                    <a:gd name="connsiteX581" fmla="*/ 1130282 w 2003216"/>
                    <a:gd name="connsiteY581" fmla="*/ 135026 h 388632"/>
                    <a:gd name="connsiteX582" fmla="*/ 1097904 w 2003216"/>
                    <a:gd name="connsiteY582" fmla="*/ 150507 h 388632"/>
                    <a:gd name="connsiteX583" fmla="*/ 1064698 w 2003216"/>
                    <a:gd name="connsiteY583" fmla="*/ 130290 h 388632"/>
                    <a:gd name="connsiteX584" fmla="*/ 1064306 w 2003216"/>
                    <a:gd name="connsiteY584" fmla="*/ 130290 h 388632"/>
                    <a:gd name="connsiteX585" fmla="*/ 1064306 w 2003216"/>
                    <a:gd name="connsiteY585" fmla="*/ 194067 h 388632"/>
                    <a:gd name="connsiteX586" fmla="*/ 1055322 w 2003216"/>
                    <a:gd name="connsiteY586" fmla="*/ 194067 h 388632"/>
                    <a:gd name="connsiteX587" fmla="*/ 1055322 w 2003216"/>
                    <a:gd name="connsiteY587" fmla="*/ 48053 h 388632"/>
                    <a:gd name="connsiteX588" fmla="*/ 1064306 w 2003216"/>
                    <a:gd name="connsiteY588" fmla="*/ 48053 h 388632"/>
                    <a:gd name="connsiteX589" fmla="*/ 1064306 w 2003216"/>
                    <a:gd name="connsiteY589" fmla="*/ 68661 h 388632"/>
                    <a:gd name="connsiteX590" fmla="*/ 1064698 w 2003216"/>
                    <a:gd name="connsiteY590" fmla="*/ 68661 h 388632"/>
                    <a:gd name="connsiteX591" fmla="*/ 1080080 w 2003216"/>
                    <a:gd name="connsiteY591" fmla="*/ 51618 h 388632"/>
                    <a:gd name="connsiteX592" fmla="*/ 1102104 w 2003216"/>
                    <a:gd name="connsiteY592" fmla="*/ 45611 h 388632"/>
                    <a:gd name="connsiteX593" fmla="*/ 945896 w 2003216"/>
                    <a:gd name="connsiteY593" fmla="*/ 45611 h 388632"/>
                    <a:gd name="connsiteX594" fmla="*/ 968066 w 2003216"/>
                    <a:gd name="connsiteY594" fmla="*/ 50299 h 388632"/>
                    <a:gd name="connsiteX595" fmla="*/ 968066 w 2003216"/>
                    <a:gd name="connsiteY595" fmla="*/ 60457 h 388632"/>
                    <a:gd name="connsiteX596" fmla="*/ 944528 w 2003216"/>
                    <a:gd name="connsiteY596" fmla="*/ 53815 h 388632"/>
                    <a:gd name="connsiteX597" fmla="*/ 916008 w 2003216"/>
                    <a:gd name="connsiteY597" fmla="*/ 66463 h 388632"/>
                    <a:gd name="connsiteX598" fmla="*/ 905070 w 2003216"/>
                    <a:gd name="connsiteY598" fmla="*/ 99231 h 388632"/>
                    <a:gd name="connsiteX599" fmla="*/ 915080 w 2003216"/>
                    <a:gd name="connsiteY599" fmla="*/ 130485 h 388632"/>
                    <a:gd name="connsiteX600" fmla="*/ 941500 w 2003216"/>
                    <a:gd name="connsiteY600" fmla="*/ 142303 h 388632"/>
                    <a:gd name="connsiteX601" fmla="*/ 967676 w 2003216"/>
                    <a:gd name="connsiteY601" fmla="*/ 134294 h 388632"/>
                    <a:gd name="connsiteX602" fmla="*/ 967676 w 2003216"/>
                    <a:gd name="connsiteY602" fmla="*/ 143670 h 388632"/>
                    <a:gd name="connsiteX603" fmla="*/ 941110 w 2003216"/>
                    <a:gd name="connsiteY603" fmla="*/ 150507 h 388632"/>
                    <a:gd name="connsiteX604" fmla="*/ 908196 w 2003216"/>
                    <a:gd name="connsiteY604" fmla="*/ 136492 h 388632"/>
                    <a:gd name="connsiteX605" fmla="*/ 895694 w 2003216"/>
                    <a:gd name="connsiteY605" fmla="*/ 99817 h 388632"/>
                    <a:gd name="connsiteX606" fmla="*/ 909758 w 2003216"/>
                    <a:gd name="connsiteY606" fmla="*/ 60798 h 388632"/>
                    <a:gd name="connsiteX607" fmla="*/ 945896 w 2003216"/>
                    <a:gd name="connsiteY607" fmla="*/ 45611 h 388632"/>
                    <a:gd name="connsiteX608" fmla="*/ 734588 w 2003216"/>
                    <a:gd name="connsiteY608" fmla="*/ 45611 h 388632"/>
                    <a:gd name="connsiteX609" fmla="*/ 768380 w 2003216"/>
                    <a:gd name="connsiteY609" fmla="*/ 59578 h 388632"/>
                    <a:gd name="connsiteX610" fmla="*/ 780784 w 2003216"/>
                    <a:gd name="connsiteY610" fmla="*/ 98254 h 388632"/>
                    <a:gd name="connsiteX611" fmla="*/ 768136 w 2003216"/>
                    <a:gd name="connsiteY611" fmla="*/ 136052 h 388632"/>
                    <a:gd name="connsiteX612" fmla="*/ 733512 w 2003216"/>
                    <a:gd name="connsiteY612" fmla="*/ 150507 h 388632"/>
                    <a:gd name="connsiteX613" fmla="*/ 698890 w 2003216"/>
                    <a:gd name="connsiteY613" fmla="*/ 136101 h 388632"/>
                    <a:gd name="connsiteX614" fmla="*/ 686144 w 2003216"/>
                    <a:gd name="connsiteY614" fmla="*/ 98645 h 388632"/>
                    <a:gd name="connsiteX615" fmla="*/ 699476 w 2003216"/>
                    <a:gd name="connsiteY615" fmla="*/ 59675 h 388632"/>
                    <a:gd name="connsiteX616" fmla="*/ 734588 w 2003216"/>
                    <a:gd name="connsiteY616" fmla="*/ 45611 h 388632"/>
                    <a:gd name="connsiteX617" fmla="*/ 505988 w 2003216"/>
                    <a:gd name="connsiteY617" fmla="*/ 45611 h 388632"/>
                    <a:gd name="connsiteX618" fmla="*/ 539780 w 2003216"/>
                    <a:gd name="connsiteY618" fmla="*/ 59578 h 388632"/>
                    <a:gd name="connsiteX619" fmla="*/ 552184 w 2003216"/>
                    <a:gd name="connsiteY619" fmla="*/ 98254 h 388632"/>
                    <a:gd name="connsiteX620" fmla="*/ 539536 w 2003216"/>
                    <a:gd name="connsiteY620" fmla="*/ 136052 h 388632"/>
                    <a:gd name="connsiteX621" fmla="*/ 504912 w 2003216"/>
                    <a:gd name="connsiteY621" fmla="*/ 150507 h 388632"/>
                    <a:gd name="connsiteX622" fmla="*/ 470290 w 2003216"/>
                    <a:gd name="connsiteY622" fmla="*/ 136101 h 388632"/>
                    <a:gd name="connsiteX623" fmla="*/ 457544 w 2003216"/>
                    <a:gd name="connsiteY623" fmla="*/ 98645 h 388632"/>
                    <a:gd name="connsiteX624" fmla="*/ 470876 w 2003216"/>
                    <a:gd name="connsiteY624" fmla="*/ 59675 h 388632"/>
                    <a:gd name="connsiteX625" fmla="*/ 505988 w 2003216"/>
                    <a:gd name="connsiteY625" fmla="*/ 45611 h 388632"/>
                    <a:gd name="connsiteX626" fmla="*/ 225614 w 2003216"/>
                    <a:gd name="connsiteY626" fmla="*/ 45611 h 388632"/>
                    <a:gd name="connsiteX627" fmla="*/ 247686 w 2003216"/>
                    <a:gd name="connsiteY627" fmla="*/ 50885 h 388632"/>
                    <a:gd name="connsiteX628" fmla="*/ 247686 w 2003216"/>
                    <a:gd name="connsiteY628" fmla="*/ 61043 h 388632"/>
                    <a:gd name="connsiteX629" fmla="*/ 224636 w 2003216"/>
                    <a:gd name="connsiteY629" fmla="*/ 53815 h 388632"/>
                    <a:gd name="connsiteX630" fmla="*/ 208716 w 2003216"/>
                    <a:gd name="connsiteY630" fmla="*/ 58943 h 388632"/>
                    <a:gd name="connsiteX631" fmla="*/ 202662 w 2003216"/>
                    <a:gd name="connsiteY631" fmla="*/ 72275 h 388632"/>
                    <a:gd name="connsiteX632" fmla="*/ 206470 w 2003216"/>
                    <a:gd name="connsiteY632" fmla="*/ 83848 h 388632"/>
                    <a:gd name="connsiteX633" fmla="*/ 223270 w 2003216"/>
                    <a:gd name="connsiteY633" fmla="*/ 94055 h 388632"/>
                    <a:gd name="connsiteX634" fmla="*/ 244756 w 2003216"/>
                    <a:gd name="connsiteY634" fmla="*/ 107093 h 388632"/>
                    <a:gd name="connsiteX635" fmla="*/ 250616 w 2003216"/>
                    <a:gd name="connsiteY635" fmla="*/ 123062 h 388632"/>
                    <a:gd name="connsiteX636" fmla="*/ 241680 w 2003216"/>
                    <a:gd name="connsiteY636" fmla="*/ 142742 h 388632"/>
                    <a:gd name="connsiteX637" fmla="*/ 217018 w 2003216"/>
                    <a:gd name="connsiteY637" fmla="*/ 150507 h 388632"/>
                    <a:gd name="connsiteX638" fmla="*/ 192894 w 2003216"/>
                    <a:gd name="connsiteY638" fmla="*/ 143670 h 388632"/>
                    <a:gd name="connsiteX639" fmla="*/ 192894 w 2003216"/>
                    <a:gd name="connsiteY639" fmla="*/ 132829 h 388632"/>
                    <a:gd name="connsiteX640" fmla="*/ 205200 w 2003216"/>
                    <a:gd name="connsiteY640" fmla="*/ 139763 h 388632"/>
                    <a:gd name="connsiteX641" fmla="*/ 217702 w 2003216"/>
                    <a:gd name="connsiteY641" fmla="*/ 142303 h 388632"/>
                    <a:gd name="connsiteX642" fmla="*/ 241240 w 2003216"/>
                    <a:gd name="connsiteY642" fmla="*/ 123062 h 388632"/>
                    <a:gd name="connsiteX643" fmla="*/ 236064 w 2003216"/>
                    <a:gd name="connsiteY643" fmla="*/ 111733 h 388632"/>
                    <a:gd name="connsiteX644" fmla="*/ 219266 w 2003216"/>
                    <a:gd name="connsiteY644" fmla="*/ 102063 h 388632"/>
                    <a:gd name="connsiteX645" fmla="*/ 199096 w 2003216"/>
                    <a:gd name="connsiteY645" fmla="*/ 89122 h 388632"/>
                    <a:gd name="connsiteX646" fmla="*/ 193286 w 2003216"/>
                    <a:gd name="connsiteY646" fmla="*/ 72861 h 388632"/>
                    <a:gd name="connsiteX647" fmla="*/ 202612 w 2003216"/>
                    <a:gd name="connsiteY647" fmla="*/ 53132 h 388632"/>
                    <a:gd name="connsiteX648" fmla="*/ 225614 w 2003216"/>
                    <a:gd name="connsiteY648" fmla="*/ 45611 h 388632"/>
                    <a:gd name="connsiteX649" fmla="*/ 1906706 w 2003216"/>
                    <a:gd name="connsiteY649" fmla="*/ 19045 h 388632"/>
                    <a:gd name="connsiteX650" fmla="*/ 1906706 w 2003216"/>
                    <a:gd name="connsiteY650" fmla="*/ 48053 h 388632"/>
                    <a:gd name="connsiteX651" fmla="*/ 1933076 w 2003216"/>
                    <a:gd name="connsiteY651" fmla="*/ 48053 h 388632"/>
                    <a:gd name="connsiteX652" fmla="*/ 1933076 w 2003216"/>
                    <a:gd name="connsiteY652" fmla="*/ 56257 h 388632"/>
                    <a:gd name="connsiteX653" fmla="*/ 1906706 w 2003216"/>
                    <a:gd name="connsiteY653" fmla="*/ 56257 h 388632"/>
                    <a:gd name="connsiteX654" fmla="*/ 1906706 w 2003216"/>
                    <a:gd name="connsiteY654" fmla="*/ 122281 h 388632"/>
                    <a:gd name="connsiteX655" fmla="*/ 1909978 w 2003216"/>
                    <a:gd name="connsiteY655" fmla="*/ 137273 h 388632"/>
                    <a:gd name="connsiteX656" fmla="*/ 1921064 w 2003216"/>
                    <a:gd name="connsiteY656" fmla="*/ 141912 h 388632"/>
                    <a:gd name="connsiteX657" fmla="*/ 1933076 w 2003216"/>
                    <a:gd name="connsiteY657" fmla="*/ 138298 h 388632"/>
                    <a:gd name="connsiteX658" fmla="*/ 1933076 w 2003216"/>
                    <a:gd name="connsiteY658" fmla="*/ 146698 h 388632"/>
                    <a:gd name="connsiteX659" fmla="*/ 1919892 w 2003216"/>
                    <a:gd name="connsiteY659" fmla="*/ 150019 h 388632"/>
                    <a:gd name="connsiteX660" fmla="*/ 1897720 w 2003216"/>
                    <a:gd name="connsiteY660" fmla="*/ 123453 h 388632"/>
                    <a:gd name="connsiteX661" fmla="*/ 1897720 w 2003216"/>
                    <a:gd name="connsiteY661" fmla="*/ 56257 h 388632"/>
                    <a:gd name="connsiteX662" fmla="*/ 1879750 w 2003216"/>
                    <a:gd name="connsiteY662" fmla="*/ 56257 h 388632"/>
                    <a:gd name="connsiteX663" fmla="*/ 1879750 w 2003216"/>
                    <a:gd name="connsiteY663" fmla="*/ 48053 h 388632"/>
                    <a:gd name="connsiteX664" fmla="*/ 1897720 w 2003216"/>
                    <a:gd name="connsiteY664" fmla="*/ 48053 h 388632"/>
                    <a:gd name="connsiteX665" fmla="*/ 1897720 w 2003216"/>
                    <a:gd name="connsiteY665" fmla="*/ 22073 h 388632"/>
                    <a:gd name="connsiteX666" fmla="*/ 1902214 w 2003216"/>
                    <a:gd name="connsiteY666" fmla="*/ 20510 h 388632"/>
                    <a:gd name="connsiteX667" fmla="*/ 1906706 w 2003216"/>
                    <a:gd name="connsiteY667" fmla="*/ 19045 h 388632"/>
                    <a:gd name="connsiteX668" fmla="*/ 820856 w 2003216"/>
                    <a:gd name="connsiteY668" fmla="*/ 19045 h 388632"/>
                    <a:gd name="connsiteX669" fmla="*/ 820856 w 2003216"/>
                    <a:gd name="connsiteY669" fmla="*/ 48053 h 388632"/>
                    <a:gd name="connsiteX670" fmla="*/ 847228 w 2003216"/>
                    <a:gd name="connsiteY670" fmla="*/ 48053 h 388632"/>
                    <a:gd name="connsiteX671" fmla="*/ 847228 w 2003216"/>
                    <a:gd name="connsiteY671" fmla="*/ 56257 h 388632"/>
                    <a:gd name="connsiteX672" fmla="*/ 820856 w 2003216"/>
                    <a:gd name="connsiteY672" fmla="*/ 56257 h 388632"/>
                    <a:gd name="connsiteX673" fmla="*/ 820856 w 2003216"/>
                    <a:gd name="connsiteY673" fmla="*/ 122281 h 388632"/>
                    <a:gd name="connsiteX674" fmla="*/ 824128 w 2003216"/>
                    <a:gd name="connsiteY674" fmla="*/ 137273 h 388632"/>
                    <a:gd name="connsiteX675" fmla="*/ 835214 w 2003216"/>
                    <a:gd name="connsiteY675" fmla="*/ 141912 h 388632"/>
                    <a:gd name="connsiteX676" fmla="*/ 847228 w 2003216"/>
                    <a:gd name="connsiteY676" fmla="*/ 138298 h 388632"/>
                    <a:gd name="connsiteX677" fmla="*/ 847228 w 2003216"/>
                    <a:gd name="connsiteY677" fmla="*/ 146698 h 388632"/>
                    <a:gd name="connsiteX678" fmla="*/ 834042 w 2003216"/>
                    <a:gd name="connsiteY678" fmla="*/ 150019 h 388632"/>
                    <a:gd name="connsiteX679" fmla="*/ 811872 w 2003216"/>
                    <a:gd name="connsiteY679" fmla="*/ 123453 h 388632"/>
                    <a:gd name="connsiteX680" fmla="*/ 811872 w 2003216"/>
                    <a:gd name="connsiteY680" fmla="*/ 56257 h 388632"/>
                    <a:gd name="connsiteX681" fmla="*/ 793900 w 2003216"/>
                    <a:gd name="connsiteY681" fmla="*/ 56257 h 388632"/>
                    <a:gd name="connsiteX682" fmla="*/ 793900 w 2003216"/>
                    <a:gd name="connsiteY682" fmla="*/ 48053 h 388632"/>
                    <a:gd name="connsiteX683" fmla="*/ 811872 w 2003216"/>
                    <a:gd name="connsiteY683" fmla="*/ 48053 h 388632"/>
                    <a:gd name="connsiteX684" fmla="*/ 811872 w 2003216"/>
                    <a:gd name="connsiteY684" fmla="*/ 22073 h 388632"/>
                    <a:gd name="connsiteX685" fmla="*/ 816364 w 2003216"/>
                    <a:gd name="connsiteY685" fmla="*/ 20510 h 388632"/>
                    <a:gd name="connsiteX686" fmla="*/ 820856 w 2003216"/>
                    <a:gd name="connsiteY686" fmla="*/ 19045 h 388632"/>
                    <a:gd name="connsiteX687" fmla="*/ 287456 w 2003216"/>
                    <a:gd name="connsiteY687" fmla="*/ 19045 h 388632"/>
                    <a:gd name="connsiteX688" fmla="*/ 287456 w 2003216"/>
                    <a:gd name="connsiteY688" fmla="*/ 48053 h 388632"/>
                    <a:gd name="connsiteX689" fmla="*/ 313826 w 2003216"/>
                    <a:gd name="connsiteY689" fmla="*/ 48053 h 388632"/>
                    <a:gd name="connsiteX690" fmla="*/ 313826 w 2003216"/>
                    <a:gd name="connsiteY690" fmla="*/ 56257 h 388632"/>
                    <a:gd name="connsiteX691" fmla="*/ 287456 w 2003216"/>
                    <a:gd name="connsiteY691" fmla="*/ 56257 h 388632"/>
                    <a:gd name="connsiteX692" fmla="*/ 287456 w 2003216"/>
                    <a:gd name="connsiteY692" fmla="*/ 122281 h 388632"/>
                    <a:gd name="connsiteX693" fmla="*/ 290728 w 2003216"/>
                    <a:gd name="connsiteY693" fmla="*/ 137273 h 388632"/>
                    <a:gd name="connsiteX694" fmla="*/ 301814 w 2003216"/>
                    <a:gd name="connsiteY694" fmla="*/ 141912 h 388632"/>
                    <a:gd name="connsiteX695" fmla="*/ 313826 w 2003216"/>
                    <a:gd name="connsiteY695" fmla="*/ 138298 h 388632"/>
                    <a:gd name="connsiteX696" fmla="*/ 313826 w 2003216"/>
                    <a:gd name="connsiteY696" fmla="*/ 146698 h 388632"/>
                    <a:gd name="connsiteX697" fmla="*/ 300642 w 2003216"/>
                    <a:gd name="connsiteY697" fmla="*/ 150019 h 388632"/>
                    <a:gd name="connsiteX698" fmla="*/ 278470 w 2003216"/>
                    <a:gd name="connsiteY698" fmla="*/ 123453 h 388632"/>
                    <a:gd name="connsiteX699" fmla="*/ 278470 w 2003216"/>
                    <a:gd name="connsiteY699" fmla="*/ 56257 h 388632"/>
                    <a:gd name="connsiteX700" fmla="*/ 260500 w 2003216"/>
                    <a:gd name="connsiteY700" fmla="*/ 56257 h 388632"/>
                    <a:gd name="connsiteX701" fmla="*/ 260500 w 2003216"/>
                    <a:gd name="connsiteY701" fmla="*/ 48053 h 388632"/>
                    <a:gd name="connsiteX702" fmla="*/ 278470 w 2003216"/>
                    <a:gd name="connsiteY702" fmla="*/ 48053 h 388632"/>
                    <a:gd name="connsiteX703" fmla="*/ 278470 w 2003216"/>
                    <a:gd name="connsiteY703" fmla="*/ 22073 h 388632"/>
                    <a:gd name="connsiteX704" fmla="*/ 282964 w 2003216"/>
                    <a:gd name="connsiteY704" fmla="*/ 20510 h 388632"/>
                    <a:gd name="connsiteX705" fmla="*/ 287456 w 2003216"/>
                    <a:gd name="connsiteY705" fmla="*/ 19045 h 388632"/>
                    <a:gd name="connsiteX706" fmla="*/ 1783616 w 2003216"/>
                    <a:gd name="connsiteY706" fmla="*/ 8009 h 388632"/>
                    <a:gd name="connsiteX707" fmla="*/ 1788940 w 2003216"/>
                    <a:gd name="connsiteY707" fmla="*/ 9962 h 388632"/>
                    <a:gd name="connsiteX708" fmla="*/ 1791234 w 2003216"/>
                    <a:gd name="connsiteY708" fmla="*/ 15236 h 388632"/>
                    <a:gd name="connsiteX709" fmla="*/ 1788988 w 2003216"/>
                    <a:gd name="connsiteY709" fmla="*/ 20608 h 388632"/>
                    <a:gd name="connsiteX710" fmla="*/ 1783616 w 2003216"/>
                    <a:gd name="connsiteY710" fmla="*/ 22854 h 388632"/>
                    <a:gd name="connsiteX711" fmla="*/ 1778440 w 2003216"/>
                    <a:gd name="connsiteY711" fmla="*/ 20706 h 388632"/>
                    <a:gd name="connsiteX712" fmla="*/ 1776194 w 2003216"/>
                    <a:gd name="connsiteY712" fmla="*/ 15236 h 388632"/>
                    <a:gd name="connsiteX713" fmla="*/ 1778488 w 2003216"/>
                    <a:gd name="connsiteY713" fmla="*/ 10011 h 388632"/>
                    <a:gd name="connsiteX714" fmla="*/ 1783616 w 2003216"/>
                    <a:gd name="connsiteY714" fmla="*/ 8009 h 388632"/>
                    <a:gd name="connsiteX715" fmla="*/ 869216 w 2003216"/>
                    <a:gd name="connsiteY715" fmla="*/ 8009 h 388632"/>
                    <a:gd name="connsiteX716" fmla="*/ 874540 w 2003216"/>
                    <a:gd name="connsiteY716" fmla="*/ 9962 h 388632"/>
                    <a:gd name="connsiteX717" fmla="*/ 876834 w 2003216"/>
                    <a:gd name="connsiteY717" fmla="*/ 15236 h 388632"/>
                    <a:gd name="connsiteX718" fmla="*/ 874588 w 2003216"/>
                    <a:gd name="connsiteY718" fmla="*/ 20608 h 388632"/>
                    <a:gd name="connsiteX719" fmla="*/ 869216 w 2003216"/>
                    <a:gd name="connsiteY719" fmla="*/ 22854 h 388632"/>
                    <a:gd name="connsiteX720" fmla="*/ 864040 w 2003216"/>
                    <a:gd name="connsiteY720" fmla="*/ 20706 h 388632"/>
                    <a:gd name="connsiteX721" fmla="*/ 861794 w 2003216"/>
                    <a:gd name="connsiteY721" fmla="*/ 15236 h 388632"/>
                    <a:gd name="connsiteX722" fmla="*/ 864088 w 2003216"/>
                    <a:gd name="connsiteY722" fmla="*/ 10011 h 388632"/>
                    <a:gd name="connsiteX723" fmla="*/ 869216 w 2003216"/>
                    <a:gd name="connsiteY723" fmla="*/ 8009 h 388632"/>
                    <a:gd name="connsiteX724" fmla="*/ 97692 w 2003216"/>
                    <a:gd name="connsiteY724" fmla="*/ 8009 h 388632"/>
                    <a:gd name="connsiteX725" fmla="*/ 103014 w 2003216"/>
                    <a:gd name="connsiteY725" fmla="*/ 9962 h 388632"/>
                    <a:gd name="connsiteX726" fmla="*/ 105310 w 2003216"/>
                    <a:gd name="connsiteY726" fmla="*/ 15236 h 388632"/>
                    <a:gd name="connsiteX727" fmla="*/ 103064 w 2003216"/>
                    <a:gd name="connsiteY727" fmla="*/ 20608 h 388632"/>
                    <a:gd name="connsiteX728" fmla="*/ 97692 w 2003216"/>
                    <a:gd name="connsiteY728" fmla="*/ 22854 h 388632"/>
                    <a:gd name="connsiteX729" fmla="*/ 92514 w 2003216"/>
                    <a:gd name="connsiteY729" fmla="*/ 20706 h 388632"/>
                    <a:gd name="connsiteX730" fmla="*/ 90268 w 2003216"/>
                    <a:gd name="connsiteY730" fmla="*/ 15236 h 388632"/>
                    <a:gd name="connsiteX731" fmla="*/ 92564 w 2003216"/>
                    <a:gd name="connsiteY731" fmla="*/ 10011 h 388632"/>
                    <a:gd name="connsiteX732" fmla="*/ 97692 w 2003216"/>
                    <a:gd name="connsiteY732" fmla="*/ 8009 h 388632"/>
                    <a:gd name="connsiteX733" fmla="*/ 0 w 2003216"/>
                    <a:gd name="connsiteY733" fmla="*/ 8009 h 388632"/>
                    <a:gd name="connsiteX734" fmla="*/ 65438 w 2003216"/>
                    <a:gd name="connsiteY734" fmla="*/ 8009 h 388632"/>
                    <a:gd name="connsiteX735" fmla="*/ 65438 w 2003216"/>
                    <a:gd name="connsiteY735" fmla="*/ 16897 h 388632"/>
                    <a:gd name="connsiteX736" fmla="*/ 9668 w 2003216"/>
                    <a:gd name="connsiteY736" fmla="*/ 16897 h 388632"/>
                    <a:gd name="connsiteX737" fmla="*/ 9668 w 2003216"/>
                    <a:gd name="connsiteY737" fmla="*/ 74033 h 388632"/>
                    <a:gd name="connsiteX738" fmla="*/ 61432 w 2003216"/>
                    <a:gd name="connsiteY738" fmla="*/ 74033 h 388632"/>
                    <a:gd name="connsiteX739" fmla="*/ 61432 w 2003216"/>
                    <a:gd name="connsiteY739" fmla="*/ 82823 h 388632"/>
                    <a:gd name="connsiteX740" fmla="*/ 9668 w 2003216"/>
                    <a:gd name="connsiteY740" fmla="*/ 82823 h 388632"/>
                    <a:gd name="connsiteX741" fmla="*/ 9668 w 2003216"/>
                    <a:gd name="connsiteY741" fmla="*/ 148065 h 388632"/>
                    <a:gd name="connsiteX742" fmla="*/ 0 w 2003216"/>
                    <a:gd name="connsiteY742" fmla="*/ 148065 h 388632"/>
                    <a:gd name="connsiteX743" fmla="*/ 1169622 w 2003216"/>
                    <a:gd name="connsiteY743" fmla="*/ 0 h 388632"/>
                    <a:gd name="connsiteX744" fmla="*/ 1178606 w 2003216"/>
                    <a:gd name="connsiteY744" fmla="*/ 0 h 388632"/>
                    <a:gd name="connsiteX745" fmla="*/ 1178606 w 2003216"/>
                    <a:gd name="connsiteY745" fmla="*/ 66024 h 388632"/>
                    <a:gd name="connsiteX746" fmla="*/ 1178998 w 2003216"/>
                    <a:gd name="connsiteY746" fmla="*/ 66024 h 388632"/>
                    <a:gd name="connsiteX747" fmla="*/ 1213376 w 2003216"/>
                    <a:gd name="connsiteY747" fmla="*/ 45611 h 388632"/>
                    <a:gd name="connsiteX748" fmla="*/ 1238086 w 2003216"/>
                    <a:gd name="connsiteY748" fmla="*/ 56062 h 388632"/>
                    <a:gd name="connsiteX749" fmla="*/ 1246584 w 2003216"/>
                    <a:gd name="connsiteY749" fmla="*/ 86046 h 388632"/>
                    <a:gd name="connsiteX750" fmla="*/ 1246584 w 2003216"/>
                    <a:gd name="connsiteY750" fmla="*/ 148065 h 388632"/>
                    <a:gd name="connsiteX751" fmla="*/ 1237598 w 2003216"/>
                    <a:gd name="connsiteY751" fmla="*/ 148065 h 388632"/>
                    <a:gd name="connsiteX752" fmla="*/ 1237598 w 2003216"/>
                    <a:gd name="connsiteY752" fmla="*/ 88097 h 388632"/>
                    <a:gd name="connsiteX753" fmla="*/ 1231152 w 2003216"/>
                    <a:gd name="connsiteY753" fmla="*/ 62068 h 388632"/>
                    <a:gd name="connsiteX754" fmla="*/ 1211032 w 2003216"/>
                    <a:gd name="connsiteY754" fmla="*/ 53815 h 388632"/>
                    <a:gd name="connsiteX755" fmla="*/ 1188374 w 2003216"/>
                    <a:gd name="connsiteY755" fmla="*/ 63875 h 388632"/>
                    <a:gd name="connsiteX756" fmla="*/ 1178606 w 2003216"/>
                    <a:gd name="connsiteY756" fmla="*/ 92687 h 388632"/>
                    <a:gd name="connsiteX757" fmla="*/ 1178606 w 2003216"/>
                    <a:gd name="connsiteY757" fmla="*/ 148065 h 388632"/>
                    <a:gd name="connsiteX758" fmla="*/ 1169622 w 2003216"/>
                    <a:gd name="connsiteY758" fmla="*/ 148065 h 388632"/>
                    <a:gd name="connsiteX759" fmla="*/ 579072 w 2003216"/>
                    <a:gd name="connsiteY759" fmla="*/ 0 h 388632"/>
                    <a:gd name="connsiteX760" fmla="*/ 588056 w 2003216"/>
                    <a:gd name="connsiteY760" fmla="*/ 0 h 388632"/>
                    <a:gd name="connsiteX761" fmla="*/ 588056 w 2003216"/>
                    <a:gd name="connsiteY761" fmla="*/ 68661 h 388632"/>
                    <a:gd name="connsiteX762" fmla="*/ 588448 w 2003216"/>
                    <a:gd name="connsiteY762" fmla="*/ 68661 h 388632"/>
                    <a:gd name="connsiteX763" fmla="*/ 603830 w 2003216"/>
                    <a:gd name="connsiteY763" fmla="*/ 51618 h 388632"/>
                    <a:gd name="connsiteX764" fmla="*/ 625854 w 2003216"/>
                    <a:gd name="connsiteY764" fmla="*/ 45611 h 388632"/>
                    <a:gd name="connsiteX765" fmla="*/ 655594 w 2003216"/>
                    <a:gd name="connsiteY765" fmla="*/ 58747 h 388632"/>
                    <a:gd name="connsiteX766" fmla="*/ 666290 w 2003216"/>
                    <a:gd name="connsiteY766" fmla="*/ 94445 h 388632"/>
                    <a:gd name="connsiteX767" fmla="*/ 653886 w 2003216"/>
                    <a:gd name="connsiteY767" fmla="*/ 135026 h 388632"/>
                    <a:gd name="connsiteX768" fmla="*/ 621654 w 2003216"/>
                    <a:gd name="connsiteY768" fmla="*/ 150507 h 388632"/>
                    <a:gd name="connsiteX769" fmla="*/ 588448 w 2003216"/>
                    <a:gd name="connsiteY769" fmla="*/ 130290 h 388632"/>
                    <a:gd name="connsiteX770" fmla="*/ 588056 w 2003216"/>
                    <a:gd name="connsiteY770" fmla="*/ 130290 h 388632"/>
                    <a:gd name="connsiteX771" fmla="*/ 588056 w 2003216"/>
                    <a:gd name="connsiteY771" fmla="*/ 148065 h 388632"/>
                    <a:gd name="connsiteX772" fmla="*/ 579072 w 2003216"/>
                    <a:gd name="connsiteY772" fmla="*/ 148065 h 388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</a:cxnLst>
                  <a:rect l="l" t="t" r="r" b="b"/>
                  <a:pathLst>
                    <a:path w="2003216" h="388632">
                      <a:moveTo>
                        <a:pt x="105444" y="332375"/>
                      </a:moveTo>
                      <a:lnTo>
                        <a:pt x="77902" y="336379"/>
                      </a:lnTo>
                      <a:cubicBezTo>
                        <a:pt x="67418" y="337877"/>
                        <a:pt x="60060" y="340302"/>
                        <a:pt x="55828" y="343656"/>
                      </a:cubicBezTo>
                      <a:cubicBezTo>
                        <a:pt x="51596" y="347009"/>
                        <a:pt x="49480" y="352462"/>
                        <a:pt x="49480" y="360015"/>
                      </a:cubicBezTo>
                      <a:cubicBezTo>
                        <a:pt x="49480" y="365940"/>
                        <a:pt x="51450" y="370824"/>
                        <a:pt x="55390" y="374665"/>
                      </a:cubicBezTo>
                      <a:cubicBezTo>
                        <a:pt x="59328" y="378507"/>
                        <a:pt x="64814" y="380428"/>
                        <a:pt x="71846" y="380428"/>
                      </a:cubicBezTo>
                      <a:cubicBezTo>
                        <a:pt x="81484" y="380428"/>
                        <a:pt x="89492" y="376863"/>
                        <a:pt x="95872" y="369733"/>
                      </a:cubicBezTo>
                      <a:cubicBezTo>
                        <a:pt x="102254" y="362603"/>
                        <a:pt x="105444" y="353406"/>
                        <a:pt x="105444" y="342142"/>
                      </a:cubicBezTo>
                      <a:close/>
                      <a:moveTo>
                        <a:pt x="1835482" y="291940"/>
                      </a:moveTo>
                      <a:cubicBezTo>
                        <a:pt x="1826106" y="291940"/>
                        <a:pt x="1818342" y="295082"/>
                        <a:pt x="1812188" y="301365"/>
                      </a:cubicBezTo>
                      <a:cubicBezTo>
                        <a:pt x="1806036" y="307649"/>
                        <a:pt x="1802244" y="316650"/>
                        <a:pt x="1800810" y="328371"/>
                      </a:cubicBezTo>
                      <a:lnTo>
                        <a:pt x="1865076" y="328371"/>
                      </a:lnTo>
                      <a:cubicBezTo>
                        <a:pt x="1864686" y="316846"/>
                        <a:pt x="1861918" y="307893"/>
                        <a:pt x="1856774" y="301512"/>
                      </a:cubicBezTo>
                      <a:cubicBezTo>
                        <a:pt x="1851630" y="295131"/>
                        <a:pt x="1844534" y="291940"/>
                        <a:pt x="1835482" y="291940"/>
                      </a:cubicBezTo>
                      <a:close/>
                      <a:moveTo>
                        <a:pt x="1686696" y="291940"/>
                      </a:moveTo>
                      <a:cubicBezTo>
                        <a:pt x="1674912" y="291940"/>
                        <a:pt x="1665518" y="295912"/>
                        <a:pt x="1658520" y="303856"/>
                      </a:cubicBezTo>
                      <a:cubicBezTo>
                        <a:pt x="1651520" y="311799"/>
                        <a:pt x="1648020" y="322836"/>
                        <a:pt x="1648020" y="336965"/>
                      </a:cubicBezTo>
                      <a:cubicBezTo>
                        <a:pt x="1648020" y="350053"/>
                        <a:pt x="1651438" y="360569"/>
                        <a:pt x="1658276" y="368512"/>
                      </a:cubicBezTo>
                      <a:cubicBezTo>
                        <a:pt x="1665112" y="376456"/>
                        <a:pt x="1674456" y="380428"/>
                        <a:pt x="1686306" y="380428"/>
                      </a:cubicBezTo>
                      <a:cubicBezTo>
                        <a:pt x="1698352" y="380428"/>
                        <a:pt x="1707630" y="376521"/>
                        <a:pt x="1714142" y="368708"/>
                      </a:cubicBezTo>
                      <a:cubicBezTo>
                        <a:pt x="1720652" y="360894"/>
                        <a:pt x="1723908" y="350053"/>
                        <a:pt x="1723908" y="336184"/>
                      </a:cubicBezTo>
                      <a:cubicBezTo>
                        <a:pt x="1723908" y="321924"/>
                        <a:pt x="1720668" y="310986"/>
                        <a:pt x="1714190" y="303367"/>
                      </a:cubicBezTo>
                      <a:cubicBezTo>
                        <a:pt x="1707712" y="295749"/>
                        <a:pt x="1698548" y="291940"/>
                        <a:pt x="1686696" y="291940"/>
                      </a:cubicBezTo>
                      <a:close/>
                      <a:moveTo>
                        <a:pt x="1444958" y="291940"/>
                      </a:moveTo>
                      <a:cubicBezTo>
                        <a:pt x="1435582" y="291940"/>
                        <a:pt x="1427816" y="295082"/>
                        <a:pt x="1421664" y="301365"/>
                      </a:cubicBezTo>
                      <a:cubicBezTo>
                        <a:pt x="1415510" y="307649"/>
                        <a:pt x="1411718" y="316650"/>
                        <a:pt x="1410286" y="328371"/>
                      </a:cubicBezTo>
                      <a:lnTo>
                        <a:pt x="1474552" y="328371"/>
                      </a:lnTo>
                      <a:cubicBezTo>
                        <a:pt x="1474160" y="316846"/>
                        <a:pt x="1471394" y="307893"/>
                        <a:pt x="1466250" y="301512"/>
                      </a:cubicBezTo>
                      <a:cubicBezTo>
                        <a:pt x="1461106" y="295131"/>
                        <a:pt x="1454008" y="291940"/>
                        <a:pt x="1444958" y="291940"/>
                      </a:cubicBezTo>
                      <a:close/>
                      <a:moveTo>
                        <a:pt x="1044908" y="291940"/>
                      </a:moveTo>
                      <a:cubicBezTo>
                        <a:pt x="1035532" y="291940"/>
                        <a:pt x="1027768" y="295082"/>
                        <a:pt x="1021614" y="301365"/>
                      </a:cubicBezTo>
                      <a:cubicBezTo>
                        <a:pt x="1015460" y="307649"/>
                        <a:pt x="1011668" y="316650"/>
                        <a:pt x="1010236" y="328371"/>
                      </a:cubicBezTo>
                      <a:lnTo>
                        <a:pt x="1074502" y="328371"/>
                      </a:lnTo>
                      <a:cubicBezTo>
                        <a:pt x="1074110" y="316846"/>
                        <a:pt x="1071344" y="307893"/>
                        <a:pt x="1066200" y="301512"/>
                      </a:cubicBezTo>
                      <a:cubicBezTo>
                        <a:pt x="1061056" y="295131"/>
                        <a:pt x="1053958" y="291940"/>
                        <a:pt x="1044908" y="291940"/>
                      </a:cubicBezTo>
                      <a:close/>
                      <a:moveTo>
                        <a:pt x="740108" y="291940"/>
                      </a:moveTo>
                      <a:cubicBezTo>
                        <a:pt x="730732" y="291940"/>
                        <a:pt x="722968" y="295082"/>
                        <a:pt x="716814" y="301365"/>
                      </a:cubicBezTo>
                      <a:cubicBezTo>
                        <a:pt x="710660" y="307649"/>
                        <a:pt x="706868" y="316650"/>
                        <a:pt x="705436" y="328371"/>
                      </a:cubicBezTo>
                      <a:lnTo>
                        <a:pt x="769702" y="328371"/>
                      </a:lnTo>
                      <a:cubicBezTo>
                        <a:pt x="769310" y="316846"/>
                        <a:pt x="766544" y="307893"/>
                        <a:pt x="761400" y="301512"/>
                      </a:cubicBezTo>
                      <a:cubicBezTo>
                        <a:pt x="756256" y="295131"/>
                        <a:pt x="749158" y="291940"/>
                        <a:pt x="740108" y="291940"/>
                      </a:cubicBezTo>
                      <a:close/>
                      <a:moveTo>
                        <a:pt x="467496" y="291940"/>
                      </a:moveTo>
                      <a:cubicBezTo>
                        <a:pt x="455712" y="291940"/>
                        <a:pt x="446318" y="295912"/>
                        <a:pt x="439320" y="303856"/>
                      </a:cubicBezTo>
                      <a:cubicBezTo>
                        <a:pt x="432320" y="311799"/>
                        <a:pt x="428820" y="322836"/>
                        <a:pt x="428820" y="336965"/>
                      </a:cubicBezTo>
                      <a:cubicBezTo>
                        <a:pt x="428820" y="350053"/>
                        <a:pt x="432238" y="360569"/>
                        <a:pt x="439076" y="368512"/>
                      </a:cubicBezTo>
                      <a:cubicBezTo>
                        <a:pt x="445912" y="376456"/>
                        <a:pt x="455256" y="380428"/>
                        <a:pt x="467106" y="380428"/>
                      </a:cubicBezTo>
                      <a:cubicBezTo>
                        <a:pt x="479152" y="380428"/>
                        <a:pt x="488430" y="376521"/>
                        <a:pt x="494942" y="368708"/>
                      </a:cubicBezTo>
                      <a:cubicBezTo>
                        <a:pt x="501452" y="360894"/>
                        <a:pt x="504708" y="350053"/>
                        <a:pt x="504708" y="336184"/>
                      </a:cubicBezTo>
                      <a:cubicBezTo>
                        <a:pt x="504708" y="321924"/>
                        <a:pt x="501468" y="310986"/>
                        <a:pt x="494990" y="303367"/>
                      </a:cubicBezTo>
                      <a:cubicBezTo>
                        <a:pt x="488512" y="295749"/>
                        <a:pt x="479348" y="291940"/>
                        <a:pt x="467496" y="291940"/>
                      </a:cubicBezTo>
                      <a:close/>
                      <a:moveTo>
                        <a:pt x="284080" y="291940"/>
                      </a:moveTo>
                      <a:cubicBezTo>
                        <a:pt x="273596" y="291940"/>
                        <a:pt x="264936" y="295961"/>
                        <a:pt x="258100" y="304002"/>
                      </a:cubicBezTo>
                      <a:cubicBezTo>
                        <a:pt x="251264" y="312044"/>
                        <a:pt x="247844" y="323096"/>
                        <a:pt x="247844" y="337161"/>
                      </a:cubicBezTo>
                      <a:cubicBezTo>
                        <a:pt x="247844" y="350964"/>
                        <a:pt x="250922" y="361627"/>
                        <a:pt x="257074" y="369147"/>
                      </a:cubicBezTo>
                      <a:cubicBezTo>
                        <a:pt x="263228" y="376668"/>
                        <a:pt x="271156" y="380428"/>
                        <a:pt x="280856" y="380428"/>
                      </a:cubicBezTo>
                      <a:cubicBezTo>
                        <a:pt x="292252" y="380428"/>
                        <a:pt x="301074" y="376895"/>
                        <a:pt x="307324" y="369831"/>
                      </a:cubicBezTo>
                      <a:cubicBezTo>
                        <a:pt x="313576" y="362766"/>
                        <a:pt x="316702" y="354155"/>
                        <a:pt x="316702" y="343997"/>
                      </a:cubicBezTo>
                      <a:lnTo>
                        <a:pt x="316702" y="325343"/>
                      </a:lnTo>
                      <a:cubicBezTo>
                        <a:pt x="316702" y="316032"/>
                        <a:pt x="313754" y="308137"/>
                        <a:pt x="307862" y="301658"/>
                      </a:cubicBezTo>
                      <a:cubicBezTo>
                        <a:pt x="301970" y="295180"/>
                        <a:pt x="294042" y="291940"/>
                        <a:pt x="284080" y="291940"/>
                      </a:cubicBezTo>
                      <a:close/>
                      <a:moveTo>
                        <a:pt x="1283922" y="286178"/>
                      </a:moveTo>
                      <a:lnTo>
                        <a:pt x="1292906" y="286178"/>
                      </a:lnTo>
                      <a:lnTo>
                        <a:pt x="1292906" y="386190"/>
                      </a:lnTo>
                      <a:lnTo>
                        <a:pt x="1283922" y="386190"/>
                      </a:lnTo>
                      <a:close/>
                      <a:moveTo>
                        <a:pt x="1174608" y="286178"/>
                      </a:moveTo>
                      <a:lnTo>
                        <a:pt x="1184666" y="286178"/>
                      </a:lnTo>
                      <a:lnTo>
                        <a:pt x="1214456" y="365778"/>
                      </a:lnTo>
                      <a:cubicBezTo>
                        <a:pt x="1215888" y="369619"/>
                        <a:pt x="1216898" y="373103"/>
                        <a:pt x="1217484" y="376228"/>
                      </a:cubicBezTo>
                      <a:lnTo>
                        <a:pt x="1217874" y="376228"/>
                      </a:lnTo>
                      <a:cubicBezTo>
                        <a:pt x="1218720" y="372126"/>
                        <a:pt x="1219664" y="368773"/>
                        <a:pt x="1220706" y="366168"/>
                      </a:cubicBezTo>
                      <a:lnTo>
                        <a:pt x="1251472" y="286178"/>
                      </a:lnTo>
                      <a:lnTo>
                        <a:pt x="1261238" y="286178"/>
                      </a:lnTo>
                      <a:lnTo>
                        <a:pt x="1221488" y="386190"/>
                      </a:lnTo>
                      <a:lnTo>
                        <a:pt x="1213284" y="386190"/>
                      </a:lnTo>
                      <a:close/>
                      <a:moveTo>
                        <a:pt x="1616408" y="284224"/>
                      </a:moveTo>
                      <a:cubicBezTo>
                        <a:pt x="1620120" y="284224"/>
                        <a:pt x="1623440" y="284810"/>
                        <a:pt x="1626370" y="285982"/>
                      </a:cubicBezTo>
                      <a:lnTo>
                        <a:pt x="1626370" y="295554"/>
                      </a:lnTo>
                      <a:cubicBezTo>
                        <a:pt x="1623376" y="293405"/>
                        <a:pt x="1619858" y="292331"/>
                        <a:pt x="1615822" y="292331"/>
                      </a:cubicBezTo>
                      <a:cubicBezTo>
                        <a:pt x="1607944" y="292331"/>
                        <a:pt x="1601334" y="296400"/>
                        <a:pt x="1595996" y="304539"/>
                      </a:cubicBezTo>
                      <a:cubicBezTo>
                        <a:pt x="1590656" y="312678"/>
                        <a:pt x="1587986" y="324236"/>
                        <a:pt x="1587986" y="339212"/>
                      </a:cubicBezTo>
                      <a:lnTo>
                        <a:pt x="1587986" y="386190"/>
                      </a:lnTo>
                      <a:lnTo>
                        <a:pt x="1579196" y="386190"/>
                      </a:lnTo>
                      <a:lnTo>
                        <a:pt x="1579196" y="286178"/>
                      </a:lnTo>
                      <a:lnTo>
                        <a:pt x="1587986" y="286178"/>
                      </a:lnTo>
                      <a:lnTo>
                        <a:pt x="1587986" y="308348"/>
                      </a:lnTo>
                      <a:lnTo>
                        <a:pt x="1588376" y="308348"/>
                      </a:lnTo>
                      <a:cubicBezTo>
                        <a:pt x="1590656" y="300730"/>
                        <a:pt x="1594270" y="294805"/>
                        <a:pt x="1599218" y="290573"/>
                      </a:cubicBezTo>
                      <a:cubicBezTo>
                        <a:pt x="1604166" y="286341"/>
                        <a:pt x="1609896" y="284224"/>
                        <a:pt x="1616408" y="284224"/>
                      </a:cubicBezTo>
                      <a:close/>
                      <a:moveTo>
                        <a:pt x="1149682" y="284224"/>
                      </a:moveTo>
                      <a:cubicBezTo>
                        <a:pt x="1153394" y="284224"/>
                        <a:pt x="1156716" y="284810"/>
                        <a:pt x="1159644" y="285982"/>
                      </a:cubicBezTo>
                      <a:lnTo>
                        <a:pt x="1159644" y="295554"/>
                      </a:lnTo>
                      <a:cubicBezTo>
                        <a:pt x="1156650" y="293405"/>
                        <a:pt x="1153134" y="292331"/>
                        <a:pt x="1149096" y="292331"/>
                      </a:cubicBezTo>
                      <a:cubicBezTo>
                        <a:pt x="1141218" y="292331"/>
                        <a:pt x="1134610" y="296400"/>
                        <a:pt x="1129270" y="304539"/>
                      </a:cubicBezTo>
                      <a:cubicBezTo>
                        <a:pt x="1123932" y="312678"/>
                        <a:pt x="1121262" y="324236"/>
                        <a:pt x="1121262" y="339212"/>
                      </a:cubicBezTo>
                      <a:lnTo>
                        <a:pt x="1121262" y="386190"/>
                      </a:lnTo>
                      <a:lnTo>
                        <a:pt x="1112472" y="386190"/>
                      </a:lnTo>
                      <a:lnTo>
                        <a:pt x="1112472" y="286178"/>
                      </a:lnTo>
                      <a:lnTo>
                        <a:pt x="1121262" y="286178"/>
                      </a:lnTo>
                      <a:lnTo>
                        <a:pt x="1121262" y="308348"/>
                      </a:lnTo>
                      <a:lnTo>
                        <a:pt x="1121652" y="308348"/>
                      </a:lnTo>
                      <a:cubicBezTo>
                        <a:pt x="1123932" y="300730"/>
                        <a:pt x="1127544" y="294805"/>
                        <a:pt x="1132494" y="290573"/>
                      </a:cubicBezTo>
                      <a:cubicBezTo>
                        <a:pt x="1137442" y="286341"/>
                        <a:pt x="1143172" y="284224"/>
                        <a:pt x="1149682" y="284224"/>
                      </a:cubicBezTo>
                      <a:close/>
                      <a:moveTo>
                        <a:pt x="844882" y="284224"/>
                      </a:moveTo>
                      <a:cubicBezTo>
                        <a:pt x="848594" y="284224"/>
                        <a:pt x="851914" y="284810"/>
                        <a:pt x="854844" y="285982"/>
                      </a:cubicBezTo>
                      <a:lnTo>
                        <a:pt x="854844" y="295554"/>
                      </a:lnTo>
                      <a:cubicBezTo>
                        <a:pt x="851850" y="293405"/>
                        <a:pt x="848334" y="292331"/>
                        <a:pt x="844296" y="292331"/>
                      </a:cubicBezTo>
                      <a:cubicBezTo>
                        <a:pt x="836418" y="292331"/>
                        <a:pt x="829810" y="296400"/>
                        <a:pt x="824470" y="304539"/>
                      </a:cubicBezTo>
                      <a:cubicBezTo>
                        <a:pt x="819132" y="312678"/>
                        <a:pt x="816462" y="324236"/>
                        <a:pt x="816462" y="339212"/>
                      </a:cubicBezTo>
                      <a:lnTo>
                        <a:pt x="816462" y="386190"/>
                      </a:lnTo>
                      <a:lnTo>
                        <a:pt x="807672" y="386190"/>
                      </a:lnTo>
                      <a:lnTo>
                        <a:pt x="807672" y="286178"/>
                      </a:lnTo>
                      <a:lnTo>
                        <a:pt x="816462" y="286178"/>
                      </a:lnTo>
                      <a:lnTo>
                        <a:pt x="816462" y="308348"/>
                      </a:lnTo>
                      <a:lnTo>
                        <a:pt x="816852" y="308348"/>
                      </a:lnTo>
                      <a:cubicBezTo>
                        <a:pt x="819132" y="300730"/>
                        <a:pt x="822744" y="294805"/>
                        <a:pt x="827694" y="290573"/>
                      </a:cubicBezTo>
                      <a:cubicBezTo>
                        <a:pt x="832642" y="286341"/>
                        <a:pt x="838372" y="284224"/>
                        <a:pt x="844882" y="284224"/>
                      </a:cubicBezTo>
                      <a:close/>
                      <a:moveTo>
                        <a:pt x="1930588" y="283736"/>
                      </a:moveTo>
                      <a:cubicBezTo>
                        <a:pt x="1939184" y="283736"/>
                        <a:pt x="1946542" y="285494"/>
                        <a:pt x="1952662" y="289010"/>
                      </a:cubicBezTo>
                      <a:lnTo>
                        <a:pt x="1952662" y="299168"/>
                      </a:lnTo>
                      <a:cubicBezTo>
                        <a:pt x="1945240" y="294349"/>
                        <a:pt x="1937556" y="291940"/>
                        <a:pt x="1929612" y="291940"/>
                      </a:cubicBezTo>
                      <a:cubicBezTo>
                        <a:pt x="1923036" y="291940"/>
                        <a:pt x="1917728" y="293649"/>
                        <a:pt x="1913692" y="297068"/>
                      </a:cubicBezTo>
                      <a:cubicBezTo>
                        <a:pt x="1909654" y="300486"/>
                        <a:pt x="1907636" y="304930"/>
                        <a:pt x="1907636" y="310400"/>
                      </a:cubicBezTo>
                      <a:cubicBezTo>
                        <a:pt x="1907636" y="315153"/>
                        <a:pt x="1908906" y="319011"/>
                        <a:pt x="1911446" y="321973"/>
                      </a:cubicBezTo>
                      <a:cubicBezTo>
                        <a:pt x="1913984" y="324936"/>
                        <a:pt x="1919584" y="328338"/>
                        <a:pt x="1928244" y="332180"/>
                      </a:cubicBezTo>
                      <a:cubicBezTo>
                        <a:pt x="1938662" y="336868"/>
                        <a:pt x="1945824" y="341214"/>
                        <a:pt x="1949732" y="345218"/>
                      </a:cubicBezTo>
                      <a:cubicBezTo>
                        <a:pt x="1953638" y="349223"/>
                        <a:pt x="1955592" y="354546"/>
                        <a:pt x="1955592" y="361187"/>
                      </a:cubicBezTo>
                      <a:cubicBezTo>
                        <a:pt x="1955592" y="369131"/>
                        <a:pt x="1952612" y="375691"/>
                        <a:pt x="1946656" y="380867"/>
                      </a:cubicBezTo>
                      <a:cubicBezTo>
                        <a:pt x="1940698" y="386044"/>
                        <a:pt x="1932476" y="388632"/>
                        <a:pt x="1921994" y="388632"/>
                      </a:cubicBezTo>
                      <a:cubicBezTo>
                        <a:pt x="1912358" y="388632"/>
                        <a:pt x="1904316" y="386353"/>
                        <a:pt x="1897870" y="381795"/>
                      </a:cubicBezTo>
                      <a:lnTo>
                        <a:pt x="1897870" y="370954"/>
                      </a:lnTo>
                      <a:cubicBezTo>
                        <a:pt x="1901256" y="373884"/>
                        <a:pt x="1905358" y="376195"/>
                        <a:pt x="1910176" y="377888"/>
                      </a:cubicBezTo>
                      <a:cubicBezTo>
                        <a:pt x="1914994" y="379581"/>
                        <a:pt x="1919162" y="380428"/>
                        <a:pt x="1922678" y="380428"/>
                      </a:cubicBezTo>
                      <a:cubicBezTo>
                        <a:pt x="1938370" y="380428"/>
                        <a:pt x="1946216" y="374014"/>
                        <a:pt x="1946216" y="361187"/>
                      </a:cubicBezTo>
                      <a:cubicBezTo>
                        <a:pt x="1946216" y="356759"/>
                        <a:pt x="1944490" y="352983"/>
                        <a:pt x="1941040" y="349858"/>
                      </a:cubicBezTo>
                      <a:cubicBezTo>
                        <a:pt x="1937588" y="346732"/>
                        <a:pt x="1931988" y="343509"/>
                        <a:pt x="1924240" y="340188"/>
                      </a:cubicBezTo>
                      <a:cubicBezTo>
                        <a:pt x="1914668" y="336021"/>
                        <a:pt x="1907946" y="331708"/>
                        <a:pt x="1904072" y="327247"/>
                      </a:cubicBezTo>
                      <a:cubicBezTo>
                        <a:pt x="1900198" y="322787"/>
                        <a:pt x="1898260" y="317367"/>
                        <a:pt x="1898260" y="310986"/>
                      </a:cubicBezTo>
                      <a:cubicBezTo>
                        <a:pt x="1898260" y="302846"/>
                        <a:pt x="1901370" y="296270"/>
                        <a:pt x="1907588" y="291256"/>
                      </a:cubicBezTo>
                      <a:cubicBezTo>
                        <a:pt x="1913806" y="286243"/>
                        <a:pt x="1921472" y="283736"/>
                        <a:pt x="1930588" y="283736"/>
                      </a:cubicBezTo>
                      <a:close/>
                      <a:moveTo>
                        <a:pt x="1835874" y="283736"/>
                      </a:moveTo>
                      <a:cubicBezTo>
                        <a:pt x="1848310" y="283736"/>
                        <a:pt x="1857848" y="288099"/>
                        <a:pt x="1864490" y="296824"/>
                      </a:cubicBezTo>
                      <a:cubicBezTo>
                        <a:pt x="1871132" y="305549"/>
                        <a:pt x="1874452" y="317464"/>
                        <a:pt x="1874452" y="332570"/>
                      </a:cubicBezTo>
                      <a:lnTo>
                        <a:pt x="1874452" y="336575"/>
                      </a:lnTo>
                      <a:lnTo>
                        <a:pt x="1800420" y="336575"/>
                      </a:lnTo>
                      <a:cubicBezTo>
                        <a:pt x="1800420" y="350313"/>
                        <a:pt x="1803594" y="361057"/>
                        <a:pt x="1809942" y="368805"/>
                      </a:cubicBezTo>
                      <a:cubicBezTo>
                        <a:pt x="1816292" y="376554"/>
                        <a:pt x="1825000" y="380428"/>
                        <a:pt x="1836068" y="380428"/>
                      </a:cubicBezTo>
                      <a:cubicBezTo>
                        <a:pt x="1847268" y="380428"/>
                        <a:pt x="1858208" y="376293"/>
                        <a:pt x="1868886" y="368024"/>
                      </a:cubicBezTo>
                      <a:lnTo>
                        <a:pt x="1868886" y="377595"/>
                      </a:lnTo>
                      <a:cubicBezTo>
                        <a:pt x="1858532" y="384953"/>
                        <a:pt x="1846976" y="388632"/>
                        <a:pt x="1834214" y="388632"/>
                      </a:cubicBezTo>
                      <a:cubicBezTo>
                        <a:pt x="1821320" y="388632"/>
                        <a:pt x="1810904" y="384009"/>
                        <a:pt x="1802960" y="374763"/>
                      </a:cubicBezTo>
                      <a:cubicBezTo>
                        <a:pt x="1795016" y="365517"/>
                        <a:pt x="1791044" y="352462"/>
                        <a:pt x="1791044" y="335598"/>
                      </a:cubicBezTo>
                      <a:cubicBezTo>
                        <a:pt x="1791044" y="321013"/>
                        <a:pt x="1795194" y="308723"/>
                        <a:pt x="1803496" y="298728"/>
                      </a:cubicBezTo>
                      <a:cubicBezTo>
                        <a:pt x="1811798" y="288733"/>
                        <a:pt x="1822590" y="283736"/>
                        <a:pt x="1835874" y="283736"/>
                      </a:cubicBezTo>
                      <a:close/>
                      <a:moveTo>
                        <a:pt x="1687088" y="283736"/>
                      </a:moveTo>
                      <a:cubicBezTo>
                        <a:pt x="1701346" y="283736"/>
                        <a:pt x="1712612" y="288392"/>
                        <a:pt x="1720880" y="297703"/>
                      </a:cubicBezTo>
                      <a:cubicBezTo>
                        <a:pt x="1729150" y="307014"/>
                        <a:pt x="1733284" y="319906"/>
                        <a:pt x="1733284" y="336379"/>
                      </a:cubicBezTo>
                      <a:cubicBezTo>
                        <a:pt x="1733284" y="351941"/>
                        <a:pt x="1729068" y="364540"/>
                        <a:pt x="1720636" y="374177"/>
                      </a:cubicBezTo>
                      <a:cubicBezTo>
                        <a:pt x="1712204" y="383814"/>
                        <a:pt x="1700664" y="388632"/>
                        <a:pt x="1686012" y="388632"/>
                      </a:cubicBezTo>
                      <a:cubicBezTo>
                        <a:pt x="1671428" y="388632"/>
                        <a:pt x="1659886" y="383830"/>
                        <a:pt x="1651390" y="374226"/>
                      </a:cubicBezTo>
                      <a:cubicBezTo>
                        <a:pt x="1642892" y="364622"/>
                        <a:pt x="1638644" y="352136"/>
                        <a:pt x="1638644" y="336770"/>
                      </a:cubicBezTo>
                      <a:cubicBezTo>
                        <a:pt x="1638644" y="320166"/>
                        <a:pt x="1643088" y="307176"/>
                        <a:pt x="1651976" y="297800"/>
                      </a:cubicBezTo>
                      <a:cubicBezTo>
                        <a:pt x="1660864" y="288424"/>
                        <a:pt x="1672568" y="283736"/>
                        <a:pt x="1687088" y="283736"/>
                      </a:cubicBezTo>
                      <a:close/>
                      <a:moveTo>
                        <a:pt x="1445348" y="283736"/>
                      </a:moveTo>
                      <a:cubicBezTo>
                        <a:pt x="1457784" y="283736"/>
                        <a:pt x="1467324" y="288099"/>
                        <a:pt x="1473966" y="296824"/>
                      </a:cubicBezTo>
                      <a:cubicBezTo>
                        <a:pt x="1480606" y="305549"/>
                        <a:pt x="1483928" y="317464"/>
                        <a:pt x="1483928" y="332570"/>
                      </a:cubicBezTo>
                      <a:lnTo>
                        <a:pt x="1483928" y="336575"/>
                      </a:lnTo>
                      <a:lnTo>
                        <a:pt x="1409896" y="336575"/>
                      </a:lnTo>
                      <a:cubicBezTo>
                        <a:pt x="1409896" y="350313"/>
                        <a:pt x="1413068" y="361057"/>
                        <a:pt x="1419418" y="368805"/>
                      </a:cubicBezTo>
                      <a:cubicBezTo>
                        <a:pt x="1425766" y="376554"/>
                        <a:pt x="1434474" y="380428"/>
                        <a:pt x="1445544" y="380428"/>
                      </a:cubicBezTo>
                      <a:cubicBezTo>
                        <a:pt x="1456744" y="380428"/>
                        <a:pt x="1467682" y="376293"/>
                        <a:pt x="1478360" y="368024"/>
                      </a:cubicBezTo>
                      <a:lnTo>
                        <a:pt x="1478360" y="377595"/>
                      </a:lnTo>
                      <a:cubicBezTo>
                        <a:pt x="1468008" y="384953"/>
                        <a:pt x="1456450" y="388632"/>
                        <a:pt x="1443688" y="388632"/>
                      </a:cubicBezTo>
                      <a:cubicBezTo>
                        <a:pt x="1430796" y="388632"/>
                        <a:pt x="1420378" y="384009"/>
                        <a:pt x="1412434" y="374763"/>
                      </a:cubicBezTo>
                      <a:cubicBezTo>
                        <a:pt x="1404490" y="365517"/>
                        <a:pt x="1400518" y="352462"/>
                        <a:pt x="1400518" y="335598"/>
                      </a:cubicBezTo>
                      <a:cubicBezTo>
                        <a:pt x="1400518" y="321013"/>
                        <a:pt x="1404670" y="308723"/>
                        <a:pt x="1412972" y="298728"/>
                      </a:cubicBezTo>
                      <a:cubicBezTo>
                        <a:pt x="1421274" y="288733"/>
                        <a:pt x="1432066" y="283736"/>
                        <a:pt x="1445348" y="283736"/>
                      </a:cubicBezTo>
                      <a:close/>
                      <a:moveTo>
                        <a:pt x="1364996" y="283736"/>
                      </a:moveTo>
                      <a:cubicBezTo>
                        <a:pt x="1372614" y="283736"/>
                        <a:pt x="1380004" y="285299"/>
                        <a:pt x="1387166" y="288424"/>
                      </a:cubicBezTo>
                      <a:lnTo>
                        <a:pt x="1387166" y="298582"/>
                      </a:lnTo>
                      <a:cubicBezTo>
                        <a:pt x="1380004" y="294154"/>
                        <a:pt x="1372158" y="291940"/>
                        <a:pt x="1363628" y="291940"/>
                      </a:cubicBezTo>
                      <a:cubicBezTo>
                        <a:pt x="1351908" y="291940"/>
                        <a:pt x="1342402" y="296156"/>
                        <a:pt x="1335108" y="304588"/>
                      </a:cubicBezTo>
                      <a:cubicBezTo>
                        <a:pt x="1327816" y="313020"/>
                        <a:pt x="1324170" y="323943"/>
                        <a:pt x="1324170" y="337356"/>
                      </a:cubicBezTo>
                      <a:cubicBezTo>
                        <a:pt x="1324170" y="350313"/>
                        <a:pt x="1327508" y="360731"/>
                        <a:pt x="1334180" y="368610"/>
                      </a:cubicBezTo>
                      <a:cubicBezTo>
                        <a:pt x="1340856" y="376488"/>
                        <a:pt x="1349662" y="380428"/>
                        <a:pt x="1360600" y="380428"/>
                      </a:cubicBezTo>
                      <a:cubicBezTo>
                        <a:pt x="1370628" y="380428"/>
                        <a:pt x="1379352" y="377758"/>
                        <a:pt x="1386776" y="372419"/>
                      </a:cubicBezTo>
                      <a:lnTo>
                        <a:pt x="1386776" y="381795"/>
                      </a:lnTo>
                      <a:cubicBezTo>
                        <a:pt x="1379352" y="386353"/>
                        <a:pt x="1370498" y="388632"/>
                        <a:pt x="1360210" y="388632"/>
                      </a:cubicBezTo>
                      <a:cubicBezTo>
                        <a:pt x="1346600" y="388632"/>
                        <a:pt x="1335630" y="383960"/>
                        <a:pt x="1327296" y="374617"/>
                      </a:cubicBezTo>
                      <a:cubicBezTo>
                        <a:pt x="1318960" y="365273"/>
                        <a:pt x="1314794" y="353048"/>
                        <a:pt x="1314794" y="337942"/>
                      </a:cubicBezTo>
                      <a:cubicBezTo>
                        <a:pt x="1314794" y="322055"/>
                        <a:pt x="1319482" y="309048"/>
                        <a:pt x="1328858" y="298923"/>
                      </a:cubicBezTo>
                      <a:cubicBezTo>
                        <a:pt x="1338234" y="288798"/>
                        <a:pt x="1350280" y="283736"/>
                        <a:pt x="1364996" y="283736"/>
                      </a:cubicBezTo>
                      <a:close/>
                      <a:moveTo>
                        <a:pt x="1045298" y="283736"/>
                      </a:moveTo>
                      <a:cubicBezTo>
                        <a:pt x="1057736" y="283736"/>
                        <a:pt x="1067274" y="288099"/>
                        <a:pt x="1073916" y="296824"/>
                      </a:cubicBezTo>
                      <a:cubicBezTo>
                        <a:pt x="1080556" y="305549"/>
                        <a:pt x="1083878" y="317464"/>
                        <a:pt x="1083878" y="332570"/>
                      </a:cubicBezTo>
                      <a:lnTo>
                        <a:pt x="1083878" y="336575"/>
                      </a:lnTo>
                      <a:lnTo>
                        <a:pt x="1009844" y="336575"/>
                      </a:lnTo>
                      <a:cubicBezTo>
                        <a:pt x="1009844" y="350313"/>
                        <a:pt x="1013020" y="361057"/>
                        <a:pt x="1019368" y="368805"/>
                      </a:cubicBezTo>
                      <a:cubicBezTo>
                        <a:pt x="1025716" y="376554"/>
                        <a:pt x="1034424" y="380428"/>
                        <a:pt x="1045494" y="380428"/>
                      </a:cubicBezTo>
                      <a:cubicBezTo>
                        <a:pt x="1056694" y="380428"/>
                        <a:pt x="1067632" y="376293"/>
                        <a:pt x="1078310" y="368024"/>
                      </a:cubicBezTo>
                      <a:lnTo>
                        <a:pt x="1078310" y="377595"/>
                      </a:lnTo>
                      <a:cubicBezTo>
                        <a:pt x="1067958" y="384953"/>
                        <a:pt x="1056400" y="388632"/>
                        <a:pt x="1043638" y="388632"/>
                      </a:cubicBezTo>
                      <a:cubicBezTo>
                        <a:pt x="1030746" y="388632"/>
                        <a:pt x="1020328" y="384009"/>
                        <a:pt x="1012384" y="374763"/>
                      </a:cubicBezTo>
                      <a:cubicBezTo>
                        <a:pt x="1004440" y="365517"/>
                        <a:pt x="1000468" y="352462"/>
                        <a:pt x="1000468" y="335598"/>
                      </a:cubicBezTo>
                      <a:cubicBezTo>
                        <a:pt x="1000468" y="321013"/>
                        <a:pt x="1004620" y="308723"/>
                        <a:pt x="1012922" y="298728"/>
                      </a:cubicBezTo>
                      <a:cubicBezTo>
                        <a:pt x="1021224" y="288733"/>
                        <a:pt x="1032016" y="283736"/>
                        <a:pt x="1045298" y="283736"/>
                      </a:cubicBezTo>
                      <a:close/>
                      <a:moveTo>
                        <a:pt x="959038" y="283736"/>
                      </a:moveTo>
                      <a:cubicBezTo>
                        <a:pt x="967634" y="283736"/>
                        <a:pt x="974992" y="285494"/>
                        <a:pt x="981112" y="289010"/>
                      </a:cubicBezTo>
                      <a:lnTo>
                        <a:pt x="981112" y="299168"/>
                      </a:lnTo>
                      <a:cubicBezTo>
                        <a:pt x="973688" y="294349"/>
                        <a:pt x="966006" y="291940"/>
                        <a:pt x="958062" y="291940"/>
                      </a:cubicBezTo>
                      <a:cubicBezTo>
                        <a:pt x="951486" y="291940"/>
                        <a:pt x="946180" y="293649"/>
                        <a:pt x="942142" y="297068"/>
                      </a:cubicBezTo>
                      <a:cubicBezTo>
                        <a:pt x="938104" y="300486"/>
                        <a:pt x="936086" y="304930"/>
                        <a:pt x="936086" y="310400"/>
                      </a:cubicBezTo>
                      <a:cubicBezTo>
                        <a:pt x="936086" y="315153"/>
                        <a:pt x="937356" y="319011"/>
                        <a:pt x="939896" y="321973"/>
                      </a:cubicBezTo>
                      <a:cubicBezTo>
                        <a:pt x="942436" y="324936"/>
                        <a:pt x="948034" y="328338"/>
                        <a:pt x="956694" y="332180"/>
                      </a:cubicBezTo>
                      <a:cubicBezTo>
                        <a:pt x="967112" y="336868"/>
                        <a:pt x="974276" y="341214"/>
                        <a:pt x="978182" y="345218"/>
                      </a:cubicBezTo>
                      <a:cubicBezTo>
                        <a:pt x="982088" y="349223"/>
                        <a:pt x="984042" y="354546"/>
                        <a:pt x="984042" y="361187"/>
                      </a:cubicBezTo>
                      <a:cubicBezTo>
                        <a:pt x="984042" y="369131"/>
                        <a:pt x="981064" y="375691"/>
                        <a:pt x="975104" y="380867"/>
                      </a:cubicBezTo>
                      <a:cubicBezTo>
                        <a:pt x="969148" y="386044"/>
                        <a:pt x="960928" y="388632"/>
                        <a:pt x="950444" y="388632"/>
                      </a:cubicBezTo>
                      <a:cubicBezTo>
                        <a:pt x="940808" y="388632"/>
                        <a:pt x="932766" y="386353"/>
                        <a:pt x="926320" y="381795"/>
                      </a:cubicBezTo>
                      <a:lnTo>
                        <a:pt x="926320" y="370954"/>
                      </a:lnTo>
                      <a:cubicBezTo>
                        <a:pt x="929706" y="373884"/>
                        <a:pt x="933808" y="376195"/>
                        <a:pt x="938626" y="377888"/>
                      </a:cubicBezTo>
                      <a:cubicBezTo>
                        <a:pt x="943444" y="379581"/>
                        <a:pt x="947612" y="380428"/>
                        <a:pt x="951128" y="380428"/>
                      </a:cubicBezTo>
                      <a:cubicBezTo>
                        <a:pt x="966820" y="380428"/>
                        <a:pt x="974666" y="374014"/>
                        <a:pt x="974666" y="361187"/>
                      </a:cubicBezTo>
                      <a:cubicBezTo>
                        <a:pt x="974666" y="356759"/>
                        <a:pt x="972940" y="352983"/>
                        <a:pt x="969488" y="349858"/>
                      </a:cubicBezTo>
                      <a:cubicBezTo>
                        <a:pt x="966038" y="346732"/>
                        <a:pt x="960438" y="343509"/>
                        <a:pt x="952690" y="340188"/>
                      </a:cubicBezTo>
                      <a:cubicBezTo>
                        <a:pt x="943118" y="336021"/>
                        <a:pt x="936396" y="331708"/>
                        <a:pt x="932522" y="327247"/>
                      </a:cubicBezTo>
                      <a:cubicBezTo>
                        <a:pt x="928648" y="322787"/>
                        <a:pt x="926710" y="317367"/>
                        <a:pt x="926710" y="310986"/>
                      </a:cubicBezTo>
                      <a:cubicBezTo>
                        <a:pt x="926710" y="302846"/>
                        <a:pt x="929820" y="296270"/>
                        <a:pt x="936038" y="291256"/>
                      </a:cubicBezTo>
                      <a:cubicBezTo>
                        <a:pt x="942256" y="286243"/>
                        <a:pt x="949924" y="283736"/>
                        <a:pt x="959038" y="283736"/>
                      </a:cubicBezTo>
                      <a:close/>
                      <a:moveTo>
                        <a:pt x="740498" y="283736"/>
                      </a:moveTo>
                      <a:cubicBezTo>
                        <a:pt x="752936" y="283736"/>
                        <a:pt x="762474" y="288099"/>
                        <a:pt x="769116" y="296824"/>
                      </a:cubicBezTo>
                      <a:cubicBezTo>
                        <a:pt x="775756" y="305549"/>
                        <a:pt x="779078" y="317464"/>
                        <a:pt x="779078" y="332570"/>
                      </a:cubicBezTo>
                      <a:lnTo>
                        <a:pt x="779078" y="336575"/>
                      </a:lnTo>
                      <a:lnTo>
                        <a:pt x="705044" y="336575"/>
                      </a:lnTo>
                      <a:cubicBezTo>
                        <a:pt x="705044" y="350313"/>
                        <a:pt x="708220" y="361057"/>
                        <a:pt x="714568" y="368805"/>
                      </a:cubicBezTo>
                      <a:cubicBezTo>
                        <a:pt x="720916" y="376554"/>
                        <a:pt x="729624" y="380428"/>
                        <a:pt x="740694" y="380428"/>
                      </a:cubicBezTo>
                      <a:cubicBezTo>
                        <a:pt x="751894" y="380428"/>
                        <a:pt x="762832" y="376293"/>
                        <a:pt x="773510" y="368024"/>
                      </a:cubicBezTo>
                      <a:lnTo>
                        <a:pt x="773510" y="377595"/>
                      </a:lnTo>
                      <a:cubicBezTo>
                        <a:pt x="763158" y="384953"/>
                        <a:pt x="751600" y="388632"/>
                        <a:pt x="738838" y="388632"/>
                      </a:cubicBezTo>
                      <a:cubicBezTo>
                        <a:pt x="725946" y="388632"/>
                        <a:pt x="715528" y="384009"/>
                        <a:pt x="707584" y="374763"/>
                      </a:cubicBezTo>
                      <a:cubicBezTo>
                        <a:pt x="699640" y="365517"/>
                        <a:pt x="695668" y="352462"/>
                        <a:pt x="695668" y="335598"/>
                      </a:cubicBezTo>
                      <a:cubicBezTo>
                        <a:pt x="695668" y="321013"/>
                        <a:pt x="699820" y="308723"/>
                        <a:pt x="708122" y="298728"/>
                      </a:cubicBezTo>
                      <a:cubicBezTo>
                        <a:pt x="716424" y="288733"/>
                        <a:pt x="727216" y="283736"/>
                        <a:pt x="740498" y="283736"/>
                      </a:cubicBezTo>
                      <a:close/>
                      <a:moveTo>
                        <a:pt x="467888" y="283736"/>
                      </a:moveTo>
                      <a:cubicBezTo>
                        <a:pt x="482146" y="283736"/>
                        <a:pt x="493412" y="288392"/>
                        <a:pt x="501680" y="297703"/>
                      </a:cubicBezTo>
                      <a:cubicBezTo>
                        <a:pt x="509950" y="307014"/>
                        <a:pt x="514084" y="319906"/>
                        <a:pt x="514084" y="336379"/>
                      </a:cubicBezTo>
                      <a:cubicBezTo>
                        <a:pt x="514084" y="351941"/>
                        <a:pt x="509868" y="364540"/>
                        <a:pt x="501436" y="374177"/>
                      </a:cubicBezTo>
                      <a:cubicBezTo>
                        <a:pt x="493004" y="383814"/>
                        <a:pt x="481464" y="388632"/>
                        <a:pt x="466812" y="388632"/>
                      </a:cubicBezTo>
                      <a:cubicBezTo>
                        <a:pt x="452228" y="388632"/>
                        <a:pt x="440686" y="383830"/>
                        <a:pt x="432190" y="374226"/>
                      </a:cubicBezTo>
                      <a:cubicBezTo>
                        <a:pt x="423692" y="364622"/>
                        <a:pt x="419444" y="352136"/>
                        <a:pt x="419444" y="336770"/>
                      </a:cubicBezTo>
                      <a:cubicBezTo>
                        <a:pt x="419444" y="320166"/>
                        <a:pt x="423888" y="307176"/>
                        <a:pt x="432776" y="297800"/>
                      </a:cubicBezTo>
                      <a:cubicBezTo>
                        <a:pt x="441664" y="288424"/>
                        <a:pt x="453368" y="283736"/>
                        <a:pt x="467888" y="283736"/>
                      </a:cubicBezTo>
                      <a:close/>
                      <a:moveTo>
                        <a:pt x="184482" y="283736"/>
                      </a:moveTo>
                      <a:cubicBezTo>
                        <a:pt x="195290" y="283736"/>
                        <a:pt x="203560" y="287333"/>
                        <a:pt x="209290" y="294528"/>
                      </a:cubicBezTo>
                      <a:cubicBezTo>
                        <a:pt x="215020" y="301723"/>
                        <a:pt x="217884" y="311995"/>
                        <a:pt x="217884" y="325343"/>
                      </a:cubicBezTo>
                      <a:lnTo>
                        <a:pt x="217884" y="386190"/>
                      </a:lnTo>
                      <a:lnTo>
                        <a:pt x="208898" y="386190"/>
                      </a:lnTo>
                      <a:lnTo>
                        <a:pt x="208898" y="327980"/>
                      </a:lnTo>
                      <a:cubicBezTo>
                        <a:pt x="208898" y="303953"/>
                        <a:pt x="200238" y="291940"/>
                        <a:pt x="182918" y="291940"/>
                      </a:cubicBezTo>
                      <a:cubicBezTo>
                        <a:pt x="173282" y="291940"/>
                        <a:pt x="165370" y="295473"/>
                        <a:pt x="159186" y="302537"/>
                      </a:cubicBezTo>
                      <a:cubicBezTo>
                        <a:pt x="153000" y="309602"/>
                        <a:pt x="149906" y="318343"/>
                        <a:pt x="149906" y="328761"/>
                      </a:cubicBezTo>
                      <a:lnTo>
                        <a:pt x="149906" y="386190"/>
                      </a:lnTo>
                      <a:lnTo>
                        <a:pt x="140922" y="386190"/>
                      </a:lnTo>
                      <a:lnTo>
                        <a:pt x="140922" y="286178"/>
                      </a:lnTo>
                      <a:lnTo>
                        <a:pt x="149906" y="286178"/>
                      </a:lnTo>
                      <a:lnTo>
                        <a:pt x="149906" y="304344"/>
                      </a:lnTo>
                      <a:lnTo>
                        <a:pt x="150298" y="304344"/>
                      </a:lnTo>
                      <a:cubicBezTo>
                        <a:pt x="157590" y="290605"/>
                        <a:pt x="168984" y="283736"/>
                        <a:pt x="184482" y="283736"/>
                      </a:cubicBezTo>
                      <a:close/>
                      <a:moveTo>
                        <a:pt x="82102" y="283736"/>
                      </a:moveTo>
                      <a:cubicBezTo>
                        <a:pt x="92390" y="283736"/>
                        <a:pt x="100350" y="286927"/>
                        <a:pt x="105982" y="293308"/>
                      </a:cubicBezTo>
                      <a:cubicBezTo>
                        <a:pt x="111614" y="299689"/>
                        <a:pt x="114430" y="308967"/>
                        <a:pt x="114430" y="321143"/>
                      </a:cubicBezTo>
                      <a:lnTo>
                        <a:pt x="114430" y="386190"/>
                      </a:lnTo>
                      <a:lnTo>
                        <a:pt x="105444" y="386190"/>
                      </a:lnTo>
                      <a:lnTo>
                        <a:pt x="105444" y="366168"/>
                      </a:lnTo>
                      <a:lnTo>
                        <a:pt x="105054" y="366168"/>
                      </a:lnTo>
                      <a:cubicBezTo>
                        <a:pt x="101864" y="373005"/>
                        <a:pt x="97224" y="378458"/>
                        <a:pt x="91136" y="382528"/>
                      </a:cubicBezTo>
                      <a:cubicBezTo>
                        <a:pt x="85048" y="386597"/>
                        <a:pt x="78292" y="388632"/>
                        <a:pt x="70870" y="388632"/>
                      </a:cubicBezTo>
                      <a:cubicBezTo>
                        <a:pt x="61364" y="388632"/>
                        <a:pt x="53842" y="385962"/>
                        <a:pt x="48308" y="380623"/>
                      </a:cubicBezTo>
                      <a:cubicBezTo>
                        <a:pt x="42774" y="375284"/>
                        <a:pt x="40006" y="368545"/>
                        <a:pt x="40006" y="360406"/>
                      </a:cubicBezTo>
                      <a:cubicBezTo>
                        <a:pt x="40006" y="342956"/>
                        <a:pt x="51564" y="332407"/>
                        <a:pt x="74678" y="328761"/>
                      </a:cubicBezTo>
                      <a:lnTo>
                        <a:pt x="105444" y="324171"/>
                      </a:lnTo>
                      <a:cubicBezTo>
                        <a:pt x="105444" y="302684"/>
                        <a:pt x="97370" y="291940"/>
                        <a:pt x="81222" y="291940"/>
                      </a:cubicBezTo>
                      <a:cubicBezTo>
                        <a:pt x="70218" y="291940"/>
                        <a:pt x="59508" y="296368"/>
                        <a:pt x="49090" y="305223"/>
                      </a:cubicBezTo>
                      <a:lnTo>
                        <a:pt x="49090" y="294382"/>
                      </a:lnTo>
                      <a:cubicBezTo>
                        <a:pt x="52800" y="291452"/>
                        <a:pt x="57830" y="288945"/>
                        <a:pt x="64180" y="286861"/>
                      </a:cubicBezTo>
                      <a:cubicBezTo>
                        <a:pt x="70528" y="284778"/>
                        <a:pt x="76502" y="283736"/>
                        <a:pt x="82102" y="283736"/>
                      </a:cubicBezTo>
                      <a:close/>
                      <a:moveTo>
                        <a:pt x="554156" y="257170"/>
                      </a:moveTo>
                      <a:lnTo>
                        <a:pt x="554156" y="286178"/>
                      </a:lnTo>
                      <a:lnTo>
                        <a:pt x="580526" y="286178"/>
                      </a:lnTo>
                      <a:lnTo>
                        <a:pt x="580526" y="294382"/>
                      </a:lnTo>
                      <a:lnTo>
                        <a:pt x="554156" y="294382"/>
                      </a:lnTo>
                      <a:lnTo>
                        <a:pt x="554156" y="360406"/>
                      </a:lnTo>
                      <a:cubicBezTo>
                        <a:pt x="554156" y="367308"/>
                        <a:pt x="555248" y="372305"/>
                        <a:pt x="557428" y="375398"/>
                      </a:cubicBezTo>
                      <a:cubicBezTo>
                        <a:pt x="559610" y="378491"/>
                        <a:pt x="563304" y="380037"/>
                        <a:pt x="568514" y="380037"/>
                      </a:cubicBezTo>
                      <a:cubicBezTo>
                        <a:pt x="572226" y="380037"/>
                        <a:pt x="576230" y="378833"/>
                        <a:pt x="580526" y="376423"/>
                      </a:cubicBezTo>
                      <a:lnTo>
                        <a:pt x="580526" y="384823"/>
                      </a:lnTo>
                      <a:cubicBezTo>
                        <a:pt x="575838" y="387037"/>
                        <a:pt x="571444" y="388144"/>
                        <a:pt x="567342" y="388144"/>
                      </a:cubicBezTo>
                      <a:cubicBezTo>
                        <a:pt x="552562" y="388144"/>
                        <a:pt x="545170" y="379288"/>
                        <a:pt x="545170" y="361578"/>
                      </a:cubicBezTo>
                      <a:lnTo>
                        <a:pt x="545170" y="294382"/>
                      </a:lnTo>
                      <a:lnTo>
                        <a:pt x="527200" y="294382"/>
                      </a:lnTo>
                      <a:lnTo>
                        <a:pt x="527200" y="286178"/>
                      </a:lnTo>
                      <a:lnTo>
                        <a:pt x="545170" y="286178"/>
                      </a:lnTo>
                      <a:lnTo>
                        <a:pt x="545170" y="260198"/>
                      </a:lnTo>
                      <a:cubicBezTo>
                        <a:pt x="546604" y="259677"/>
                        <a:pt x="548100" y="259156"/>
                        <a:pt x="549664" y="258635"/>
                      </a:cubicBezTo>
                      <a:cubicBezTo>
                        <a:pt x="551226" y="258179"/>
                        <a:pt x="552724" y="257691"/>
                        <a:pt x="554156" y="257170"/>
                      </a:cubicBezTo>
                      <a:close/>
                      <a:moveTo>
                        <a:pt x="1288316" y="246134"/>
                      </a:moveTo>
                      <a:cubicBezTo>
                        <a:pt x="1290334" y="246134"/>
                        <a:pt x="1292108" y="246785"/>
                        <a:pt x="1293640" y="248087"/>
                      </a:cubicBezTo>
                      <a:cubicBezTo>
                        <a:pt x="1295170" y="249389"/>
                        <a:pt x="1295934" y="251147"/>
                        <a:pt x="1295934" y="253361"/>
                      </a:cubicBezTo>
                      <a:cubicBezTo>
                        <a:pt x="1295934" y="255445"/>
                        <a:pt x="1295186" y="257235"/>
                        <a:pt x="1293688" y="258733"/>
                      </a:cubicBezTo>
                      <a:cubicBezTo>
                        <a:pt x="1292190" y="260230"/>
                        <a:pt x="1290400" y="260979"/>
                        <a:pt x="1288316" y="260979"/>
                      </a:cubicBezTo>
                      <a:cubicBezTo>
                        <a:pt x="1286364" y="260979"/>
                        <a:pt x="1284638" y="260263"/>
                        <a:pt x="1283140" y="258831"/>
                      </a:cubicBezTo>
                      <a:cubicBezTo>
                        <a:pt x="1281642" y="257398"/>
                        <a:pt x="1280894" y="255575"/>
                        <a:pt x="1280894" y="253361"/>
                      </a:cubicBezTo>
                      <a:cubicBezTo>
                        <a:pt x="1280894" y="251212"/>
                        <a:pt x="1281658" y="249471"/>
                        <a:pt x="1283188" y="248136"/>
                      </a:cubicBezTo>
                      <a:cubicBezTo>
                        <a:pt x="1284718" y="246801"/>
                        <a:pt x="1286428" y="246134"/>
                        <a:pt x="1288316" y="246134"/>
                      </a:cubicBezTo>
                      <a:close/>
                      <a:moveTo>
                        <a:pt x="1760172" y="238125"/>
                      </a:moveTo>
                      <a:lnTo>
                        <a:pt x="1769156" y="238125"/>
                      </a:lnTo>
                      <a:lnTo>
                        <a:pt x="1769156" y="386190"/>
                      </a:lnTo>
                      <a:lnTo>
                        <a:pt x="1760172" y="386190"/>
                      </a:lnTo>
                      <a:close/>
                      <a:moveTo>
                        <a:pt x="598122" y="238125"/>
                      </a:moveTo>
                      <a:lnTo>
                        <a:pt x="607106" y="238125"/>
                      </a:lnTo>
                      <a:lnTo>
                        <a:pt x="607106" y="304149"/>
                      </a:lnTo>
                      <a:lnTo>
                        <a:pt x="607498" y="304149"/>
                      </a:lnTo>
                      <a:cubicBezTo>
                        <a:pt x="615376" y="290540"/>
                        <a:pt x="626836" y="283736"/>
                        <a:pt x="641876" y="283736"/>
                      </a:cubicBezTo>
                      <a:cubicBezTo>
                        <a:pt x="652686" y="283736"/>
                        <a:pt x="660922" y="287220"/>
                        <a:pt x="666586" y="294187"/>
                      </a:cubicBezTo>
                      <a:cubicBezTo>
                        <a:pt x="672252" y="301154"/>
                        <a:pt x="675084" y="311148"/>
                        <a:pt x="675084" y="324171"/>
                      </a:cubicBezTo>
                      <a:lnTo>
                        <a:pt x="675084" y="386190"/>
                      </a:lnTo>
                      <a:lnTo>
                        <a:pt x="666098" y="386190"/>
                      </a:lnTo>
                      <a:lnTo>
                        <a:pt x="666098" y="326222"/>
                      </a:lnTo>
                      <a:cubicBezTo>
                        <a:pt x="666098" y="314371"/>
                        <a:pt x="663950" y="305695"/>
                        <a:pt x="659652" y="300193"/>
                      </a:cubicBezTo>
                      <a:cubicBezTo>
                        <a:pt x="655354" y="294691"/>
                        <a:pt x="648648" y="291940"/>
                        <a:pt x="639532" y="291940"/>
                      </a:cubicBezTo>
                      <a:cubicBezTo>
                        <a:pt x="630938" y="291940"/>
                        <a:pt x="623384" y="295293"/>
                        <a:pt x="616874" y="302000"/>
                      </a:cubicBezTo>
                      <a:cubicBezTo>
                        <a:pt x="610362" y="308707"/>
                        <a:pt x="607106" y="318311"/>
                        <a:pt x="607106" y="330812"/>
                      </a:cubicBezTo>
                      <a:lnTo>
                        <a:pt x="607106" y="386190"/>
                      </a:lnTo>
                      <a:lnTo>
                        <a:pt x="598122" y="386190"/>
                      </a:lnTo>
                      <a:close/>
                      <a:moveTo>
                        <a:pt x="316702" y="238125"/>
                      </a:moveTo>
                      <a:lnTo>
                        <a:pt x="325686" y="238125"/>
                      </a:lnTo>
                      <a:lnTo>
                        <a:pt x="325686" y="386190"/>
                      </a:lnTo>
                      <a:lnTo>
                        <a:pt x="316702" y="386190"/>
                      </a:lnTo>
                      <a:lnTo>
                        <a:pt x="316702" y="368024"/>
                      </a:lnTo>
                      <a:lnTo>
                        <a:pt x="316310" y="368024"/>
                      </a:lnTo>
                      <a:cubicBezTo>
                        <a:pt x="313054" y="374340"/>
                        <a:pt x="308236" y="379353"/>
                        <a:pt x="301856" y="383065"/>
                      </a:cubicBezTo>
                      <a:cubicBezTo>
                        <a:pt x="295474" y="386776"/>
                        <a:pt x="288280" y="388632"/>
                        <a:pt x="280270" y="388632"/>
                      </a:cubicBezTo>
                      <a:cubicBezTo>
                        <a:pt x="267964" y="388632"/>
                        <a:pt x="257920" y="384139"/>
                        <a:pt x="250140" y="375154"/>
                      </a:cubicBezTo>
                      <a:cubicBezTo>
                        <a:pt x="242360" y="366168"/>
                        <a:pt x="238468" y="353764"/>
                        <a:pt x="238468" y="337942"/>
                      </a:cubicBezTo>
                      <a:cubicBezTo>
                        <a:pt x="238468" y="321794"/>
                        <a:pt x="242718" y="308723"/>
                        <a:pt x="251214" y="298728"/>
                      </a:cubicBezTo>
                      <a:cubicBezTo>
                        <a:pt x="259712" y="288733"/>
                        <a:pt x="270732" y="283736"/>
                        <a:pt x="284276" y="283736"/>
                      </a:cubicBezTo>
                      <a:cubicBezTo>
                        <a:pt x="299252" y="283736"/>
                        <a:pt x="309930" y="289889"/>
                        <a:pt x="316310" y="302195"/>
                      </a:cubicBezTo>
                      <a:lnTo>
                        <a:pt x="316702" y="302195"/>
                      </a:lnTo>
                      <a:close/>
                      <a:moveTo>
                        <a:pt x="1658020" y="94250"/>
                      </a:moveTo>
                      <a:lnTo>
                        <a:pt x="1630476" y="98254"/>
                      </a:lnTo>
                      <a:cubicBezTo>
                        <a:pt x="1619994" y="99752"/>
                        <a:pt x="1612636" y="102177"/>
                        <a:pt x="1608404" y="105531"/>
                      </a:cubicBezTo>
                      <a:cubicBezTo>
                        <a:pt x="1604172" y="108884"/>
                        <a:pt x="1602056" y="114337"/>
                        <a:pt x="1602056" y="121890"/>
                      </a:cubicBezTo>
                      <a:cubicBezTo>
                        <a:pt x="1602056" y="127815"/>
                        <a:pt x="1604024" y="132699"/>
                        <a:pt x="1607964" y="136540"/>
                      </a:cubicBezTo>
                      <a:cubicBezTo>
                        <a:pt x="1611904" y="140382"/>
                        <a:pt x="1617390" y="142303"/>
                        <a:pt x="1624422" y="142303"/>
                      </a:cubicBezTo>
                      <a:cubicBezTo>
                        <a:pt x="1634058" y="142303"/>
                        <a:pt x="1642066" y="138738"/>
                        <a:pt x="1648448" y="131608"/>
                      </a:cubicBezTo>
                      <a:cubicBezTo>
                        <a:pt x="1654828" y="124478"/>
                        <a:pt x="1658020" y="115281"/>
                        <a:pt x="1658020" y="104017"/>
                      </a:cubicBezTo>
                      <a:close/>
                      <a:moveTo>
                        <a:pt x="1334170" y="94250"/>
                      </a:moveTo>
                      <a:lnTo>
                        <a:pt x="1306626" y="98254"/>
                      </a:lnTo>
                      <a:cubicBezTo>
                        <a:pt x="1296144" y="99752"/>
                        <a:pt x="1288786" y="102177"/>
                        <a:pt x="1284554" y="105531"/>
                      </a:cubicBezTo>
                      <a:cubicBezTo>
                        <a:pt x="1280322" y="108884"/>
                        <a:pt x="1278206" y="114337"/>
                        <a:pt x="1278206" y="121890"/>
                      </a:cubicBezTo>
                      <a:cubicBezTo>
                        <a:pt x="1278206" y="127815"/>
                        <a:pt x="1280176" y="132699"/>
                        <a:pt x="1284114" y="136540"/>
                      </a:cubicBezTo>
                      <a:cubicBezTo>
                        <a:pt x="1288054" y="140382"/>
                        <a:pt x="1293540" y="142303"/>
                        <a:pt x="1300572" y="142303"/>
                      </a:cubicBezTo>
                      <a:cubicBezTo>
                        <a:pt x="1310208" y="142303"/>
                        <a:pt x="1318216" y="138738"/>
                        <a:pt x="1324598" y="131608"/>
                      </a:cubicBezTo>
                      <a:cubicBezTo>
                        <a:pt x="1330978" y="124478"/>
                        <a:pt x="1334170" y="115281"/>
                        <a:pt x="1334170" y="104017"/>
                      </a:cubicBezTo>
                      <a:close/>
                      <a:moveTo>
                        <a:pt x="1100932" y="53815"/>
                      </a:moveTo>
                      <a:cubicBezTo>
                        <a:pt x="1089278" y="53815"/>
                        <a:pt x="1080260" y="57722"/>
                        <a:pt x="1073878" y="65535"/>
                      </a:cubicBezTo>
                      <a:cubicBezTo>
                        <a:pt x="1067498" y="73349"/>
                        <a:pt x="1064306" y="82530"/>
                        <a:pt x="1064306" y="93078"/>
                      </a:cubicBezTo>
                      <a:lnTo>
                        <a:pt x="1064306" y="105677"/>
                      </a:lnTo>
                      <a:cubicBezTo>
                        <a:pt x="1064306" y="115704"/>
                        <a:pt x="1067464" y="124316"/>
                        <a:pt x="1073780" y="131510"/>
                      </a:cubicBezTo>
                      <a:cubicBezTo>
                        <a:pt x="1080096" y="138705"/>
                        <a:pt x="1088398" y="142303"/>
                        <a:pt x="1098686" y="142303"/>
                      </a:cubicBezTo>
                      <a:cubicBezTo>
                        <a:pt x="1108908" y="142303"/>
                        <a:pt x="1117210" y="137924"/>
                        <a:pt x="1123592" y="129166"/>
                      </a:cubicBezTo>
                      <a:cubicBezTo>
                        <a:pt x="1129972" y="120409"/>
                        <a:pt x="1133164" y="108900"/>
                        <a:pt x="1133164" y="94641"/>
                      </a:cubicBezTo>
                      <a:cubicBezTo>
                        <a:pt x="1133164" y="82139"/>
                        <a:pt x="1130232" y="72209"/>
                        <a:pt x="1124372" y="64852"/>
                      </a:cubicBezTo>
                      <a:cubicBezTo>
                        <a:pt x="1118512" y="57494"/>
                        <a:pt x="1110700" y="53815"/>
                        <a:pt x="1100932" y="53815"/>
                      </a:cubicBezTo>
                      <a:close/>
                      <a:moveTo>
                        <a:pt x="734196" y="53815"/>
                      </a:moveTo>
                      <a:cubicBezTo>
                        <a:pt x="722412" y="53815"/>
                        <a:pt x="713018" y="57787"/>
                        <a:pt x="706020" y="65731"/>
                      </a:cubicBezTo>
                      <a:cubicBezTo>
                        <a:pt x="699020" y="73674"/>
                        <a:pt x="695520" y="84711"/>
                        <a:pt x="695520" y="98840"/>
                      </a:cubicBezTo>
                      <a:cubicBezTo>
                        <a:pt x="695520" y="111928"/>
                        <a:pt x="698938" y="122444"/>
                        <a:pt x="705776" y="130387"/>
                      </a:cubicBezTo>
                      <a:cubicBezTo>
                        <a:pt x="712612" y="138331"/>
                        <a:pt x="721956" y="142303"/>
                        <a:pt x="733806" y="142303"/>
                      </a:cubicBezTo>
                      <a:cubicBezTo>
                        <a:pt x="745852" y="142303"/>
                        <a:pt x="755130" y="138396"/>
                        <a:pt x="761642" y="130583"/>
                      </a:cubicBezTo>
                      <a:cubicBezTo>
                        <a:pt x="768152" y="122769"/>
                        <a:pt x="771408" y="111928"/>
                        <a:pt x="771408" y="98059"/>
                      </a:cubicBezTo>
                      <a:cubicBezTo>
                        <a:pt x="771408" y="83799"/>
                        <a:pt x="768168" y="72861"/>
                        <a:pt x="761690" y="65242"/>
                      </a:cubicBezTo>
                      <a:cubicBezTo>
                        <a:pt x="755212" y="57624"/>
                        <a:pt x="746048" y="53815"/>
                        <a:pt x="734196" y="53815"/>
                      </a:cubicBezTo>
                      <a:close/>
                      <a:moveTo>
                        <a:pt x="624682" y="53815"/>
                      </a:moveTo>
                      <a:cubicBezTo>
                        <a:pt x="613028" y="53815"/>
                        <a:pt x="604010" y="57722"/>
                        <a:pt x="597628" y="65535"/>
                      </a:cubicBezTo>
                      <a:cubicBezTo>
                        <a:pt x="591248" y="73349"/>
                        <a:pt x="588056" y="82530"/>
                        <a:pt x="588056" y="93078"/>
                      </a:cubicBezTo>
                      <a:lnTo>
                        <a:pt x="588056" y="105677"/>
                      </a:lnTo>
                      <a:cubicBezTo>
                        <a:pt x="588056" y="115704"/>
                        <a:pt x="591214" y="124316"/>
                        <a:pt x="597530" y="131510"/>
                      </a:cubicBezTo>
                      <a:cubicBezTo>
                        <a:pt x="603846" y="138705"/>
                        <a:pt x="612148" y="142303"/>
                        <a:pt x="622436" y="142303"/>
                      </a:cubicBezTo>
                      <a:cubicBezTo>
                        <a:pt x="632658" y="142303"/>
                        <a:pt x="640960" y="137924"/>
                        <a:pt x="647342" y="129166"/>
                      </a:cubicBezTo>
                      <a:cubicBezTo>
                        <a:pt x="653722" y="120409"/>
                        <a:pt x="656912" y="108900"/>
                        <a:pt x="656912" y="94641"/>
                      </a:cubicBezTo>
                      <a:cubicBezTo>
                        <a:pt x="656912" y="82139"/>
                        <a:pt x="653982" y="72209"/>
                        <a:pt x="648122" y="64852"/>
                      </a:cubicBezTo>
                      <a:cubicBezTo>
                        <a:pt x="642262" y="57494"/>
                        <a:pt x="634450" y="53815"/>
                        <a:pt x="624682" y="53815"/>
                      </a:cubicBezTo>
                      <a:close/>
                      <a:moveTo>
                        <a:pt x="505596" y="53815"/>
                      </a:moveTo>
                      <a:cubicBezTo>
                        <a:pt x="493812" y="53815"/>
                        <a:pt x="484418" y="57787"/>
                        <a:pt x="477420" y="65731"/>
                      </a:cubicBezTo>
                      <a:cubicBezTo>
                        <a:pt x="470420" y="73674"/>
                        <a:pt x="466920" y="84711"/>
                        <a:pt x="466920" y="98840"/>
                      </a:cubicBezTo>
                      <a:cubicBezTo>
                        <a:pt x="466920" y="111928"/>
                        <a:pt x="470338" y="122444"/>
                        <a:pt x="477176" y="130387"/>
                      </a:cubicBezTo>
                      <a:cubicBezTo>
                        <a:pt x="484012" y="138331"/>
                        <a:pt x="493356" y="142303"/>
                        <a:pt x="505206" y="142303"/>
                      </a:cubicBezTo>
                      <a:cubicBezTo>
                        <a:pt x="517252" y="142303"/>
                        <a:pt x="526530" y="138396"/>
                        <a:pt x="533042" y="130583"/>
                      </a:cubicBezTo>
                      <a:cubicBezTo>
                        <a:pt x="539552" y="122769"/>
                        <a:pt x="542808" y="111928"/>
                        <a:pt x="542808" y="98059"/>
                      </a:cubicBezTo>
                      <a:cubicBezTo>
                        <a:pt x="542808" y="83799"/>
                        <a:pt x="539568" y="72861"/>
                        <a:pt x="533090" y="65242"/>
                      </a:cubicBezTo>
                      <a:cubicBezTo>
                        <a:pt x="526612" y="57624"/>
                        <a:pt x="517448" y="53815"/>
                        <a:pt x="505596" y="53815"/>
                      </a:cubicBezTo>
                      <a:close/>
                      <a:moveTo>
                        <a:pt x="1779222" y="48053"/>
                      </a:moveTo>
                      <a:lnTo>
                        <a:pt x="1788206" y="48053"/>
                      </a:lnTo>
                      <a:lnTo>
                        <a:pt x="1788206" y="148065"/>
                      </a:lnTo>
                      <a:lnTo>
                        <a:pt x="1779222" y="148065"/>
                      </a:lnTo>
                      <a:close/>
                      <a:moveTo>
                        <a:pt x="864822" y="48053"/>
                      </a:moveTo>
                      <a:lnTo>
                        <a:pt x="873806" y="48053"/>
                      </a:lnTo>
                      <a:lnTo>
                        <a:pt x="873806" y="148065"/>
                      </a:lnTo>
                      <a:lnTo>
                        <a:pt x="864822" y="148065"/>
                      </a:lnTo>
                      <a:close/>
                      <a:moveTo>
                        <a:pt x="93296" y="48053"/>
                      </a:moveTo>
                      <a:lnTo>
                        <a:pt x="102282" y="48053"/>
                      </a:lnTo>
                      <a:lnTo>
                        <a:pt x="102282" y="148065"/>
                      </a:lnTo>
                      <a:lnTo>
                        <a:pt x="93296" y="148065"/>
                      </a:lnTo>
                      <a:close/>
                      <a:moveTo>
                        <a:pt x="1406858" y="46099"/>
                      </a:moveTo>
                      <a:cubicBezTo>
                        <a:pt x="1410570" y="46099"/>
                        <a:pt x="1413890" y="46685"/>
                        <a:pt x="1416820" y="47857"/>
                      </a:cubicBezTo>
                      <a:lnTo>
                        <a:pt x="1416820" y="57429"/>
                      </a:lnTo>
                      <a:cubicBezTo>
                        <a:pt x="1413824" y="55280"/>
                        <a:pt x="1410308" y="54206"/>
                        <a:pt x="1406272" y="54206"/>
                      </a:cubicBezTo>
                      <a:cubicBezTo>
                        <a:pt x="1398394" y="54206"/>
                        <a:pt x="1391784" y="58275"/>
                        <a:pt x="1386446" y="66414"/>
                      </a:cubicBezTo>
                      <a:cubicBezTo>
                        <a:pt x="1381106" y="74553"/>
                        <a:pt x="1378436" y="86111"/>
                        <a:pt x="1378436" y="101087"/>
                      </a:cubicBezTo>
                      <a:lnTo>
                        <a:pt x="1378436" y="148065"/>
                      </a:lnTo>
                      <a:lnTo>
                        <a:pt x="1369646" y="148065"/>
                      </a:lnTo>
                      <a:lnTo>
                        <a:pt x="1369646" y="48053"/>
                      </a:lnTo>
                      <a:lnTo>
                        <a:pt x="1378436" y="48053"/>
                      </a:lnTo>
                      <a:lnTo>
                        <a:pt x="1378436" y="70223"/>
                      </a:lnTo>
                      <a:lnTo>
                        <a:pt x="1378828" y="70223"/>
                      </a:lnTo>
                      <a:cubicBezTo>
                        <a:pt x="1381106" y="62605"/>
                        <a:pt x="1384720" y="56680"/>
                        <a:pt x="1389668" y="52448"/>
                      </a:cubicBezTo>
                      <a:cubicBezTo>
                        <a:pt x="1394616" y="48216"/>
                        <a:pt x="1400346" y="46099"/>
                        <a:pt x="1406858" y="46099"/>
                      </a:cubicBezTo>
                      <a:close/>
                      <a:moveTo>
                        <a:pt x="435308" y="46099"/>
                      </a:moveTo>
                      <a:cubicBezTo>
                        <a:pt x="439020" y="46099"/>
                        <a:pt x="442340" y="46685"/>
                        <a:pt x="445270" y="47857"/>
                      </a:cubicBezTo>
                      <a:lnTo>
                        <a:pt x="445270" y="57429"/>
                      </a:lnTo>
                      <a:cubicBezTo>
                        <a:pt x="442274" y="55280"/>
                        <a:pt x="438758" y="54206"/>
                        <a:pt x="434722" y="54206"/>
                      </a:cubicBezTo>
                      <a:cubicBezTo>
                        <a:pt x="426844" y="54206"/>
                        <a:pt x="420234" y="58275"/>
                        <a:pt x="414896" y="66414"/>
                      </a:cubicBezTo>
                      <a:cubicBezTo>
                        <a:pt x="409556" y="74553"/>
                        <a:pt x="406886" y="86111"/>
                        <a:pt x="406886" y="101087"/>
                      </a:cubicBezTo>
                      <a:lnTo>
                        <a:pt x="406886" y="148065"/>
                      </a:lnTo>
                      <a:lnTo>
                        <a:pt x="398096" y="148065"/>
                      </a:lnTo>
                      <a:lnTo>
                        <a:pt x="398096" y="48053"/>
                      </a:lnTo>
                      <a:lnTo>
                        <a:pt x="406886" y="48053"/>
                      </a:lnTo>
                      <a:lnTo>
                        <a:pt x="406886" y="70223"/>
                      </a:lnTo>
                      <a:lnTo>
                        <a:pt x="407276" y="70223"/>
                      </a:lnTo>
                      <a:cubicBezTo>
                        <a:pt x="409556" y="62605"/>
                        <a:pt x="413170" y="56680"/>
                        <a:pt x="418118" y="52448"/>
                      </a:cubicBezTo>
                      <a:cubicBezTo>
                        <a:pt x="423066" y="48216"/>
                        <a:pt x="428796" y="46099"/>
                        <a:pt x="435308" y="46099"/>
                      </a:cubicBezTo>
                      <a:close/>
                      <a:moveTo>
                        <a:pt x="168608" y="46099"/>
                      </a:moveTo>
                      <a:cubicBezTo>
                        <a:pt x="172320" y="46099"/>
                        <a:pt x="175640" y="46685"/>
                        <a:pt x="178570" y="47857"/>
                      </a:cubicBezTo>
                      <a:lnTo>
                        <a:pt x="178570" y="57429"/>
                      </a:lnTo>
                      <a:cubicBezTo>
                        <a:pt x="175574" y="55280"/>
                        <a:pt x="172058" y="54206"/>
                        <a:pt x="168022" y="54206"/>
                      </a:cubicBezTo>
                      <a:cubicBezTo>
                        <a:pt x="160144" y="54206"/>
                        <a:pt x="153534" y="58275"/>
                        <a:pt x="148196" y="66414"/>
                      </a:cubicBezTo>
                      <a:cubicBezTo>
                        <a:pt x="142856" y="74553"/>
                        <a:pt x="140186" y="86111"/>
                        <a:pt x="140186" y="101087"/>
                      </a:cubicBezTo>
                      <a:lnTo>
                        <a:pt x="140186" y="148065"/>
                      </a:lnTo>
                      <a:lnTo>
                        <a:pt x="131396" y="148065"/>
                      </a:lnTo>
                      <a:lnTo>
                        <a:pt x="131396" y="48053"/>
                      </a:lnTo>
                      <a:lnTo>
                        <a:pt x="140186" y="48053"/>
                      </a:lnTo>
                      <a:lnTo>
                        <a:pt x="140186" y="70223"/>
                      </a:lnTo>
                      <a:lnTo>
                        <a:pt x="140576" y="70223"/>
                      </a:lnTo>
                      <a:cubicBezTo>
                        <a:pt x="142856" y="62605"/>
                        <a:pt x="146470" y="56680"/>
                        <a:pt x="151418" y="52448"/>
                      </a:cubicBezTo>
                      <a:cubicBezTo>
                        <a:pt x="156366" y="48216"/>
                        <a:pt x="162096" y="46099"/>
                        <a:pt x="168608" y="46099"/>
                      </a:cubicBezTo>
                      <a:close/>
                      <a:moveTo>
                        <a:pt x="1978214" y="45611"/>
                      </a:moveTo>
                      <a:cubicBezTo>
                        <a:pt x="1986808" y="45611"/>
                        <a:pt x="1994166" y="47369"/>
                        <a:pt x="2000286" y="50885"/>
                      </a:cubicBezTo>
                      <a:lnTo>
                        <a:pt x="2000286" y="61043"/>
                      </a:lnTo>
                      <a:cubicBezTo>
                        <a:pt x="1992864" y="56224"/>
                        <a:pt x="1985180" y="53815"/>
                        <a:pt x="1977236" y="53815"/>
                      </a:cubicBezTo>
                      <a:cubicBezTo>
                        <a:pt x="1970660" y="53815"/>
                        <a:pt x="1965354" y="55524"/>
                        <a:pt x="1961316" y="58943"/>
                      </a:cubicBezTo>
                      <a:cubicBezTo>
                        <a:pt x="1957280" y="62361"/>
                        <a:pt x="1955262" y="66805"/>
                        <a:pt x="1955262" y="72275"/>
                      </a:cubicBezTo>
                      <a:cubicBezTo>
                        <a:pt x="1955262" y="77028"/>
                        <a:pt x="1956532" y="80886"/>
                        <a:pt x="1959070" y="83848"/>
                      </a:cubicBezTo>
                      <a:cubicBezTo>
                        <a:pt x="1961610" y="86811"/>
                        <a:pt x="1967210" y="90213"/>
                        <a:pt x="1975870" y="94055"/>
                      </a:cubicBezTo>
                      <a:cubicBezTo>
                        <a:pt x="1986288" y="98743"/>
                        <a:pt x="1993450" y="103089"/>
                        <a:pt x="1997356" y="107093"/>
                      </a:cubicBezTo>
                      <a:cubicBezTo>
                        <a:pt x="2001264" y="111098"/>
                        <a:pt x="2003216" y="116421"/>
                        <a:pt x="2003216" y="123062"/>
                      </a:cubicBezTo>
                      <a:cubicBezTo>
                        <a:pt x="2003216" y="131006"/>
                        <a:pt x="2000238" y="137566"/>
                        <a:pt x="1994280" y="142742"/>
                      </a:cubicBezTo>
                      <a:cubicBezTo>
                        <a:pt x="1988322" y="147919"/>
                        <a:pt x="1980102" y="150507"/>
                        <a:pt x="1969618" y="150507"/>
                      </a:cubicBezTo>
                      <a:cubicBezTo>
                        <a:pt x="1959982" y="150507"/>
                        <a:pt x="1951940" y="148228"/>
                        <a:pt x="1945494" y="143670"/>
                      </a:cubicBezTo>
                      <a:lnTo>
                        <a:pt x="1945494" y="132829"/>
                      </a:lnTo>
                      <a:cubicBezTo>
                        <a:pt x="1948880" y="135759"/>
                        <a:pt x="1952982" y="138070"/>
                        <a:pt x="1957800" y="139763"/>
                      </a:cubicBezTo>
                      <a:cubicBezTo>
                        <a:pt x="1962620" y="141456"/>
                        <a:pt x="1966786" y="142303"/>
                        <a:pt x="1970302" y="142303"/>
                      </a:cubicBezTo>
                      <a:cubicBezTo>
                        <a:pt x="1985994" y="142303"/>
                        <a:pt x="1993840" y="135889"/>
                        <a:pt x="1993840" y="123062"/>
                      </a:cubicBezTo>
                      <a:cubicBezTo>
                        <a:pt x="1993840" y="118634"/>
                        <a:pt x="1992116" y="114858"/>
                        <a:pt x="1988664" y="111733"/>
                      </a:cubicBezTo>
                      <a:cubicBezTo>
                        <a:pt x="1985214" y="108607"/>
                        <a:pt x="1979614" y="105384"/>
                        <a:pt x="1971866" y="102063"/>
                      </a:cubicBezTo>
                      <a:cubicBezTo>
                        <a:pt x="1962294" y="97896"/>
                        <a:pt x="1955572" y="93583"/>
                        <a:pt x="1951696" y="89122"/>
                      </a:cubicBezTo>
                      <a:cubicBezTo>
                        <a:pt x="1947822" y="84662"/>
                        <a:pt x="1945886" y="79242"/>
                        <a:pt x="1945886" y="72861"/>
                      </a:cubicBezTo>
                      <a:cubicBezTo>
                        <a:pt x="1945886" y="64721"/>
                        <a:pt x="1948994" y="58145"/>
                        <a:pt x="1955212" y="53132"/>
                      </a:cubicBezTo>
                      <a:cubicBezTo>
                        <a:pt x="1961432" y="48118"/>
                        <a:pt x="1969098" y="45611"/>
                        <a:pt x="1978214" y="45611"/>
                      </a:cubicBezTo>
                      <a:close/>
                      <a:moveTo>
                        <a:pt x="1844864" y="45611"/>
                      </a:moveTo>
                      <a:cubicBezTo>
                        <a:pt x="1853458" y="45611"/>
                        <a:pt x="1860816" y="47369"/>
                        <a:pt x="1866936" y="50885"/>
                      </a:cubicBezTo>
                      <a:lnTo>
                        <a:pt x="1866936" y="61043"/>
                      </a:lnTo>
                      <a:cubicBezTo>
                        <a:pt x="1859514" y="56224"/>
                        <a:pt x="1851830" y="53815"/>
                        <a:pt x="1843888" y="53815"/>
                      </a:cubicBezTo>
                      <a:cubicBezTo>
                        <a:pt x="1837310" y="53815"/>
                        <a:pt x="1832004" y="55524"/>
                        <a:pt x="1827968" y="58943"/>
                      </a:cubicBezTo>
                      <a:cubicBezTo>
                        <a:pt x="1823930" y="62361"/>
                        <a:pt x="1821912" y="66805"/>
                        <a:pt x="1821912" y="72275"/>
                      </a:cubicBezTo>
                      <a:cubicBezTo>
                        <a:pt x="1821912" y="77028"/>
                        <a:pt x="1823182" y="80886"/>
                        <a:pt x="1825720" y="83848"/>
                      </a:cubicBezTo>
                      <a:cubicBezTo>
                        <a:pt x="1828260" y="86811"/>
                        <a:pt x="1833860" y="90213"/>
                        <a:pt x="1842520" y="94055"/>
                      </a:cubicBezTo>
                      <a:cubicBezTo>
                        <a:pt x="1852938" y="98743"/>
                        <a:pt x="1860100" y="103089"/>
                        <a:pt x="1864006" y="107093"/>
                      </a:cubicBezTo>
                      <a:cubicBezTo>
                        <a:pt x="1867914" y="111098"/>
                        <a:pt x="1869866" y="116421"/>
                        <a:pt x="1869866" y="123062"/>
                      </a:cubicBezTo>
                      <a:cubicBezTo>
                        <a:pt x="1869866" y="131006"/>
                        <a:pt x="1866888" y="137566"/>
                        <a:pt x="1860930" y="142742"/>
                      </a:cubicBezTo>
                      <a:cubicBezTo>
                        <a:pt x="1854972" y="147919"/>
                        <a:pt x="1846752" y="150507"/>
                        <a:pt x="1836268" y="150507"/>
                      </a:cubicBezTo>
                      <a:cubicBezTo>
                        <a:pt x="1826632" y="150507"/>
                        <a:pt x="1818592" y="148228"/>
                        <a:pt x="1812144" y="143670"/>
                      </a:cubicBezTo>
                      <a:lnTo>
                        <a:pt x="1812144" y="132829"/>
                      </a:lnTo>
                      <a:cubicBezTo>
                        <a:pt x="1815530" y="135759"/>
                        <a:pt x="1819632" y="138070"/>
                        <a:pt x="1824452" y="139763"/>
                      </a:cubicBezTo>
                      <a:cubicBezTo>
                        <a:pt x="1829270" y="141456"/>
                        <a:pt x="1833436" y="142303"/>
                        <a:pt x="1836952" y="142303"/>
                      </a:cubicBezTo>
                      <a:cubicBezTo>
                        <a:pt x="1852644" y="142303"/>
                        <a:pt x="1860490" y="135889"/>
                        <a:pt x="1860490" y="123062"/>
                      </a:cubicBezTo>
                      <a:cubicBezTo>
                        <a:pt x="1860490" y="118634"/>
                        <a:pt x="1858766" y="114858"/>
                        <a:pt x="1855314" y="111733"/>
                      </a:cubicBezTo>
                      <a:cubicBezTo>
                        <a:pt x="1851864" y="108607"/>
                        <a:pt x="1846264" y="105384"/>
                        <a:pt x="1838516" y="102063"/>
                      </a:cubicBezTo>
                      <a:cubicBezTo>
                        <a:pt x="1828944" y="97896"/>
                        <a:pt x="1822220" y="93583"/>
                        <a:pt x="1818346" y="89122"/>
                      </a:cubicBezTo>
                      <a:cubicBezTo>
                        <a:pt x="1814472" y="84662"/>
                        <a:pt x="1812536" y="79242"/>
                        <a:pt x="1812536" y="72861"/>
                      </a:cubicBezTo>
                      <a:cubicBezTo>
                        <a:pt x="1812536" y="64721"/>
                        <a:pt x="1815644" y="58145"/>
                        <a:pt x="1821862" y="53132"/>
                      </a:cubicBezTo>
                      <a:cubicBezTo>
                        <a:pt x="1828080" y="48118"/>
                        <a:pt x="1835748" y="45611"/>
                        <a:pt x="1844864" y="45611"/>
                      </a:cubicBezTo>
                      <a:close/>
                      <a:moveTo>
                        <a:pt x="1736470" y="45611"/>
                      </a:moveTo>
                      <a:cubicBezTo>
                        <a:pt x="1744088" y="45611"/>
                        <a:pt x="1751478" y="47174"/>
                        <a:pt x="1758640" y="50299"/>
                      </a:cubicBezTo>
                      <a:lnTo>
                        <a:pt x="1758640" y="60457"/>
                      </a:lnTo>
                      <a:cubicBezTo>
                        <a:pt x="1751478" y="56029"/>
                        <a:pt x="1743632" y="53815"/>
                        <a:pt x="1735104" y="53815"/>
                      </a:cubicBezTo>
                      <a:cubicBezTo>
                        <a:pt x="1723382" y="53815"/>
                        <a:pt x="1713876" y="58031"/>
                        <a:pt x="1706584" y="66463"/>
                      </a:cubicBezTo>
                      <a:cubicBezTo>
                        <a:pt x="1699292" y="74895"/>
                        <a:pt x="1695644" y="85818"/>
                        <a:pt x="1695644" y="99231"/>
                      </a:cubicBezTo>
                      <a:cubicBezTo>
                        <a:pt x="1695644" y="112188"/>
                        <a:pt x="1698982" y="122606"/>
                        <a:pt x="1705656" y="130485"/>
                      </a:cubicBezTo>
                      <a:cubicBezTo>
                        <a:pt x="1712330" y="138364"/>
                        <a:pt x="1721136" y="142303"/>
                        <a:pt x="1732076" y="142303"/>
                      </a:cubicBezTo>
                      <a:cubicBezTo>
                        <a:pt x="1742102" y="142303"/>
                        <a:pt x="1750828" y="139633"/>
                        <a:pt x="1758250" y="134294"/>
                      </a:cubicBezTo>
                      <a:lnTo>
                        <a:pt x="1758250" y="143670"/>
                      </a:lnTo>
                      <a:cubicBezTo>
                        <a:pt x="1750828" y="148228"/>
                        <a:pt x="1741972" y="150507"/>
                        <a:pt x="1731684" y="150507"/>
                      </a:cubicBezTo>
                      <a:cubicBezTo>
                        <a:pt x="1718076" y="150507"/>
                        <a:pt x="1707104" y="145835"/>
                        <a:pt x="1698770" y="136492"/>
                      </a:cubicBezTo>
                      <a:cubicBezTo>
                        <a:pt x="1690436" y="127148"/>
                        <a:pt x="1686268" y="114923"/>
                        <a:pt x="1686268" y="99817"/>
                      </a:cubicBezTo>
                      <a:cubicBezTo>
                        <a:pt x="1686268" y="83930"/>
                        <a:pt x="1690956" y="70923"/>
                        <a:pt x="1700332" y="60798"/>
                      </a:cubicBezTo>
                      <a:cubicBezTo>
                        <a:pt x="1709710" y="50674"/>
                        <a:pt x="1721756" y="45611"/>
                        <a:pt x="1736470" y="45611"/>
                      </a:cubicBezTo>
                      <a:close/>
                      <a:moveTo>
                        <a:pt x="1634676" y="45611"/>
                      </a:moveTo>
                      <a:cubicBezTo>
                        <a:pt x="1644964" y="45611"/>
                        <a:pt x="1652924" y="48802"/>
                        <a:pt x="1658556" y="55183"/>
                      </a:cubicBezTo>
                      <a:cubicBezTo>
                        <a:pt x="1664188" y="61564"/>
                        <a:pt x="1667004" y="70842"/>
                        <a:pt x="1667004" y="83018"/>
                      </a:cubicBezTo>
                      <a:lnTo>
                        <a:pt x="1667004" y="148065"/>
                      </a:lnTo>
                      <a:lnTo>
                        <a:pt x="1658020" y="148065"/>
                      </a:lnTo>
                      <a:lnTo>
                        <a:pt x="1658020" y="128043"/>
                      </a:lnTo>
                      <a:lnTo>
                        <a:pt x="1657628" y="128043"/>
                      </a:lnTo>
                      <a:cubicBezTo>
                        <a:pt x="1654438" y="134880"/>
                        <a:pt x="1649798" y="140333"/>
                        <a:pt x="1643710" y="144403"/>
                      </a:cubicBezTo>
                      <a:cubicBezTo>
                        <a:pt x="1637622" y="148472"/>
                        <a:pt x="1630868" y="150507"/>
                        <a:pt x="1623444" y="150507"/>
                      </a:cubicBezTo>
                      <a:cubicBezTo>
                        <a:pt x="1613938" y="150507"/>
                        <a:pt x="1606418" y="147837"/>
                        <a:pt x="1600884" y="142498"/>
                      </a:cubicBezTo>
                      <a:cubicBezTo>
                        <a:pt x="1595348" y="137159"/>
                        <a:pt x="1592582" y="130420"/>
                        <a:pt x="1592582" y="122281"/>
                      </a:cubicBezTo>
                      <a:cubicBezTo>
                        <a:pt x="1592582" y="104831"/>
                        <a:pt x="1604138" y="94282"/>
                        <a:pt x="1627254" y="90636"/>
                      </a:cubicBezTo>
                      <a:lnTo>
                        <a:pt x="1658020" y="86046"/>
                      </a:lnTo>
                      <a:cubicBezTo>
                        <a:pt x="1658020" y="64559"/>
                        <a:pt x="1649946" y="53815"/>
                        <a:pt x="1633798" y="53815"/>
                      </a:cubicBezTo>
                      <a:cubicBezTo>
                        <a:pt x="1622794" y="53815"/>
                        <a:pt x="1612082" y="58243"/>
                        <a:pt x="1601664" y="67098"/>
                      </a:cubicBezTo>
                      <a:lnTo>
                        <a:pt x="1601664" y="56257"/>
                      </a:lnTo>
                      <a:cubicBezTo>
                        <a:pt x="1605376" y="53327"/>
                        <a:pt x="1610406" y="50820"/>
                        <a:pt x="1616754" y="48736"/>
                      </a:cubicBezTo>
                      <a:cubicBezTo>
                        <a:pt x="1623102" y="46653"/>
                        <a:pt x="1629076" y="45611"/>
                        <a:pt x="1634676" y="45611"/>
                      </a:cubicBezTo>
                      <a:close/>
                      <a:moveTo>
                        <a:pt x="1476268" y="45611"/>
                      </a:moveTo>
                      <a:cubicBezTo>
                        <a:pt x="1483560" y="45611"/>
                        <a:pt x="1489794" y="47711"/>
                        <a:pt x="1494972" y="51911"/>
                      </a:cubicBezTo>
                      <a:cubicBezTo>
                        <a:pt x="1500148" y="56110"/>
                        <a:pt x="1503648" y="61629"/>
                        <a:pt x="1505470" y="68465"/>
                      </a:cubicBezTo>
                      <a:cubicBezTo>
                        <a:pt x="1508596" y="61238"/>
                        <a:pt x="1513072" y="55622"/>
                        <a:pt x="1518900" y="51618"/>
                      </a:cubicBezTo>
                      <a:cubicBezTo>
                        <a:pt x="1524728" y="47613"/>
                        <a:pt x="1531060" y="45611"/>
                        <a:pt x="1537896" y="45611"/>
                      </a:cubicBezTo>
                      <a:cubicBezTo>
                        <a:pt x="1559774" y="45611"/>
                        <a:pt x="1570712" y="59154"/>
                        <a:pt x="1570712" y="86241"/>
                      </a:cubicBezTo>
                      <a:lnTo>
                        <a:pt x="1570712" y="148065"/>
                      </a:lnTo>
                      <a:lnTo>
                        <a:pt x="1561728" y="148065"/>
                      </a:lnTo>
                      <a:lnTo>
                        <a:pt x="1561728" y="87901"/>
                      </a:lnTo>
                      <a:cubicBezTo>
                        <a:pt x="1561728" y="75335"/>
                        <a:pt x="1559758" y="66512"/>
                        <a:pt x="1555818" y="61433"/>
                      </a:cubicBezTo>
                      <a:cubicBezTo>
                        <a:pt x="1551880" y="56355"/>
                        <a:pt x="1545644" y="53815"/>
                        <a:pt x="1537116" y="53815"/>
                      </a:cubicBezTo>
                      <a:cubicBezTo>
                        <a:pt x="1529236" y="53815"/>
                        <a:pt x="1522432" y="57201"/>
                        <a:pt x="1516702" y="63973"/>
                      </a:cubicBezTo>
                      <a:cubicBezTo>
                        <a:pt x="1510972" y="70744"/>
                        <a:pt x="1508108" y="79242"/>
                        <a:pt x="1508108" y="89464"/>
                      </a:cubicBezTo>
                      <a:lnTo>
                        <a:pt x="1508108" y="148065"/>
                      </a:lnTo>
                      <a:lnTo>
                        <a:pt x="1499122" y="148065"/>
                      </a:lnTo>
                      <a:lnTo>
                        <a:pt x="1499122" y="87218"/>
                      </a:lnTo>
                      <a:cubicBezTo>
                        <a:pt x="1499122" y="64949"/>
                        <a:pt x="1490658" y="53815"/>
                        <a:pt x="1473728" y="53815"/>
                      </a:cubicBezTo>
                      <a:cubicBezTo>
                        <a:pt x="1465590" y="53815"/>
                        <a:pt x="1458818" y="57217"/>
                        <a:pt x="1453414" y="64022"/>
                      </a:cubicBezTo>
                      <a:cubicBezTo>
                        <a:pt x="1448008" y="70826"/>
                        <a:pt x="1445306" y="79632"/>
                        <a:pt x="1445306" y="90441"/>
                      </a:cubicBezTo>
                      <a:lnTo>
                        <a:pt x="1445306" y="148065"/>
                      </a:lnTo>
                      <a:lnTo>
                        <a:pt x="1436322" y="148065"/>
                      </a:lnTo>
                      <a:lnTo>
                        <a:pt x="1436322" y="48053"/>
                      </a:lnTo>
                      <a:lnTo>
                        <a:pt x="1445306" y="48053"/>
                      </a:lnTo>
                      <a:lnTo>
                        <a:pt x="1445306" y="64656"/>
                      </a:lnTo>
                      <a:lnTo>
                        <a:pt x="1445698" y="64656"/>
                      </a:lnTo>
                      <a:cubicBezTo>
                        <a:pt x="1452664" y="51959"/>
                        <a:pt x="1462854" y="45611"/>
                        <a:pt x="1476268" y="45611"/>
                      </a:cubicBezTo>
                      <a:close/>
                      <a:moveTo>
                        <a:pt x="1310826" y="45611"/>
                      </a:moveTo>
                      <a:cubicBezTo>
                        <a:pt x="1321114" y="45611"/>
                        <a:pt x="1329074" y="48802"/>
                        <a:pt x="1334706" y="55183"/>
                      </a:cubicBezTo>
                      <a:cubicBezTo>
                        <a:pt x="1340338" y="61564"/>
                        <a:pt x="1343154" y="70842"/>
                        <a:pt x="1343154" y="83018"/>
                      </a:cubicBezTo>
                      <a:lnTo>
                        <a:pt x="1343154" y="148065"/>
                      </a:lnTo>
                      <a:lnTo>
                        <a:pt x="1334170" y="148065"/>
                      </a:lnTo>
                      <a:lnTo>
                        <a:pt x="1334170" y="128043"/>
                      </a:lnTo>
                      <a:lnTo>
                        <a:pt x="1333778" y="128043"/>
                      </a:lnTo>
                      <a:cubicBezTo>
                        <a:pt x="1330588" y="134880"/>
                        <a:pt x="1325948" y="140333"/>
                        <a:pt x="1319860" y="144403"/>
                      </a:cubicBezTo>
                      <a:cubicBezTo>
                        <a:pt x="1313772" y="148472"/>
                        <a:pt x="1307018" y="150507"/>
                        <a:pt x="1299594" y="150507"/>
                      </a:cubicBezTo>
                      <a:cubicBezTo>
                        <a:pt x="1290088" y="150507"/>
                        <a:pt x="1282568" y="147837"/>
                        <a:pt x="1277034" y="142498"/>
                      </a:cubicBezTo>
                      <a:cubicBezTo>
                        <a:pt x="1271498" y="137159"/>
                        <a:pt x="1268732" y="130420"/>
                        <a:pt x="1268732" y="122281"/>
                      </a:cubicBezTo>
                      <a:cubicBezTo>
                        <a:pt x="1268732" y="104831"/>
                        <a:pt x="1280288" y="94282"/>
                        <a:pt x="1303404" y="90636"/>
                      </a:cubicBezTo>
                      <a:lnTo>
                        <a:pt x="1334170" y="86046"/>
                      </a:lnTo>
                      <a:cubicBezTo>
                        <a:pt x="1334170" y="64559"/>
                        <a:pt x="1326096" y="53815"/>
                        <a:pt x="1309948" y="53815"/>
                      </a:cubicBezTo>
                      <a:cubicBezTo>
                        <a:pt x="1298944" y="53815"/>
                        <a:pt x="1288232" y="58243"/>
                        <a:pt x="1277814" y="67098"/>
                      </a:cubicBezTo>
                      <a:lnTo>
                        <a:pt x="1277814" y="56257"/>
                      </a:lnTo>
                      <a:cubicBezTo>
                        <a:pt x="1281526" y="53327"/>
                        <a:pt x="1286556" y="50820"/>
                        <a:pt x="1292904" y="48736"/>
                      </a:cubicBezTo>
                      <a:cubicBezTo>
                        <a:pt x="1299252" y="46653"/>
                        <a:pt x="1305226" y="45611"/>
                        <a:pt x="1310826" y="45611"/>
                      </a:cubicBezTo>
                      <a:close/>
                      <a:moveTo>
                        <a:pt x="1102104" y="45611"/>
                      </a:moveTo>
                      <a:cubicBezTo>
                        <a:pt x="1114802" y="45611"/>
                        <a:pt x="1124714" y="49990"/>
                        <a:pt x="1131844" y="58747"/>
                      </a:cubicBezTo>
                      <a:cubicBezTo>
                        <a:pt x="1138974" y="67505"/>
                        <a:pt x="1142540" y="79404"/>
                        <a:pt x="1142540" y="94445"/>
                      </a:cubicBezTo>
                      <a:cubicBezTo>
                        <a:pt x="1142540" y="111179"/>
                        <a:pt x="1138454" y="124706"/>
                        <a:pt x="1130282" y="135026"/>
                      </a:cubicBezTo>
                      <a:cubicBezTo>
                        <a:pt x="1122110" y="145347"/>
                        <a:pt x="1111318" y="150507"/>
                        <a:pt x="1097904" y="150507"/>
                      </a:cubicBezTo>
                      <a:cubicBezTo>
                        <a:pt x="1082928" y="150507"/>
                        <a:pt x="1071860" y="143768"/>
                        <a:pt x="1064698" y="130290"/>
                      </a:cubicBezTo>
                      <a:lnTo>
                        <a:pt x="1064306" y="130290"/>
                      </a:lnTo>
                      <a:lnTo>
                        <a:pt x="1064306" y="194067"/>
                      </a:lnTo>
                      <a:lnTo>
                        <a:pt x="1055322" y="194067"/>
                      </a:lnTo>
                      <a:lnTo>
                        <a:pt x="1055322" y="48053"/>
                      </a:lnTo>
                      <a:lnTo>
                        <a:pt x="1064306" y="48053"/>
                      </a:lnTo>
                      <a:lnTo>
                        <a:pt x="1064306" y="68661"/>
                      </a:lnTo>
                      <a:lnTo>
                        <a:pt x="1064698" y="68661"/>
                      </a:lnTo>
                      <a:cubicBezTo>
                        <a:pt x="1068278" y="61303"/>
                        <a:pt x="1073406" y="55622"/>
                        <a:pt x="1080080" y="51618"/>
                      </a:cubicBezTo>
                      <a:cubicBezTo>
                        <a:pt x="1086754" y="47613"/>
                        <a:pt x="1094096" y="45611"/>
                        <a:pt x="1102104" y="45611"/>
                      </a:cubicBezTo>
                      <a:close/>
                      <a:moveTo>
                        <a:pt x="945896" y="45611"/>
                      </a:moveTo>
                      <a:cubicBezTo>
                        <a:pt x="953514" y="45611"/>
                        <a:pt x="960904" y="47174"/>
                        <a:pt x="968066" y="50299"/>
                      </a:cubicBezTo>
                      <a:lnTo>
                        <a:pt x="968066" y="60457"/>
                      </a:lnTo>
                      <a:cubicBezTo>
                        <a:pt x="960904" y="56029"/>
                        <a:pt x="953058" y="53815"/>
                        <a:pt x="944528" y="53815"/>
                      </a:cubicBezTo>
                      <a:cubicBezTo>
                        <a:pt x="932808" y="53815"/>
                        <a:pt x="923302" y="58031"/>
                        <a:pt x="916008" y="66463"/>
                      </a:cubicBezTo>
                      <a:cubicBezTo>
                        <a:pt x="908716" y="74895"/>
                        <a:pt x="905070" y="85818"/>
                        <a:pt x="905070" y="99231"/>
                      </a:cubicBezTo>
                      <a:cubicBezTo>
                        <a:pt x="905070" y="112188"/>
                        <a:pt x="908408" y="122606"/>
                        <a:pt x="915080" y="130485"/>
                      </a:cubicBezTo>
                      <a:cubicBezTo>
                        <a:pt x="921756" y="138364"/>
                        <a:pt x="930562" y="142303"/>
                        <a:pt x="941500" y="142303"/>
                      </a:cubicBezTo>
                      <a:cubicBezTo>
                        <a:pt x="951528" y="142303"/>
                        <a:pt x="960252" y="139633"/>
                        <a:pt x="967676" y="134294"/>
                      </a:cubicBezTo>
                      <a:lnTo>
                        <a:pt x="967676" y="143670"/>
                      </a:lnTo>
                      <a:cubicBezTo>
                        <a:pt x="960252" y="148228"/>
                        <a:pt x="951398" y="150507"/>
                        <a:pt x="941110" y="150507"/>
                      </a:cubicBezTo>
                      <a:cubicBezTo>
                        <a:pt x="927500" y="150507"/>
                        <a:pt x="916530" y="145835"/>
                        <a:pt x="908196" y="136492"/>
                      </a:cubicBezTo>
                      <a:cubicBezTo>
                        <a:pt x="899860" y="127148"/>
                        <a:pt x="895694" y="114923"/>
                        <a:pt x="895694" y="99817"/>
                      </a:cubicBezTo>
                      <a:cubicBezTo>
                        <a:pt x="895694" y="83930"/>
                        <a:pt x="900382" y="70923"/>
                        <a:pt x="909758" y="60798"/>
                      </a:cubicBezTo>
                      <a:cubicBezTo>
                        <a:pt x="919134" y="50674"/>
                        <a:pt x="931180" y="45611"/>
                        <a:pt x="945896" y="45611"/>
                      </a:cubicBezTo>
                      <a:close/>
                      <a:moveTo>
                        <a:pt x="734588" y="45611"/>
                      </a:moveTo>
                      <a:cubicBezTo>
                        <a:pt x="748846" y="45611"/>
                        <a:pt x="760112" y="50267"/>
                        <a:pt x="768380" y="59578"/>
                      </a:cubicBezTo>
                      <a:cubicBezTo>
                        <a:pt x="776650" y="68889"/>
                        <a:pt x="780784" y="81781"/>
                        <a:pt x="780784" y="98254"/>
                      </a:cubicBezTo>
                      <a:cubicBezTo>
                        <a:pt x="780784" y="113816"/>
                        <a:pt x="776568" y="126415"/>
                        <a:pt x="768136" y="136052"/>
                      </a:cubicBezTo>
                      <a:cubicBezTo>
                        <a:pt x="759704" y="145689"/>
                        <a:pt x="748164" y="150507"/>
                        <a:pt x="733512" y="150507"/>
                      </a:cubicBezTo>
                      <a:cubicBezTo>
                        <a:pt x="718928" y="150507"/>
                        <a:pt x="707386" y="145705"/>
                        <a:pt x="698890" y="136101"/>
                      </a:cubicBezTo>
                      <a:cubicBezTo>
                        <a:pt x="690392" y="126497"/>
                        <a:pt x="686144" y="114011"/>
                        <a:pt x="686144" y="98645"/>
                      </a:cubicBezTo>
                      <a:cubicBezTo>
                        <a:pt x="686144" y="82041"/>
                        <a:pt x="690588" y="69051"/>
                        <a:pt x="699476" y="59675"/>
                      </a:cubicBezTo>
                      <a:cubicBezTo>
                        <a:pt x="708364" y="50299"/>
                        <a:pt x="720068" y="45611"/>
                        <a:pt x="734588" y="45611"/>
                      </a:cubicBezTo>
                      <a:close/>
                      <a:moveTo>
                        <a:pt x="505988" y="45611"/>
                      </a:moveTo>
                      <a:cubicBezTo>
                        <a:pt x="520246" y="45611"/>
                        <a:pt x="531512" y="50267"/>
                        <a:pt x="539780" y="59578"/>
                      </a:cubicBezTo>
                      <a:cubicBezTo>
                        <a:pt x="548050" y="68889"/>
                        <a:pt x="552184" y="81781"/>
                        <a:pt x="552184" y="98254"/>
                      </a:cubicBezTo>
                      <a:cubicBezTo>
                        <a:pt x="552184" y="113816"/>
                        <a:pt x="547968" y="126415"/>
                        <a:pt x="539536" y="136052"/>
                      </a:cubicBezTo>
                      <a:cubicBezTo>
                        <a:pt x="531104" y="145689"/>
                        <a:pt x="519564" y="150507"/>
                        <a:pt x="504912" y="150507"/>
                      </a:cubicBezTo>
                      <a:cubicBezTo>
                        <a:pt x="490328" y="150507"/>
                        <a:pt x="478786" y="145705"/>
                        <a:pt x="470290" y="136101"/>
                      </a:cubicBezTo>
                      <a:cubicBezTo>
                        <a:pt x="461792" y="126497"/>
                        <a:pt x="457544" y="114011"/>
                        <a:pt x="457544" y="98645"/>
                      </a:cubicBezTo>
                      <a:cubicBezTo>
                        <a:pt x="457544" y="82041"/>
                        <a:pt x="461988" y="69051"/>
                        <a:pt x="470876" y="59675"/>
                      </a:cubicBezTo>
                      <a:cubicBezTo>
                        <a:pt x="479764" y="50299"/>
                        <a:pt x="491468" y="45611"/>
                        <a:pt x="505988" y="45611"/>
                      </a:cubicBezTo>
                      <a:close/>
                      <a:moveTo>
                        <a:pt x="225614" y="45611"/>
                      </a:moveTo>
                      <a:cubicBezTo>
                        <a:pt x="234208" y="45611"/>
                        <a:pt x="241566" y="47369"/>
                        <a:pt x="247686" y="50885"/>
                      </a:cubicBezTo>
                      <a:lnTo>
                        <a:pt x="247686" y="61043"/>
                      </a:lnTo>
                      <a:cubicBezTo>
                        <a:pt x="240264" y="56224"/>
                        <a:pt x="232580" y="53815"/>
                        <a:pt x="224636" y="53815"/>
                      </a:cubicBezTo>
                      <a:cubicBezTo>
                        <a:pt x="218060" y="53815"/>
                        <a:pt x="212754" y="55524"/>
                        <a:pt x="208716" y="58943"/>
                      </a:cubicBezTo>
                      <a:cubicBezTo>
                        <a:pt x="204680" y="62361"/>
                        <a:pt x="202662" y="66805"/>
                        <a:pt x="202662" y="72275"/>
                      </a:cubicBezTo>
                      <a:cubicBezTo>
                        <a:pt x="202662" y="77028"/>
                        <a:pt x="203932" y="80886"/>
                        <a:pt x="206470" y="83848"/>
                      </a:cubicBezTo>
                      <a:cubicBezTo>
                        <a:pt x="209010" y="86811"/>
                        <a:pt x="214610" y="90213"/>
                        <a:pt x="223270" y="94055"/>
                      </a:cubicBezTo>
                      <a:cubicBezTo>
                        <a:pt x="233688" y="98743"/>
                        <a:pt x="240850" y="103089"/>
                        <a:pt x="244756" y="107093"/>
                      </a:cubicBezTo>
                      <a:cubicBezTo>
                        <a:pt x="248664" y="111098"/>
                        <a:pt x="250616" y="116421"/>
                        <a:pt x="250616" y="123062"/>
                      </a:cubicBezTo>
                      <a:cubicBezTo>
                        <a:pt x="250616" y="131006"/>
                        <a:pt x="247638" y="137566"/>
                        <a:pt x="241680" y="142742"/>
                      </a:cubicBezTo>
                      <a:cubicBezTo>
                        <a:pt x="235722" y="147919"/>
                        <a:pt x="227502" y="150507"/>
                        <a:pt x="217018" y="150507"/>
                      </a:cubicBezTo>
                      <a:cubicBezTo>
                        <a:pt x="207382" y="150507"/>
                        <a:pt x="199340" y="148228"/>
                        <a:pt x="192894" y="143670"/>
                      </a:cubicBezTo>
                      <a:lnTo>
                        <a:pt x="192894" y="132829"/>
                      </a:lnTo>
                      <a:cubicBezTo>
                        <a:pt x="196280" y="135759"/>
                        <a:pt x="200382" y="138070"/>
                        <a:pt x="205200" y="139763"/>
                      </a:cubicBezTo>
                      <a:cubicBezTo>
                        <a:pt x="210020" y="141456"/>
                        <a:pt x="214186" y="142303"/>
                        <a:pt x="217702" y="142303"/>
                      </a:cubicBezTo>
                      <a:cubicBezTo>
                        <a:pt x="233394" y="142303"/>
                        <a:pt x="241240" y="135889"/>
                        <a:pt x="241240" y="123062"/>
                      </a:cubicBezTo>
                      <a:cubicBezTo>
                        <a:pt x="241240" y="118634"/>
                        <a:pt x="239516" y="114858"/>
                        <a:pt x="236064" y="111733"/>
                      </a:cubicBezTo>
                      <a:cubicBezTo>
                        <a:pt x="232614" y="108607"/>
                        <a:pt x="227014" y="105384"/>
                        <a:pt x="219266" y="102063"/>
                      </a:cubicBezTo>
                      <a:cubicBezTo>
                        <a:pt x="209694" y="97896"/>
                        <a:pt x="202970" y="93583"/>
                        <a:pt x="199096" y="89122"/>
                      </a:cubicBezTo>
                      <a:cubicBezTo>
                        <a:pt x="195222" y="84662"/>
                        <a:pt x="193286" y="79242"/>
                        <a:pt x="193286" y="72861"/>
                      </a:cubicBezTo>
                      <a:cubicBezTo>
                        <a:pt x="193286" y="64721"/>
                        <a:pt x="196394" y="58145"/>
                        <a:pt x="202612" y="53132"/>
                      </a:cubicBezTo>
                      <a:cubicBezTo>
                        <a:pt x="208832" y="48118"/>
                        <a:pt x="216498" y="45611"/>
                        <a:pt x="225614" y="45611"/>
                      </a:cubicBezTo>
                      <a:close/>
                      <a:moveTo>
                        <a:pt x="1906706" y="19045"/>
                      </a:moveTo>
                      <a:lnTo>
                        <a:pt x="1906706" y="48053"/>
                      </a:lnTo>
                      <a:lnTo>
                        <a:pt x="1933076" y="48053"/>
                      </a:lnTo>
                      <a:lnTo>
                        <a:pt x="1933076" y="56257"/>
                      </a:lnTo>
                      <a:lnTo>
                        <a:pt x="1906706" y="56257"/>
                      </a:lnTo>
                      <a:lnTo>
                        <a:pt x="1906706" y="122281"/>
                      </a:lnTo>
                      <a:cubicBezTo>
                        <a:pt x="1906706" y="129183"/>
                        <a:pt x="1907796" y="134180"/>
                        <a:pt x="1909978" y="137273"/>
                      </a:cubicBezTo>
                      <a:cubicBezTo>
                        <a:pt x="1912160" y="140366"/>
                        <a:pt x="1915854" y="141912"/>
                        <a:pt x="1921064" y="141912"/>
                      </a:cubicBezTo>
                      <a:cubicBezTo>
                        <a:pt x="1924776" y="141912"/>
                        <a:pt x="1928780" y="140708"/>
                        <a:pt x="1933076" y="138298"/>
                      </a:cubicBezTo>
                      <a:lnTo>
                        <a:pt x="1933076" y="146698"/>
                      </a:lnTo>
                      <a:cubicBezTo>
                        <a:pt x="1928388" y="148912"/>
                        <a:pt x="1923994" y="150019"/>
                        <a:pt x="1919892" y="150019"/>
                      </a:cubicBezTo>
                      <a:cubicBezTo>
                        <a:pt x="1905112" y="150019"/>
                        <a:pt x="1897720" y="141163"/>
                        <a:pt x="1897720" y="123453"/>
                      </a:cubicBezTo>
                      <a:lnTo>
                        <a:pt x="1897720" y="56257"/>
                      </a:lnTo>
                      <a:lnTo>
                        <a:pt x="1879750" y="56257"/>
                      </a:lnTo>
                      <a:lnTo>
                        <a:pt x="1879750" y="48053"/>
                      </a:lnTo>
                      <a:lnTo>
                        <a:pt x="1897720" y="48053"/>
                      </a:lnTo>
                      <a:lnTo>
                        <a:pt x="1897720" y="22073"/>
                      </a:lnTo>
                      <a:cubicBezTo>
                        <a:pt x="1899154" y="21552"/>
                        <a:pt x="1900652" y="21031"/>
                        <a:pt x="1902214" y="20510"/>
                      </a:cubicBezTo>
                      <a:cubicBezTo>
                        <a:pt x="1903776" y="20054"/>
                        <a:pt x="1905274" y="19566"/>
                        <a:pt x="1906706" y="19045"/>
                      </a:cubicBezTo>
                      <a:close/>
                      <a:moveTo>
                        <a:pt x="820856" y="19045"/>
                      </a:moveTo>
                      <a:lnTo>
                        <a:pt x="820856" y="48053"/>
                      </a:lnTo>
                      <a:lnTo>
                        <a:pt x="847228" y="48053"/>
                      </a:lnTo>
                      <a:lnTo>
                        <a:pt x="847228" y="56257"/>
                      </a:lnTo>
                      <a:lnTo>
                        <a:pt x="820856" y="56257"/>
                      </a:lnTo>
                      <a:lnTo>
                        <a:pt x="820856" y="122281"/>
                      </a:lnTo>
                      <a:cubicBezTo>
                        <a:pt x="820856" y="129183"/>
                        <a:pt x="821948" y="134180"/>
                        <a:pt x="824128" y="137273"/>
                      </a:cubicBezTo>
                      <a:cubicBezTo>
                        <a:pt x="826310" y="140366"/>
                        <a:pt x="830004" y="141912"/>
                        <a:pt x="835214" y="141912"/>
                      </a:cubicBezTo>
                      <a:cubicBezTo>
                        <a:pt x="838924" y="141912"/>
                        <a:pt x="842930" y="140708"/>
                        <a:pt x="847228" y="138298"/>
                      </a:cubicBezTo>
                      <a:lnTo>
                        <a:pt x="847228" y="146698"/>
                      </a:lnTo>
                      <a:cubicBezTo>
                        <a:pt x="842538" y="148912"/>
                        <a:pt x="838144" y="150019"/>
                        <a:pt x="834042" y="150019"/>
                      </a:cubicBezTo>
                      <a:cubicBezTo>
                        <a:pt x="819262" y="150019"/>
                        <a:pt x="811872" y="141163"/>
                        <a:pt x="811872" y="123453"/>
                      </a:cubicBezTo>
                      <a:lnTo>
                        <a:pt x="811872" y="56257"/>
                      </a:lnTo>
                      <a:lnTo>
                        <a:pt x="793900" y="56257"/>
                      </a:lnTo>
                      <a:lnTo>
                        <a:pt x="793900" y="48053"/>
                      </a:lnTo>
                      <a:lnTo>
                        <a:pt x="811872" y="48053"/>
                      </a:lnTo>
                      <a:lnTo>
                        <a:pt x="811872" y="22073"/>
                      </a:lnTo>
                      <a:cubicBezTo>
                        <a:pt x="813304" y="21552"/>
                        <a:pt x="814800" y="21031"/>
                        <a:pt x="816364" y="20510"/>
                      </a:cubicBezTo>
                      <a:cubicBezTo>
                        <a:pt x="817926" y="20054"/>
                        <a:pt x="819424" y="19566"/>
                        <a:pt x="820856" y="19045"/>
                      </a:cubicBezTo>
                      <a:close/>
                      <a:moveTo>
                        <a:pt x="287456" y="19045"/>
                      </a:moveTo>
                      <a:lnTo>
                        <a:pt x="287456" y="48053"/>
                      </a:lnTo>
                      <a:lnTo>
                        <a:pt x="313826" y="48053"/>
                      </a:lnTo>
                      <a:lnTo>
                        <a:pt x="313826" y="56257"/>
                      </a:lnTo>
                      <a:lnTo>
                        <a:pt x="287456" y="56257"/>
                      </a:lnTo>
                      <a:lnTo>
                        <a:pt x="287456" y="122281"/>
                      </a:lnTo>
                      <a:cubicBezTo>
                        <a:pt x="287456" y="129183"/>
                        <a:pt x="288548" y="134180"/>
                        <a:pt x="290728" y="137273"/>
                      </a:cubicBezTo>
                      <a:cubicBezTo>
                        <a:pt x="292910" y="140366"/>
                        <a:pt x="296604" y="141912"/>
                        <a:pt x="301814" y="141912"/>
                      </a:cubicBezTo>
                      <a:cubicBezTo>
                        <a:pt x="305526" y="141912"/>
                        <a:pt x="309530" y="140708"/>
                        <a:pt x="313826" y="138298"/>
                      </a:cubicBezTo>
                      <a:lnTo>
                        <a:pt x="313826" y="146698"/>
                      </a:lnTo>
                      <a:cubicBezTo>
                        <a:pt x="309138" y="148912"/>
                        <a:pt x="304744" y="150019"/>
                        <a:pt x="300642" y="150019"/>
                      </a:cubicBezTo>
                      <a:cubicBezTo>
                        <a:pt x="285862" y="150019"/>
                        <a:pt x="278470" y="141163"/>
                        <a:pt x="278470" y="123453"/>
                      </a:cubicBezTo>
                      <a:lnTo>
                        <a:pt x="278470" y="56257"/>
                      </a:lnTo>
                      <a:lnTo>
                        <a:pt x="260500" y="56257"/>
                      </a:lnTo>
                      <a:lnTo>
                        <a:pt x="260500" y="48053"/>
                      </a:lnTo>
                      <a:lnTo>
                        <a:pt x="278470" y="48053"/>
                      </a:lnTo>
                      <a:lnTo>
                        <a:pt x="278470" y="22073"/>
                      </a:lnTo>
                      <a:cubicBezTo>
                        <a:pt x="279904" y="21552"/>
                        <a:pt x="281400" y="21031"/>
                        <a:pt x="282964" y="20510"/>
                      </a:cubicBezTo>
                      <a:cubicBezTo>
                        <a:pt x="284526" y="20054"/>
                        <a:pt x="286024" y="19566"/>
                        <a:pt x="287456" y="19045"/>
                      </a:cubicBezTo>
                      <a:close/>
                      <a:moveTo>
                        <a:pt x="1783616" y="8009"/>
                      </a:moveTo>
                      <a:cubicBezTo>
                        <a:pt x="1785634" y="8009"/>
                        <a:pt x="1787408" y="8660"/>
                        <a:pt x="1788940" y="9962"/>
                      </a:cubicBezTo>
                      <a:cubicBezTo>
                        <a:pt x="1790470" y="11264"/>
                        <a:pt x="1791234" y="13022"/>
                        <a:pt x="1791234" y="15236"/>
                      </a:cubicBezTo>
                      <a:cubicBezTo>
                        <a:pt x="1791234" y="17320"/>
                        <a:pt x="1790486" y="19110"/>
                        <a:pt x="1788988" y="20608"/>
                      </a:cubicBezTo>
                      <a:cubicBezTo>
                        <a:pt x="1787490" y="22105"/>
                        <a:pt x="1785700" y="22854"/>
                        <a:pt x="1783616" y="22854"/>
                      </a:cubicBezTo>
                      <a:cubicBezTo>
                        <a:pt x="1781664" y="22854"/>
                        <a:pt x="1779938" y="22138"/>
                        <a:pt x="1778440" y="20706"/>
                      </a:cubicBezTo>
                      <a:cubicBezTo>
                        <a:pt x="1776942" y="19273"/>
                        <a:pt x="1776194" y="17450"/>
                        <a:pt x="1776194" y="15236"/>
                      </a:cubicBezTo>
                      <a:cubicBezTo>
                        <a:pt x="1776194" y="13087"/>
                        <a:pt x="1776958" y="11346"/>
                        <a:pt x="1778488" y="10011"/>
                      </a:cubicBezTo>
                      <a:cubicBezTo>
                        <a:pt x="1780018" y="8676"/>
                        <a:pt x="1781728" y="8009"/>
                        <a:pt x="1783616" y="8009"/>
                      </a:cubicBezTo>
                      <a:close/>
                      <a:moveTo>
                        <a:pt x="869216" y="8009"/>
                      </a:moveTo>
                      <a:cubicBezTo>
                        <a:pt x="871234" y="8009"/>
                        <a:pt x="873008" y="8660"/>
                        <a:pt x="874540" y="9962"/>
                      </a:cubicBezTo>
                      <a:cubicBezTo>
                        <a:pt x="876070" y="11264"/>
                        <a:pt x="876834" y="13022"/>
                        <a:pt x="876834" y="15236"/>
                      </a:cubicBezTo>
                      <a:cubicBezTo>
                        <a:pt x="876834" y="17320"/>
                        <a:pt x="876086" y="19110"/>
                        <a:pt x="874588" y="20608"/>
                      </a:cubicBezTo>
                      <a:cubicBezTo>
                        <a:pt x="873090" y="22105"/>
                        <a:pt x="871300" y="22854"/>
                        <a:pt x="869216" y="22854"/>
                      </a:cubicBezTo>
                      <a:cubicBezTo>
                        <a:pt x="867264" y="22854"/>
                        <a:pt x="865538" y="22138"/>
                        <a:pt x="864040" y="20706"/>
                      </a:cubicBezTo>
                      <a:cubicBezTo>
                        <a:pt x="862542" y="19273"/>
                        <a:pt x="861794" y="17450"/>
                        <a:pt x="861794" y="15236"/>
                      </a:cubicBezTo>
                      <a:cubicBezTo>
                        <a:pt x="861794" y="13087"/>
                        <a:pt x="862558" y="11346"/>
                        <a:pt x="864088" y="10011"/>
                      </a:cubicBezTo>
                      <a:cubicBezTo>
                        <a:pt x="865618" y="8676"/>
                        <a:pt x="867328" y="8009"/>
                        <a:pt x="869216" y="8009"/>
                      </a:cubicBezTo>
                      <a:close/>
                      <a:moveTo>
                        <a:pt x="97692" y="8009"/>
                      </a:moveTo>
                      <a:cubicBezTo>
                        <a:pt x="99710" y="8009"/>
                        <a:pt x="101484" y="8660"/>
                        <a:pt x="103014" y="9962"/>
                      </a:cubicBezTo>
                      <a:cubicBezTo>
                        <a:pt x="104544" y="11264"/>
                        <a:pt x="105310" y="13022"/>
                        <a:pt x="105310" y="15236"/>
                      </a:cubicBezTo>
                      <a:cubicBezTo>
                        <a:pt x="105310" y="17320"/>
                        <a:pt x="104560" y="19110"/>
                        <a:pt x="103064" y="20608"/>
                      </a:cubicBezTo>
                      <a:cubicBezTo>
                        <a:pt x="101566" y="22105"/>
                        <a:pt x="99774" y="22854"/>
                        <a:pt x="97692" y="22854"/>
                      </a:cubicBezTo>
                      <a:cubicBezTo>
                        <a:pt x="95738" y="22854"/>
                        <a:pt x="94012" y="22138"/>
                        <a:pt x="92514" y="20706"/>
                      </a:cubicBezTo>
                      <a:cubicBezTo>
                        <a:pt x="91018" y="19273"/>
                        <a:pt x="90268" y="17450"/>
                        <a:pt x="90268" y="15236"/>
                      </a:cubicBezTo>
                      <a:cubicBezTo>
                        <a:pt x="90268" y="13087"/>
                        <a:pt x="91034" y="11346"/>
                        <a:pt x="92564" y="10011"/>
                      </a:cubicBezTo>
                      <a:cubicBezTo>
                        <a:pt x="94094" y="8676"/>
                        <a:pt x="95804" y="8009"/>
                        <a:pt x="97692" y="8009"/>
                      </a:cubicBezTo>
                      <a:close/>
                      <a:moveTo>
                        <a:pt x="0" y="8009"/>
                      </a:moveTo>
                      <a:lnTo>
                        <a:pt x="65438" y="8009"/>
                      </a:lnTo>
                      <a:lnTo>
                        <a:pt x="65438" y="16897"/>
                      </a:lnTo>
                      <a:lnTo>
                        <a:pt x="9668" y="16897"/>
                      </a:lnTo>
                      <a:lnTo>
                        <a:pt x="9668" y="74033"/>
                      </a:lnTo>
                      <a:lnTo>
                        <a:pt x="61432" y="74033"/>
                      </a:lnTo>
                      <a:lnTo>
                        <a:pt x="61432" y="82823"/>
                      </a:lnTo>
                      <a:lnTo>
                        <a:pt x="9668" y="82823"/>
                      </a:lnTo>
                      <a:lnTo>
                        <a:pt x="9668" y="148065"/>
                      </a:lnTo>
                      <a:lnTo>
                        <a:pt x="0" y="148065"/>
                      </a:lnTo>
                      <a:close/>
                      <a:moveTo>
                        <a:pt x="1169622" y="0"/>
                      </a:moveTo>
                      <a:lnTo>
                        <a:pt x="1178606" y="0"/>
                      </a:lnTo>
                      <a:lnTo>
                        <a:pt x="1178606" y="66024"/>
                      </a:lnTo>
                      <a:lnTo>
                        <a:pt x="1178998" y="66024"/>
                      </a:lnTo>
                      <a:cubicBezTo>
                        <a:pt x="1186876" y="52415"/>
                        <a:pt x="1198336" y="45611"/>
                        <a:pt x="1213376" y="45611"/>
                      </a:cubicBezTo>
                      <a:cubicBezTo>
                        <a:pt x="1224186" y="45611"/>
                        <a:pt x="1232422" y="49095"/>
                        <a:pt x="1238086" y="56062"/>
                      </a:cubicBezTo>
                      <a:cubicBezTo>
                        <a:pt x="1243752" y="63029"/>
                        <a:pt x="1246584" y="73023"/>
                        <a:pt x="1246584" y="86046"/>
                      </a:cubicBezTo>
                      <a:lnTo>
                        <a:pt x="1246584" y="148065"/>
                      </a:lnTo>
                      <a:lnTo>
                        <a:pt x="1237598" y="148065"/>
                      </a:lnTo>
                      <a:lnTo>
                        <a:pt x="1237598" y="88097"/>
                      </a:lnTo>
                      <a:cubicBezTo>
                        <a:pt x="1237598" y="76246"/>
                        <a:pt x="1235450" y="67570"/>
                        <a:pt x="1231152" y="62068"/>
                      </a:cubicBezTo>
                      <a:cubicBezTo>
                        <a:pt x="1226856" y="56566"/>
                        <a:pt x="1220148" y="53815"/>
                        <a:pt x="1211032" y="53815"/>
                      </a:cubicBezTo>
                      <a:cubicBezTo>
                        <a:pt x="1202438" y="53815"/>
                        <a:pt x="1194884" y="57168"/>
                        <a:pt x="1188374" y="63875"/>
                      </a:cubicBezTo>
                      <a:cubicBezTo>
                        <a:pt x="1181862" y="70582"/>
                        <a:pt x="1178606" y="80186"/>
                        <a:pt x="1178606" y="92687"/>
                      </a:cubicBezTo>
                      <a:lnTo>
                        <a:pt x="1178606" y="148065"/>
                      </a:lnTo>
                      <a:lnTo>
                        <a:pt x="1169622" y="148065"/>
                      </a:lnTo>
                      <a:close/>
                      <a:moveTo>
                        <a:pt x="579072" y="0"/>
                      </a:moveTo>
                      <a:lnTo>
                        <a:pt x="588056" y="0"/>
                      </a:lnTo>
                      <a:lnTo>
                        <a:pt x="588056" y="68661"/>
                      </a:lnTo>
                      <a:lnTo>
                        <a:pt x="588448" y="68661"/>
                      </a:lnTo>
                      <a:cubicBezTo>
                        <a:pt x="592028" y="61303"/>
                        <a:pt x="597156" y="55622"/>
                        <a:pt x="603830" y="51618"/>
                      </a:cubicBezTo>
                      <a:cubicBezTo>
                        <a:pt x="610504" y="47613"/>
                        <a:pt x="617846" y="45611"/>
                        <a:pt x="625854" y="45611"/>
                      </a:cubicBezTo>
                      <a:cubicBezTo>
                        <a:pt x="638552" y="45611"/>
                        <a:pt x="648464" y="49990"/>
                        <a:pt x="655594" y="58747"/>
                      </a:cubicBezTo>
                      <a:cubicBezTo>
                        <a:pt x="662724" y="67505"/>
                        <a:pt x="666290" y="79404"/>
                        <a:pt x="666290" y="94445"/>
                      </a:cubicBezTo>
                      <a:cubicBezTo>
                        <a:pt x="666290" y="111179"/>
                        <a:pt x="662154" y="124706"/>
                        <a:pt x="653886" y="135026"/>
                      </a:cubicBezTo>
                      <a:cubicBezTo>
                        <a:pt x="645616" y="145347"/>
                        <a:pt x="634872" y="150507"/>
                        <a:pt x="621654" y="150507"/>
                      </a:cubicBezTo>
                      <a:cubicBezTo>
                        <a:pt x="606678" y="150507"/>
                        <a:pt x="595610" y="143768"/>
                        <a:pt x="588448" y="130290"/>
                      </a:cubicBezTo>
                      <a:lnTo>
                        <a:pt x="588056" y="130290"/>
                      </a:lnTo>
                      <a:lnTo>
                        <a:pt x="588056" y="148065"/>
                      </a:lnTo>
                      <a:lnTo>
                        <a:pt x="579072" y="148065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kern="0" noProof="0" dirty="0">
                      <a:solidFill>
                        <a:prstClr val="white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Первые роботы – фармацевты + другие роботизированные сервисные роли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84" name="Implantable cell phones"/>
              <p:cNvGrpSpPr/>
              <p:nvPr/>
            </p:nvGrpSpPr>
            <p:grpSpPr>
              <a:xfrm>
                <a:off x="28288681" y="2343473"/>
                <a:ext cx="3509862" cy="2162345"/>
                <a:chOff x="8761238" y="2210893"/>
                <a:chExt cx="3509862" cy="2162345"/>
              </a:xfrm>
            </p:grpSpPr>
            <p:grpSp>
              <p:nvGrpSpPr>
                <p:cNvPr id="60" name="Group 59"/>
                <p:cNvGrpSpPr/>
                <p:nvPr/>
              </p:nvGrpSpPr>
              <p:grpSpPr>
                <a:xfrm>
                  <a:off x="9811803" y="2210893"/>
                  <a:ext cx="1514228" cy="1454688"/>
                  <a:chOff x="6322529" y="2970810"/>
                  <a:chExt cx="1759326" cy="1690148"/>
                </a:xfrm>
              </p:grpSpPr>
              <p:sp>
                <p:nvSpPr>
                  <p:cNvPr id="61" name="Freeform 25"/>
                  <p:cNvSpPr>
                    <a:spLocks/>
                  </p:cNvSpPr>
                  <p:nvPr/>
                </p:nvSpPr>
                <p:spPr bwMode="auto">
                  <a:xfrm>
                    <a:off x="6322529" y="2970810"/>
                    <a:ext cx="480156" cy="1690148"/>
                  </a:xfrm>
                  <a:custGeom>
                    <a:avLst/>
                    <a:gdLst>
                      <a:gd name="T0" fmla="*/ 821 w 835"/>
                      <a:gd name="T1" fmla="*/ 1504 h 2951"/>
                      <a:gd name="T2" fmla="*/ 801 w 835"/>
                      <a:gd name="T3" fmla="*/ 1405 h 2951"/>
                      <a:gd name="T4" fmla="*/ 748 w 835"/>
                      <a:gd name="T5" fmla="*/ 903 h 2951"/>
                      <a:gd name="T6" fmla="*/ 591 w 835"/>
                      <a:gd name="T7" fmla="*/ 535 h 2951"/>
                      <a:gd name="T8" fmla="*/ 520 w 835"/>
                      <a:gd name="T9" fmla="*/ 359 h 2951"/>
                      <a:gd name="T10" fmla="*/ 547 w 835"/>
                      <a:gd name="T11" fmla="*/ 158 h 2951"/>
                      <a:gd name="T12" fmla="*/ 382 w 835"/>
                      <a:gd name="T13" fmla="*/ 11 h 2951"/>
                      <a:gd name="T14" fmla="*/ 289 w 835"/>
                      <a:gd name="T15" fmla="*/ 269 h 2951"/>
                      <a:gd name="T16" fmla="*/ 318 w 835"/>
                      <a:gd name="T17" fmla="*/ 364 h 2951"/>
                      <a:gd name="T18" fmla="*/ 345 w 835"/>
                      <a:gd name="T19" fmla="*/ 479 h 2951"/>
                      <a:gd name="T20" fmla="*/ 231 w 835"/>
                      <a:gd name="T21" fmla="*/ 537 h 2951"/>
                      <a:gd name="T22" fmla="*/ 88 w 835"/>
                      <a:gd name="T23" fmla="*/ 985 h 2951"/>
                      <a:gd name="T24" fmla="*/ 31 w 835"/>
                      <a:gd name="T25" fmla="*/ 1428 h 2951"/>
                      <a:gd name="T26" fmla="*/ 6 w 835"/>
                      <a:gd name="T27" fmla="*/ 1561 h 2951"/>
                      <a:gd name="T28" fmla="*/ 21 w 835"/>
                      <a:gd name="T29" fmla="*/ 1638 h 2951"/>
                      <a:gd name="T30" fmla="*/ 41 w 835"/>
                      <a:gd name="T31" fmla="*/ 1662 h 2951"/>
                      <a:gd name="T32" fmla="*/ 97 w 835"/>
                      <a:gd name="T33" fmla="*/ 1629 h 2951"/>
                      <a:gd name="T34" fmla="*/ 115 w 835"/>
                      <a:gd name="T35" fmla="*/ 1463 h 2951"/>
                      <a:gd name="T36" fmla="*/ 167 w 835"/>
                      <a:gd name="T37" fmla="*/ 1249 h 2951"/>
                      <a:gd name="T38" fmla="*/ 223 w 835"/>
                      <a:gd name="T39" fmla="*/ 925 h 2951"/>
                      <a:gd name="T40" fmla="*/ 258 w 835"/>
                      <a:gd name="T41" fmla="*/ 1050 h 2951"/>
                      <a:gd name="T42" fmla="*/ 243 w 835"/>
                      <a:gd name="T43" fmla="*/ 1160 h 2951"/>
                      <a:gd name="T44" fmla="*/ 152 w 835"/>
                      <a:gd name="T45" fmla="*/ 1590 h 2951"/>
                      <a:gd name="T46" fmla="*/ 194 w 835"/>
                      <a:gd name="T47" fmla="*/ 1798 h 2951"/>
                      <a:gd name="T48" fmla="*/ 277 w 835"/>
                      <a:gd name="T49" fmla="*/ 2522 h 2951"/>
                      <a:gd name="T50" fmla="*/ 284 w 835"/>
                      <a:gd name="T51" fmla="*/ 2845 h 2951"/>
                      <a:gd name="T52" fmla="*/ 253 w 835"/>
                      <a:gd name="T53" fmla="*/ 2940 h 2951"/>
                      <a:gd name="T54" fmla="*/ 265 w 835"/>
                      <a:gd name="T55" fmla="*/ 2942 h 2951"/>
                      <a:gd name="T56" fmla="*/ 301 w 835"/>
                      <a:gd name="T57" fmla="*/ 2946 h 2951"/>
                      <a:gd name="T58" fmla="*/ 329 w 835"/>
                      <a:gd name="T59" fmla="*/ 2946 h 2951"/>
                      <a:gd name="T60" fmla="*/ 396 w 835"/>
                      <a:gd name="T61" fmla="*/ 2940 h 2951"/>
                      <a:gd name="T62" fmla="*/ 381 w 835"/>
                      <a:gd name="T63" fmla="*/ 2705 h 2951"/>
                      <a:gd name="T64" fmla="*/ 412 w 835"/>
                      <a:gd name="T65" fmla="*/ 2308 h 2951"/>
                      <a:gd name="T66" fmla="*/ 416 w 835"/>
                      <a:gd name="T67" fmla="*/ 1746 h 2951"/>
                      <a:gd name="T68" fmla="*/ 419 w 835"/>
                      <a:gd name="T69" fmla="*/ 1756 h 2951"/>
                      <a:gd name="T70" fmla="*/ 444 w 835"/>
                      <a:gd name="T71" fmla="*/ 2124 h 2951"/>
                      <a:gd name="T72" fmla="*/ 455 w 835"/>
                      <a:gd name="T73" fmla="*/ 2691 h 2951"/>
                      <a:gd name="T74" fmla="*/ 433 w 835"/>
                      <a:gd name="T75" fmla="*/ 2855 h 2951"/>
                      <a:gd name="T76" fmla="*/ 492 w 835"/>
                      <a:gd name="T77" fmla="*/ 2951 h 2951"/>
                      <a:gd name="T78" fmla="*/ 522 w 835"/>
                      <a:gd name="T79" fmla="*/ 2949 h 2951"/>
                      <a:gd name="T80" fmla="*/ 563 w 835"/>
                      <a:gd name="T81" fmla="*/ 2942 h 2951"/>
                      <a:gd name="T82" fmla="*/ 581 w 835"/>
                      <a:gd name="T83" fmla="*/ 2941 h 2951"/>
                      <a:gd name="T84" fmla="*/ 570 w 835"/>
                      <a:gd name="T85" fmla="*/ 2872 h 2951"/>
                      <a:gd name="T86" fmla="*/ 538 w 835"/>
                      <a:gd name="T87" fmla="*/ 2705 h 2951"/>
                      <a:gd name="T88" fmla="*/ 598 w 835"/>
                      <a:gd name="T89" fmla="*/ 2077 h 2951"/>
                      <a:gd name="T90" fmla="*/ 674 w 835"/>
                      <a:gd name="T91" fmla="*/ 1649 h 2951"/>
                      <a:gd name="T92" fmla="*/ 589 w 835"/>
                      <a:gd name="T93" fmla="*/ 1153 h 2951"/>
                      <a:gd name="T94" fmla="*/ 612 w 835"/>
                      <a:gd name="T95" fmla="*/ 923 h 2951"/>
                      <a:gd name="T96" fmla="*/ 670 w 835"/>
                      <a:gd name="T97" fmla="*/ 1253 h 2951"/>
                      <a:gd name="T98" fmla="*/ 719 w 835"/>
                      <a:gd name="T99" fmla="*/ 1466 h 2951"/>
                      <a:gd name="T100" fmla="*/ 730 w 835"/>
                      <a:gd name="T101" fmla="*/ 1634 h 2951"/>
                      <a:gd name="T102" fmla="*/ 791 w 835"/>
                      <a:gd name="T103" fmla="*/ 1669 h 2951"/>
                      <a:gd name="T104" fmla="*/ 814 w 835"/>
                      <a:gd name="T105" fmla="*/ 1639 h 2951"/>
                      <a:gd name="T106" fmla="*/ 832 w 835"/>
                      <a:gd name="T107" fmla="*/ 1606 h 29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835" h="2951">
                        <a:moveTo>
                          <a:pt x="832" y="1606"/>
                        </a:moveTo>
                        <a:cubicBezTo>
                          <a:pt x="831" y="1601"/>
                          <a:pt x="831" y="1596"/>
                          <a:pt x="830" y="1589"/>
                        </a:cubicBezTo>
                        <a:cubicBezTo>
                          <a:pt x="831" y="1583"/>
                          <a:pt x="831" y="1575"/>
                          <a:pt x="830" y="1571"/>
                        </a:cubicBezTo>
                        <a:cubicBezTo>
                          <a:pt x="831" y="1571"/>
                          <a:pt x="831" y="1571"/>
                          <a:pt x="831" y="1571"/>
                        </a:cubicBezTo>
                        <a:cubicBezTo>
                          <a:pt x="829" y="1559"/>
                          <a:pt x="826" y="1543"/>
                          <a:pt x="825" y="1535"/>
                        </a:cubicBezTo>
                        <a:cubicBezTo>
                          <a:pt x="825" y="1524"/>
                          <a:pt x="823" y="1514"/>
                          <a:pt x="821" y="1504"/>
                        </a:cubicBezTo>
                        <a:cubicBezTo>
                          <a:pt x="821" y="1502"/>
                          <a:pt x="820" y="1498"/>
                          <a:pt x="818" y="1491"/>
                        </a:cubicBezTo>
                        <a:cubicBezTo>
                          <a:pt x="817" y="1485"/>
                          <a:pt x="815" y="1477"/>
                          <a:pt x="815" y="1472"/>
                        </a:cubicBezTo>
                        <a:cubicBezTo>
                          <a:pt x="814" y="1465"/>
                          <a:pt x="811" y="1455"/>
                          <a:pt x="808" y="1442"/>
                        </a:cubicBezTo>
                        <a:cubicBezTo>
                          <a:pt x="807" y="1438"/>
                          <a:pt x="805" y="1433"/>
                          <a:pt x="804" y="1428"/>
                        </a:cubicBezTo>
                        <a:cubicBezTo>
                          <a:pt x="804" y="1426"/>
                          <a:pt x="804" y="1424"/>
                          <a:pt x="803" y="1422"/>
                        </a:cubicBezTo>
                        <a:cubicBezTo>
                          <a:pt x="803" y="1418"/>
                          <a:pt x="802" y="1412"/>
                          <a:pt x="801" y="1405"/>
                        </a:cubicBezTo>
                        <a:cubicBezTo>
                          <a:pt x="797" y="1377"/>
                          <a:pt x="790" y="1331"/>
                          <a:pt x="787" y="1304"/>
                        </a:cubicBezTo>
                        <a:cubicBezTo>
                          <a:pt x="786" y="1294"/>
                          <a:pt x="785" y="1285"/>
                          <a:pt x="784" y="1275"/>
                        </a:cubicBezTo>
                        <a:cubicBezTo>
                          <a:pt x="779" y="1226"/>
                          <a:pt x="774" y="1175"/>
                          <a:pt x="760" y="1126"/>
                        </a:cubicBezTo>
                        <a:cubicBezTo>
                          <a:pt x="745" y="1076"/>
                          <a:pt x="746" y="1036"/>
                          <a:pt x="747" y="985"/>
                        </a:cubicBezTo>
                        <a:cubicBezTo>
                          <a:pt x="747" y="974"/>
                          <a:pt x="747" y="964"/>
                          <a:pt x="747" y="953"/>
                        </a:cubicBezTo>
                        <a:cubicBezTo>
                          <a:pt x="748" y="936"/>
                          <a:pt x="748" y="920"/>
                          <a:pt x="748" y="903"/>
                        </a:cubicBezTo>
                        <a:cubicBezTo>
                          <a:pt x="751" y="810"/>
                          <a:pt x="753" y="704"/>
                          <a:pt x="719" y="623"/>
                        </a:cubicBezTo>
                        <a:cubicBezTo>
                          <a:pt x="695" y="566"/>
                          <a:pt x="660" y="549"/>
                          <a:pt x="605" y="538"/>
                        </a:cubicBezTo>
                        <a:cubicBezTo>
                          <a:pt x="605" y="538"/>
                          <a:pt x="604" y="538"/>
                          <a:pt x="604" y="538"/>
                        </a:cubicBezTo>
                        <a:cubicBezTo>
                          <a:pt x="604" y="537"/>
                          <a:pt x="604" y="537"/>
                          <a:pt x="604" y="537"/>
                        </a:cubicBezTo>
                        <a:cubicBezTo>
                          <a:pt x="603" y="537"/>
                          <a:pt x="602" y="537"/>
                          <a:pt x="602" y="537"/>
                        </a:cubicBezTo>
                        <a:cubicBezTo>
                          <a:pt x="598" y="536"/>
                          <a:pt x="594" y="536"/>
                          <a:pt x="591" y="535"/>
                        </a:cubicBezTo>
                        <a:cubicBezTo>
                          <a:pt x="558" y="529"/>
                          <a:pt x="524" y="523"/>
                          <a:pt x="500" y="500"/>
                        </a:cubicBezTo>
                        <a:cubicBezTo>
                          <a:pt x="500" y="499"/>
                          <a:pt x="488" y="491"/>
                          <a:pt x="489" y="417"/>
                        </a:cubicBezTo>
                        <a:cubicBezTo>
                          <a:pt x="489" y="414"/>
                          <a:pt x="489" y="412"/>
                          <a:pt x="490" y="410"/>
                        </a:cubicBezTo>
                        <a:cubicBezTo>
                          <a:pt x="501" y="382"/>
                          <a:pt x="506" y="376"/>
                          <a:pt x="513" y="366"/>
                        </a:cubicBezTo>
                        <a:cubicBezTo>
                          <a:pt x="514" y="363"/>
                          <a:pt x="518" y="364"/>
                          <a:pt x="519" y="361"/>
                        </a:cubicBezTo>
                        <a:cubicBezTo>
                          <a:pt x="520" y="359"/>
                          <a:pt x="520" y="359"/>
                          <a:pt x="520" y="359"/>
                        </a:cubicBezTo>
                        <a:cubicBezTo>
                          <a:pt x="529" y="358"/>
                          <a:pt x="539" y="349"/>
                          <a:pt x="545" y="339"/>
                        </a:cubicBezTo>
                        <a:cubicBezTo>
                          <a:pt x="545" y="339"/>
                          <a:pt x="557" y="319"/>
                          <a:pt x="557" y="319"/>
                        </a:cubicBezTo>
                        <a:cubicBezTo>
                          <a:pt x="559" y="313"/>
                          <a:pt x="559" y="306"/>
                          <a:pt x="559" y="301"/>
                        </a:cubicBezTo>
                        <a:cubicBezTo>
                          <a:pt x="561" y="290"/>
                          <a:pt x="560" y="282"/>
                          <a:pt x="555" y="276"/>
                        </a:cubicBezTo>
                        <a:cubicBezTo>
                          <a:pt x="554" y="275"/>
                          <a:pt x="547" y="272"/>
                          <a:pt x="545" y="271"/>
                        </a:cubicBezTo>
                        <a:cubicBezTo>
                          <a:pt x="554" y="231"/>
                          <a:pt x="555" y="192"/>
                          <a:pt x="547" y="158"/>
                        </a:cubicBezTo>
                        <a:cubicBezTo>
                          <a:pt x="553" y="118"/>
                          <a:pt x="552" y="78"/>
                          <a:pt x="510" y="35"/>
                        </a:cubicBezTo>
                        <a:cubicBezTo>
                          <a:pt x="492" y="17"/>
                          <a:pt x="475" y="4"/>
                          <a:pt x="449" y="1"/>
                        </a:cubicBezTo>
                        <a:cubicBezTo>
                          <a:pt x="432" y="0"/>
                          <a:pt x="401" y="4"/>
                          <a:pt x="388" y="12"/>
                        </a:cubicBezTo>
                        <a:cubicBezTo>
                          <a:pt x="387" y="12"/>
                          <a:pt x="385" y="12"/>
                          <a:pt x="383" y="11"/>
                        </a:cubicBezTo>
                        <a:cubicBezTo>
                          <a:pt x="383" y="11"/>
                          <a:pt x="383" y="11"/>
                          <a:pt x="383" y="11"/>
                        </a:cubicBezTo>
                        <a:cubicBezTo>
                          <a:pt x="382" y="11"/>
                          <a:pt x="382" y="11"/>
                          <a:pt x="382" y="11"/>
                        </a:cubicBezTo>
                        <a:cubicBezTo>
                          <a:pt x="379" y="10"/>
                          <a:pt x="376" y="10"/>
                          <a:pt x="373" y="10"/>
                        </a:cubicBezTo>
                        <a:cubicBezTo>
                          <a:pt x="343" y="8"/>
                          <a:pt x="305" y="25"/>
                          <a:pt x="289" y="48"/>
                        </a:cubicBezTo>
                        <a:cubicBezTo>
                          <a:pt x="270" y="74"/>
                          <a:pt x="263" y="124"/>
                          <a:pt x="286" y="152"/>
                        </a:cubicBezTo>
                        <a:cubicBezTo>
                          <a:pt x="283" y="158"/>
                          <a:pt x="281" y="165"/>
                          <a:pt x="280" y="172"/>
                        </a:cubicBezTo>
                        <a:cubicBezTo>
                          <a:pt x="277" y="198"/>
                          <a:pt x="277" y="228"/>
                          <a:pt x="284" y="254"/>
                        </a:cubicBezTo>
                        <a:cubicBezTo>
                          <a:pt x="285" y="259"/>
                          <a:pt x="287" y="264"/>
                          <a:pt x="289" y="269"/>
                        </a:cubicBezTo>
                        <a:cubicBezTo>
                          <a:pt x="286" y="271"/>
                          <a:pt x="280" y="275"/>
                          <a:pt x="280" y="276"/>
                        </a:cubicBezTo>
                        <a:cubicBezTo>
                          <a:pt x="275" y="282"/>
                          <a:pt x="274" y="290"/>
                          <a:pt x="276" y="301"/>
                        </a:cubicBezTo>
                        <a:cubicBezTo>
                          <a:pt x="275" y="306"/>
                          <a:pt x="278" y="317"/>
                          <a:pt x="280" y="323"/>
                        </a:cubicBezTo>
                        <a:cubicBezTo>
                          <a:pt x="282" y="327"/>
                          <a:pt x="283" y="327"/>
                          <a:pt x="286" y="331"/>
                        </a:cubicBezTo>
                        <a:cubicBezTo>
                          <a:pt x="292" y="341"/>
                          <a:pt x="301" y="351"/>
                          <a:pt x="312" y="353"/>
                        </a:cubicBezTo>
                        <a:cubicBezTo>
                          <a:pt x="313" y="357"/>
                          <a:pt x="316" y="361"/>
                          <a:pt x="318" y="364"/>
                        </a:cubicBezTo>
                        <a:cubicBezTo>
                          <a:pt x="319" y="368"/>
                          <a:pt x="321" y="372"/>
                          <a:pt x="323" y="376"/>
                        </a:cubicBezTo>
                        <a:cubicBezTo>
                          <a:pt x="324" y="379"/>
                          <a:pt x="326" y="387"/>
                          <a:pt x="329" y="390"/>
                        </a:cubicBezTo>
                        <a:cubicBezTo>
                          <a:pt x="333" y="401"/>
                          <a:pt x="338" y="413"/>
                          <a:pt x="342" y="424"/>
                        </a:cubicBezTo>
                        <a:cubicBezTo>
                          <a:pt x="343" y="430"/>
                          <a:pt x="347" y="445"/>
                          <a:pt x="348" y="451"/>
                        </a:cubicBezTo>
                        <a:cubicBezTo>
                          <a:pt x="349" y="460"/>
                          <a:pt x="346" y="461"/>
                          <a:pt x="347" y="470"/>
                        </a:cubicBezTo>
                        <a:cubicBezTo>
                          <a:pt x="346" y="473"/>
                          <a:pt x="345" y="476"/>
                          <a:pt x="345" y="479"/>
                        </a:cubicBezTo>
                        <a:cubicBezTo>
                          <a:pt x="344" y="482"/>
                          <a:pt x="337" y="494"/>
                          <a:pt x="337" y="495"/>
                        </a:cubicBezTo>
                        <a:cubicBezTo>
                          <a:pt x="337" y="496"/>
                          <a:pt x="336" y="497"/>
                          <a:pt x="336" y="497"/>
                        </a:cubicBezTo>
                        <a:cubicBezTo>
                          <a:pt x="336" y="498"/>
                          <a:pt x="335" y="499"/>
                          <a:pt x="335" y="500"/>
                        </a:cubicBezTo>
                        <a:cubicBezTo>
                          <a:pt x="311" y="523"/>
                          <a:pt x="277" y="529"/>
                          <a:pt x="244" y="535"/>
                        </a:cubicBezTo>
                        <a:cubicBezTo>
                          <a:pt x="240" y="536"/>
                          <a:pt x="237" y="536"/>
                          <a:pt x="233" y="537"/>
                        </a:cubicBezTo>
                        <a:cubicBezTo>
                          <a:pt x="233" y="537"/>
                          <a:pt x="232" y="537"/>
                          <a:pt x="231" y="537"/>
                        </a:cubicBezTo>
                        <a:cubicBezTo>
                          <a:pt x="231" y="538"/>
                          <a:pt x="231" y="538"/>
                          <a:pt x="231" y="538"/>
                        </a:cubicBezTo>
                        <a:cubicBezTo>
                          <a:pt x="231" y="538"/>
                          <a:pt x="230" y="538"/>
                          <a:pt x="230" y="538"/>
                        </a:cubicBezTo>
                        <a:cubicBezTo>
                          <a:pt x="175" y="549"/>
                          <a:pt x="140" y="566"/>
                          <a:pt x="116" y="623"/>
                        </a:cubicBezTo>
                        <a:cubicBezTo>
                          <a:pt x="82" y="704"/>
                          <a:pt x="84" y="810"/>
                          <a:pt x="87" y="903"/>
                        </a:cubicBezTo>
                        <a:cubicBezTo>
                          <a:pt x="87" y="920"/>
                          <a:pt x="87" y="936"/>
                          <a:pt x="88" y="953"/>
                        </a:cubicBezTo>
                        <a:cubicBezTo>
                          <a:pt x="88" y="964"/>
                          <a:pt x="88" y="974"/>
                          <a:pt x="88" y="985"/>
                        </a:cubicBezTo>
                        <a:cubicBezTo>
                          <a:pt x="89" y="1036"/>
                          <a:pt x="90" y="1076"/>
                          <a:pt x="75" y="1126"/>
                        </a:cubicBezTo>
                        <a:cubicBezTo>
                          <a:pt x="61" y="1175"/>
                          <a:pt x="56" y="1226"/>
                          <a:pt x="51" y="1275"/>
                        </a:cubicBezTo>
                        <a:cubicBezTo>
                          <a:pt x="50" y="1285"/>
                          <a:pt x="49" y="1294"/>
                          <a:pt x="48" y="1304"/>
                        </a:cubicBezTo>
                        <a:cubicBezTo>
                          <a:pt x="45" y="1331"/>
                          <a:pt x="38" y="1377"/>
                          <a:pt x="34" y="1405"/>
                        </a:cubicBezTo>
                        <a:cubicBezTo>
                          <a:pt x="33" y="1412"/>
                          <a:pt x="32" y="1418"/>
                          <a:pt x="32" y="1422"/>
                        </a:cubicBezTo>
                        <a:cubicBezTo>
                          <a:pt x="31" y="1424"/>
                          <a:pt x="31" y="1426"/>
                          <a:pt x="31" y="1428"/>
                        </a:cubicBezTo>
                        <a:cubicBezTo>
                          <a:pt x="30" y="1433"/>
                          <a:pt x="28" y="1438"/>
                          <a:pt x="27" y="1442"/>
                        </a:cubicBezTo>
                        <a:cubicBezTo>
                          <a:pt x="24" y="1455"/>
                          <a:pt x="21" y="1465"/>
                          <a:pt x="20" y="1472"/>
                        </a:cubicBezTo>
                        <a:cubicBezTo>
                          <a:pt x="20" y="1477"/>
                          <a:pt x="18" y="1485"/>
                          <a:pt x="17" y="1491"/>
                        </a:cubicBezTo>
                        <a:cubicBezTo>
                          <a:pt x="15" y="1498"/>
                          <a:pt x="14" y="1502"/>
                          <a:pt x="14" y="1504"/>
                        </a:cubicBezTo>
                        <a:cubicBezTo>
                          <a:pt x="12" y="1514"/>
                          <a:pt x="10" y="1524"/>
                          <a:pt x="9" y="1535"/>
                        </a:cubicBezTo>
                        <a:cubicBezTo>
                          <a:pt x="9" y="1543"/>
                          <a:pt x="8" y="1550"/>
                          <a:pt x="6" y="1561"/>
                        </a:cubicBezTo>
                        <a:cubicBezTo>
                          <a:pt x="6" y="1561"/>
                          <a:pt x="4" y="1601"/>
                          <a:pt x="3" y="1606"/>
                        </a:cubicBezTo>
                        <a:cubicBezTo>
                          <a:pt x="3" y="1613"/>
                          <a:pt x="2" y="1620"/>
                          <a:pt x="1" y="1630"/>
                        </a:cubicBezTo>
                        <a:cubicBezTo>
                          <a:pt x="0" y="1633"/>
                          <a:pt x="1" y="1636"/>
                          <a:pt x="3" y="1638"/>
                        </a:cubicBezTo>
                        <a:cubicBezTo>
                          <a:pt x="5" y="1640"/>
                          <a:pt x="7" y="1641"/>
                          <a:pt x="10" y="1641"/>
                        </a:cubicBezTo>
                        <a:cubicBezTo>
                          <a:pt x="10" y="1641"/>
                          <a:pt x="10" y="1641"/>
                          <a:pt x="10" y="1641"/>
                        </a:cubicBezTo>
                        <a:cubicBezTo>
                          <a:pt x="14" y="1641"/>
                          <a:pt x="18" y="1640"/>
                          <a:pt x="21" y="1638"/>
                        </a:cubicBezTo>
                        <a:cubicBezTo>
                          <a:pt x="21" y="1638"/>
                          <a:pt x="21" y="1639"/>
                          <a:pt x="21" y="1639"/>
                        </a:cubicBezTo>
                        <a:cubicBezTo>
                          <a:pt x="21" y="1647"/>
                          <a:pt x="21" y="1652"/>
                          <a:pt x="22" y="1657"/>
                        </a:cubicBezTo>
                        <a:cubicBezTo>
                          <a:pt x="23" y="1661"/>
                          <a:pt x="27" y="1664"/>
                          <a:pt x="31" y="1664"/>
                        </a:cubicBezTo>
                        <a:cubicBezTo>
                          <a:pt x="32" y="1664"/>
                          <a:pt x="32" y="1664"/>
                          <a:pt x="32" y="1664"/>
                        </a:cubicBezTo>
                        <a:cubicBezTo>
                          <a:pt x="36" y="1663"/>
                          <a:pt x="39" y="1662"/>
                          <a:pt x="42" y="1660"/>
                        </a:cubicBezTo>
                        <a:cubicBezTo>
                          <a:pt x="42" y="1660"/>
                          <a:pt x="42" y="1661"/>
                          <a:pt x="41" y="1662"/>
                        </a:cubicBezTo>
                        <a:cubicBezTo>
                          <a:pt x="41" y="1665"/>
                          <a:pt x="42" y="1667"/>
                          <a:pt x="44" y="1669"/>
                        </a:cubicBezTo>
                        <a:cubicBezTo>
                          <a:pt x="46" y="1671"/>
                          <a:pt x="48" y="1672"/>
                          <a:pt x="51" y="1672"/>
                        </a:cubicBezTo>
                        <a:cubicBezTo>
                          <a:pt x="69" y="1672"/>
                          <a:pt x="73" y="1644"/>
                          <a:pt x="78" y="1602"/>
                        </a:cubicBezTo>
                        <a:cubicBezTo>
                          <a:pt x="80" y="1591"/>
                          <a:pt x="82" y="1575"/>
                          <a:pt x="84" y="1563"/>
                        </a:cubicBezTo>
                        <a:cubicBezTo>
                          <a:pt x="85" y="1570"/>
                          <a:pt x="86" y="1576"/>
                          <a:pt x="86" y="1583"/>
                        </a:cubicBezTo>
                        <a:cubicBezTo>
                          <a:pt x="87" y="1597"/>
                          <a:pt x="87" y="1612"/>
                          <a:pt x="97" y="1629"/>
                        </a:cubicBezTo>
                        <a:cubicBezTo>
                          <a:pt x="98" y="1632"/>
                          <a:pt x="102" y="1634"/>
                          <a:pt x="105" y="1634"/>
                        </a:cubicBezTo>
                        <a:cubicBezTo>
                          <a:pt x="106" y="1634"/>
                          <a:pt x="107" y="1634"/>
                          <a:pt x="107" y="1634"/>
                        </a:cubicBezTo>
                        <a:cubicBezTo>
                          <a:pt x="112" y="1633"/>
                          <a:pt x="115" y="1629"/>
                          <a:pt x="115" y="1624"/>
                        </a:cubicBezTo>
                        <a:cubicBezTo>
                          <a:pt x="115" y="1608"/>
                          <a:pt x="117" y="1594"/>
                          <a:pt x="119" y="1580"/>
                        </a:cubicBezTo>
                        <a:cubicBezTo>
                          <a:pt x="123" y="1549"/>
                          <a:pt x="125" y="1519"/>
                          <a:pt x="119" y="1487"/>
                        </a:cubicBezTo>
                        <a:cubicBezTo>
                          <a:pt x="117" y="1479"/>
                          <a:pt x="116" y="1471"/>
                          <a:pt x="115" y="1463"/>
                        </a:cubicBezTo>
                        <a:cubicBezTo>
                          <a:pt x="114" y="1459"/>
                          <a:pt x="113" y="1451"/>
                          <a:pt x="113" y="1451"/>
                        </a:cubicBezTo>
                        <a:cubicBezTo>
                          <a:pt x="113" y="1447"/>
                          <a:pt x="110" y="1437"/>
                          <a:pt x="109" y="1434"/>
                        </a:cubicBezTo>
                        <a:cubicBezTo>
                          <a:pt x="112" y="1407"/>
                          <a:pt x="120" y="1381"/>
                          <a:pt x="131" y="1346"/>
                        </a:cubicBezTo>
                        <a:cubicBezTo>
                          <a:pt x="138" y="1324"/>
                          <a:pt x="147" y="1301"/>
                          <a:pt x="155" y="1279"/>
                        </a:cubicBezTo>
                        <a:cubicBezTo>
                          <a:pt x="158" y="1270"/>
                          <a:pt x="161" y="1261"/>
                          <a:pt x="165" y="1253"/>
                        </a:cubicBezTo>
                        <a:cubicBezTo>
                          <a:pt x="166" y="1252"/>
                          <a:pt x="167" y="1250"/>
                          <a:pt x="167" y="1249"/>
                        </a:cubicBezTo>
                        <a:cubicBezTo>
                          <a:pt x="176" y="1226"/>
                          <a:pt x="184" y="1202"/>
                          <a:pt x="191" y="1177"/>
                        </a:cubicBezTo>
                        <a:cubicBezTo>
                          <a:pt x="207" y="1117"/>
                          <a:pt x="207" y="1050"/>
                          <a:pt x="207" y="991"/>
                        </a:cubicBezTo>
                        <a:cubicBezTo>
                          <a:pt x="207" y="973"/>
                          <a:pt x="212" y="933"/>
                          <a:pt x="216" y="899"/>
                        </a:cubicBezTo>
                        <a:cubicBezTo>
                          <a:pt x="216" y="899"/>
                          <a:pt x="217" y="898"/>
                          <a:pt x="217" y="898"/>
                        </a:cubicBezTo>
                        <a:cubicBezTo>
                          <a:pt x="218" y="905"/>
                          <a:pt x="220" y="913"/>
                          <a:pt x="222" y="923"/>
                        </a:cubicBezTo>
                        <a:cubicBezTo>
                          <a:pt x="223" y="924"/>
                          <a:pt x="223" y="924"/>
                          <a:pt x="223" y="925"/>
                        </a:cubicBezTo>
                        <a:cubicBezTo>
                          <a:pt x="230" y="942"/>
                          <a:pt x="240" y="976"/>
                          <a:pt x="244" y="1003"/>
                        </a:cubicBezTo>
                        <a:cubicBezTo>
                          <a:pt x="244" y="1003"/>
                          <a:pt x="245" y="1003"/>
                          <a:pt x="245" y="1003"/>
                        </a:cubicBezTo>
                        <a:cubicBezTo>
                          <a:pt x="245" y="1005"/>
                          <a:pt x="246" y="1007"/>
                          <a:pt x="246" y="1009"/>
                        </a:cubicBezTo>
                        <a:cubicBezTo>
                          <a:pt x="247" y="1009"/>
                          <a:pt x="247" y="1010"/>
                          <a:pt x="247" y="1010"/>
                        </a:cubicBezTo>
                        <a:cubicBezTo>
                          <a:pt x="252" y="1030"/>
                          <a:pt x="254" y="1037"/>
                          <a:pt x="253" y="1031"/>
                        </a:cubicBezTo>
                        <a:cubicBezTo>
                          <a:pt x="254" y="1036"/>
                          <a:pt x="257" y="1046"/>
                          <a:pt x="258" y="1050"/>
                        </a:cubicBezTo>
                        <a:cubicBezTo>
                          <a:pt x="260" y="1049"/>
                          <a:pt x="263" y="1102"/>
                          <a:pt x="263" y="1117"/>
                        </a:cubicBezTo>
                        <a:cubicBezTo>
                          <a:pt x="262" y="1118"/>
                          <a:pt x="262" y="1119"/>
                          <a:pt x="262" y="1120"/>
                        </a:cubicBezTo>
                        <a:cubicBezTo>
                          <a:pt x="262" y="1120"/>
                          <a:pt x="262" y="1120"/>
                          <a:pt x="262" y="1121"/>
                        </a:cubicBezTo>
                        <a:cubicBezTo>
                          <a:pt x="262" y="1122"/>
                          <a:pt x="261" y="1122"/>
                          <a:pt x="261" y="1123"/>
                        </a:cubicBezTo>
                        <a:cubicBezTo>
                          <a:pt x="261" y="1123"/>
                          <a:pt x="262" y="1123"/>
                          <a:pt x="262" y="1123"/>
                        </a:cubicBezTo>
                        <a:cubicBezTo>
                          <a:pt x="258" y="1137"/>
                          <a:pt x="251" y="1148"/>
                          <a:pt x="243" y="1160"/>
                        </a:cubicBezTo>
                        <a:cubicBezTo>
                          <a:pt x="242" y="1162"/>
                          <a:pt x="241" y="1163"/>
                          <a:pt x="240" y="1165"/>
                        </a:cubicBezTo>
                        <a:cubicBezTo>
                          <a:pt x="198" y="1231"/>
                          <a:pt x="154" y="1330"/>
                          <a:pt x="147" y="1460"/>
                        </a:cubicBezTo>
                        <a:cubicBezTo>
                          <a:pt x="147" y="1462"/>
                          <a:pt x="142" y="1497"/>
                          <a:pt x="151" y="1584"/>
                        </a:cubicBezTo>
                        <a:cubicBezTo>
                          <a:pt x="151" y="1585"/>
                          <a:pt x="151" y="1585"/>
                          <a:pt x="151" y="1585"/>
                        </a:cubicBezTo>
                        <a:cubicBezTo>
                          <a:pt x="151" y="1587"/>
                          <a:pt x="152" y="1588"/>
                          <a:pt x="152" y="1589"/>
                        </a:cubicBezTo>
                        <a:cubicBezTo>
                          <a:pt x="152" y="1589"/>
                          <a:pt x="152" y="1589"/>
                          <a:pt x="152" y="1590"/>
                        </a:cubicBezTo>
                        <a:cubicBezTo>
                          <a:pt x="152" y="1590"/>
                          <a:pt x="152" y="1590"/>
                          <a:pt x="152" y="1590"/>
                        </a:cubicBezTo>
                        <a:cubicBezTo>
                          <a:pt x="154" y="1608"/>
                          <a:pt x="157" y="1627"/>
                          <a:pt x="161" y="1649"/>
                        </a:cubicBezTo>
                        <a:cubicBezTo>
                          <a:pt x="164" y="1666"/>
                          <a:pt x="168" y="1684"/>
                          <a:pt x="172" y="1704"/>
                        </a:cubicBezTo>
                        <a:cubicBezTo>
                          <a:pt x="172" y="1705"/>
                          <a:pt x="172" y="1706"/>
                          <a:pt x="172" y="1706"/>
                        </a:cubicBezTo>
                        <a:cubicBezTo>
                          <a:pt x="177" y="1727"/>
                          <a:pt x="182" y="1748"/>
                          <a:pt x="188" y="1772"/>
                        </a:cubicBezTo>
                        <a:cubicBezTo>
                          <a:pt x="190" y="1781"/>
                          <a:pt x="192" y="1789"/>
                          <a:pt x="194" y="1798"/>
                        </a:cubicBezTo>
                        <a:cubicBezTo>
                          <a:pt x="205" y="1840"/>
                          <a:pt x="216" y="1884"/>
                          <a:pt x="225" y="1931"/>
                        </a:cubicBezTo>
                        <a:cubicBezTo>
                          <a:pt x="234" y="1977"/>
                          <a:pt x="242" y="2028"/>
                          <a:pt x="237" y="2077"/>
                        </a:cubicBezTo>
                        <a:cubicBezTo>
                          <a:pt x="236" y="2087"/>
                          <a:pt x="235" y="2098"/>
                          <a:pt x="234" y="2108"/>
                        </a:cubicBezTo>
                        <a:cubicBezTo>
                          <a:pt x="228" y="2174"/>
                          <a:pt x="231" y="2237"/>
                          <a:pt x="234" y="2297"/>
                        </a:cubicBezTo>
                        <a:cubicBezTo>
                          <a:pt x="237" y="2365"/>
                          <a:pt x="246" y="2418"/>
                          <a:pt x="264" y="2479"/>
                        </a:cubicBezTo>
                        <a:cubicBezTo>
                          <a:pt x="268" y="2493"/>
                          <a:pt x="273" y="2507"/>
                          <a:pt x="277" y="2522"/>
                        </a:cubicBezTo>
                        <a:cubicBezTo>
                          <a:pt x="292" y="2566"/>
                          <a:pt x="294" y="2642"/>
                          <a:pt x="296" y="2687"/>
                        </a:cubicBezTo>
                        <a:cubicBezTo>
                          <a:pt x="296" y="2693"/>
                          <a:pt x="297" y="2699"/>
                          <a:pt x="297" y="2705"/>
                        </a:cubicBezTo>
                        <a:cubicBezTo>
                          <a:pt x="299" y="2731"/>
                          <a:pt x="300" y="2759"/>
                          <a:pt x="300" y="2787"/>
                        </a:cubicBezTo>
                        <a:cubicBezTo>
                          <a:pt x="300" y="2789"/>
                          <a:pt x="300" y="2789"/>
                          <a:pt x="300" y="2789"/>
                        </a:cubicBezTo>
                        <a:cubicBezTo>
                          <a:pt x="298" y="2802"/>
                          <a:pt x="293" y="2829"/>
                          <a:pt x="290" y="2835"/>
                        </a:cubicBezTo>
                        <a:cubicBezTo>
                          <a:pt x="288" y="2838"/>
                          <a:pt x="286" y="2842"/>
                          <a:pt x="284" y="2845"/>
                        </a:cubicBezTo>
                        <a:cubicBezTo>
                          <a:pt x="279" y="2853"/>
                          <a:pt x="274" y="2861"/>
                          <a:pt x="269" y="2868"/>
                        </a:cubicBezTo>
                        <a:cubicBezTo>
                          <a:pt x="265" y="2872"/>
                          <a:pt x="270" y="2868"/>
                          <a:pt x="265" y="2872"/>
                        </a:cubicBezTo>
                        <a:cubicBezTo>
                          <a:pt x="260" y="2876"/>
                          <a:pt x="244" y="2901"/>
                          <a:pt x="240" y="2907"/>
                        </a:cubicBezTo>
                        <a:cubicBezTo>
                          <a:pt x="230" y="2917"/>
                          <a:pt x="227" y="2927"/>
                          <a:pt x="231" y="2936"/>
                        </a:cubicBezTo>
                        <a:cubicBezTo>
                          <a:pt x="233" y="2941"/>
                          <a:pt x="246" y="2941"/>
                          <a:pt x="254" y="2941"/>
                        </a:cubicBezTo>
                        <a:cubicBezTo>
                          <a:pt x="254" y="2941"/>
                          <a:pt x="253" y="2941"/>
                          <a:pt x="253" y="2940"/>
                        </a:cubicBezTo>
                        <a:cubicBezTo>
                          <a:pt x="253" y="2940"/>
                          <a:pt x="254" y="2939"/>
                          <a:pt x="256" y="2937"/>
                        </a:cubicBezTo>
                        <a:cubicBezTo>
                          <a:pt x="255" y="2939"/>
                          <a:pt x="255" y="2941"/>
                          <a:pt x="254" y="2941"/>
                        </a:cubicBezTo>
                        <a:cubicBezTo>
                          <a:pt x="254" y="2941"/>
                          <a:pt x="255" y="2941"/>
                          <a:pt x="255" y="2941"/>
                        </a:cubicBezTo>
                        <a:cubicBezTo>
                          <a:pt x="255" y="2942"/>
                          <a:pt x="258" y="2944"/>
                          <a:pt x="257" y="2941"/>
                        </a:cubicBezTo>
                        <a:cubicBezTo>
                          <a:pt x="258" y="2942"/>
                          <a:pt x="260" y="2942"/>
                          <a:pt x="262" y="2942"/>
                        </a:cubicBezTo>
                        <a:cubicBezTo>
                          <a:pt x="263" y="2942"/>
                          <a:pt x="264" y="2942"/>
                          <a:pt x="265" y="2942"/>
                        </a:cubicBezTo>
                        <a:cubicBezTo>
                          <a:pt x="266" y="2942"/>
                          <a:pt x="267" y="2942"/>
                          <a:pt x="269" y="2942"/>
                        </a:cubicBezTo>
                        <a:cubicBezTo>
                          <a:pt x="270" y="2942"/>
                          <a:pt x="271" y="2942"/>
                          <a:pt x="272" y="2942"/>
                        </a:cubicBezTo>
                        <a:cubicBezTo>
                          <a:pt x="276" y="2945"/>
                          <a:pt x="281" y="2947"/>
                          <a:pt x="286" y="2947"/>
                        </a:cubicBezTo>
                        <a:cubicBezTo>
                          <a:pt x="287" y="2947"/>
                          <a:pt x="288" y="2947"/>
                          <a:pt x="289" y="2947"/>
                        </a:cubicBezTo>
                        <a:cubicBezTo>
                          <a:pt x="290" y="2947"/>
                          <a:pt x="291" y="2947"/>
                          <a:pt x="292" y="2947"/>
                        </a:cubicBezTo>
                        <a:cubicBezTo>
                          <a:pt x="295" y="2947"/>
                          <a:pt x="298" y="2947"/>
                          <a:pt x="301" y="2946"/>
                        </a:cubicBezTo>
                        <a:cubicBezTo>
                          <a:pt x="304" y="2948"/>
                          <a:pt x="307" y="2949"/>
                          <a:pt x="311" y="2949"/>
                        </a:cubicBezTo>
                        <a:cubicBezTo>
                          <a:pt x="311" y="2949"/>
                          <a:pt x="312" y="2949"/>
                          <a:pt x="313" y="2949"/>
                        </a:cubicBezTo>
                        <a:cubicBezTo>
                          <a:pt x="314" y="2949"/>
                          <a:pt x="315" y="2949"/>
                          <a:pt x="316" y="2949"/>
                        </a:cubicBezTo>
                        <a:cubicBezTo>
                          <a:pt x="316" y="2949"/>
                          <a:pt x="317" y="2949"/>
                          <a:pt x="317" y="2949"/>
                        </a:cubicBezTo>
                        <a:cubicBezTo>
                          <a:pt x="318" y="2949"/>
                          <a:pt x="319" y="2949"/>
                          <a:pt x="320" y="2949"/>
                        </a:cubicBezTo>
                        <a:cubicBezTo>
                          <a:pt x="324" y="2949"/>
                          <a:pt x="327" y="2948"/>
                          <a:pt x="329" y="2946"/>
                        </a:cubicBezTo>
                        <a:cubicBezTo>
                          <a:pt x="330" y="2947"/>
                          <a:pt x="331" y="2947"/>
                          <a:pt x="332" y="2948"/>
                        </a:cubicBezTo>
                        <a:cubicBezTo>
                          <a:pt x="335" y="2950"/>
                          <a:pt x="339" y="2951"/>
                          <a:pt x="343" y="2951"/>
                        </a:cubicBezTo>
                        <a:cubicBezTo>
                          <a:pt x="344" y="2951"/>
                          <a:pt x="346" y="2951"/>
                          <a:pt x="347" y="2950"/>
                        </a:cubicBezTo>
                        <a:cubicBezTo>
                          <a:pt x="348" y="2951"/>
                          <a:pt x="349" y="2951"/>
                          <a:pt x="350" y="2951"/>
                        </a:cubicBezTo>
                        <a:cubicBezTo>
                          <a:pt x="353" y="2951"/>
                          <a:pt x="356" y="2950"/>
                          <a:pt x="358" y="2950"/>
                        </a:cubicBezTo>
                        <a:cubicBezTo>
                          <a:pt x="372" y="2938"/>
                          <a:pt x="382" y="2943"/>
                          <a:pt x="396" y="2940"/>
                        </a:cubicBezTo>
                        <a:cubicBezTo>
                          <a:pt x="405" y="2938"/>
                          <a:pt x="403" y="2934"/>
                          <a:pt x="407" y="2924"/>
                        </a:cubicBezTo>
                        <a:cubicBezTo>
                          <a:pt x="413" y="2913"/>
                          <a:pt x="408" y="2882"/>
                          <a:pt x="401" y="2855"/>
                        </a:cubicBezTo>
                        <a:cubicBezTo>
                          <a:pt x="397" y="2838"/>
                          <a:pt x="392" y="2802"/>
                          <a:pt x="387" y="2778"/>
                        </a:cubicBezTo>
                        <a:cubicBezTo>
                          <a:pt x="387" y="2766"/>
                          <a:pt x="386" y="2758"/>
                          <a:pt x="384" y="2752"/>
                        </a:cubicBezTo>
                        <a:cubicBezTo>
                          <a:pt x="384" y="2743"/>
                          <a:pt x="383" y="2735"/>
                          <a:pt x="383" y="2728"/>
                        </a:cubicBezTo>
                        <a:cubicBezTo>
                          <a:pt x="382" y="2719"/>
                          <a:pt x="382" y="2711"/>
                          <a:pt x="381" y="2705"/>
                        </a:cubicBezTo>
                        <a:cubicBezTo>
                          <a:pt x="381" y="2702"/>
                          <a:pt x="381" y="2698"/>
                          <a:pt x="380" y="2693"/>
                        </a:cubicBezTo>
                        <a:cubicBezTo>
                          <a:pt x="380" y="2692"/>
                          <a:pt x="380" y="2692"/>
                          <a:pt x="380" y="2691"/>
                        </a:cubicBezTo>
                        <a:cubicBezTo>
                          <a:pt x="380" y="2690"/>
                          <a:pt x="380" y="2690"/>
                          <a:pt x="380" y="2690"/>
                        </a:cubicBezTo>
                        <a:cubicBezTo>
                          <a:pt x="376" y="2614"/>
                          <a:pt x="387" y="2528"/>
                          <a:pt x="397" y="2473"/>
                        </a:cubicBezTo>
                        <a:cubicBezTo>
                          <a:pt x="404" y="2431"/>
                          <a:pt x="412" y="2391"/>
                          <a:pt x="413" y="2345"/>
                        </a:cubicBezTo>
                        <a:cubicBezTo>
                          <a:pt x="413" y="2332"/>
                          <a:pt x="413" y="2320"/>
                          <a:pt x="412" y="2308"/>
                        </a:cubicBezTo>
                        <a:cubicBezTo>
                          <a:pt x="411" y="2279"/>
                          <a:pt x="406" y="2251"/>
                          <a:pt x="402" y="2225"/>
                        </a:cubicBezTo>
                        <a:cubicBezTo>
                          <a:pt x="396" y="2192"/>
                          <a:pt x="391" y="2160"/>
                          <a:pt x="391" y="2124"/>
                        </a:cubicBezTo>
                        <a:cubicBezTo>
                          <a:pt x="391" y="2112"/>
                          <a:pt x="391" y="2100"/>
                          <a:pt x="391" y="2088"/>
                        </a:cubicBezTo>
                        <a:cubicBezTo>
                          <a:pt x="390" y="2037"/>
                          <a:pt x="390" y="1984"/>
                          <a:pt x="394" y="1934"/>
                        </a:cubicBezTo>
                        <a:cubicBezTo>
                          <a:pt x="397" y="1900"/>
                          <a:pt x="402" y="1866"/>
                          <a:pt x="406" y="1833"/>
                        </a:cubicBezTo>
                        <a:cubicBezTo>
                          <a:pt x="409" y="1805"/>
                          <a:pt x="413" y="1775"/>
                          <a:pt x="416" y="1746"/>
                        </a:cubicBezTo>
                        <a:cubicBezTo>
                          <a:pt x="416" y="1746"/>
                          <a:pt x="416" y="1746"/>
                          <a:pt x="416" y="1746"/>
                        </a:cubicBezTo>
                        <a:cubicBezTo>
                          <a:pt x="416" y="1756"/>
                          <a:pt x="416" y="1756"/>
                          <a:pt x="416" y="1756"/>
                        </a:cubicBezTo>
                        <a:cubicBezTo>
                          <a:pt x="416" y="1753"/>
                          <a:pt x="417" y="1749"/>
                          <a:pt x="417" y="1746"/>
                        </a:cubicBezTo>
                        <a:cubicBezTo>
                          <a:pt x="417" y="1745"/>
                          <a:pt x="417" y="1744"/>
                          <a:pt x="417" y="1742"/>
                        </a:cubicBezTo>
                        <a:cubicBezTo>
                          <a:pt x="418" y="1744"/>
                          <a:pt x="418" y="1745"/>
                          <a:pt x="418" y="1746"/>
                        </a:cubicBezTo>
                        <a:cubicBezTo>
                          <a:pt x="418" y="1749"/>
                          <a:pt x="419" y="1753"/>
                          <a:pt x="419" y="1756"/>
                        </a:cubicBezTo>
                        <a:cubicBezTo>
                          <a:pt x="419" y="1746"/>
                          <a:pt x="419" y="1746"/>
                          <a:pt x="419" y="1746"/>
                        </a:cubicBezTo>
                        <a:cubicBezTo>
                          <a:pt x="419" y="1746"/>
                          <a:pt x="419" y="1746"/>
                          <a:pt x="419" y="1746"/>
                        </a:cubicBezTo>
                        <a:cubicBezTo>
                          <a:pt x="422" y="1775"/>
                          <a:pt x="425" y="1805"/>
                          <a:pt x="429" y="1833"/>
                        </a:cubicBezTo>
                        <a:cubicBezTo>
                          <a:pt x="433" y="1866"/>
                          <a:pt x="438" y="1900"/>
                          <a:pt x="441" y="1934"/>
                        </a:cubicBezTo>
                        <a:cubicBezTo>
                          <a:pt x="445" y="1984"/>
                          <a:pt x="445" y="2037"/>
                          <a:pt x="444" y="2088"/>
                        </a:cubicBezTo>
                        <a:cubicBezTo>
                          <a:pt x="444" y="2100"/>
                          <a:pt x="444" y="2112"/>
                          <a:pt x="444" y="2124"/>
                        </a:cubicBezTo>
                        <a:cubicBezTo>
                          <a:pt x="444" y="2160"/>
                          <a:pt x="439" y="2192"/>
                          <a:pt x="433" y="2225"/>
                        </a:cubicBezTo>
                        <a:cubicBezTo>
                          <a:pt x="429" y="2251"/>
                          <a:pt x="424" y="2279"/>
                          <a:pt x="423" y="2308"/>
                        </a:cubicBezTo>
                        <a:cubicBezTo>
                          <a:pt x="422" y="2320"/>
                          <a:pt x="422" y="2332"/>
                          <a:pt x="422" y="2345"/>
                        </a:cubicBezTo>
                        <a:cubicBezTo>
                          <a:pt x="423" y="2391"/>
                          <a:pt x="430" y="2431"/>
                          <a:pt x="438" y="2473"/>
                        </a:cubicBezTo>
                        <a:cubicBezTo>
                          <a:pt x="448" y="2528"/>
                          <a:pt x="459" y="2614"/>
                          <a:pt x="455" y="2690"/>
                        </a:cubicBezTo>
                        <a:cubicBezTo>
                          <a:pt x="455" y="2691"/>
                          <a:pt x="455" y="2691"/>
                          <a:pt x="455" y="2691"/>
                        </a:cubicBezTo>
                        <a:cubicBezTo>
                          <a:pt x="455" y="2692"/>
                          <a:pt x="455" y="2692"/>
                          <a:pt x="455" y="2693"/>
                        </a:cubicBezTo>
                        <a:cubicBezTo>
                          <a:pt x="454" y="2698"/>
                          <a:pt x="454" y="2702"/>
                          <a:pt x="454" y="2705"/>
                        </a:cubicBezTo>
                        <a:cubicBezTo>
                          <a:pt x="453" y="2711"/>
                          <a:pt x="453" y="2719"/>
                          <a:pt x="452" y="2728"/>
                        </a:cubicBezTo>
                        <a:cubicBezTo>
                          <a:pt x="452" y="2735"/>
                          <a:pt x="451" y="2743"/>
                          <a:pt x="451" y="2752"/>
                        </a:cubicBezTo>
                        <a:cubicBezTo>
                          <a:pt x="449" y="2758"/>
                          <a:pt x="448" y="2766"/>
                          <a:pt x="448" y="2778"/>
                        </a:cubicBezTo>
                        <a:cubicBezTo>
                          <a:pt x="443" y="2802"/>
                          <a:pt x="438" y="2838"/>
                          <a:pt x="433" y="2855"/>
                        </a:cubicBezTo>
                        <a:cubicBezTo>
                          <a:pt x="427" y="2882"/>
                          <a:pt x="422" y="2913"/>
                          <a:pt x="427" y="2924"/>
                        </a:cubicBezTo>
                        <a:cubicBezTo>
                          <a:pt x="432" y="2934"/>
                          <a:pt x="430" y="2938"/>
                          <a:pt x="439" y="2940"/>
                        </a:cubicBezTo>
                        <a:cubicBezTo>
                          <a:pt x="453" y="2943"/>
                          <a:pt x="463" y="2938"/>
                          <a:pt x="476" y="2950"/>
                        </a:cubicBezTo>
                        <a:cubicBezTo>
                          <a:pt x="479" y="2950"/>
                          <a:pt x="482" y="2951"/>
                          <a:pt x="485" y="2951"/>
                        </a:cubicBezTo>
                        <a:cubicBezTo>
                          <a:pt x="486" y="2951"/>
                          <a:pt x="487" y="2951"/>
                          <a:pt x="488" y="2950"/>
                        </a:cubicBezTo>
                        <a:cubicBezTo>
                          <a:pt x="489" y="2951"/>
                          <a:pt x="490" y="2951"/>
                          <a:pt x="492" y="2951"/>
                        </a:cubicBezTo>
                        <a:cubicBezTo>
                          <a:pt x="496" y="2951"/>
                          <a:pt x="500" y="2950"/>
                          <a:pt x="503" y="2948"/>
                        </a:cubicBezTo>
                        <a:cubicBezTo>
                          <a:pt x="504" y="2947"/>
                          <a:pt x="505" y="2947"/>
                          <a:pt x="506" y="2946"/>
                        </a:cubicBezTo>
                        <a:cubicBezTo>
                          <a:pt x="508" y="2948"/>
                          <a:pt x="511" y="2949"/>
                          <a:pt x="515" y="2949"/>
                        </a:cubicBezTo>
                        <a:cubicBezTo>
                          <a:pt x="516" y="2949"/>
                          <a:pt x="517" y="2949"/>
                          <a:pt x="518" y="2949"/>
                        </a:cubicBezTo>
                        <a:cubicBezTo>
                          <a:pt x="518" y="2949"/>
                          <a:pt x="518" y="2949"/>
                          <a:pt x="519" y="2949"/>
                        </a:cubicBezTo>
                        <a:cubicBezTo>
                          <a:pt x="520" y="2949"/>
                          <a:pt x="521" y="2949"/>
                          <a:pt x="522" y="2949"/>
                        </a:cubicBezTo>
                        <a:cubicBezTo>
                          <a:pt x="523" y="2949"/>
                          <a:pt x="523" y="2949"/>
                          <a:pt x="524" y="2949"/>
                        </a:cubicBezTo>
                        <a:cubicBezTo>
                          <a:pt x="528" y="2949"/>
                          <a:pt x="531" y="2948"/>
                          <a:pt x="534" y="2946"/>
                        </a:cubicBezTo>
                        <a:cubicBezTo>
                          <a:pt x="537" y="2947"/>
                          <a:pt x="540" y="2947"/>
                          <a:pt x="542" y="2947"/>
                        </a:cubicBezTo>
                        <a:cubicBezTo>
                          <a:pt x="543" y="2947"/>
                          <a:pt x="544" y="2947"/>
                          <a:pt x="545" y="2947"/>
                        </a:cubicBezTo>
                        <a:cubicBezTo>
                          <a:pt x="547" y="2947"/>
                          <a:pt x="548" y="2947"/>
                          <a:pt x="549" y="2947"/>
                        </a:cubicBezTo>
                        <a:cubicBezTo>
                          <a:pt x="554" y="2947"/>
                          <a:pt x="559" y="2945"/>
                          <a:pt x="563" y="2942"/>
                        </a:cubicBezTo>
                        <a:cubicBezTo>
                          <a:pt x="564" y="2942"/>
                          <a:pt x="565" y="2942"/>
                          <a:pt x="566" y="2942"/>
                        </a:cubicBezTo>
                        <a:cubicBezTo>
                          <a:pt x="567" y="2942"/>
                          <a:pt x="569" y="2942"/>
                          <a:pt x="570" y="2942"/>
                        </a:cubicBezTo>
                        <a:cubicBezTo>
                          <a:pt x="571" y="2942"/>
                          <a:pt x="572" y="2942"/>
                          <a:pt x="573" y="2942"/>
                        </a:cubicBezTo>
                        <a:cubicBezTo>
                          <a:pt x="575" y="2942"/>
                          <a:pt x="576" y="2942"/>
                          <a:pt x="578" y="2941"/>
                        </a:cubicBezTo>
                        <a:cubicBezTo>
                          <a:pt x="577" y="2944"/>
                          <a:pt x="579" y="2942"/>
                          <a:pt x="580" y="2941"/>
                        </a:cubicBezTo>
                        <a:cubicBezTo>
                          <a:pt x="580" y="2941"/>
                          <a:pt x="581" y="2941"/>
                          <a:pt x="581" y="2941"/>
                        </a:cubicBezTo>
                        <a:cubicBezTo>
                          <a:pt x="580" y="2941"/>
                          <a:pt x="580" y="2939"/>
                          <a:pt x="579" y="2937"/>
                        </a:cubicBezTo>
                        <a:cubicBezTo>
                          <a:pt x="581" y="2939"/>
                          <a:pt x="582" y="2940"/>
                          <a:pt x="582" y="2940"/>
                        </a:cubicBezTo>
                        <a:cubicBezTo>
                          <a:pt x="582" y="2941"/>
                          <a:pt x="581" y="2941"/>
                          <a:pt x="581" y="2941"/>
                        </a:cubicBezTo>
                        <a:cubicBezTo>
                          <a:pt x="589" y="2941"/>
                          <a:pt x="602" y="2941"/>
                          <a:pt x="604" y="2936"/>
                        </a:cubicBezTo>
                        <a:cubicBezTo>
                          <a:pt x="608" y="2927"/>
                          <a:pt x="605" y="2917"/>
                          <a:pt x="595" y="2907"/>
                        </a:cubicBezTo>
                        <a:cubicBezTo>
                          <a:pt x="591" y="2901"/>
                          <a:pt x="575" y="2876"/>
                          <a:pt x="570" y="2872"/>
                        </a:cubicBezTo>
                        <a:cubicBezTo>
                          <a:pt x="565" y="2868"/>
                          <a:pt x="570" y="2872"/>
                          <a:pt x="566" y="2868"/>
                        </a:cubicBezTo>
                        <a:cubicBezTo>
                          <a:pt x="561" y="2861"/>
                          <a:pt x="556" y="2853"/>
                          <a:pt x="551" y="2845"/>
                        </a:cubicBezTo>
                        <a:cubicBezTo>
                          <a:pt x="549" y="2842"/>
                          <a:pt x="547" y="2838"/>
                          <a:pt x="545" y="2835"/>
                        </a:cubicBezTo>
                        <a:cubicBezTo>
                          <a:pt x="541" y="2829"/>
                          <a:pt x="537" y="2802"/>
                          <a:pt x="535" y="2789"/>
                        </a:cubicBezTo>
                        <a:cubicBezTo>
                          <a:pt x="535" y="2787"/>
                          <a:pt x="535" y="2787"/>
                          <a:pt x="535" y="2787"/>
                        </a:cubicBezTo>
                        <a:cubicBezTo>
                          <a:pt x="535" y="2759"/>
                          <a:pt x="536" y="2731"/>
                          <a:pt x="538" y="2705"/>
                        </a:cubicBezTo>
                        <a:cubicBezTo>
                          <a:pt x="538" y="2699"/>
                          <a:pt x="539" y="2693"/>
                          <a:pt x="539" y="2687"/>
                        </a:cubicBezTo>
                        <a:cubicBezTo>
                          <a:pt x="541" y="2642"/>
                          <a:pt x="543" y="2566"/>
                          <a:pt x="557" y="2522"/>
                        </a:cubicBezTo>
                        <a:cubicBezTo>
                          <a:pt x="562" y="2507"/>
                          <a:pt x="567" y="2493"/>
                          <a:pt x="571" y="2479"/>
                        </a:cubicBezTo>
                        <a:cubicBezTo>
                          <a:pt x="589" y="2418"/>
                          <a:pt x="598" y="2365"/>
                          <a:pt x="601" y="2297"/>
                        </a:cubicBezTo>
                        <a:cubicBezTo>
                          <a:pt x="604" y="2237"/>
                          <a:pt x="607" y="2174"/>
                          <a:pt x="601" y="2108"/>
                        </a:cubicBezTo>
                        <a:cubicBezTo>
                          <a:pt x="600" y="2098"/>
                          <a:pt x="599" y="2087"/>
                          <a:pt x="598" y="2077"/>
                        </a:cubicBezTo>
                        <a:cubicBezTo>
                          <a:pt x="593" y="2028"/>
                          <a:pt x="601" y="1977"/>
                          <a:pt x="610" y="1931"/>
                        </a:cubicBezTo>
                        <a:cubicBezTo>
                          <a:pt x="619" y="1884"/>
                          <a:pt x="630" y="1840"/>
                          <a:pt x="641" y="1798"/>
                        </a:cubicBezTo>
                        <a:cubicBezTo>
                          <a:pt x="643" y="1789"/>
                          <a:pt x="645" y="1781"/>
                          <a:pt x="647" y="1772"/>
                        </a:cubicBezTo>
                        <a:cubicBezTo>
                          <a:pt x="653" y="1748"/>
                          <a:pt x="658" y="1727"/>
                          <a:pt x="663" y="1706"/>
                        </a:cubicBezTo>
                        <a:cubicBezTo>
                          <a:pt x="663" y="1706"/>
                          <a:pt x="663" y="1705"/>
                          <a:pt x="663" y="1704"/>
                        </a:cubicBezTo>
                        <a:cubicBezTo>
                          <a:pt x="667" y="1684"/>
                          <a:pt x="671" y="1666"/>
                          <a:pt x="674" y="1649"/>
                        </a:cubicBezTo>
                        <a:cubicBezTo>
                          <a:pt x="678" y="1625"/>
                          <a:pt x="681" y="1605"/>
                          <a:pt x="684" y="1585"/>
                        </a:cubicBezTo>
                        <a:cubicBezTo>
                          <a:pt x="684" y="1585"/>
                          <a:pt x="684" y="1585"/>
                          <a:pt x="684" y="1584"/>
                        </a:cubicBezTo>
                        <a:cubicBezTo>
                          <a:pt x="688" y="1548"/>
                          <a:pt x="692" y="1467"/>
                          <a:pt x="687" y="1445"/>
                        </a:cubicBezTo>
                        <a:cubicBezTo>
                          <a:pt x="678" y="1322"/>
                          <a:pt x="635" y="1228"/>
                          <a:pt x="595" y="1165"/>
                        </a:cubicBezTo>
                        <a:cubicBezTo>
                          <a:pt x="594" y="1163"/>
                          <a:pt x="593" y="1162"/>
                          <a:pt x="592" y="1160"/>
                        </a:cubicBezTo>
                        <a:cubicBezTo>
                          <a:pt x="591" y="1159"/>
                          <a:pt x="590" y="1156"/>
                          <a:pt x="589" y="1153"/>
                        </a:cubicBezTo>
                        <a:cubicBezTo>
                          <a:pt x="589" y="1153"/>
                          <a:pt x="589" y="1153"/>
                          <a:pt x="588" y="1152"/>
                        </a:cubicBezTo>
                        <a:cubicBezTo>
                          <a:pt x="585" y="1142"/>
                          <a:pt x="581" y="1132"/>
                          <a:pt x="578" y="1122"/>
                        </a:cubicBezTo>
                        <a:cubicBezTo>
                          <a:pt x="582" y="1100"/>
                          <a:pt x="583" y="1052"/>
                          <a:pt x="584" y="1042"/>
                        </a:cubicBezTo>
                        <a:cubicBezTo>
                          <a:pt x="585" y="1041"/>
                          <a:pt x="588" y="1001"/>
                          <a:pt x="589" y="1001"/>
                        </a:cubicBezTo>
                        <a:cubicBezTo>
                          <a:pt x="591" y="994"/>
                          <a:pt x="607" y="937"/>
                          <a:pt x="612" y="925"/>
                        </a:cubicBezTo>
                        <a:cubicBezTo>
                          <a:pt x="612" y="924"/>
                          <a:pt x="612" y="924"/>
                          <a:pt x="612" y="923"/>
                        </a:cubicBezTo>
                        <a:cubicBezTo>
                          <a:pt x="615" y="913"/>
                          <a:pt x="617" y="905"/>
                          <a:pt x="618" y="898"/>
                        </a:cubicBezTo>
                        <a:cubicBezTo>
                          <a:pt x="618" y="898"/>
                          <a:pt x="618" y="899"/>
                          <a:pt x="618" y="899"/>
                        </a:cubicBezTo>
                        <a:cubicBezTo>
                          <a:pt x="623" y="933"/>
                          <a:pt x="628" y="973"/>
                          <a:pt x="628" y="991"/>
                        </a:cubicBezTo>
                        <a:cubicBezTo>
                          <a:pt x="628" y="1050"/>
                          <a:pt x="628" y="1117"/>
                          <a:pt x="644" y="1177"/>
                        </a:cubicBezTo>
                        <a:cubicBezTo>
                          <a:pt x="651" y="1202"/>
                          <a:pt x="659" y="1226"/>
                          <a:pt x="668" y="1249"/>
                        </a:cubicBezTo>
                        <a:cubicBezTo>
                          <a:pt x="668" y="1250"/>
                          <a:pt x="669" y="1252"/>
                          <a:pt x="670" y="1253"/>
                        </a:cubicBezTo>
                        <a:cubicBezTo>
                          <a:pt x="673" y="1261"/>
                          <a:pt x="677" y="1270"/>
                          <a:pt x="680" y="1279"/>
                        </a:cubicBezTo>
                        <a:cubicBezTo>
                          <a:pt x="688" y="1301"/>
                          <a:pt x="697" y="1324"/>
                          <a:pt x="704" y="1346"/>
                        </a:cubicBezTo>
                        <a:cubicBezTo>
                          <a:pt x="715" y="1381"/>
                          <a:pt x="721" y="1413"/>
                          <a:pt x="724" y="1441"/>
                        </a:cubicBezTo>
                        <a:cubicBezTo>
                          <a:pt x="723" y="1444"/>
                          <a:pt x="722" y="1447"/>
                          <a:pt x="722" y="1451"/>
                        </a:cubicBezTo>
                        <a:cubicBezTo>
                          <a:pt x="723" y="1451"/>
                          <a:pt x="723" y="1451"/>
                          <a:pt x="723" y="1451"/>
                        </a:cubicBezTo>
                        <a:cubicBezTo>
                          <a:pt x="722" y="1456"/>
                          <a:pt x="720" y="1461"/>
                          <a:pt x="719" y="1466"/>
                        </a:cubicBezTo>
                        <a:cubicBezTo>
                          <a:pt x="718" y="1470"/>
                          <a:pt x="717" y="1474"/>
                          <a:pt x="717" y="1477"/>
                        </a:cubicBezTo>
                        <a:cubicBezTo>
                          <a:pt x="714" y="1488"/>
                          <a:pt x="712" y="1499"/>
                          <a:pt x="711" y="1511"/>
                        </a:cubicBezTo>
                        <a:cubicBezTo>
                          <a:pt x="708" y="1537"/>
                          <a:pt x="716" y="1562"/>
                          <a:pt x="717" y="1588"/>
                        </a:cubicBezTo>
                        <a:cubicBezTo>
                          <a:pt x="719" y="1600"/>
                          <a:pt x="720" y="1611"/>
                          <a:pt x="720" y="1624"/>
                        </a:cubicBezTo>
                        <a:cubicBezTo>
                          <a:pt x="720" y="1629"/>
                          <a:pt x="723" y="1633"/>
                          <a:pt x="728" y="1634"/>
                        </a:cubicBezTo>
                        <a:cubicBezTo>
                          <a:pt x="728" y="1634"/>
                          <a:pt x="729" y="1634"/>
                          <a:pt x="730" y="1634"/>
                        </a:cubicBezTo>
                        <a:cubicBezTo>
                          <a:pt x="733" y="1634"/>
                          <a:pt x="737" y="1632"/>
                          <a:pt x="738" y="1629"/>
                        </a:cubicBezTo>
                        <a:cubicBezTo>
                          <a:pt x="747" y="1612"/>
                          <a:pt x="748" y="1597"/>
                          <a:pt x="749" y="1583"/>
                        </a:cubicBezTo>
                        <a:cubicBezTo>
                          <a:pt x="749" y="1576"/>
                          <a:pt x="750" y="1570"/>
                          <a:pt x="751" y="1563"/>
                        </a:cubicBezTo>
                        <a:cubicBezTo>
                          <a:pt x="753" y="1575"/>
                          <a:pt x="755" y="1591"/>
                          <a:pt x="757" y="1602"/>
                        </a:cubicBezTo>
                        <a:cubicBezTo>
                          <a:pt x="762" y="1644"/>
                          <a:pt x="766" y="1672"/>
                          <a:pt x="784" y="1672"/>
                        </a:cubicBezTo>
                        <a:cubicBezTo>
                          <a:pt x="786" y="1672"/>
                          <a:pt x="789" y="1671"/>
                          <a:pt x="791" y="1669"/>
                        </a:cubicBezTo>
                        <a:cubicBezTo>
                          <a:pt x="793" y="1667"/>
                          <a:pt x="794" y="1665"/>
                          <a:pt x="793" y="1662"/>
                        </a:cubicBezTo>
                        <a:cubicBezTo>
                          <a:pt x="793" y="1661"/>
                          <a:pt x="793" y="1660"/>
                          <a:pt x="793" y="1660"/>
                        </a:cubicBezTo>
                        <a:cubicBezTo>
                          <a:pt x="796" y="1662"/>
                          <a:pt x="799" y="1663"/>
                          <a:pt x="803" y="1664"/>
                        </a:cubicBezTo>
                        <a:cubicBezTo>
                          <a:pt x="803" y="1664"/>
                          <a:pt x="803" y="1664"/>
                          <a:pt x="804" y="1664"/>
                        </a:cubicBezTo>
                        <a:cubicBezTo>
                          <a:pt x="808" y="1664"/>
                          <a:pt x="812" y="1661"/>
                          <a:pt x="813" y="1657"/>
                        </a:cubicBezTo>
                        <a:cubicBezTo>
                          <a:pt x="814" y="1652"/>
                          <a:pt x="814" y="1647"/>
                          <a:pt x="814" y="1639"/>
                        </a:cubicBezTo>
                        <a:cubicBezTo>
                          <a:pt x="814" y="1639"/>
                          <a:pt x="814" y="1638"/>
                          <a:pt x="814" y="1638"/>
                        </a:cubicBezTo>
                        <a:cubicBezTo>
                          <a:pt x="817" y="1640"/>
                          <a:pt x="820" y="1641"/>
                          <a:pt x="825" y="1641"/>
                        </a:cubicBezTo>
                        <a:cubicBezTo>
                          <a:pt x="825" y="1641"/>
                          <a:pt x="825" y="1641"/>
                          <a:pt x="825" y="1641"/>
                        </a:cubicBezTo>
                        <a:cubicBezTo>
                          <a:pt x="828" y="1641"/>
                          <a:pt x="830" y="1640"/>
                          <a:pt x="832" y="1638"/>
                        </a:cubicBezTo>
                        <a:cubicBezTo>
                          <a:pt x="834" y="1636"/>
                          <a:pt x="835" y="1633"/>
                          <a:pt x="834" y="1630"/>
                        </a:cubicBezTo>
                        <a:cubicBezTo>
                          <a:pt x="833" y="1620"/>
                          <a:pt x="832" y="1613"/>
                          <a:pt x="832" y="1606"/>
                        </a:cubicBezTo>
                        <a:close/>
                      </a:path>
                    </a:pathLst>
                  </a:custGeom>
                  <a:solidFill>
                    <a:schemeClr val="accent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63" name="Straight Connector 62"/>
                  <p:cNvCxnSpPr>
                    <a:stCxn id="67" idx="5"/>
                    <a:endCxn id="76" idx="2"/>
                  </p:cNvCxnSpPr>
                  <p:nvPr/>
                </p:nvCxnSpPr>
                <p:spPr>
                  <a:xfrm>
                    <a:off x="6699290" y="3422261"/>
                    <a:ext cx="157087" cy="625958"/>
                  </a:xfrm>
                  <a:prstGeom prst="line">
                    <a:avLst/>
                  </a:prstGeom>
                  <a:ln w="76200">
                    <a:solidFill>
                      <a:schemeClr val="accent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/>
                  <p:cNvCxnSpPr>
                    <a:stCxn id="72" idx="1"/>
                  </p:cNvCxnSpPr>
                  <p:nvPr/>
                </p:nvCxnSpPr>
                <p:spPr>
                  <a:xfrm>
                    <a:off x="6699002" y="3386393"/>
                    <a:ext cx="622480" cy="67807"/>
                  </a:xfrm>
                  <a:prstGeom prst="line">
                    <a:avLst/>
                  </a:prstGeom>
                  <a:ln w="76200">
                    <a:solidFill>
                      <a:schemeClr val="accent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65" name="Group 64"/>
                  <p:cNvGrpSpPr/>
                  <p:nvPr/>
                </p:nvGrpSpPr>
                <p:grpSpPr>
                  <a:xfrm>
                    <a:off x="6856377" y="3435480"/>
                    <a:ext cx="1225478" cy="1225478"/>
                    <a:chOff x="6856377" y="3435480"/>
                    <a:chExt cx="1225478" cy="1225478"/>
                  </a:xfrm>
                </p:grpSpPr>
                <p:grpSp>
                  <p:nvGrpSpPr>
                    <p:cNvPr id="75" name="Group 74"/>
                    <p:cNvGrpSpPr/>
                    <p:nvPr/>
                  </p:nvGrpSpPr>
                  <p:grpSpPr>
                    <a:xfrm>
                      <a:off x="6961015" y="3706592"/>
                      <a:ext cx="1034872" cy="718500"/>
                      <a:chOff x="7540626" y="3217863"/>
                      <a:chExt cx="1973262" cy="1370013"/>
                    </a:xfrm>
                  </p:grpSpPr>
                  <p:sp>
                    <p:nvSpPr>
                      <p:cNvPr id="77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424863" y="4094163"/>
                        <a:ext cx="290513" cy="493713"/>
                      </a:xfrm>
                      <a:custGeom>
                        <a:avLst/>
                        <a:gdLst>
                          <a:gd name="T0" fmla="*/ 0 w 183"/>
                          <a:gd name="T1" fmla="*/ 55 h 311"/>
                          <a:gd name="T2" fmla="*/ 68 w 183"/>
                          <a:gd name="T3" fmla="*/ 161 h 311"/>
                          <a:gd name="T4" fmla="*/ 92 w 183"/>
                          <a:gd name="T5" fmla="*/ 150 h 311"/>
                          <a:gd name="T6" fmla="*/ 107 w 183"/>
                          <a:gd name="T7" fmla="*/ 311 h 311"/>
                          <a:gd name="T8" fmla="*/ 147 w 183"/>
                          <a:gd name="T9" fmla="*/ 292 h 311"/>
                          <a:gd name="T10" fmla="*/ 159 w 183"/>
                          <a:gd name="T11" fmla="*/ 117 h 311"/>
                          <a:gd name="T12" fmla="*/ 183 w 183"/>
                          <a:gd name="T13" fmla="*/ 106 h 311"/>
                          <a:gd name="T14" fmla="*/ 115 w 183"/>
                          <a:gd name="T15" fmla="*/ 0 h 311"/>
                          <a:gd name="T16" fmla="*/ 0 w 183"/>
                          <a:gd name="T17" fmla="*/ 55 h 3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3" h="311">
                            <a:moveTo>
                              <a:pt x="0" y="55"/>
                            </a:moveTo>
                            <a:lnTo>
                              <a:pt x="68" y="161"/>
                            </a:lnTo>
                            <a:lnTo>
                              <a:pt x="92" y="150"/>
                            </a:lnTo>
                            <a:lnTo>
                              <a:pt x="107" y="311"/>
                            </a:lnTo>
                            <a:lnTo>
                              <a:pt x="147" y="292"/>
                            </a:lnTo>
                            <a:lnTo>
                              <a:pt x="159" y="117"/>
                            </a:lnTo>
                            <a:lnTo>
                              <a:pt x="183" y="106"/>
                            </a:lnTo>
                            <a:lnTo>
                              <a:pt x="115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8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689976" y="3967163"/>
                        <a:ext cx="292100" cy="492125"/>
                      </a:xfrm>
                      <a:custGeom>
                        <a:avLst/>
                        <a:gdLst>
                          <a:gd name="T0" fmla="*/ 0 w 184"/>
                          <a:gd name="T1" fmla="*/ 55 h 310"/>
                          <a:gd name="T2" fmla="*/ 68 w 184"/>
                          <a:gd name="T3" fmla="*/ 160 h 310"/>
                          <a:gd name="T4" fmla="*/ 92 w 184"/>
                          <a:gd name="T5" fmla="*/ 149 h 310"/>
                          <a:gd name="T6" fmla="*/ 108 w 184"/>
                          <a:gd name="T7" fmla="*/ 310 h 310"/>
                          <a:gd name="T8" fmla="*/ 147 w 184"/>
                          <a:gd name="T9" fmla="*/ 291 h 310"/>
                          <a:gd name="T10" fmla="*/ 160 w 184"/>
                          <a:gd name="T11" fmla="*/ 116 h 310"/>
                          <a:gd name="T12" fmla="*/ 184 w 184"/>
                          <a:gd name="T13" fmla="*/ 105 h 310"/>
                          <a:gd name="T14" fmla="*/ 116 w 184"/>
                          <a:gd name="T15" fmla="*/ 0 h 310"/>
                          <a:gd name="T16" fmla="*/ 0 w 184"/>
                          <a:gd name="T17" fmla="*/ 55 h 31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0">
                            <a:moveTo>
                              <a:pt x="0" y="55"/>
                            </a:moveTo>
                            <a:lnTo>
                              <a:pt x="68" y="160"/>
                            </a:lnTo>
                            <a:lnTo>
                              <a:pt x="92" y="149"/>
                            </a:lnTo>
                            <a:lnTo>
                              <a:pt x="108" y="310"/>
                            </a:lnTo>
                            <a:lnTo>
                              <a:pt x="147" y="291"/>
                            </a:lnTo>
                            <a:lnTo>
                              <a:pt x="160" y="116"/>
                            </a:lnTo>
                            <a:lnTo>
                              <a:pt x="184" y="105"/>
                            </a:lnTo>
                            <a:lnTo>
                              <a:pt x="116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9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955088" y="3838575"/>
                        <a:ext cx="292100" cy="493713"/>
                      </a:xfrm>
                      <a:custGeom>
                        <a:avLst/>
                        <a:gdLst>
                          <a:gd name="T0" fmla="*/ 0 w 184"/>
                          <a:gd name="T1" fmla="*/ 56 h 311"/>
                          <a:gd name="T2" fmla="*/ 69 w 184"/>
                          <a:gd name="T3" fmla="*/ 161 h 311"/>
                          <a:gd name="T4" fmla="*/ 93 w 184"/>
                          <a:gd name="T5" fmla="*/ 150 h 311"/>
                          <a:gd name="T6" fmla="*/ 109 w 184"/>
                          <a:gd name="T7" fmla="*/ 311 h 311"/>
                          <a:gd name="T8" fmla="*/ 148 w 184"/>
                          <a:gd name="T9" fmla="*/ 292 h 311"/>
                          <a:gd name="T10" fmla="*/ 160 w 184"/>
                          <a:gd name="T11" fmla="*/ 117 h 311"/>
                          <a:gd name="T12" fmla="*/ 184 w 184"/>
                          <a:gd name="T13" fmla="*/ 106 h 311"/>
                          <a:gd name="T14" fmla="*/ 117 w 184"/>
                          <a:gd name="T15" fmla="*/ 0 h 311"/>
                          <a:gd name="T16" fmla="*/ 0 w 184"/>
                          <a:gd name="T17" fmla="*/ 56 h 3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1">
                            <a:moveTo>
                              <a:pt x="0" y="56"/>
                            </a:moveTo>
                            <a:lnTo>
                              <a:pt x="69" y="161"/>
                            </a:lnTo>
                            <a:lnTo>
                              <a:pt x="93" y="150"/>
                            </a:lnTo>
                            <a:lnTo>
                              <a:pt x="109" y="311"/>
                            </a:lnTo>
                            <a:lnTo>
                              <a:pt x="148" y="292"/>
                            </a:lnTo>
                            <a:lnTo>
                              <a:pt x="160" y="117"/>
                            </a:lnTo>
                            <a:lnTo>
                              <a:pt x="184" y="106"/>
                            </a:lnTo>
                            <a:lnTo>
                              <a:pt x="117" y="0"/>
                            </a:lnTo>
                            <a:lnTo>
                              <a:pt x="0" y="56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0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9221788" y="3711575"/>
                        <a:ext cx="292100" cy="492125"/>
                      </a:xfrm>
                      <a:custGeom>
                        <a:avLst/>
                        <a:gdLst>
                          <a:gd name="T0" fmla="*/ 0 w 184"/>
                          <a:gd name="T1" fmla="*/ 55 h 310"/>
                          <a:gd name="T2" fmla="*/ 68 w 184"/>
                          <a:gd name="T3" fmla="*/ 161 h 310"/>
                          <a:gd name="T4" fmla="*/ 92 w 184"/>
                          <a:gd name="T5" fmla="*/ 149 h 310"/>
                          <a:gd name="T6" fmla="*/ 108 w 184"/>
                          <a:gd name="T7" fmla="*/ 310 h 310"/>
                          <a:gd name="T8" fmla="*/ 147 w 184"/>
                          <a:gd name="T9" fmla="*/ 292 h 310"/>
                          <a:gd name="T10" fmla="*/ 160 w 184"/>
                          <a:gd name="T11" fmla="*/ 117 h 310"/>
                          <a:gd name="T12" fmla="*/ 184 w 184"/>
                          <a:gd name="T13" fmla="*/ 105 h 310"/>
                          <a:gd name="T14" fmla="*/ 116 w 184"/>
                          <a:gd name="T15" fmla="*/ 0 h 310"/>
                          <a:gd name="T16" fmla="*/ 0 w 184"/>
                          <a:gd name="T17" fmla="*/ 55 h 31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0">
                            <a:moveTo>
                              <a:pt x="0" y="55"/>
                            </a:moveTo>
                            <a:lnTo>
                              <a:pt x="68" y="161"/>
                            </a:lnTo>
                            <a:lnTo>
                              <a:pt x="92" y="149"/>
                            </a:lnTo>
                            <a:lnTo>
                              <a:pt x="108" y="310"/>
                            </a:lnTo>
                            <a:lnTo>
                              <a:pt x="147" y="292"/>
                            </a:lnTo>
                            <a:lnTo>
                              <a:pt x="160" y="117"/>
                            </a:lnTo>
                            <a:lnTo>
                              <a:pt x="184" y="105"/>
                            </a:lnTo>
                            <a:lnTo>
                              <a:pt x="116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1" name="Freeform 34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7573963" y="3230563"/>
                        <a:ext cx="1906588" cy="1092200"/>
                      </a:xfrm>
                      <a:custGeom>
                        <a:avLst/>
                        <a:gdLst>
                          <a:gd name="T0" fmla="*/ 1953 w 1963"/>
                          <a:gd name="T1" fmla="*/ 381 h 1126"/>
                          <a:gd name="T2" fmla="*/ 1170 w 1963"/>
                          <a:gd name="T3" fmla="*/ 2 h 1126"/>
                          <a:gd name="T4" fmla="*/ 1159 w 1963"/>
                          <a:gd name="T5" fmla="*/ 0 h 1126"/>
                          <a:gd name="T6" fmla="*/ 0 w 1963"/>
                          <a:gd name="T7" fmla="*/ 564 h 1126"/>
                          <a:gd name="T8" fmla="*/ 0 w 1963"/>
                          <a:gd name="T9" fmla="*/ 669 h 1126"/>
                          <a:gd name="T10" fmla="*/ 56 w 1963"/>
                          <a:gd name="T11" fmla="*/ 778 h 1126"/>
                          <a:gd name="T12" fmla="*/ 360 w 1963"/>
                          <a:gd name="T13" fmla="*/ 956 h 1126"/>
                          <a:gd name="T14" fmla="*/ 370 w 1963"/>
                          <a:gd name="T15" fmla="*/ 961 h 1126"/>
                          <a:gd name="T16" fmla="*/ 789 w 1963"/>
                          <a:gd name="T17" fmla="*/ 1122 h 1126"/>
                          <a:gd name="T18" fmla="*/ 802 w 1963"/>
                          <a:gd name="T19" fmla="*/ 1126 h 1126"/>
                          <a:gd name="T20" fmla="*/ 1890 w 1963"/>
                          <a:gd name="T21" fmla="*/ 596 h 1126"/>
                          <a:gd name="T22" fmla="*/ 1963 w 1963"/>
                          <a:gd name="T23" fmla="*/ 481 h 1126"/>
                          <a:gd name="T24" fmla="*/ 1963 w 1963"/>
                          <a:gd name="T25" fmla="*/ 392 h 1126"/>
                          <a:gd name="T26" fmla="*/ 1953 w 1963"/>
                          <a:gd name="T27" fmla="*/ 381 h 1126"/>
                          <a:gd name="T28" fmla="*/ 785 w 1963"/>
                          <a:gd name="T29" fmla="*/ 894 h 1126"/>
                          <a:gd name="T30" fmla="*/ 445 w 1963"/>
                          <a:gd name="T31" fmla="*/ 757 h 1126"/>
                          <a:gd name="T32" fmla="*/ 161 w 1963"/>
                          <a:gd name="T33" fmla="*/ 593 h 1126"/>
                          <a:gd name="T34" fmla="*/ 1178 w 1963"/>
                          <a:gd name="T35" fmla="*/ 98 h 1126"/>
                          <a:gd name="T36" fmla="*/ 1801 w 1963"/>
                          <a:gd name="T37" fmla="*/ 399 h 1126"/>
                          <a:gd name="T38" fmla="*/ 785 w 1963"/>
                          <a:gd name="T39" fmla="*/ 894 h 112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</a:cxnLst>
                        <a:rect l="0" t="0" r="r" b="b"/>
                        <a:pathLst>
                          <a:path w="1963" h="1126">
                            <a:moveTo>
                              <a:pt x="1953" y="381"/>
                            </a:moveTo>
                            <a:cubicBezTo>
                              <a:pt x="1788" y="214"/>
                              <a:pt x="1364" y="36"/>
                              <a:pt x="1170" y="2"/>
                            </a:cubicBezTo>
                            <a:cubicBezTo>
                              <a:pt x="1159" y="0"/>
                              <a:pt x="1159" y="0"/>
                              <a:pt x="1159" y="0"/>
                            </a:cubicBezTo>
                            <a:cubicBezTo>
                              <a:pt x="0" y="564"/>
                              <a:pt x="0" y="564"/>
                              <a:pt x="0" y="564"/>
                            </a:cubicBezTo>
                            <a:cubicBezTo>
                              <a:pt x="0" y="669"/>
                              <a:pt x="0" y="669"/>
                              <a:pt x="0" y="669"/>
                            </a:cubicBezTo>
                            <a:cubicBezTo>
                              <a:pt x="0" y="713"/>
                              <a:pt x="21" y="753"/>
                              <a:pt x="56" y="778"/>
                            </a:cubicBezTo>
                            <a:cubicBezTo>
                              <a:pt x="110" y="816"/>
                              <a:pt x="222" y="890"/>
                              <a:pt x="360" y="956"/>
                            </a:cubicBezTo>
                            <a:cubicBezTo>
                              <a:pt x="370" y="961"/>
                              <a:pt x="370" y="961"/>
                              <a:pt x="370" y="961"/>
                            </a:cubicBezTo>
                            <a:cubicBezTo>
                              <a:pt x="495" y="1020"/>
                              <a:pt x="604" y="1072"/>
                              <a:pt x="789" y="1122"/>
                            </a:cubicBezTo>
                            <a:cubicBezTo>
                              <a:pt x="802" y="1126"/>
                              <a:pt x="802" y="1126"/>
                              <a:pt x="802" y="1126"/>
                            </a:cubicBezTo>
                            <a:cubicBezTo>
                              <a:pt x="1890" y="596"/>
                              <a:pt x="1890" y="596"/>
                              <a:pt x="1890" y="596"/>
                            </a:cubicBezTo>
                            <a:cubicBezTo>
                              <a:pt x="1934" y="575"/>
                              <a:pt x="1963" y="530"/>
                              <a:pt x="1963" y="481"/>
                            </a:cubicBezTo>
                            <a:cubicBezTo>
                              <a:pt x="1963" y="392"/>
                              <a:pt x="1963" y="392"/>
                              <a:pt x="1963" y="392"/>
                            </a:cubicBezTo>
                            <a:lnTo>
                              <a:pt x="1953" y="381"/>
                            </a:lnTo>
                            <a:close/>
                            <a:moveTo>
                              <a:pt x="785" y="894"/>
                            </a:moveTo>
                            <a:cubicBezTo>
                              <a:pt x="674" y="858"/>
                              <a:pt x="557" y="811"/>
                              <a:pt x="445" y="757"/>
                            </a:cubicBezTo>
                            <a:cubicBezTo>
                              <a:pt x="333" y="703"/>
                              <a:pt x="236" y="646"/>
                              <a:pt x="161" y="593"/>
                            </a:cubicBezTo>
                            <a:cubicBezTo>
                              <a:pt x="1178" y="98"/>
                              <a:pt x="1178" y="98"/>
                              <a:pt x="1178" y="98"/>
                            </a:cubicBezTo>
                            <a:cubicBezTo>
                              <a:pt x="1351" y="132"/>
                              <a:pt x="1674" y="287"/>
                              <a:pt x="1801" y="399"/>
                            </a:cubicBezTo>
                            <a:lnTo>
                              <a:pt x="785" y="894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2" name="Freeform 35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7540626" y="3217863"/>
                        <a:ext cx="1166813" cy="528638"/>
                      </a:xfrm>
                      <a:custGeom>
                        <a:avLst/>
                        <a:gdLst>
                          <a:gd name="T0" fmla="*/ 0 w 735"/>
                          <a:gd name="T1" fmla="*/ 296 h 333"/>
                          <a:gd name="T2" fmla="*/ 115 w 735"/>
                          <a:gd name="T3" fmla="*/ 333 h 333"/>
                          <a:gd name="T4" fmla="*/ 232 w 735"/>
                          <a:gd name="T5" fmla="*/ 278 h 333"/>
                          <a:gd name="T6" fmla="*/ 116 w 735"/>
                          <a:gd name="T7" fmla="*/ 240 h 333"/>
                          <a:gd name="T8" fmla="*/ 0 w 735"/>
                          <a:gd name="T9" fmla="*/ 296 h 333"/>
                          <a:gd name="T10" fmla="*/ 619 w 735"/>
                          <a:gd name="T11" fmla="*/ 0 h 333"/>
                          <a:gd name="T12" fmla="*/ 503 w 735"/>
                          <a:gd name="T13" fmla="*/ 55 h 333"/>
                          <a:gd name="T14" fmla="*/ 619 w 735"/>
                          <a:gd name="T15" fmla="*/ 94 h 333"/>
                          <a:gd name="T16" fmla="*/ 735 w 735"/>
                          <a:gd name="T17" fmla="*/ 39 h 333"/>
                          <a:gd name="T18" fmla="*/ 619 w 735"/>
                          <a:gd name="T19" fmla="*/ 0 h 333"/>
                          <a:gd name="T20" fmla="*/ 168 w 735"/>
                          <a:gd name="T21" fmla="*/ 216 h 333"/>
                          <a:gd name="T22" fmla="*/ 284 w 735"/>
                          <a:gd name="T23" fmla="*/ 253 h 333"/>
                          <a:gd name="T24" fmla="*/ 400 w 735"/>
                          <a:gd name="T25" fmla="*/ 198 h 333"/>
                          <a:gd name="T26" fmla="*/ 284 w 735"/>
                          <a:gd name="T27" fmla="*/ 160 h 333"/>
                          <a:gd name="T28" fmla="*/ 168 w 735"/>
                          <a:gd name="T29" fmla="*/ 216 h 333"/>
                          <a:gd name="T30" fmla="*/ 336 w 735"/>
                          <a:gd name="T31" fmla="*/ 135 h 333"/>
                          <a:gd name="T32" fmla="*/ 451 w 735"/>
                          <a:gd name="T33" fmla="*/ 174 h 333"/>
                          <a:gd name="T34" fmla="*/ 567 w 735"/>
                          <a:gd name="T35" fmla="*/ 119 h 333"/>
                          <a:gd name="T36" fmla="*/ 451 w 735"/>
                          <a:gd name="T37" fmla="*/ 80 h 333"/>
                          <a:gd name="T38" fmla="*/ 336 w 735"/>
                          <a:gd name="T39" fmla="*/ 135 h 33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</a:cxnLst>
                        <a:rect l="0" t="0" r="r" b="b"/>
                        <a:pathLst>
                          <a:path w="735" h="333">
                            <a:moveTo>
                              <a:pt x="0" y="296"/>
                            </a:moveTo>
                            <a:lnTo>
                              <a:pt x="115" y="333"/>
                            </a:lnTo>
                            <a:lnTo>
                              <a:pt x="232" y="278"/>
                            </a:lnTo>
                            <a:lnTo>
                              <a:pt x="116" y="240"/>
                            </a:lnTo>
                            <a:lnTo>
                              <a:pt x="0" y="296"/>
                            </a:lnTo>
                            <a:close/>
                            <a:moveTo>
                              <a:pt x="619" y="0"/>
                            </a:moveTo>
                            <a:lnTo>
                              <a:pt x="503" y="55"/>
                            </a:lnTo>
                            <a:lnTo>
                              <a:pt x="619" y="94"/>
                            </a:lnTo>
                            <a:lnTo>
                              <a:pt x="735" y="39"/>
                            </a:lnTo>
                            <a:lnTo>
                              <a:pt x="619" y="0"/>
                            </a:lnTo>
                            <a:close/>
                            <a:moveTo>
                              <a:pt x="168" y="216"/>
                            </a:moveTo>
                            <a:lnTo>
                              <a:pt x="284" y="253"/>
                            </a:lnTo>
                            <a:lnTo>
                              <a:pt x="400" y="198"/>
                            </a:lnTo>
                            <a:lnTo>
                              <a:pt x="284" y="160"/>
                            </a:lnTo>
                            <a:lnTo>
                              <a:pt x="168" y="216"/>
                            </a:lnTo>
                            <a:close/>
                            <a:moveTo>
                              <a:pt x="336" y="135"/>
                            </a:moveTo>
                            <a:lnTo>
                              <a:pt x="451" y="174"/>
                            </a:lnTo>
                            <a:lnTo>
                              <a:pt x="567" y="119"/>
                            </a:lnTo>
                            <a:lnTo>
                              <a:pt x="451" y="80"/>
                            </a:lnTo>
                            <a:lnTo>
                              <a:pt x="336" y="135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76" name="Oval 75"/>
                    <p:cNvSpPr/>
                    <p:nvPr/>
                  </p:nvSpPr>
                  <p:spPr>
                    <a:xfrm>
                      <a:off x="6856377" y="3435480"/>
                      <a:ext cx="1225478" cy="1225478"/>
                    </a:xfrm>
                    <a:prstGeom prst="ellipse">
                      <a:avLst/>
                    </a:prstGeom>
                    <a:noFill/>
                    <a:ln w="76200">
                      <a:solidFill>
                        <a:schemeClr val="accent4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6" name="Group 65"/>
                  <p:cNvGrpSpPr/>
                  <p:nvPr/>
                </p:nvGrpSpPr>
                <p:grpSpPr>
                  <a:xfrm>
                    <a:off x="6601058" y="3324029"/>
                    <a:ext cx="115086" cy="115086"/>
                    <a:chOff x="6637954" y="3343833"/>
                    <a:chExt cx="208029" cy="208029"/>
                  </a:xfrm>
                </p:grpSpPr>
                <p:sp>
                  <p:nvSpPr>
                    <p:cNvPr id="67" name="Oval 66"/>
                    <p:cNvSpPr/>
                    <p:nvPr/>
                  </p:nvSpPr>
                  <p:spPr>
                    <a:xfrm>
                      <a:off x="6637954" y="3343833"/>
                      <a:ext cx="208029" cy="208029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3175">
                      <a:solidFill>
                        <a:srgbClr val="969696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68" name="Group 67"/>
                    <p:cNvGrpSpPr/>
                    <p:nvPr/>
                  </p:nvGrpSpPr>
                  <p:grpSpPr>
                    <a:xfrm>
                      <a:off x="6655717" y="3389855"/>
                      <a:ext cx="175673" cy="121968"/>
                      <a:chOff x="7540626" y="3217863"/>
                      <a:chExt cx="1973262" cy="1370013"/>
                    </a:xfrm>
                  </p:grpSpPr>
                  <p:sp>
                    <p:nvSpPr>
                      <p:cNvPr id="69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424863" y="4094163"/>
                        <a:ext cx="290513" cy="493713"/>
                      </a:xfrm>
                      <a:custGeom>
                        <a:avLst/>
                        <a:gdLst>
                          <a:gd name="T0" fmla="*/ 0 w 183"/>
                          <a:gd name="T1" fmla="*/ 55 h 311"/>
                          <a:gd name="T2" fmla="*/ 68 w 183"/>
                          <a:gd name="T3" fmla="*/ 161 h 311"/>
                          <a:gd name="T4" fmla="*/ 92 w 183"/>
                          <a:gd name="T5" fmla="*/ 150 h 311"/>
                          <a:gd name="T6" fmla="*/ 107 w 183"/>
                          <a:gd name="T7" fmla="*/ 311 h 311"/>
                          <a:gd name="T8" fmla="*/ 147 w 183"/>
                          <a:gd name="T9" fmla="*/ 292 h 311"/>
                          <a:gd name="T10" fmla="*/ 159 w 183"/>
                          <a:gd name="T11" fmla="*/ 117 h 311"/>
                          <a:gd name="T12" fmla="*/ 183 w 183"/>
                          <a:gd name="T13" fmla="*/ 106 h 311"/>
                          <a:gd name="T14" fmla="*/ 115 w 183"/>
                          <a:gd name="T15" fmla="*/ 0 h 311"/>
                          <a:gd name="T16" fmla="*/ 0 w 183"/>
                          <a:gd name="T17" fmla="*/ 55 h 3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3" h="311">
                            <a:moveTo>
                              <a:pt x="0" y="55"/>
                            </a:moveTo>
                            <a:lnTo>
                              <a:pt x="68" y="161"/>
                            </a:lnTo>
                            <a:lnTo>
                              <a:pt x="92" y="150"/>
                            </a:lnTo>
                            <a:lnTo>
                              <a:pt x="107" y="311"/>
                            </a:lnTo>
                            <a:lnTo>
                              <a:pt x="147" y="292"/>
                            </a:lnTo>
                            <a:lnTo>
                              <a:pt x="159" y="117"/>
                            </a:lnTo>
                            <a:lnTo>
                              <a:pt x="183" y="106"/>
                            </a:lnTo>
                            <a:lnTo>
                              <a:pt x="115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0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689976" y="3967163"/>
                        <a:ext cx="292100" cy="492125"/>
                      </a:xfrm>
                      <a:custGeom>
                        <a:avLst/>
                        <a:gdLst>
                          <a:gd name="T0" fmla="*/ 0 w 184"/>
                          <a:gd name="T1" fmla="*/ 55 h 310"/>
                          <a:gd name="T2" fmla="*/ 68 w 184"/>
                          <a:gd name="T3" fmla="*/ 160 h 310"/>
                          <a:gd name="T4" fmla="*/ 92 w 184"/>
                          <a:gd name="T5" fmla="*/ 149 h 310"/>
                          <a:gd name="T6" fmla="*/ 108 w 184"/>
                          <a:gd name="T7" fmla="*/ 310 h 310"/>
                          <a:gd name="T8" fmla="*/ 147 w 184"/>
                          <a:gd name="T9" fmla="*/ 291 h 310"/>
                          <a:gd name="T10" fmla="*/ 160 w 184"/>
                          <a:gd name="T11" fmla="*/ 116 h 310"/>
                          <a:gd name="T12" fmla="*/ 184 w 184"/>
                          <a:gd name="T13" fmla="*/ 105 h 310"/>
                          <a:gd name="T14" fmla="*/ 116 w 184"/>
                          <a:gd name="T15" fmla="*/ 0 h 310"/>
                          <a:gd name="T16" fmla="*/ 0 w 184"/>
                          <a:gd name="T17" fmla="*/ 55 h 31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0">
                            <a:moveTo>
                              <a:pt x="0" y="55"/>
                            </a:moveTo>
                            <a:lnTo>
                              <a:pt x="68" y="160"/>
                            </a:lnTo>
                            <a:lnTo>
                              <a:pt x="92" y="149"/>
                            </a:lnTo>
                            <a:lnTo>
                              <a:pt x="108" y="310"/>
                            </a:lnTo>
                            <a:lnTo>
                              <a:pt x="147" y="291"/>
                            </a:lnTo>
                            <a:lnTo>
                              <a:pt x="160" y="116"/>
                            </a:lnTo>
                            <a:lnTo>
                              <a:pt x="184" y="105"/>
                            </a:lnTo>
                            <a:lnTo>
                              <a:pt x="116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1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955088" y="3838575"/>
                        <a:ext cx="292100" cy="493713"/>
                      </a:xfrm>
                      <a:custGeom>
                        <a:avLst/>
                        <a:gdLst>
                          <a:gd name="T0" fmla="*/ 0 w 184"/>
                          <a:gd name="T1" fmla="*/ 56 h 311"/>
                          <a:gd name="T2" fmla="*/ 69 w 184"/>
                          <a:gd name="T3" fmla="*/ 161 h 311"/>
                          <a:gd name="T4" fmla="*/ 93 w 184"/>
                          <a:gd name="T5" fmla="*/ 150 h 311"/>
                          <a:gd name="T6" fmla="*/ 109 w 184"/>
                          <a:gd name="T7" fmla="*/ 311 h 311"/>
                          <a:gd name="T8" fmla="*/ 148 w 184"/>
                          <a:gd name="T9" fmla="*/ 292 h 311"/>
                          <a:gd name="T10" fmla="*/ 160 w 184"/>
                          <a:gd name="T11" fmla="*/ 117 h 311"/>
                          <a:gd name="T12" fmla="*/ 184 w 184"/>
                          <a:gd name="T13" fmla="*/ 106 h 311"/>
                          <a:gd name="T14" fmla="*/ 117 w 184"/>
                          <a:gd name="T15" fmla="*/ 0 h 311"/>
                          <a:gd name="T16" fmla="*/ 0 w 184"/>
                          <a:gd name="T17" fmla="*/ 56 h 3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1">
                            <a:moveTo>
                              <a:pt x="0" y="56"/>
                            </a:moveTo>
                            <a:lnTo>
                              <a:pt x="69" y="161"/>
                            </a:lnTo>
                            <a:lnTo>
                              <a:pt x="93" y="150"/>
                            </a:lnTo>
                            <a:lnTo>
                              <a:pt x="109" y="311"/>
                            </a:lnTo>
                            <a:lnTo>
                              <a:pt x="148" y="292"/>
                            </a:lnTo>
                            <a:lnTo>
                              <a:pt x="160" y="117"/>
                            </a:lnTo>
                            <a:lnTo>
                              <a:pt x="184" y="106"/>
                            </a:lnTo>
                            <a:lnTo>
                              <a:pt x="117" y="0"/>
                            </a:lnTo>
                            <a:lnTo>
                              <a:pt x="0" y="56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2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9221788" y="3711575"/>
                        <a:ext cx="292100" cy="492125"/>
                      </a:xfrm>
                      <a:custGeom>
                        <a:avLst/>
                        <a:gdLst>
                          <a:gd name="T0" fmla="*/ 0 w 184"/>
                          <a:gd name="T1" fmla="*/ 55 h 310"/>
                          <a:gd name="T2" fmla="*/ 68 w 184"/>
                          <a:gd name="T3" fmla="*/ 161 h 310"/>
                          <a:gd name="T4" fmla="*/ 92 w 184"/>
                          <a:gd name="T5" fmla="*/ 149 h 310"/>
                          <a:gd name="T6" fmla="*/ 108 w 184"/>
                          <a:gd name="T7" fmla="*/ 310 h 310"/>
                          <a:gd name="T8" fmla="*/ 147 w 184"/>
                          <a:gd name="T9" fmla="*/ 292 h 310"/>
                          <a:gd name="T10" fmla="*/ 160 w 184"/>
                          <a:gd name="T11" fmla="*/ 117 h 310"/>
                          <a:gd name="T12" fmla="*/ 184 w 184"/>
                          <a:gd name="T13" fmla="*/ 105 h 310"/>
                          <a:gd name="T14" fmla="*/ 116 w 184"/>
                          <a:gd name="T15" fmla="*/ 0 h 310"/>
                          <a:gd name="T16" fmla="*/ 0 w 184"/>
                          <a:gd name="T17" fmla="*/ 55 h 31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0">
                            <a:moveTo>
                              <a:pt x="0" y="55"/>
                            </a:moveTo>
                            <a:lnTo>
                              <a:pt x="68" y="161"/>
                            </a:lnTo>
                            <a:lnTo>
                              <a:pt x="92" y="149"/>
                            </a:lnTo>
                            <a:lnTo>
                              <a:pt x="108" y="310"/>
                            </a:lnTo>
                            <a:lnTo>
                              <a:pt x="147" y="292"/>
                            </a:lnTo>
                            <a:lnTo>
                              <a:pt x="160" y="117"/>
                            </a:lnTo>
                            <a:lnTo>
                              <a:pt x="184" y="105"/>
                            </a:lnTo>
                            <a:lnTo>
                              <a:pt x="116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3" name="Freeform 34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7573963" y="3230563"/>
                        <a:ext cx="1906588" cy="1092200"/>
                      </a:xfrm>
                      <a:custGeom>
                        <a:avLst/>
                        <a:gdLst>
                          <a:gd name="T0" fmla="*/ 1953 w 1963"/>
                          <a:gd name="T1" fmla="*/ 381 h 1126"/>
                          <a:gd name="T2" fmla="*/ 1170 w 1963"/>
                          <a:gd name="T3" fmla="*/ 2 h 1126"/>
                          <a:gd name="T4" fmla="*/ 1159 w 1963"/>
                          <a:gd name="T5" fmla="*/ 0 h 1126"/>
                          <a:gd name="T6" fmla="*/ 0 w 1963"/>
                          <a:gd name="T7" fmla="*/ 564 h 1126"/>
                          <a:gd name="T8" fmla="*/ 0 w 1963"/>
                          <a:gd name="T9" fmla="*/ 669 h 1126"/>
                          <a:gd name="T10" fmla="*/ 56 w 1963"/>
                          <a:gd name="T11" fmla="*/ 778 h 1126"/>
                          <a:gd name="T12" fmla="*/ 360 w 1963"/>
                          <a:gd name="T13" fmla="*/ 956 h 1126"/>
                          <a:gd name="T14" fmla="*/ 370 w 1963"/>
                          <a:gd name="T15" fmla="*/ 961 h 1126"/>
                          <a:gd name="T16" fmla="*/ 789 w 1963"/>
                          <a:gd name="T17" fmla="*/ 1122 h 1126"/>
                          <a:gd name="T18" fmla="*/ 802 w 1963"/>
                          <a:gd name="T19" fmla="*/ 1126 h 1126"/>
                          <a:gd name="T20" fmla="*/ 1890 w 1963"/>
                          <a:gd name="T21" fmla="*/ 596 h 1126"/>
                          <a:gd name="T22" fmla="*/ 1963 w 1963"/>
                          <a:gd name="T23" fmla="*/ 481 h 1126"/>
                          <a:gd name="T24" fmla="*/ 1963 w 1963"/>
                          <a:gd name="T25" fmla="*/ 392 h 1126"/>
                          <a:gd name="T26" fmla="*/ 1953 w 1963"/>
                          <a:gd name="T27" fmla="*/ 381 h 1126"/>
                          <a:gd name="T28" fmla="*/ 785 w 1963"/>
                          <a:gd name="T29" fmla="*/ 894 h 1126"/>
                          <a:gd name="T30" fmla="*/ 445 w 1963"/>
                          <a:gd name="T31" fmla="*/ 757 h 1126"/>
                          <a:gd name="T32" fmla="*/ 161 w 1963"/>
                          <a:gd name="T33" fmla="*/ 593 h 1126"/>
                          <a:gd name="T34" fmla="*/ 1178 w 1963"/>
                          <a:gd name="T35" fmla="*/ 98 h 1126"/>
                          <a:gd name="T36" fmla="*/ 1801 w 1963"/>
                          <a:gd name="T37" fmla="*/ 399 h 1126"/>
                          <a:gd name="T38" fmla="*/ 785 w 1963"/>
                          <a:gd name="T39" fmla="*/ 894 h 112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</a:cxnLst>
                        <a:rect l="0" t="0" r="r" b="b"/>
                        <a:pathLst>
                          <a:path w="1963" h="1126">
                            <a:moveTo>
                              <a:pt x="1953" y="381"/>
                            </a:moveTo>
                            <a:cubicBezTo>
                              <a:pt x="1788" y="214"/>
                              <a:pt x="1364" y="36"/>
                              <a:pt x="1170" y="2"/>
                            </a:cubicBezTo>
                            <a:cubicBezTo>
                              <a:pt x="1159" y="0"/>
                              <a:pt x="1159" y="0"/>
                              <a:pt x="1159" y="0"/>
                            </a:cubicBezTo>
                            <a:cubicBezTo>
                              <a:pt x="0" y="564"/>
                              <a:pt x="0" y="564"/>
                              <a:pt x="0" y="564"/>
                            </a:cubicBezTo>
                            <a:cubicBezTo>
                              <a:pt x="0" y="669"/>
                              <a:pt x="0" y="669"/>
                              <a:pt x="0" y="669"/>
                            </a:cubicBezTo>
                            <a:cubicBezTo>
                              <a:pt x="0" y="713"/>
                              <a:pt x="21" y="753"/>
                              <a:pt x="56" y="778"/>
                            </a:cubicBezTo>
                            <a:cubicBezTo>
                              <a:pt x="110" y="816"/>
                              <a:pt x="222" y="890"/>
                              <a:pt x="360" y="956"/>
                            </a:cubicBezTo>
                            <a:cubicBezTo>
                              <a:pt x="370" y="961"/>
                              <a:pt x="370" y="961"/>
                              <a:pt x="370" y="961"/>
                            </a:cubicBezTo>
                            <a:cubicBezTo>
                              <a:pt x="495" y="1020"/>
                              <a:pt x="604" y="1072"/>
                              <a:pt x="789" y="1122"/>
                            </a:cubicBezTo>
                            <a:cubicBezTo>
                              <a:pt x="802" y="1126"/>
                              <a:pt x="802" y="1126"/>
                              <a:pt x="802" y="1126"/>
                            </a:cubicBezTo>
                            <a:cubicBezTo>
                              <a:pt x="1890" y="596"/>
                              <a:pt x="1890" y="596"/>
                              <a:pt x="1890" y="596"/>
                            </a:cubicBezTo>
                            <a:cubicBezTo>
                              <a:pt x="1934" y="575"/>
                              <a:pt x="1963" y="530"/>
                              <a:pt x="1963" y="481"/>
                            </a:cubicBezTo>
                            <a:cubicBezTo>
                              <a:pt x="1963" y="392"/>
                              <a:pt x="1963" y="392"/>
                              <a:pt x="1963" y="392"/>
                            </a:cubicBezTo>
                            <a:lnTo>
                              <a:pt x="1953" y="381"/>
                            </a:lnTo>
                            <a:close/>
                            <a:moveTo>
                              <a:pt x="785" y="894"/>
                            </a:moveTo>
                            <a:cubicBezTo>
                              <a:pt x="674" y="858"/>
                              <a:pt x="557" y="811"/>
                              <a:pt x="445" y="757"/>
                            </a:cubicBezTo>
                            <a:cubicBezTo>
                              <a:pt x="333" y="703"/>
                              <a:pt x="236" y="646"/>
                              <a:pt x="161" y="593"/>
                            </a:cubicBezTo>
                            <a:cubicBezTo>
                              <a:pt x="1178" y="98"/>
                              <a:pt x="1178" y="98"/>
                              <a:pt x="1178" y="98"/>
                            </a:cubicBezTo>
                            <a:cubicBezTo>
                              <a:pt x="1351" y="132"/>
                              <a:pt x="1674" y="287"/>
                              <a:pt x="1801" y="399"/>
                            </a:cubicBezTo>
                            <a:lnTo>
                              <a:pt x="785" y="894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solidFill>
                          <a:srgbClr val="969696"/>
                        </a:solidFill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4" name="Freeform 35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7540626" y="3217863"/>
                        <a:ext cx="1166813" cy="528638"/>
                      </a:xfrm>
                      <a:custGeom>
                        <a:avLst/>
                        <a:gdLst>
                          <a:gd name="T0" fmla="*/ 0 w 735"/>
                          <a:gd name="T1" fmla="*/ 296 h 333"/>
                          <a:gd name="T2" fmla="*/ 115 w 735"/>
                          <a:gd name="T3" fmla="*/ 333 h 333"/>
                          <a:gd name="T4" fmla="*/ 232 w 735"/>
                          <a:gd name="T5" fmla="*/ 278 h 333"/>
                          <a:gd name="T6" fmla="*/ 116 w 735"/>
                          <a:gd name="T7" fmla="*/ 240 h 333"/>
                          <a:gd name="T8" fmla="*/ 0 w 735"/>
                          <a:gd name="T9" fmla="*/ 296 h 333"/>
                          <a:gd name="T10" fmla="*/ 619 w 735"/>
                          <a:gd name="T11" fmla="*/ 0 h 333"/>
                          <a:gd name="T12" fmla="*/ 503 w 735"/>
                          <a:gd name="T13" fmla="*/ 55 h 333"/>
                          <a:gd name="T14" fmla="*/ 619 w 735"/>
                          <a:gd name="T15" fmla="*/ 94 h 333"/>
                          <a:gd name="T16" fmla="*/ 735 w 735"/>
                          <a:gd name="T17" fmla="*/ 39 h 333"/>
                          <a:gd name="T18" fmla="*/ 619 w 735"/>
                          <a:gd name="T19" fmla="*/ 0 h 333"/>
                          <a:gd name="T20" fmla="*/ 168 w 735"/>
                          <a:gd name="T21" fmla="*/ 216 h 333"/>
                          <a:gd name="T22" fmla="*/ 284 w 735"/>
                          <a:gd name="T23" fmla="*/ 253 h 333"/>
                          <a:gd name="T24" fmla="*/ 400 w 735"/>
                          <a:gd name="T25" fmla="*/ 198 h 333"/>
                          <a:gd name="T26" fmla="*/ 284 w 735"/>
                          <a:gd name="T27" fmla="*/ 160 h 333"/>
                          <a:gd name="T28" fmla="*/ 168 w 735"/>
                          <a:gd name="T29" fmla="*/ 216 h 333"/>
                          <a:gd name="T30" fmla="*/ 336 w 735"/>
                          <a:gd name="T31" fmla="*/ 135 h 333"/>
                          <a:gd name="T32" fmla="*/ 451 w 735"/>
                          <a:gd name="T33" fmla="*/ 174 h 333"/>
                          <a:gd name="T34" fmla="*/ 567 w 735"/>
                          <a:gd name="T35" fmla="*/ 119 h 333"/>
                          <a:gd name="T36" fmla="*/ 451 w 735"/>
                          <a:gd name="T37" fmla="*/ 80 h 333"/>
                          <a:gd name="T38" fmla="*/ 336 w 735"/>
                          <a:gd name="T39" fmla="*/ 135 h 33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</a:cxnLst>
                        <a:rect l="0" t="0" r="r" b="b"/>
                        <a:pathLst>
                          <a:path w="735" h="333">
                            <a:moveTo>
                              <a:pt x="0" y="296"/>
                            </a:moveTo>
                            <a:lnTo>
                              <a:pt x="115" y="333"/>
                            </a:lnTo>
                            <a:lnTo>
                              <a:pt x="232" y="278"/>
                            </a:lnTo>
                            <a:lnTo>
                              <a:pt x="116" y="240"/>
                            </a:lnTo>
                            <a:lnTo>
                              <a:pt x="0" y="296"/>
                            </a:lnTo>
                            <a:close/>
                            <a:moveTo>
                              <a:pt x="619" y="0"/>
                            </a:moveTo>
                            <a:lnTo>
                              <a:pt x="503" y="55"/>
                            </a:lnTo>
                            <a:lnTo>
                              <a:pt x="619" y="94"/>
                            </a:lnTo>
                            <a:lnTo>
                              <a:pt x="735" y="39"/>
                            </a:lnTo>
                            <a:lnTo>
                              <a:pt x="619" y="0"/>
                            </a:lnTo>
                            <a:close/>
                            <a:moveTo>
                              <a:pt x="168" y="216"/>
                            </a:moveTo>
                            <a:lnTo>
                              <a:pt x="284" y="253"/>
                            </a:lnTo>
                            <a:lnTo>
                              <a:pt x="400" y="198"/>
                            </a:lnTo>
                            <a:lnTo>
                              <a:pt x="284" y="160"/>
                            </a:lnTo>
                            <a:lnTo>
                              <a:pt x="168" y="216"/>
                            </a:lnTo>
                            <a:close/>
                            <a:moveTo>
                              <a:pt x="336" y="135"/>
                            </a:moveTo>
                            <a:lnTo>
                              <a:pt x="451" y="174"/>
                            </a:lnTo>
                            <a:lnTo>
                              <a:pt x="567" y="119"/>
                            </a:lnTo>
                            <a:lnTo>
                              <a:pt x="451" y="80"/>
                            </a:lnTo>
                            <a:lnTo>
                              <a:pt x="336" y="135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</p:grpSp>
            <p:sp>
              <p:nvSpPr>
                <p:cNvPr id="83" name="Freeform: Shape 82"/>
                <p:cNvSpPr>
                  <a:spLocks noChangeAspect="1"/>
                </p:cNvSpPr>
                <p:nvPr/>
              </p:nvSpPr>
              <p:spPr>
                <a:xfrm>
                  <a:off x="8761238" y="3870318"/>
                  <a:ext cx="3509862" cy="502920"/>
                </a:xfrm>
                <a:custGeom>
                  <a:avLst/>
                  <a:gdLst>
                    <a:gd name="connsiteX0" fmla="*/ 1934244 w 2283508"/>
                    <a:gd name="connsiteY0" fmla="*/ 332375 h 433169"/>
                    <a:gd name="connsiteX1" fmla="*/ 1906702 w 2283508"/>
                    <a:gd name="connsiteY1" fmla="*/ 336379 h 433169"/>
                    <a:gd name="connsiteX2" fmla="*/ 1884630 w 2283508"/>
                    <a:gd name="connsiteY2" fmla="*/ 343656 h 433169"/>
                    <a:gd name="connsiteX3" fmla="*/ 1878280 w 2283508"/>
                    <a:gd name="connsiteY3" fmla="*/ 360015 h 433169"/>
                    <a:gd name="connsiteX4" fmla="*/ 1884190 w 2283508"/>
                    <a:gd name="connsiteY4" fmla="*/ 374665 h 433169"/>
                    <a:gd name="connsiteX5" fmla="*/ 1900646 w 2283508"/>
                    <a:gd name="connsiteY5" fmla="*/ 380428 h 433169"/>
                    <a:gd name="connsiteX6" fmla="*/ 1924674 w 2283508"/>
                    <a:gd name="connsiteY6" fmla="*/ 369733 h 433169"/>
                    <a:gd name="connsiteX7" fmla="*/ 1934244 w 2283508"/>
                    <a:gd name="connsiteY7" fmla="*/ 342142 h 433169"/>
                    <a:gd name="connsiteX8" fmla="*/ 1762794 w 2283508"/>
                    <a:gd name="connsiteY8" fmla="*/ 332375 h 433169"/>
                    <a:gd name="connsiteX9" fmla="*/ 1735252 w 2283508"/>
                    <a:gd name="connsiteY9" fmla="*/ 336379 h 433169"/>
                    <a:gd name="connsiteX10" fmla="*/ 1713180 w 2283508"/>
                    <a:gd name="connsiteY10" fmla="*/ 343656 h 433169"/>
                    <a:gd name="connsiteX11" fmla="*/ 1706830 w 2283508"/>
                    <a:gd name="connsiteY11" fmla="*/ 360015 h 433169"/>
                    <a:gd name="connsiteX12" fmla="*/ 1712740 w 2283508"/>
                    <a:gd name="connsiteY12" fmla="*/ 374665 h 433169"/>
                    <a:gd name="connsiteX13" fmla="*/ 1729198 w 2283508"/>
                    <a:gd name="connsiteY13" fmla="*/ 380428 h 433169"/>
                    <a:gd name="connsiteX14" fmla="*/ 1753224 w 2283508"/>
                    <a:gd name="connsiteY14" fmla="*/ 369733 h 433169"/>
                    <a:gd name="connsiteX15" fmla="*/ 1762794 w 2283508"/>
                    <a:gd name="connsiteY15" fmla="*/ 342142 h 433169"/>
                    <a:gd name="connsiteX16" fmla="*/ 1572294 w 2283508"/>
                    <a:gd name="connsiteY16" fmla="*/ 332375 h 433169"/>
                    <a:gd name="connsiteX17" fmla="*/ 1544752 w 2283508"/>
                    <a:gd name="connsiteY17" fmla="*/ 336379 h 433169"/>
                    <a:gd name="connsiteX18" fmla="*/ 1522678 w 2283508"/>
                    <a:gd name="connsiteY18" fmla="*/ 343656 h 433169"/>
                    <a:gd name="connsiteX19" fmla="*/ 1516330 w 2283508"/>
                    <a:gd name="connsiteY19" fmla="*/ 360015 h 433169"/>
                    <a:gd name="connsiteX20" fmla="*/ 1522240 w 2283508"/>
                    <a:gd name="connsiteY20" fmla="*/ 374665 h 433169"/>
                    <a:gd name="connsiteX21" fmla="*/ 1538696 w 2283508"/>
                    <a:gd name="connsiteY21" fmla="*/ 380428 h 433169"/>
                    <a:gd name="connsiteX22" fmla="*/ 1562724 w 2283508"/>
                    <a:gd name="connsiteY22" fmla="*/ 369733 h 433169"/>
                    <a:gd name="connsiteX23" fmla="*/ 1572294 w 2283508"/>
                    <a:gd name="connsiteY23" fmla="*/ 342142 h 433169"/>
                    <a:gd name="connsiteX24" fmla="*/ 1219870 w 2283508"/>
                    <a:gd name="connsiteY24" fmla="*/ 332375 h 433169"/>
                    <a:gd name="connsiteX25" fmla="*/ 1192328 w 2283508"/>
                    <a:gd name="connsiteY25" fmla="*/ 336379 h 433169"/>
                    <a:gd name="connsiteX26" fmla="*/ 1170254 w 2283508"/>
                    <a:gd name="connsiteY26" fmla="*/ 343656 h 433169"/>
                    <a:gd name="connsiteX27" fmla="*/ 1163906 w 2283508"/>
                    <a:gd name="connsiteY27" fmla="*/ 360015 h 433169"/>
                    <a:gd name="connsiteX28" fmla="*/ 1169814 w 2283508"/>
                    <a:gd name="connsiteY28" fmla="*/ 374665 h 433169"/>
                    <a:gd name="connsiteX29" fmla="*/ 1186272 w 2283508"/>
                    <a:gd name="connsiteY29" fmla="*/ 380428 h 433169"/>
                    <a:gd name="connsiteX30" fmla="*/ 1210298 w 2283508"/>
                    <a:gd name="connsiteY30" fmla="*/ 369733 h 433169"/>
                    <a:gd name="connsiteX31" fmla="*/ 1219870 w 2283508"/>
                    <a:gd name="connsiteY31" fmla="*/ 342142 h 433169"/>
                    <a:gd name="connsiteX32" fmla="*/ 2159334 w 2283508"/>
                    <a:gd name="connsiteY32" fmla="*/ 291940 h 433169"/>
                    <a:gd name="connsiteX33" fmla="*/ 2136040 w 2283508"/>
                    <a:gd name="connsiteY33" fmla="*/ 301365 h 433169"/>
                    <a:gd name="connsiteX34" fmla="*/ 2124662 w 2283508"/>
                    <a:gd name="connsiteY34" fmla="*/ 328371 h 433169"/>
                    <a:gd name="connsiteX35" fmla="*/ 2188926 w 2283508"/>
                    <a:gd name="connsiteY35" fmla="*/ 328371 h 433169"/>
                    <a:gd name="connsiteX36" fmla="*/ 2180626 w 2283508"/>
                    <a:gd name="connsiteY36" fmla="*/ 301512 h 433169"/>
                    <a:gd name="connsiteX37" fmla="*/ 2159334 w 2283508"/>
                    <a:gd name="connsiteY37" fmla="*/ 291940 h 433169"/>
                    <a:gd name="connsiteX38" fmla="*/ 2015332 w 2283508"/>
                    <a:gd name="connsiteY38" fmla="*/ 291940 h 433169"/>
                    <a:gd name="connsiteX39" fmla="*/ 1988278 w 2283508"/>
                    <a:gd name="connsiteY39" fmla="*/ 303660 h 433169"/>
                    <a:gd name="connsiteX40" fmla="*/ 1978706 w 2283508"/>
                    <a:gd name="connsiteY40" fmla="*/ 331203 h 433169"/>
                    <a:gd name="connsiteX41" fmla="*/ 1978706 w 2283508"/>
                    <a:gd name="connsiteY41" fmla="*/ 343802 h 433169"/>
                    <a:gd name="connsiteX42" fmla="*/ 1988182 w 2283508"/>
                    <a:gd name="connsiteY42" fmla="*/ 369635 h 433169"/>
                    <a:gd name="connsiteX43" fmla="*/ 2013086 w 2283508"/>
                    <a:gd name="connsiteY43" fmla="*/ 380428 h 433169"/>
                    <a:gd name="connsiteX44" fmla="*/ 2037992 w 2283508"/>
                    <a:gd name="connsiteY44" fmla="*/ 367291 h 433169"/>
                    <a:gd name="connsiteX45" fmla="*/ 2047564 w 2283508"/>
                    <a:gd name="connsiteY45" fmla="*/ 332766 h 433169"/>
                    <a:gd name="connsiteX46" fmla="*/ 2038774 w 2283508"/>
                    <a:gd name="connsiteY46" fmla="*/ 302977 h 433169"/>
                    <a:gd name="connsiteX47" fmla="*/ 2015332 w 2283508"/>
                    <a:gd name="connsiteY47" fmla="*/ 291940 h 433169"/>
                    <a:gd name="connsiteX48" fmla="*/ 902034 w 2283508"/>
                    <a:gd name="connsiteY48" fmla="*/ 291940 h 433169"/>
                    <a:gd name="connsiteX49" fmla="*/ 878740 w 2283508"/>
                    <a:gd name="connsiteY49" fmla="*/ 301365 h 433169"/>
                    <a:gd name="connsiteX50" fmla="*/ 867362 w 2283508"/>
                    <a:gd name="connsiteY50" fmla="*/ 328371 h 433169"/>
                    <a:gd name="connsiteX51" fmla="*/ 931626 w 2283508"/>
                    <a:gd name="connsiteY51" fmla="*/ 328371 h 433169"/>
                    <a:gd name="connsiteX52" fmla="*/ 923326 w 2283508"/>
                    <a:gd name="connsiteY52" fmla="*/ 301512 h 433169"/>
                    <a:gd name="connsiteX53" fmla="*/ 902034 w 2283508"/>
                    <a:gd name="connsiteY53" fmla="*/ 291940 h 433169"/>
                    <a:gd name="connsiteX54" fmla="*/ 467498 w 2283508"/>
                    <a:gd name="connsiteY54" fmla="*/ 291940 h 433169"/>
                    <a:gd name="connsiteX55" fmla="*/ 439320 w 2283508"/>
                    <a:gd name="connsiteY55" fmla="*/ 303856 h 433169"/>
                    <a:gd name="connsiteX56" fmla="*/ 428820 w 2283508"/>
                    <a:gd name="connsiteY56" fmla="*/ 336965 h 433169"/>
                    <a:gd name="connsiteX57" fmla="*/ 439076 w 2283508"/>
                    <a:gd name="connsiteY57" fmla="*/ 368512 h 433169"/>
                    <a:gd name="connsiteX58" fmla="*/ 467106 w 2283508"/>
                    <a:gd name="connsiteY58" fmla="*/ 380428 h 433169"/>
                    <a:gd name="connsiteX59" fmla="*/ 494942 w 2283508"/>
                    <a:gd name="connsiteY59" fmla="*/ 368708 h 433169"/>
                    <a:gd name="connsiteX60" fmla="*/ 504708 w 2283508"/>
                    <a:gd name="connsiteY60" fmla="*/ 336184 h 433169"/>
                    <a:gd name="connsiteX61" fmla="*/ 494990 w 2283508"/>
                    <a:gd name="connsiteY61" fmla="*/ 303367 h 433169"/>
                    <a:gd name="connsiteX62" fmla="*/ 467498 w 2283508"/>
                    <a:gd name="connsiteY62" fmla="*/ 291940 h 433169"/>
                    <a:gd name="connsiteX63" fmla="*/ 216234 w 2283508"/>
                    <a:gd name="connsiteY63" fmla="*/ 291940 h 433169"/>
                    <a:gd name="connsiteX64" fmla="*/ 192940 w 2283508"/>
                    <a:gd name="connsiteY64" fmla="*/ 301365 h 433169"/>
                    <a:gd name="connsiteX65" fmla="*/ 181562 w 2283508"/>
                    <a:gd name="connsiteY65" fmla="*/ 328371 h 433169"/>
                    <a:gd name="connsiteX66" fmla="*/ 245826 w 2283508"/>
                    <a:gd name="connsiteY66" fmla="*/ 328371 h 433169"/>
                    <a:gd name="connsiteX67" fmla="*/ 237526 w 2283508"/>
                    <a:gd name="connsiteY67" fmla="*/ 301512 h 433169"/>
                    <a:gd name="connsiteX68" fmla="*/ 216234 w 2283508"/>
                    <a:gd name="connsiteY68" fmla="*/ 291940 h 433169"/>
                    <a:gd name="connsiteX69" fmla="*/ 115354 w 2283508"/>
                    <a:gd name="connsiteY69" fmla="*/ 286775 h 433169"/>
                    <a:gd name="connsiteX70" fmla="*/ 88300 w 2283508"/>
                    <a:gd name="connsiteY70" fmla="*/ 298495 h 433169"/>
                    <a:gd name="connsiteX71" fmla="*/ 78728 w 2283508"/>
                    <a:gd name="connsiteY71" fmla="*/ 326038 h 433169"/>
                    <a:gd name="connsiteX72" fmla="*/ 78728 w 2283508"/>
                    <a:gd name="connsiteY72" fmla="*/ 338637 h 433169"/>
                    <a:gd name="connsiteX73" fmla="*/ 88204 w 2283508"/>
                    <a:gd name="connsiteY73" fmla="*/ 364470 h 433169"/>
                    <a:gd name="connsiteX74" fmla="*/ 113108 w 2283508"/>
                    <a:gd name="connsiteY74" fmla="*/ 375263 h 433169"/>
                    <a:gd name="connsiteX75" fmla="*/ 138014 w 2283508"/>
                    <a:gd name="connsiteY75" fmla="*/ 362126 h 433169"/>
                    <a:gd name="connsiteX76" fmla="*/ 147586 w 2283508"/>
                    <a:gd name="connsiteY76" fmla="*/ 327601 h 433169"/>
                    <a:gd name="connsiteX77" fmla="*/ 138796 w 2283508"/>
                    <a:gd name="connsiteY77" fmla="*/ 297812 h 433169"/>
                    <a:gd name="connsiteX78" fmla="*/ 115354 w 2283508"/>
                    <a:gd name="connsiteY78" fmla="*/ 286775 h 433169"/>
                    <a:gd name="connsiteX79" fmla="*/ 1798272 w 2283508"/>
                    <a:gd name="connsiteY79" fmla="*/ 286178 h 433169"/>
                    <a:gd name="connsiteX80" fmla="*/ 1807258 w 2283508"/>
                    <a:gd name="connsiteY80" fmla="*/ 286178 h 433169"/>
                    <a:gd name="connsiteX81" fmla="*/ 1807258 w 2283508"/>
                    <a:gd name="connsiteY81" fmla="*/ 386190 h 433169"/>
                    <a:gd name="connsiteX82" fmla="*/ 1798272 w 2283508"/>
                    <a:gd name="connsiteY82" fmla="*/ 386190 h 433169"/>
                    <a:gd name="connsiteX83" fmla="*/ 1593708 w 2283508"/>
                    <a:gd name="connsiteY83" fmla="*/ 286178 h 433169"/>
                    <a:gd name="connsiteX84" fmla="*/ 1603768 w 2283508"/>
                    <a:gd name="connsiteY84" fmla="*/ 286178 h 433169"/>
                    <a:gd name="connsiteX85" fmla="*/ 1633556 w 2283508"/>
                    <a:gd name="connsiteY85" fmla="*/ 365778 h 433169"/>
                    <a:gd name="connsiteX86" fmla="*/ 1636584 w 2283508"/>
                    <a:gd name="connsiteY86" fmla="*/ 376228 h 433169"/>
                    <a:gd name="connsiteX87" fmla="*/ 1636974 w 2283508"/>
                    <a:gd name="connsiteY87" fmla="*/ 376228 h 433169"/>
                    <a:gd name="connsiteX88" fmla="*/ 1639806 w 2283508"/>
                    <a:gd name="connsiteY88" fmla="*/ 366168 h 433169"/>
                    <a:gd name="connsiteX89" fmla="*/ 1670572 w 2283508"/>
                    <a:gd name="connsiteY89" fmla="*/ 286178 h 433169"/>
                    <a:gd name="connsiteX90" fmla="*/ 1680340 w 2283508"/>
                    <a:gd name="connsiteY90" fmla="*/ 286178 h 433169"/>
                    <a:gd name="connsiteX91" fmla="*/ 1640588 w 2283508"/>
                    <a:gd name="connsiteY91" fmla="*/ 386190 h 433169"/>
                    <a:gd name="connsiteX92" fmla="*/ 1632384 w 2283508"/>
                    <a:gd name="connsiteY92" fmla="*/ 386190 h 433169"/>
                    <a:gd name="connsiteX93" fmla="*/ 1317482 w 2283508"/>
                    <a:gd name="connsiteY93" fmla="*/ 286178 h 433169"/>
                    <a:gd name="connsiteX94" fmla="*/ 1327542 w 2283508"/>
                    <a:gd name="connsiteY94" fmla="*/ 286178 h 433169"/>
                    <a:gd name="connsiteX95" fmla="*/ 1357722 w 2283508"/>
                    <a:gd name="connsiteY95" fmla="*/ 367633 h 433169"/>
                    <a:gd name="connsiteX96" fmla="*/ 1359090 w 2283508"/>
                    <a:gd name="connsiteY96" fmla="*/ 371638 h 433169"/>
                    <a:gd name="connsiteX97" fmla="*/ 1359968 w 2283508"/>
                    <a:gd name="connsiteY97" fmla="*/ 374958 h 433169"/>
                    <a:gd name="connsiteX98" fmla="*/ 1360358 w 2283508"/>
                    <a:gd name="connsiteY98" fmla="*/ 374958 h 433169"/>
                    <a:gd name="connsiteX99" fmla="*/ 1362702 w 2283508"/>
                    <a:gd name="connsiteY99" fmla="*/ 368219 h 433169"/>
                    <a:gd name="connsiteX100" fmla="*/ 1394934 w 2283508"/>
                    <a:gd name="connsiteY100" fmla="*/ 286178 h 433169"/>
                    <a:gd name="connsiteX101" fmla="*/ 1404700 w 2283508"/>
                    <a:gd name="connsiteY101" fmla="*/ 286178 h 433169"/>
                    <a:gd name="connsiteX102" fmla="*/ 1355964 w 2283508"/>
                    <a:gd name="connsiteY102" fmla="*/ 406603 h 433169"/>
                    <a:gd name="connsiteX103" fmla="*/ 1343852 w 2283508"/>
                    <a:gd name="connsiteY103" fmla="*/ 426625 h 433169"/>
                    <a:gd name="connsiteX104" fmla="*/ 1326760 w 2283508"/>
                    <a:gd name="connsiteY104" fmla="*/ 433169 h 433169"/>
                    <a:gd name="connsiteX105" fmla="*/ 1318948 w 2283508"/>
                    <a:gd name="connsiteY105" fmla="*/ 431801 h 433169"/>
                    <a:gd name="connsiteX106" fmla="*/ 1318948 w 2283508"/>
                    <a:gd name="connsiteY106" fmla="*/ 422816 h 433169"/>
                    <a:gd name="connsiteX107" fmla="*/ 1327152 w 2283508"/>
                    <a:gd name="connsiteY107" fmla="*/ 424183 h 433169"/>
                    <a:gd name="connsiteX108" fmla="*/ 1346100 w 2283508"/>
                    <a:gd name="connsiteY108" fmla="*/ 407580 h 433169"/>
                    <a:gd name="connsiteX109" fmla="*/ 1355378 w 2283508"/>
                    <a:gd name="connsiteY109" fmla="*/ 385409 h 433169"/>
                    <a:gd name="connsiteX110" fmla="*/ 1121996 w 2283508"/>
                    <a:gd name="connsiteY110" fmla="*/ 286178 h 433169"/>
                    <a:gd name="connsiteX111" fmla="*/ 1130982 w 2283508"/>
                    <a:gd name="connsiteY111" fmla="*/ 286178 h 433169"/>
                    <a:gd name="connsiteX112" fmla="*/ 1130982 w 2283508"/>
                    <a:gd name="connsiteY112" fmla="*/ 386190 h 433169"/>
                    <a:gd name="connsiteX113" fmla="*/ 1121996 w 2283508"/>
                    <a:gd name="connsiteY113" fmla="*/ 386190 h 433169"/>
                    <a:gd name="connsiteX114" fmla="*/ 1006808 w 2283508"/>
                    <a:gd name="connsiteY114" fmla="*/ 284224 h 433169"/>
                    <a:gd name="connsiteX115" fmla="*/ 1016770 w 2283508"/>
                    <a:gd name="connsiteY115" fmla="*/ 285982 h 433169"/>
                    <a:gd name="connsiteX116" fmla="*/ 1016770 w 2283508"/>
                    <a:gd name="connsiteY116" fmla="*/ 295554 h 433169"/>
                    <a:gd name="connsiteX117" fmla="*/ 1006222 w 2283508"/>
                    <a:gd name="connsiteY117" fmla="*/ 292331 h 433169"/>
                    <a:gd name="connsiteX118" fmla="*/ 986396 w 2283508"/>
                    <a:gd name="connsiteY118" fmla="*/ 304539 h 433169"/>
                    <a:gd name="connsiteX119" fmla="*/ 978386 w 2283508"/>
                    <a:gd name="connsiteY119" fmla="*/ 339212 h 433169"/>
                    <a:gd name="connsiteX120" fmla="*/ 978386 w 2283508"/>
                    <a:gd name="connsiteY120" fmla="*/ 386190 h 433169"/>
                    <a:gd name="connsiteX121" fmla="*/ 969596 w 2283508"/>
                    <a:gd name="connsiteY121" fmla="*/ 386190 h 433169"/>
                    <a:gd name="connsiteX122" fmla="*/ 969596 w 2283508"/>
                    <a:gd name="connsiteY122" fmla="*/ 286178 h 433169"/>
                    <a:gd name="connsiteX123" fmla="*/ 978386 w 2283508"/>
                    <a:gd name="connsiteY123" fmla="*/ 286178 h 433169"/>
                    <a:gd name="connsiteX124" fmla="*/ 978386 w 2283508"/>
                    <a:gd name="connsiteY124" fmla="*/ 308348 h 433169"/>
                    <a:gd name="connsiteX125" fmla="*/ 978778 w 2283508"/>
                    <a:gd name="connsiteY125" fmla="*/ 308348 h 433169"/>
                    <a:gd name="connsiteX126" fmla="*/ 989618 w 2283508"/>
                    <a:gd name="connsiteY126" fmla="*/ 290573 h 433169"/>
                    <a:gd name="connsiteX127" fmla="*/ 1006808 w 2283508"/>
                    <a:gd name="connsiteY127" fmla="*/ 284224 h 433169"/>
                    <a:gd name="connsiteX128" fmla="*/ 2159724 w 2283508"/>
                    <a:gd name="connsiteY128" fmla="*/ 283736 h 433169"/>
                    <a:gd name="connsiteX129" fmla="*/ 2188340 w 2283508"/>
                    <a:gd name="connsiteY129" fmla="*/ 296824 h 433169"/>
                    <a:gd name="connsiteX130" fmla="*/ 2198302 w 2283508"/>
                    <a:gd name="connsiteY130" fmla="*/ 332570 h 433169"/>
                    <a:gd name="connsiteX131" fmla="*/ 2198302 w 2283508"/>
                    <a:gd name="connsiteY131" fmla="*/ 336575 h 433169"/>
                    <a:gd name="connsiteX132" fmla="*/ 2124270 w 2283508"/>
                    <a:gd name="connsiteY132" fmla="*/ 336575 h 433169"/>
                    <a:gd name="connsiteX133" fmla="*/ 2133794 w 2283508"/>
                    <a:gd name="connsiteY133" fmla="*/ 368805 h 433169"/>
                    <a:gd name="connsiteX134" fmla="*/ 2159920 w 2283508"/>
                    <a:gd name="connsiteY134" fmla="*/ 380428 h 433169"/>
                    <a:gd name="connsiteX135" fmla="*/ 2192736 w 2283508"/>
                    <a:gd name="connsiteY135" fmla="*/ 368024 h 433169"/>
                    <a:gd name="connsiteX136" fmla="*/ 2192736 w 2283508"/>
                    <a:gd name="connsiteY136" fmla="*/ 377595 h 433169"/>
                    <a:gd name="connsiteX137" fmla="*/ 2158064 w 2283508"/>
                    <a:gd name="connsiteY137" fmla="*/ 388632 h 433169"/>
                    <a:gd name="connsiteX138" fmla="*/ 2126810 w 2283508"/>
                    <a:gd name="connsiteY138" fmla="*/ 374763 h 433169"/>
                    <a:gd name="connsiteX139" fmla="*/ 2114894 w 2283508"/>
                    <a:gd name="connsiteY139" fmla="*/ 335598 h 433169"/>
                    <a:gd name="connsiteX140" fmla="*/ 2127346 w 2283508"/>
                    <a:gd name="connsiteY140" fmla="*/ 298728 h 433169"/>
                    <a:gd name="connsiteX141" fmla="*/ 2159724 w 2283508"/>
                    <a:gd name="connsiteY141" fmla="*/ 283736 h 433169"/>
                    <a:gd name="connsiteX142" fmla="*/ 1910902 w 2283508"/>
                    <a:gd name="connsiteY142" fmla="*/ 283736 h 433169"/>
                    <a:gd name="connsiteX143" fmla="*/ 1934782 w 2283508"/>
                    <a:gd name="connsiteY143" fmla="*/ 293308 h 433169"/>
                    <a:gd name="connsiteX144" fmla="*/ 1943230 w 2283508"/>
                    <a:gd name="connsiteY144" fmla="*/ 321143 h 433169"/>
                    <a:gd name="connsiteX145" fmla="*/ 1943230 w 2283508"/>
                    <a:gd name="connsiteY145" fmla="*/ 386190 h 433169"/>
                    <a:gd name="connsiteX146" fmla="*/ 1934244 w 2283508"/>
                    <a:gd name="connsiteY146" fmla="*/ 386190 h 433169"/>
                    <a:gd name="connsiteX147" fmla="*/ 1934244 w 2283508"/>
                    <a:gd name="connsiteY147" fmla="*/ 366168 h 433169"/>
                    <a:gd name="connsiteX148" fmla="*/ 1933854 w 2283508"/>
                    <a:gd name="connsiteY148" fmla="*/ 366168 h 433169"/>
                    <a:gd name="connsiteX149" fmla="*/ 1919936 w 2283508"/>
                    <a:gd name="connsiteY149" fmla="*/ 382528 h 433169"/>
                    <a:gd name="connsiteX150" fmla="*/ 1899670 w 2283508"/>
                    <a:gd name="connsiteY150" fmla="*/ 388632 h 433169"/>
                    <a:gd name="connsiteX151" fmla="*/ 1877108 w 2283508"/>
                    <a:gd name="connsiteY151" fmla="*/ 380623 h 433169"/>
                    <a:gd name="connsiteX152" fmla="*/ 1868806 w 2283508"/>
                    <a:gd name="connsiteY152" fmla="*/ 360406 h 433169"/>
                    <a:gd name="connsiteX153" fmla="*/ 1903478 w 2283508"/>
                    <a:gd name="connsiteY153" fmla="*/ 328761 h 433169"/>
                    <a:gd name="connsiteX154" fmla="*/ 1934244 w 2283508"/>
                    <a:gd name="connsiteY154" fmla="*/ 324171 h 433169"/>
                    <a:gd name="connsiteX155" fmla="*/ 1910022 w 2283508"/>
                    <a:gd name="connsiteY155" fmla="*/ 291940 h 433169"/>
                    <a:gd name="connsiteX156" fmla="*/ 1877890 w 2283508"/>
                    <a:gd name="connsiteY156" fmla="*/ 305223 h 433169"/>
                    <a:gd name="connsiteX157" fmla="*/ 1877890 w 2283508"/>
                    <a:gd name="connsiteY157" fmla="*/ 294382 h 433169"/>
                    <a:gd name="connsiteX158" fmla="*/ 1892980 w 2283508"/>
                    <a:gd name="connsiteY158" fmla="*/ 286861 h 433169"/>
                    <a:gd name="connsiteX159" fmla="*/ 1910902 w 2283508"/>
                    <a:gd name="connsiteY159" fmla="*/ 283736 h 433169"/>
                    <a:gd name="connsiteX160" fmla="*/ 1739452 w 2283508"/>
                    <a:gd name="connsiteY160" fmla="*/ 283736 h 433169"/>
                    <a:gd name="connsiteX161" fmla="*/ 1763332 w 2283508"/>
                    <a:gd name="connsiteY161" fmla="*/ 293308 h 433169"/>
                    <a:gd name="connsiteX162" fmla="*/ 1771780 w 2283508"/>
                    <a:gd name="connsiteY162" fmla="*/ 321143 h 433169"/>
                    <a:gd name="connsiteX163" fmla="*/ 1771780 w 2283508"/>
                    <a:gd name="connsiteY163" fmla="*/ 386190 h 433169"/>
                    <a:gd name="connsiteX164" fmla="*/ 1762794 w 2283508"/>
                    <a:gd name="connsiteY164" fmla="*/ 386190 h 433169"/>
                    <a:gd name="connsiteX165" fmla="*/ 1762794 w 2283508"/>
                    <a:gd name="connsiteY165" fmla="*/ 366168 h 433169"/>
                    <a:gd name="connsiteX166" fmla="*/ 1762404 w 2283508"/>
                    <a:gd name="connsiteY166" fmla="*/ 366168 h 433169"/>
                    <a:gd name="connsiteX167" fmla="*/ 1748486 w 2283508"/>
                    <a:gd name="connsiteY167" fmla="*/ 382528 h 433169"/>
                    <a:gd name="connsiteX168" fmla="*/ 1728220 w 2283508"/>
                    <a:gd name="connsiteY168" fmla="*/ 388632 h 433169"/>
                    <a:gd name="connsiteX169" fmla="*/ 1705658 w 2283508"/>
                    <a:gd name="connsiteY169" fmla="*/ 380623 h 433169"/>
                    <a:gd name="connsiteX170" fmla="*/ 1697358 w 2283508"/>
                    <a:gd name="connsiteY170" fmla="*/ 360406 h 433169"/>
                    <a:gd name="connsiteX171" fmla="*/ 1732030 w 2283508"/>
                    <a:gd name="connsiteY171" fmla="*/ 328761 h 433169"/>
                    <a:gd name="connsiteX172" fmla="*/ 1762794 w 2283508"/>
                    <a:gd name="connsiteY172" fmla="*/ 324171 h 433169"/>
                    <a:gd name="connsiteX173" fmla="*/ 1738574 w 2283508"/>
                    <a:gd name="connsiteY173" fmla="*/ 291940 h 433169"/>
                    <a:gd name="connsiteX174" fmla="*/ 1706440 w 2283508"/>
                    <a:gd name="connsiteY174" fmla="*/ 305223 h 433169"/>
                    <a:gd name="connsiteX175" fmla="*/ 1706440 w 2283508"/>
                    <a:gd name="connsiteY175" fmla="*/ 294382 h 433169"/>
                    <a:gd name="connsiteX176" fmla="*/ 1721530 w 2283508"/>
                    <a:gd name="connsiteY176" fmla="*/ 286861 h 433169"/>
                    <a:gd name="connsiteX177" fmla="*/ 1739452 w 2283508"/>
                    <a:gd name="connsiteY177" fmla="*/ 283736 h 433169"/>
                    <a:gd name="connsiteX178" fmla="*/ 1548952 w 2283508"/>
                    <a:gd name="connsiteY178" fmla="*/ 283736 h 433169"/>
                    <a:gd name="connsiteX179" fmla="*/ 1572832 w 2283508"/>
                    <a:gd name="connsiteY179" fmla="*/ 293308 h 433169"/>
                    <a:gd name="connsiteX180" fmla="*/ 1581280 w 2283508"/>
                    <a:gd name="connsiteY180" fmla="*/ 321143 h 433169"/>
                    <a:gd name="connsiteX181" fmla="*/ 1581280 w 2283508"/>
                    <a:gd name="connsiteY181" fmla="*/ 386190 h 433169"/>
                    <a:gd name="connsiteX182" fmla="*/ 1572294 w 2283508"/>
                    <a:gd name="connsiteY182" fmla="*/ 386190 h 433169"/>
                    <a:gd name="connsiteX183" fmla="*/ 1572294 w 2283508"/>
                    <a:gd name="connsiteY183" fmla="*/ 366168 h 433169"/>
                    <a:gd name="connsiteX184" fmla="*/ 1571904 w 2283508"/>
                    <a:gd name="connsiteY184" fmla="*/ 366168 h 433169"/>
                    <a:gd name="connsiteX185" fmla="*/ 1557986 w 2283508"/>
                    <a:gd name="connsiteY185" fmla="*/ 382528 h 433169"/>
                    <a:gd name="connsiteX186" fmla="*/ 1537720 w 2283508"/>
                    <a:gd name="connsiteY186" fmla="*/ 388632 h 433169"/>
                    <a:gd name="connsiteX187" fmla="*/ 1515158 w 2283508"/>
                    <a:gd name="connsiteY187" fmla="*/ 380623 h 433169"/>
                    <a:gd name="connsiteX188" fmla="*/ 1506856 w 2283508"/>
                    <a:gd name="connsiteY188" fmla="*/ 360406 h 433169"/>
                    <a:gd name="connsiteX189" fmla="*/ 1541530 w 2283508"/>
                    <a:gd name="connsiteY189" fmla="*/ 328761 h 433169"/>
                    <a:gd name="connsiteX190" fmla="*/ 1572294 w 2283508"/>
                    <a:gd name="connsiteY190" fmla="*/ 324171 h 433169"/>
                    <a:gd name="connsiteX191" fmla="*/ 1548074 w 2283508"/>
                    <a:gd name="connsiteY191" fmla="*/ 291940 h 433169"/>
                    <a:gd name="connsiteX192" fmla="*/ 1515940 w 2283508"/>
                    <a:gd name="connsiteY192" fmla="*/ 305223 h 433169"/>
                    <a:gd name="connsiteX193" fmla="*/ 1515940 w 2283508"/>
                    <a:gd name="connsiteY193" fmla="*/ 294382 h 433169"/>
                    <a:gd name="connsiteX194" fmla="*/ 1531030 w 2283508"/>
                    <a:gd name="connsiteY194" fmla="*/ 286861 h 433169"/>
                    <a:gd name="connsiteX195" fmla="*/ 1548952 w 2283508"/>
                    <a:gd name="connsiteY195" fmla="*/ 283736 h 433169"/>
                    <a:gd name="connsiteX196" fmla="*/ 1196526 w 2283508"/>
                    <a:gd name="connsiteY196" fmla="*/ 283736 h 433169"/>
                    <a:gd name="connsiteX197" fmla="*/ 1220406 w 2283508"/>
                    <a:gd name="connsiteY197" fmla="*/ 293308 h 433169"/>
                    <a:gd name="connsiteX198" fmla="*/ 1228856 w 2283508"/>
                    <a:gd name="connsiteY198" fmla="*/ 321143 h 433169"/>
                    <a:gd name="connsiteX199" fmla="*/ 1228856 w 2283508"/>
                    <a:gd name="connsiteY199" fmla="*/ 386190 h 433169"/>
                    <a:gd name="connsiteX200" fmla="*/ 1219870 w 2283508"/>
                    <a:gd name="connsiteY200" fmla="*/ 386190 h 433169"/>
                    <a:gd name="connsiteX201" fmla="*/ 1219870 w 2283508"/>
                    <a:gd name="connsiteY201" fmla="*/ 366168 h 433169"/>
                    <a:gd name="connsiteX202" fmla="*/ 1219478 w 2283508"/>
                    <a:gd name="connsiteY202" fmla="*/ 366168 h 433169"/>
                    <a:gd name="connsiteX203" fmla="*/ 1205562 w 2283508"/>
                    <a:gd name="connsiteY203" fmla="*/ 382528 h 433169"/>
                    <a:gd name="connsiteX204" fmla="*/ 1185294 w 2283508"/>
                    <a:gd name="connsiteY204" fmla="*/ 388632 h 433169"/>
                    <a:gd name="connsiteX205" fmla="*/ 1162734 w 2283508"/>
                    <a:gd name="connsiteY205" fmla="*/ 380623 h 433169"/>
                    <a:gd name="connsiteX206" fmla="*/ 1154432 w 2283508"/>
                    <a:gd name="connsiteY206" fmla="*/ 360406 h 433169"/>
                    <a:gd name="connsiteX207" fmla="*/ 1189104 w 2283508"/>
                    <a:gd name="connsiteY207" fmla="*/ 328761 h 433169"/>
                    <a:gd name="connsiteX208" fmla="*/ 1219870 w 2283508"/>
                    <a:gd name="connsiteY208" fmla="*/ 324171 h 433169"/>
                    <a:gd name="connsiteX209" fmla="*/ 1195648 w 2283508"/>
                    <a:gd name="connsiteY209" fmla="*/ 291940 h 433169"/>
                    <a:gd name="connsiteX210" fmla="*/ 1163514 w 2283508"/>
                    <a:gd name="connsiteY210" fmla="*/ 305223 h 433169"/>
                    <a:gd name="connsiteX211" fmla="*/ 1163514 w 2283508"/>
                    <a:gd name="connsiteY211" fmla="*/ 294382 h 433169"/>
                    <a:gd name="connsiteX212" fmla="*/ 1178604 w 2283508"/>
                    <a:gd name="connsiteY212" fmla="*/ 286861 h 433169"/>
                    <a:gd name="connsiteX213" fmla="*/ 1196526 w 2283508"/>
                    <a:gd name="connsiteY213" fmla="*/ 283736 h 433169"/>
                    <a:gd name="connsiteX214" fmla="*/ 1079246 w 2283508"/>
                    <a:gd name="connsiteY214" fmla="*/ 283736 h 433169"/>
                    <a:gd name="connsiteX215" fmla="*/ 1101416 w 2283508"/>
                    <a:gd name="connsiteY215" fmla="*/ 288424 h 433169"/>
                    <a:gd name="connsiteX216" fmla="*/ 1101416 w 2283508"/>
                    <a:gd name="connsiteY216" fmla="*/ 298582 h 433169"/>
                    <a:gd name="connsiteX217" fmla="*/ 1077878 w 2283508"/>
                    <a:gd name="connsiteY217" fmla="*/ 291940 h 433169"/>
                    <a:gd name="connsiteX218" fmla="*/ 1049360 w 2283508"/>
                    <a:gd name="connsiteY218" fmla="*/ 304588 h 433169"/>
                    <a:gd name="connsiteX219" fmla="*/ 1038420 w 2283508"/>
                    <a:gd name="connsiteY219" fmla="*/ 337356 h 433169"/>
                    <a:gd name="connsiteX220" fmla="*/ 1048432 w 2283508"/>
                    <a:gd name="connsiteY220" fmla="*/ 368610 h 433169"/>
                    <a:gd name="connsiteX221" fmla="*/ 1074850 w 2283508"/>
                    <a:gd name="connsiteY221" fmla="*/ 380428 h 433169"/>
                    <a:gd name="connsiteX222" fmla="*/ 1101026 w 2283508"/>
                    <a:gd name="connsiteY222" fmla="*/ 372419 h 433169"/>
                    <a:gd name="connsiteX223" fmla="*/ 1101026 w 2283508"/>
                    <a:gd name="connsiteY223" fmla="*/ 381795 h 433169"/>
                    <a:gd name="connsiteX224" fmla="*/ 1074460 w 2283508"/>
                    <a:gd name="connsiteY224" fmla="*/ 388632 h 433169"/>
                    <a:gd name="connsiteX225" fmla="*/ 1041546 w 2283508"/>
                    <a:gd name="connsiteY225" fmla="*/ 374617 h 433169"/>
                    <a:gd name="connsiteX226" fmla="*/ 1029044 w 2283508"/>
                    <a:gd name="connsiteY226" fmla="*/ 337942 h 433169"/>
                    <a:gd name="connsiteX227" fmla="*/ 1043108 w 2283508"/>
                    <a:gd name="connsiteY227" fmla="*/ 298923 h 433169"/>
                    <a:gd name="connsiteX228" fmla="*/ 1079246 w 2283508"/>
                    <a:gd name="connsiteY228" fmla="*/ 283736 h 433169"/>
                    <a:gd name="connsiteX229" fmla="*/ 902424 w 2283508"/>
                    <a:gd name="connsiteY229" fmla="*/ 283736 h 433169"/>
                    <a:gd name="connsiteX230" fmla="*/ 931040 w 2283508"/>
                    <a:gd name="connsiteY230" fmla="*/ 296824 h 433169"/>
                    <a:gd name="connsiteX231" fmla="*/ 941004 w 2283508"/>
                    <a:gd name="connsiteY231" fmla="*/ 332570 h 433169"/>
                    <a:gd name="connsiteX232" fmla="*/ 941004 w 2283508"/>
                    <a:gd name="connsiteY232" fmla="*/ 336575 h 433169"/>
                    <a:gd name="connsiteX233" fmla="*/ 866970 w 2283508"/>
                    <a:gd name="connsiteY233" fmla="*/ 336575 h 433169"/>
                    <a:gd name="connsiteX234" fmla="*/ 876494 w 2283508"/>
                    <a:gd name="connsiteY234" fmla="*/ 368805 h 433169"/>
                    <a:gd name="connsiteX235" fmla="*/ 902620 w 2283508"/>
                    <a:gd name="connsiteY235" fmla="*/ 380428 h 433169"/>
                    <a:gd name="connsiteX236" fmla="*/ 935436 w 2283508"/>
                    <a:gd name="connsiteY236" fmla="*/ 368024 h 433169"/>
                    <a:gd name="connsiteX237" fmla="*/ 935436 w 2283508"/>
                    <a:gd name="connsiteY237" fmla="*/ 377595 h 433169"/>
                    <a:gd name="connsiteX238" fmla="*/ 900764 w 2283508"/>
                    <a:gd name="connsiteY238" fmla="*/ 388632 h 433169"/>
                    <a:gd name="connsiteX239" fmla="*/ 869510 w 2283508"/>
                    <a:gd name="connsiteY239" fmla="*/ 374763 h 433169"/>
                    <a:gd name="connsiteX240" fmla="*/ 857594 w 2283508"/>
                    <a:gd name="connsiteY240" fmla="*/ 335598 h 433169"/>
                    <a:gd name="connsiteX241" fmla="*/ 870046 w 2283508"/>
                    <a:gd name="connsiteY241" fmla="*/ 298728 h 433169"/>
                    <a:gd name="connsiteX242" fmla="*/ 902424 w 2283508"/>
                    <a:gd name="connsiteY242" fmla="*/ 283736 h 433169"/>
                    <a:gd name="connsiteX243" fmla="*/ 742844 w 2283508"/>
                    <a:gd name="connsiteY243" fmla="*/ 283736 h 433169"/>
                    <a:gd name="connsiteX244" fmla="*/ 761546 w 2283508"/>
                    <a:gd name="connsiteY244" fmla="*/ 290036 h 433169"/>
                    <a:gd name="connsiteX245" fmla="*/ 772046 w 2283508"/>
                    <a:gd name="connsiteY245" fmla="*/ 306590 h 433169"/>
                    <a:gd name="connsiteX246" fmla="*/ 785476 w 2283508"/>
                    <a:gd name="connsiteY246" fmla="*/ 289743 h 433169"/>
                    <a:gd name="connsiteX247" fmla="*/ 804472 w 2283508"/>
                    <a:gd name="connsiteY247" fmla="*/ 283736 h 433169"/>
                    <a:gd name="connsiteX248" fmla="*/ 837288 w 2283508"/>
                    <a:gd name="connsiteY248" fmla="*/ 324366 h 433169"/>
                    <a:gd name="connsiteX249" fmla="*/ 837288 w 2283508"/>
                    <a:gd name="connsiteY249" fmla="*/ 386190 h 433169"/>
                    <a:gd name="connsiteX250" fmla="*/ 828302 w 2283508"/>
                    <a:gd name="connsiteY250" fmla="*/ 386190 h 433169"/>
                    <a:gd name="connsiteX251" fmla="*/ 828302 w 2283508"/>
                    <a:gd name="connsiteY251" fmla="*/ 326026 h 433169"/>
                    <a:gd name="connsiteX252" fmla="*/ 822394 w 2283508"/>
                    <a:gd name="connsiteY252" fmla="*/ 299558 h 433169"/>
                    <a:gd name="connsiteX253" fmla="*/ 803690 w 2283508"/>
                    <a:gd name="connsiteY253" fmla="*/ 291940 h 433169"/>
                    <a:gd name="connsiteX254" fmla="*/ 783278 w 2283508"/>
                    <a:gd name="connsiteY254" fmla="*/ 302098 h 433169"/>
                    <a:gd name="connsiteX255" fmla="*/ 774682 w 2283508"/>
                    <a:gd name="connsiteY255" fmla="*/ 327589 h 433169"/>
                    <a:gd name="connsiteX256" fmla="*/ 774682 w 2283508"/>
                    <a:gd name="connsiteY256" fmla="*/ 386190 h 433169"/>
                    <a:gd name="connsiteX257" fmla="*/ 765698 w 2283508"/>
                    <a:gd name="connsiteY257" fmla="*/ 386190 h 433169"/>
                    <a:gd name="connsiteX258" fmla="*/ 765698 w 2283508"/>
                    <a:gd name="connsiteY258" fmla="*/ 325343 h 433169"/>
                    <a:gd name="connsiteX259" fmla="*/ 740304 w 2283508"/>
                    <a:gd name="connsiteY259" fmla="*/ 291940 h 433169"/>
                    <a:gd name="connsiteX260" fmla="*/ 719988 w 2283508"/>
                    <a:gd name="connsiteY260" fmla="*/ 302147 h 433169"/>
                    <a:gd name="connsiteX261" fmla="*/ 711882 w 2283508"/>
                    <a:gd name="connsiteY261" fmla="*/ 328566 h 433169"/>
                    <a:gd name="connsiteX262" fmla="*/ 711882 w 2283508"/>
                    <a:gd name="connsiteY262" fmla="*/ 386190 h 433169"/>
                    <a:gd name="connsiteX263" fmla="*/ 702896 w 2283508"/>
                    <a:gd name="connsiteY263" fmla="*/ 386190 h 433169"/>
                    <a:gd name="connsiteX264" fmla="*/ 702896 w 2283508"/>
                    <a:gd name="connsiteY264" fmla="*/ 286178 h 433169"/>
                    <a:gd name="connsiteX265" fmla="*/ 711882 w 2283508"/>
                    <a:gd name="connsiteY265" fmla="*/ 286178 h 433169"/>
                    <a:gd name="connsiteX266" fmla="*/ 711882 w 2283508"/>
                    <a:gd name="connsiteY266" fmla="*/ 302781 h 433169"/>
                    <a:gd name="connsiteX267" fmla="*/ 712272 w 2283508"/>
                    <a:gd name="connsiteY267" fmla="*/ 302781 h 433169"/>
                    <a:gd name="connsiteX268" fmla="*/ 742844 w 2283508"/>
                    <a:gd name="connsiteY268" fmla="*/ 283736 h 433169"/>
                    <a:gd name="connsiteX269" fmla="*/ 580918 w 2283508"/>
                    <a:gd name="connsiteY269" fmla="*/ 283736 h 433169"/>
                    <a:gd name="connsiteX270" fmla="*/ 599622 w 2283508"/>
                    <a:gd name="connsiteY270" fmla="*/ 290036 h 433169"/>
                    <a:gd name="connsiteX271" fmla="*/ 610120 w 2283508"/>
                    <a:gd name="connsiteY271" fmla="*/ 306590 h 433169"/>
                    <a:gd name="connsiteX272" fmla="*/ 623550 w 2283508"/>
                    <a:gd name="connsiteY272" fmla="*/ 289743 h 433169"/>
                    <a:gd name="connsiteX273" fmla="*/ 642546 w 2283508"/>
                    <a:gd name="connsiteY273" fmla="*/ 283736 h 433169"/>
                    <a:gd name="connsiteX274" fmla="*/ 675364 w 2283508"/>
                    <a:gd name="connsiteY274" fmla="*/ 324366 h 433169"/>
                    <a:gd name="connsiteX275" fmla="*/ 675364 w 2283508"/>
                    <a:gd name="connsiteY275" fmla="*/ 386190 h 433169"/>
                    <a:gd name="connsiteX276" fmla="*/ 666378 w 2283508"/>
                    <a:gd name="connsiteY276" fmla="*/ 386190 h 433169"/>
                    <a:gd name="connsiteX277" fmla="*/ 666378 w 2283508"/>
                    <a:gd name="connsiteY277" fmla="*/ 326026 h 433169"/>
                    <a:gd name="connsiteX278" fmla="*/ 660470 w 2283508"/>
                    <a:gd name="connsiteY278" fmla="*/ 299558 h 433169"/>
                    <a:gd name="connsiteX279" fmla="*/ 641766 w 2283508"/>
                    <a:gd name="connsiteY279" fmla="*/ 291940 h 433169"/>
                    <a:gd name="connsiteX280" fmla="*/ 621352 w 2283508"/>
                    <a:gd name="connsiteY280" fmla="*/ 302098 h 433169"/>
                    <a:gd name="connsiteX281" fmla="*/ 612758 w 2283508"/>
                    <a:gd name="connsiteY281" fmla="*/ 327589 h 433169"/>
                    <a:gd name="connsiteX282" fmla="*/ 612758 w 2283508"/>
                    <a:gd name="connsiteY282" fmla="*/ 386190 h 433169"/>
                    <a:gd name="connsiteX283" fmla="*/ 603772 w 2283508"/>
                    <a:gd name="connsiteY283" fmla="*/ 386190 h 433169"/>
                    <a:gd name="connsiteX284" fmla="*/ 603772 w 2283508"/>
                    <a:gd name="connsiteY284" fmla="*/ 325343 h 433169"/>
                    <a:gd name="connsiteX285" fmla="*/ 578378 w 2283508"/>
                    <a:gd name="connsiteY285" fmla="*/ 291940 h 433169"/>
                    <a:gd name="connsiteX286" fmla="*/ 558064 w 2283508"/>
                    <a:gd name="connsiteY286" fmla="*/ 302147 h 433169"/>
                    <a:gd name="connsiteX287" fmla="*/ 549958 w 2283508"/>
                    <a:gd name="connsiteY287" fmla="*/ 328566 h 433169"/>
                    <a:gd name="connsiteX288" fmla="*/ 549958 w 2283508"/>
                    <a:gd name="connsiteY288" fmla="*/ 386190 h 433169"/>
                    <a:gd name="connsiteX289" fmla="*/ 540972 w 2283508"/>
                    <a:gd name="connsiteY289" fmla="*/ 386190 h 433169"/>
                    <a:gd name="connsiteX290" fmla="*/ 540972 w 2283508"/>
                    <a:gd name="connsiteY290" fmla="*/ 286178 h 433169"/>
                    <a:gd name="connsiteX291" fmla="*/ 549958 w 2283508"/>
                    <a:gd name="connsiteY291" fmla="*/ 286178 h 433169"/>
                    <a:gd name="connsiteX292" fmla="*/ 549958 w 2283508"/>
                    <a:gd name="connsiteY292" fmla="*/ 302781 h 433169"/>
                    <a:gd name="connsiteX293" fmla="*/ 550348 w 2283508"/>
                    <a:gd name="connsiteY293" fmla="*/ 302781 h 433169"/>
                    <a:gd name="connsiteX294" fmla="*/ 580918 w 2283508"/>
                    <a:gd name="connsiteY294" fmla="*/ 283736 h 433169"/>
                    <a:gd name="connsiteX295" fmla="*/ 467888 w 2283508"/>
                    <a:gd name="connsiteY295" fmla="*/ 283736 h 433169"/>
                    <a:gd name="connsiteX296" fmla="*/ 501682 w 2283508"/>
                    <a:gd name="connsiteY296" fmla="*/ 297703 h 433169"/>
                    <a:gd name="connsiteX297" fmla="*/ 514086 w 2283508"/>
                    <a:gd name="connsiteY297" fmla="*/ 336379 h 433169"/>
                    <a:gd name="connsiteX298" fmla="*/ 501436 w 2283508"/>
                    <a:gd name="connsiteY298" fmla="*/ 374177 h 433169"/>
                    <a:gd name="connsiteX299" fmla="*/ 466814 w 2283508"/>
                    <a:gd name="connsiteY299" fmla="*/ 388632 h 433169"/>
                    <a:gd name="connsiteX300" fmla="*/ 432190 w 2283508"/>
                    <a:gd name="connsiteY300" fmla="*/ 374226 h 433169"/>
                    <a:gd name="connsiteX301" fmla="*/ 419444 w 2283508"/>
                    <a:gd name="connsiteY301" fmla="*/ 336770 h 433169"/>
                    <a:gd name="connsiteX302" fmla="*/ 432776 w 2283508"/>
                    <a:gd name="connsiteY302" fmla="*/ 297800 h 433169"/>
                    <a:gd name="connsiteX303" fmla="*/ 467888 w 2283508"/>
                    <a:gd name="connsiteY303" fmla="*/ 283736 h 433169"/>
                    <a:gd name="connsiteX304" fmla="*/ 383920 w 2283508"/>
                    <a:gd name="connsiteY304" fmla="*/ 283736 h 433169"/>
                    <a:gd name="connsiteX305" fmla="*/ 406092 w 2283508"/>
                    <a:gd name="connsiteY305" fmla="*/ 288424 h 433169"/>
                    <a:gd name="connsiteX306" fmla="*/ 406092 w 2283508"/>
                    <a:gd name="connsiteY306" fmla="*/ 298582 h 433169"/>
                    <a:gd name="connsiteX307" fmla="*/ 382554 w 2283508"/>
                    <a:gd name="connsiteY307" fmla="*/ 291940 h 433169"/>
                    <a:gd name="connsiteX308" fmla="*/ 354034 w 2283508"/>
                    <a:gd name="connsiteY308" fmla="*/ 304588 h 433169"/>
                    <a:gd name="connsiteX309" fmla="*/ 343096 w 2283508"/>
                    <a:gd name="connsiteY309" fmla="*/ 337356 h 433169"/>
                    <a:gd name="connsiteX310" fmla="*/ 353106 w 2283508"/>
                    <a:gd name="connsiteY310" fmla="*/ 368610 h 433169"/>
                    <a:gd name="connsiteX311" fmla="*/ 379526 w 2283508"/>
                    <a:gd name="connsiteY311" fmla="*/ 380428 h 433169"/>
                    <a:gd name="connsiteX312" fmla="*/ 405700 w 2283508"/>
                    <a:gd name="connsiteY312" fmla="*/ 372419 h 433169"/>
                    <a:gd name="connsiteX313" fmla="*/ 405700 w 2283508"/>
                    <a:gd name="connsiteY313" fmla="*/ 381795 h 433169"/>
                    <a:gd name="connsiteX314" fmla="*/ 379136 w 2283508"/>
                    <a:gd name="connsiteY314" fmla="*/ 388632 h 433169"/>
                    <a:gd name="connsiteX315" fmla="*/ 346220 w 2283508"/>
                    <a:gd name="connsiteY315" fmla="*/ 374617 h 433169"/>
                    <a:gd name="connsiteX316" fmla="*/ 333720 w 2283508"/>
                    <a:gd name="connsiteY316" fmla="*/ 337942 h 433169"/>
                    <a:gd name="connsiteX317" fmla="*/ 347784 w 2283508"/>
                    <a:gd name="connsiteY317" fmla="*/ 298923 h 433169"/>
                    <a:gd name="connsiteX318" fmla="*/ 383920 w 2283508"/>
                    <a:gd name="connsiteY318" fmla="*/ 283736 h 433169"/>
                    <a:gd name="connsiteX319" fmla="*/ 216624 w 2283508"/>
                    <a:gd name="connsiteY319" fmla="*/ 283736 h 433169"/>
                    <a:gd name="connsiteX320" fmla="*/ 245240 w 2283508"/>
                    <a:gd name="connsiteY320" fmla="*/ 296824 h 433169"/>
                    <a:gd name="connsiteX321" fmla="*/ 255204 w 2283508"/>
                    <a:gd name="connsiteY321" fmla="*/ 332570 h 433169"/>
                    <a:gd name="connsiteX322" fmla="*/ 255204 w 2283508"/>
                    <a:gd name="connsiteY322" fmla="*/ 336575 h 433169"/>
                    <a:gd name="connsiteX323" fmla="*/ 181170 w 2283508"/>
                    <a:gd name="connsiteY323" fmla="*/ 336575 h 433169"/>
                    <a:gd name="connsiteX324" fmla="*/ 190694 w 2283508"/>
                    <a:gd name="connsiteY324" fmla="*/ 368805 h 433169"/>
                    <a:gd name="connsiteX325" fmla="*/ 216820 w 2283508"/>
                    <a:gd name="connsiteY325" fmla="*/ 380428 h 433169"/>
                    <a:gd name="connsiteX326" fmla="*/ 249636 w 2283508"/>
                    <a:gd name="connsiteY326" fmla="*/ 368024 h 433169"/>
                    <a:gd name="connsiteX327" fmla="*/ 249636 w 2283508"/>
                    <a:gd name="connsiteY327" fmla="*/ 377595 h 433169"/>
                    <a:gd name="connsiteX328" fmla="*/ 214964 w 2283508"/>
                    <a:gd name="connsiteY328" fmla="*/ 388632 h 433169"/>
                    <a:gd name="connsiteX329" fmla="*/ 183710 w 2283508"/>
                    <a:gd name="connsiteY329" fmla="*/ 374763 h 433169"/>
                    <a:gd name="connsiteX330" fmla="*/ 171794 w 2283508"/>
                    <a:gd name="connsiteY330" fmla="*/ 335598 h 433169"/>
                    <a:gd name="connsiteX331" fmla="*/ 184246 w 2283508"/>
                    <a:gd name="connsiteY331" fmla="*/ 298728 h 433169"/>
                    <a:gd name="connsiteX332" fmla="*/ 216624 w 2283508"/>
                    <a:gd name="connsiteY332" fmla="*/ 283736 h 433169"/>
                    <a:gd name="connsiteX333" fmla="*/ 1802666 w 2283508"/>
                    <a:gd name="connsiteY333" fmla="*/ 246134 h 433169"/>
                    <a:gd name="connsiteX334" fmla="*/ 1807990 w 2283508"/>
                    <a:gd name="connsiteY334" fmla="*/ 248087 h 433169"/>
                    <a:gd name="connsiteX335" fmla="*/ 1810284 w 2283508"/>
                    <a:gd name="connsiteY335" fmla="*/ 253361 h 433169"/>
                    <a:gd name="connsiteX336" fmla="*/ 1808038 w 2283508"/>
                    <a:gd name="connsiteY336" fmla="*/ 258733 h 433169"/>
                    <a:gd name="connsiteX337" fmla="*/ 1802666 w 2283508"/>
                    <a:gd name="connsiteY337" fmla="*/ 260979 h 433169"/>
                    <a:gd name="connsiteX338" fmla="*/ 1797490 w 2283508"/>
                    <a:gd name="connsiteY338" fmla="*/ 258831 h 433169"/>
                    <a:gd name="connsiteX339" fmla="*/ 1795244 w 2283508"/>
                    <a:gd name="connsiteY339" fmla="*/ 253361 h 433169"/>
                    <a:gd name="connsiteX340" fmla="*/ 1797538 w 2283508"/>
                    <a:gd name="connsiteY340" fmla="*/ 248136 h 433169"/>
                    <a:gd name="connsiteX341" fmla="*/ 1802666 w 2283508"/>
                    <a:gd name="connsiteY341" fmla="*/ 246134 h 433169"/>
                    <a:gd name="connsiteX342" fmla="*/ 1126392 w 2283508"/>
                    <a:gd name="connsiteY342" fmla="*/ 246134 h 433169"/>
                    <a:gd name="connsiteX343" fmla="*/ 1131714 w 2283508"/>
                    <a:gd name="connsiteY343" fmla="*/ 248087 h 433169"/>
                    <a:gd name="connsiteX344" fmla="*/ 1134010 w 2283508"/>
                    <a:gd name="connsiteY344" fmla="*/ 253361 h 433169"/>
                    <a:gd name="connsiteX345" fmla="*/ 1131764 w 2283508"/>
                    <a:gd name="connsiteY345" fmla="*/ 258733 h 433169"/>
                    <a:gd name="connsiteX346" fmla="*/ 1126392 w 2283508"/>
                    <a:gd name="connsiteY346" fmla="*/ 260979 h 433169"/>
                    <a:gd name="connsiteX347" fmla="*/ 1121216 w 2283508"/>
                    <a:gd name="connsiteY347" fmla="*/ 258831 h 433169"/>
                    <a:gd name="connsiteX348" fmla="*/ 1118970 w 2283508"/>
                    <a:gd name="connsiteY348" fmla="*/ 253361 h 433169"/>
                    <a:gd name="connsiteX349" fmla="*/ 1121264 w 2283508"/>
                    <a:gd name="connsiteY349" fmla="*/ 248136 h 433169"/>
                    <a:gd name="connsiteX350" fmla="*/ 1126392 w 2283508"/>
                    <a:gd name="connsiteY350" fmla="*/ 246134 h 433169"/>
                    <a:gd name="connsiteX351" fmla="*/ 2084022 w 2283508"/>
                    <a:gd name="connsiteY351" fmla="*/ 238125 h 433169"/>
                    <a:gd name="connsiteX352" fmla="*/ 2093006 w 2283508"/>
                    <a:gd name="connsiteY352" fmla="*/ 238125 h 433169"/>
                    <a:gd name="connsiteX353" fmla="*/ 2093006 w 2283508"/>
                    <a:gd name="connsiteY353" fmla="*/ 386190 h 433169"/>
                    <a:gd name="connsiteX354" fmla="*/ 2084022 w 2283508"/>
                    <a:gd name="connsiteY354" fmla="*/ 386190 h 433169"/>
                    <a:gd name="connsiteX355" fmla="*/ 1969722 w 2283508"/>
                    <a:gd name="connsiteY355" fmla="*/ 238125 h 433169"/>
                    <a:gd name="connsiteX356" fmla="*/ 1978706 w 2283508"/>
                    <a:gd name="connsiteY356" fmla="*/ 238125 h 433169"/>
                    <a:gd name="connsiteX357" fmla="*/ 1978706 w 2283508"/>
                    <a:gd name="connsiteY357" fmla="*/ 306786 h 433169"/>
                    <a:gd name="connsiteX358" fmla="*/ 1979098 w 2283508"/>
                    <a:gd name="connsiteY358" fmla="*/ 306786 h 433169"/>
                    <a:gd name="connsiteX359" fmla="*/ 1994480 w 2283508"/>
                    <a:gd name="connsiteY359" fmla="*/ 289743 h 433169"/>
                    <a:gd name="connsiteX360" fmla="*/ 2016504 w 2283508"/>
                    <a:gd name="connsiteY360" fmla="*/ 283736 h 433169"/>
                    <a:gd name="connsiteX361" fmla="*/ 2046244 w 2283508"/>
                    <a:gd name="connsiteY361" fmla="*/ 296872 h 433169"/>
                    <a:gd name="connsiteX362" fmla="*/ 2056940 w 2283508"/>
                    <a:gd name="connsiteY362" fmla="*/ 332570 h 433169"/>
                    <a:gd name="connsiteX363" fmla="*/ 2044536 w 2283508"/>
                    <a:gd name="connsiteY363" fmla="*/ 373151 h 433169"/>
                    <a:gd name="connsiteX364" fmla="*/ 2012306 w 2283508"/>
                    <a:gd name="connsiteY364" fmla="*/ 388632 h 433169"/>
                    <a:gd name="connsiteX365" fmla="*/ 1979098 w 2283508"/>
                    <a:gd name="connsiteY365" fmla="*/ 368415 h 433169"/>
                    <a:gd name="connsiteX366" fmla="*/ 1978706 w 2283508"/>
                    <a:gd name="connsiteY366" fmla="*/ 368415 h 433169"/>
                    <a:gd name="connsiteX367" fmla="*/ 1978706 w 2283508"/>
                    <a:gd name="connsiteY367" fmla="*/ 386190 h 433169"/>
                    <a:gd name="connsiteX368" fmla="*/ 1969722 w 2283508"/>
                    <a:gd name="connsiteY368" fmla="*/ 386190 h 433169"/>
                    <a:gd name="connsiteX369" fmla="*/ 1836372 w 2283508"/>
                    <a:gd name="connsiteY369" fmla="*/ 238125 h 433169"/>
                    <a:gd name="connsiteX370" fmla="*/ 1845358 w 2283508"/>
                    <a:gd name="connsiteY370" fmla="*/ 238125 h 433169"/>
                    <a:gd name="connsiteX371" fmla="*/ 1845358 w 2283508"/>
                    <a:gd name="connsiteY371" fmla="*/ 386190 h 433169"/>
                    <a:gd name="connsiteX372" fmla="*/ 1836372 w 2283508"/>
                    <a:gd name="connsiteY372" fmla="*/ 386190 h 433169"/>
                    <a:gd name="connsiteX373" fmla="*/ 1293446 w 2283508"/>
                    <a:gd name="connsiteY373" fmla="*/ 238125 h 433169"/>
                    <a:gd name="connsiteX374" fmla="*/ 1302432 w 2283508"/>
                    <a:gd name="connsiteY374" fmla="*/ 238125 h 433169"/>
                    <a:gd name="connsiteX375" fmla="*/ 1302432 w 2283508"/>
                    <a:gd name="connsiteY375" fmla="*/ 386190 h 433169"/>
                    <a:gd name="connsiteX376" fmla="*/ 1293446 w 2283508"/>
                    <a:gd name="connsiteY376" fmla="*/ 386190 h 433169"/>
                    <a:gd name="connsiteX377" fmla="*/ 1255346 w 2283508"/>
                    <a:gd name="connsiteY377" fmla="*/ 238125 h 433169"/>
                    <a:gd name="connsiteX378" fmla="*/ 1264332 w 2283508"/>
                    <a:gd name="connsiteY378" fmla="*/ 238125 h 433169"/>
                    <a:gd name="connsiteX379" fmla="*/ 1264332 w 2283508"/>
                    <a:gd name="connsiteY379" fmla="*/ 386190 h 433169"/>
                    <a:gd name="connsiteX380" fmla="*/ 1255346 w 2283508"/>
                    <a:gd name="connsiteY380" fmla="*/ 386190 h 433169"/>
                    <a:gd name="connsiteX381" fmla="*/ 69744 w 2283508"/>
                    <a:gd name="connsiteY381" fmla="*/ 232960 h 433169"/>
                    <a:gd name="connsiteX382" fmla="*/ 78728 w 2283508"/>
                    <a:gd name="connsiteY382" fmla="*/ 232960 h 433169"/>
                    <a:gd name="connsiteX383" fmla="*/ 78728 w 2283508"/>
                    <a:gd name="connsiteY383" fmla="*/ 301621 h 433169"/>
                    <a:gd name="connsiteX384" fmla="*/ 79120 w 2283508"/>
                    <a:gd name="connsiteY384" fmla="*/ 301621 h 433169"/>
                    <a:gd name="connsiteX385" fmla="*/ 94502 w 2283508"/>
                    <a:gd name="connsiteY385" fmla="*/ 284578 h 433169"/>
                    <a:gd name="connsiteX386" fmla="*/ 116526 w 2283508"/>
                    <a:gd name="connsiteY386" fmla="*/ 278571 h 433169"/>
                    <a:gd name="connsiteX387" fmla="*/ 146266 w 2283508"/>
                    <a:gd name="connsiteY387" fmla="*/ 291707 h 433169"/>
                    <a:gd name="connsiteX388" fmla="*/ 156962 w 2283508"/>
                    <a:gd name="connsiteY388" fmla="*/ 327405 h 433169"/>
                    <a:gd name="connsiteX389" fmla="*/ 144558 w 2283508"/>
                    <a:gd name="connsiteY389" fmla="*/ 367986 h 433169"/>
                    <a:gd name="connsiteX390" fmla="*/ 112328 w 2283508"/>
                    <a:gd name="connsiteY390" fmla="*/ 383467 h 433169"/>
                    <a:gd name="connsiteX391" fmla="*/ 79120 w 2283508"/>
                    <a:gd name="connsiteY391" fmla="*/ 363250 h 433169"/>
                    <a:gd name="connsiteX392" fmla="*/ 78728 w 2283508"/>
                    <a:gd name="connsiteY392" fmla="*/ 363250 h 433169"/>
                    <a:gd name="connsiteX393" fmla="*/ 78728 w 2283508"/>
                    <a:gd name="connsiteY393" fmla="*/ 381025 h 433169"/>
                    <a:gd name="connsiteX394" fmla="*/ 69744 w 2283508"/>
                    <a:gd name="connsiteY394" fmla="*/ 381025 h 433169"/>
                    <a:gd name="connsiteX395" fmla="*/ 676944 w 2283508"/>
                    <a:gd name="connsiteY395" fmla="*/ 94250 h 433169"/>
                    <a:gd name="connsiteX396" fmla="*/ 649402 w 2283508"/>
                    <a:gd name="connsiteY396" fmla="*/ 98254 h 433169"/>
                    <a:gd name="connsiteX397" fmla="*/ 627330 w 2283508"/>
                    <a:gd name="connsiteY397" fmla="*/ 105531 h 433169"/>
                    <a:gd name="connsiteX398" fmla="*/ 620980 w 2283508"/>
                    <a:gd name="connsiteY398" fmla="*/ 121890 h 433169"/>
                    <a:gd name="connsiteX399" fmla="*/ 626890 w 2283508"/>
                    <a:gd name="connsiteY399" fmla="*/ 136540 h 433169"/>
                    <a:gd name="connsiteX400" fmla="*/ 643346 w 2283508"/>
                    <a:gd name="connsiteY400" fmla="*/ 142303 h 433169"/>
                    <a:gd name="connsiteX401" fmla="*/ 667374 w 2283508"/>
                    <a:gd name="connsiteY401" fmla="*/ 131608 h 433169"/>
                    <a:gd name="connsiteX402" fmla="*/ 676944 w 2283508"/>
                    <a:gd name="connsiteY402" fmla="*/ 104017 h 433169"/>
                    <a:gd name="connsiteX403" fmla="*/ 419770 w 2283508"/>
                    <a:gd name="connsiteY403" fmla="*/ 94250 h 433169"/>
                    <a:gd name="connsiteX404" fmla="*/ 392228 w 2283508"/>
                    <a:gd name="connsiteY404" fmla="*/ 98254 h 433169"/>
                    <a:gd name="connsiteX405" fmla="*/ 370154 w 2283508"/>
                    <a:gd name="connsiteY405" fmla="*/ 105531 h 433169"/>
                    <a:gd name="connsiteX406" fmla="*/ 363806 w 2283508"/>
                    <a:gd name="connsiteY406" fmla="*/ 121890 h 433169"/>
                    <a:gd name="connsiteX407" fmla="*/ 369714 w 2283508"/>
                    <a:gd name="connsiteY407" fmla="*/ 136540 h 433169"/>
                    <a:gd name="connsiteX408" fmla="*/ 386172 w 2283508"/>
                    <a:gd name="connsiteY408" fmla="*/ 142303 h 433169"/>
                    <a:gd name="connsiteX409" fmla="*/ 410198 w 2283508"/>
                    <a:gd name="connsiteY409" fmla="*/ 131608 h 433169"/>
                    <a:gd name="connsiteX410" fmla="*/ 419770 w 2283508"/>
                    <a:gd name="connsiteY410" fmla="*/ 104017 h 433169"/>
                    <a:gd name="connsiteX411" fmla="*/ 1854534 w 2283508"/>
                    <a:gd name="connsiteY411" fmla="*/ 53815 h 433169"/>
                    <a:gd name="connsiteX412" fmla="*/ 1831240 w 2283508"/>
                    <a:gd name="connsiteY412" fmla="*/ 63240 h 433169"/>
                    <a:gd name="connsiteX413" fmla="*/ 1819862 w 2283508"/>
                    <a:gd name="connsiteY413" fmla="*/ 90246 h 433169"/>
                    <a:gd name="connsiteX414" fmla="*/ 1884126 w 2283508"/>
                    <a:gd name="connsiteY414" fmla="*/ 90246 h 433169"/>
                    <a:gd name="connsiteX415" fmla="*/ 1875826 w 2283508"/>
                    <a:gd name="connsiteY415" fmla="*/ 63387 h 433169"/>
                    <a:gd name="connsiteX416" fmla="*/ 1854534 w 2283508"/>
                    <a:gd name="connsiteY416" fmla="*/ 53815 h 433169"/>
                    <a:gd name="connsiteX417" fmla="*/ 1639072 w 2283508"/>
                    <a:gd name="connsiteY417" fmla="*/ 53815 h 433169"/>
                    <a:gd name="connsiteX418" fmla="*/ 1610894 w 2283508"/>
                    <a:gd name="connsiteY418" fmla="*/ 65731 h 433169"/>
                    <a:gd name="connsiteX419" fmla="*/ 1600396 w 2283508"/>
                    <a:gd name="connsiteY419" fmla="*/ 98840 h 433169"/>
                    <a:gd name="connsiteX420" fmla="*/ 1610650 w 2283508"/>
                    <a:gd name="connsiteY420" fmla="*/ 130387 h 433169"/>
                    <a:gd name="connsiteX421" fmla="*/ 1638682 w 2283508"/>
                    <a:gd name="connsiteY421" fmla="*/ 142303 h 433169"/>
                    <a:gd name="connsiteX422" fmla="*/ 1666516 w 2283508"/>
                    <a:gd name="connsiteY422" fmla="*/ 130583 h 433169"/>
                    <a:gd name="connsiteX423" fmla="*/ 1676284 w 2283508"/>
                    <a:gd name="connsiteY423" fmla="*/ 98059 h 433169"/>
                    <a:gd name="connsiteX424" fmla="*/ 1666566 w 2283508"/>
                    <a:gd name="connsiteY424" fmla="*/ 65242 h 433169"/>
                    <a:gd name="connsiteX425" fmla="*/ 1639072 w 2283508"/>
                    <a:gd name="connsiteY425" fmla="*/ 53815 h 433169"/>
                    <a:gd name="connsiteX426" fmla="*/ 1424782 w 2283508"/>
                    <a:gd name="connsiteY426" fmla="*/ 53815 h 433169"/>
                    <a:gd name="connsiteX427" fmla="*/ 1397728 w 2283508"/>
                    <a:gd name="connsiteY427" fmla="*/ 65535 h 433169"/>
                    <a:gd name="connsiteX428" fmla="*/ 1388158 w 2283508"/>
                    <a:gd name="connsiteY428" fmla="*/ 93078 h 433169"/>
                    <a:gd name="connsiteX429" fmla="*/ 1388158 w 2283508"/>
                    <a:gd name="connsiteY429" fmla="*/ 105677 h 433169"/>
                    <a:gd name="connsiteX430" fmla="*/ 1397630 w 2283508"/>
                    <a:gd name="connsiteY430" fmla="*/ 131510 h 433169"/>
                    <a:gd name="connsiteX431" fmla="*/ 1422536 w 2283508"/>
                    <a:gd name="connsiteY431" fmla="*/ 142303 h 433169"/>
                    <a:gd name="connsiteX432" fmla="*/ 1447442 w 2283508"/>
                    <a:gd name="connsiteY432" fmla="*/ 129166 h 433169"/>
                    <a:gd name="connsiteX433" fmla="*/ 1457014 w 2283508"/>
                    <a:gd name="connsiteY433" fmla="*/ 94641 h 433169"/>
                    <a:gd name="connsiteX434" fmla="*/ 1448224 w 2283508"/>
                    <a:gd name="connsiteY434" fmla="*/ 64852 h 433169"/>
                    <a:gd name="connsiteX435" fmla="*/ 1424782 w 2283508"/>
                    <a:gd name="connsiteY435" fmla="*/ 53815 h 433169"/>
                    <a:gd name="connsiteX436" fmla="*/ 1168734 w 2283508"/>
                    <a:gd name="connsiteY436" fmla="*/ 53815 h 433169"/>
                    <a:gd name="connsiteX437" fmla="*/ 1145440 w 2283508"/>
                    <a:gd name="connsiteY437" fmla="*/ 63240 h 433169"/>
                    <a:gd name="connsiteX438" fmla="*/ 1134062 w 2283508"/>
                    <a:gd name="connsiteY438" fmla="*/ 90246 h 433169"/>
                    <a:gd name="connsiteX439" fmla="*/ 1198326 w 2283508"/>
                    <a:gd name="connsiteY439" fmla="*/ 90246 h 433169"/>
                    <a:gd name="connsiteX440" fmla="*/ 1190026 w 2283508"/>
                    <a:gd name="connsiteY440" fmla="*/ 63387 h 433169"/>
                    <a:gd name="connsiteX441" fmla="*/ 1168734 w 2283508"/>
                    <a:gd name="connsiteY441" fmla="*/ 53815 h 433169"/>
                    <a:gd name="connsiteX442" fmla="*/ 902034 w 2283508"/>
                    <a:gd name="connsiteY442" fmla="*/ 53815 h 433169"/>
                    <a:gd name="connsiteX443" fmla="*/ 878740 w 2283508"/>
                    <a:gd name="connsiteY443" fmla="*/ 63240 h 433169"/>
                    <a:gd name="connsiteX444" fmla="*/ 867362 w 2283508"/>
                    <a:gd name="connsiteY444" fmla="*/ 90246 h 433169"/>
                    <a:gd name="connsiteX445" fmla="*/ 931626 w 2283508"/>
                    <a:gd name="connsiteY445" fmla="*/ 90246 h 433169"/>
                    <a:gd name="connsiteX446" fmla="*/ 923326 w 2283508"/>
                    <a:gd name="connsiteY446" fmla="*/ 63387 h 433169"/>
                    <a:gd name="connsiteX447" fmla="*/ 902034 w 2283508"/>
                    <a:gd name="connsiteY447" fmla="*/ 53815 h 433169"/>
                    <a:gd name="connsiteX448" fmla="*/ 758032 w 2283508"/>
                    <a:gd name="connsiteY448" fmla="*/ 53815 h 433169"/>
                    <a:gd name="connsiteX449" fmla="*/ 730978 w 2283508"/>
                    <a:gd name="connsiteY449" fmla="*/ 65535 h 433169"/>
                    <a:gd name="connsiteX450" fmla="*/ 721408 w 2283508"/>
                    <a:gd name="connsiteY450" fmla="*/ 93078 h 433169"/>
                    <a:gd name="connsiteX451" fmla="*/ 721408 w 2283508"/>
                    <a:gd name="connsiteY451" fmla="*/ 105677 h 433169"/>
                    <a:gd name="connsiteX452" fmla="*/ 730880 w 2283508"/>
                    <a:gd name="connsiteY452" fmla="*/ 131510 h 433169"/>
                    <a:gd name="connsiteX453" fmla="*/ 755786 w 2283508"/>
                    <a:gd name="connsiteY453" fmla="*/ 142303 h 433169"/>
                    <a:gd name="connsiteX454" fmla="*/ 780692 w 2283508"/>
                    <a:gd name="connsiteY454" fmla="*/ 129166 h 433169"/>
                    <a:gd name="connsiteX455" fmla="*/ 790264 w 2283508"/>
                    <a:gd name="connsiteY455" fmla="*/ 94641 h 433169"/>
                    <a:gd name="connsiteX456" fmla="*/ 781474 w 2283508"/>
                    <a:gd name="connsiteY456" fmla="*/ 64852 h 433169"/>
                    <a:gd name="connsiteX457" fmla="*/ 758032 w 2283508"/>
                    <a:gd name="connsiteY457" fmla="*/ 53815 h 433169"/>
                    <a:gd name="connsiteX458" fmla="*/ 253208 w 2283508"/>
                    <a:gd name="connsiteY458" fmla="*/ 53815 h 433169"/>
                    <a:gd name="connsiteX459" fmla="*/ 226154 w 2283508"/>
                    <a:gd name="connsiteY459" fmla="*/ 65535 h 433169"/>
                    <a:gd name="connsiteX460" fmla="*/ 216582 w 2283508"/>
                    <a:gd name="connsiteY460" fmla="*/ 93078 h 433169"/>
                    <a:gd name="connsiteX461" fmla="*/ 216582 w 2283508"/>
                    <a:gd name="connsiteY461" fmla="*/ 105677 h 433169"/>
                    <a:gd name="connsiteX462" fmla="*/ 226056 w 2283508"/>
                    <a:gd name="connsiteY462" fmla="*/ 131510 h 433169"/>
                    <a:gd name="connsiteX463" fmla="*/ 250962 w 2283508"/>
                    <a:gd name="connsiteY463" fmla="*/ 142303 h 433169"/>
                    <a:gd name="connsiteX464" fmla="*/ 275866 w 2283508"/>
                    <a:gd name="connsiteY464" fmla="*/ 129166 h 433169"/>
                    <a:gd name="connsiteX465" fmla="*/ 285438 w 2283508"/>
                    <a:gd name="connsiteY465" fmla="*/ 94641 h 433169"/>
                    <a:gd name="connsiteX466" fmla="*/ 276648 w 2283508"/>
                    <a:gd name="connsiteY466" fmla="*/ 64852 h 433169"/>
                    <a:gd name="connsiteX467" fmla="*/ 253208 w 2283508"/>
                    <a:gd name="connsiteY467" fmla="*/ 53815 h 433169"/>
                    <a:gd name="connsiteX468" fmla="*/ 2198322 w 2283508"/>
                    <a:gd name="connsiteY468" fmla="*/ 48053 h 433169"/>
                    <a:gd name="connsiteX469" fmla="*/ 2207306 w 2283508"/>
                    <a:gd name="connsiteY469" fmla="*/ 48053 h 433169"/>
                    <a:gd name="connsiteX470" fmla="*/ 2207306 w 2283508"/>
                    <a:gd name="connsiteY470" fmla="*/ 148065 h 433169"/>
                    <a:gd name="connsiteX471" fmla="*/ 2198322 w 2283508"/>
                    <a:gd name="connsiteY471" fmla="*/ 148065 h 433169"/>
                    <a:gd name="connsiteX472" fmla="*/ 2052568 w 2283508"/>
                    <a:gd name="connsiteY472" fmla="*/ 48053 h 433169"/>
                    <a:gd name="connsiteX473" fmla="*/ 2062530 w 2283508"/>
                    <a:gd name="connsiteY473" fmla="*/ 48053 h 433169"/>
                    <a:gd name="connsiteX474" fmla="*/ 2085774 w 2283508"/>
                    <a:gd name="connsiteY474" fmla="*/ 127848 h 433169"/>
                    <a:gd name="connsiteX475" fmla="*/ 2087142 w 2283508"/>
                    <a:gd name="connsiteY475" fmla="*/ 136247 h 433169"/>
                    <a:gd name="connsiteX476" fmla="*/ 2087924 w 2283508"/>
                    <a:gd name="connsiteY476" fmla="*/ 136247 h 433169"/>
                    <a:gd name="connsiteX477" fmla="*/ 2089780 w 2283508"/>
                    <a:gd name="connsiteY477" fmla="*/ 127848 h 433169"/>
                    <a:gd name="connsiteX478" fmla="*/ 2115174 w 2283508"/>
                    <a:gd name="connsiteY478" fmla="*/ 48053 h 433169"/>
                    <a:gd name="connsiteX479" fmla="*/ 2121326 w 2283508"/>
                    <a:gd name="connsiteY479" fmla="*/ 48053 h 433169"/>
                    <a:gd name="connsiteX480" fmla="*/ 2143986 w 2283508"/>
                    <a:gd name="connsiteY480" fmla="*/ 127848 h 433169"/>
                    <a:gd name="connsiteX481" fmla="*/ 2145352 w 2283508"/>
                    <a:gd name="connsiteY481" fmla="*/ 136247 h 433169"/>
                    <a:gd name="connsiteX482" fmla="*/ 2146134 w 2283508"/>
                    <a:gd name="connsiteY482" fmla="*/ 136247 h 433169"/>
                    <a:gd name="connsiteX483" fmla="*/ 2147794 w 2283508"/>
                    <a:gd name="connsiteY483" fmla="*/ 127848 h 433169"/>
                    <a:gd name="connsiteX484" fmla="*/ 2171528 w 2283508"/>
                    <a:gd name="connsiteY484" fmla="*/ 48053 h 433169"/>
                    <a:gd name="connsiteX485" fmla="*/ 2180806 w 2283508"/>
                    <a:gd name="connsiteY485" fmla="*/ 48053 h 433169"/>
                    <a:gd name="connsiteX486" fmla="*/ 2149748 w 2283508"/>
                    <a:gd name="connsiteY486" fmla="*/ 148065 h 433169"/>
                    <a:gd name="connsiteX487" fmla="*/ 2141348 w 2283508"/>
                    <a:gd name="connsiteY487" fmla="*/ 148065 h 433169"/>
                    <a:gd name="connsiteX488" fmla="*/ 2119568 w 2283508"/>
                    <a:gd name="connsiteY488" fmla="*/ 72665 h 433169"/>
                    <a:gd name="connsiteX489" fmla="*/ 2118006 w 2283508"/>
                    <a:gd name="connsiteY489" fmla="*/ 64266 h 433169"/>
                    <a:gd name="connsiteX490" fmla="*/ 2117518 w 2283508"/>
                    <a:gd name="connsiteY490" fmla="*/ 64266 h 433169"/>
                    <a:gd name="connsiteX491" fmla="*/ 2115564 w 2283508"/>
                    <a:gd name="connsiteY491" fmla="*/ 72470 h 433169"/>
                    <a:gd name="connsiteX492" fmla="*/ 2091146 w 2283508"/>
                    <a:gd name="connsiteY492" fmla="*/ 148065 h 433169"/>
                    <a:gd name="connsiteX493" fmla="*/ 2082748 w 2283508"/>
                    <a:gd name="connsiteY493" fmla="*/ 148065 h 433169"/>
                    <a:gd name="connsiteX494" fmla="*/ 1949638 w 2283508"/>
                    <a:gd name="connsiteY494" fmla="*/ 45611 h 433169"/>
                    <a:gd name="connsiteX495" fmla="*/ 1971712 w 2283508"/>
                    <a:gd name="connsiteY495" fmla="*/ 50885 h 433169"/>
                    <a:gd name="connsiteX496" fmla="*/ 1971712 w 2283508"/>
                    <a:gd name="connsiteY496" fmla="*/ 61043 h 433169"/>
                    <a:gd name="connsiteX497" fmla="*/ 1948662 w 2283508"/>
                    <a:gd name="connsiteY497" fmla="*/ 53815 h 433169"/>
                    <a:gd name="connsiteX498" fmla="*/ 1932742 w 2283508"/>
                    <a:gd name="connsiteY498" fmla="*/ 58943 h 433169"/>
                    <a:gd name="connsiteX499" fmla="*/ 1926686 w 2283508"/>
                    <a:gd name="connsiteY499" fmla="*/ 72275 h 433169"/>
                    <a:gd name="connsiteX500" fmla="*/ 1930496 w 2283508"/>
                    <a:gd name="connsiteY500" fmla="*/ 83848 h 433169"/>
                    <a:gd name="connsiteX501" fmla="*/ 1947294 w 2283508"/>
                    <a:gd name="connsiteY501" fmla="*/ 94055 h 433169"/>
                    <a:gd name="connsiteX502" fmla="*/ 1968782 w 2283508"/>
                    <a:gd name="connsiteY502" fmla="*/ 107093 h 433169"/>
                    <a:gd name="connsiteX503" fmla="*/ 1974642 w 2283508"/>
                    <a:gd name="connsiteY503" fmla="*/ 123062 h 433169"/>
                    <a:gd name="connsiteX504" fmla="*/ 1965706 w 2283508"/>
                    <a:gd name="connsiteY504" fmla="*/ 142742 h 433169"/>
                    <a:gd name="connsiteX505" fmla="*/ 1941044 w 2283508"/>
                    <a:gd name="connsiteY505" fmla="*/ 150507 h 433169"/>
                    <a:gd name="connsiteX506" fmla="*/ 1916920 w 2283508"/>
                    <a:gd name="connsiteY506" fmla="*/ 143670 h 433169"/>
                    <a:gd name="connsiteX507" fmla="*/ 1916920 w 2283508"/>
                    <a:gd name="connsiteY507" fmla="*/ 132829 h 433169"/>
                    <a:gd name="connsiteX508" fmla="*/ 1929226 w 2283508"/>
                    <a:gd name="connsiteY508" fmla="*/ 139763 h 433169"/>
                    <a:gd name="connsiteX509" fmla="*/ 1941728 w 2283508"/>
                    <a:gd name="connsiteY509" fmla="*/ 142303 h 433169"/>
                    <a:gd name="connsiteX510" fmla="*/ 1965266 w 2283508"/>
                    <a:gd name="connsiteY510" fmla="*/ 123062 h 433169"/>
                    <a:gd name="connsiteX511" fmla="*/ 1960090 w 2283508"/>
                    <a:gd name="connsiteY511" fmla="*/ 111733 h 433169"/>
                    <a:gd name="connsiteX512" fmla="*/ 1943290 w 2283508"/>
                    <a:gd name="connsiteY512" fmla="*/ 102063 h 433169"/>
                    <a:gd name="connsiteX513" fmla="*/ 1923122 w 2283508"/>
                    <a:gd name="connsiteY513" fmla="*/ 89122 h 433169"/>
                    <a:gd name="connsiteX514" fmla="*/ 1917310 w 2283508"/>
                    <a:gd name="connsiteY514" fmla="*/ 72861 h 433169"/>
                    <a:gd name="connsiteX515" fmla="*/ 1926638 w 2283508"/>
                    <a:gd name="connsiteY515" fmla="*/ 53132 h 433169"/>
                    <a:gd name="connsiteX516" fmla="*/ 1949638 w 2283508"/>
                    <a:gd name="connsiteY516" fmla="*/ 45611 h 433169"/>
                    <a:gd name="connsiteX517" fmla="*/ 1854924 w 2283508"/>
                    <a:gd name="connsiteY517" fmla="*/ 45611 h 433169"/>
                    <a:gd name="connsiteX518" fmla="*/ 1883540 w 2283508"/>
                    <a:gd name="connsiteY518" fmla="*/ 58699 h 433169"/>
                    <a:gd name="connsiteX519" fmla="*/ 1893502 w 2283508"/>
                    <a:gd name="connsiteY519" fmla="*/ 94445 h 433169"/>
                    <a:gd name="connsiteX520" fmla="*/ 1893502 w 2283508"/>
                    <a:gd name="connsiteY520" fmla="*/ 98450 h 433169"/>
                    <a:gd name="connsiteX521" fmla="*/ 1819470 w 2283508"/>
                    <a:gd name="connsiteY521" fmla="*/ 98450 h 433169"/>
                    <a:gd name="connsiteX522" fmla="*/ 1828994 w 2283508"/>
                    <a:gd name="connsiteY522" fmla="*/ 130680 h 433169"/>
                    <a:gd name="connsiteX523" fmla="*/ 1855120 w 2283508"/>
                    <a:gd name="connsiteY523" fmla="*/ 142303 h 433169"/>
                    <a:gd name="connsiteX524" fmla="*/ 1887936 w 2283508"/>
                    <a:gd name="connsiteY524" fmla="*/ 129899 h 433169"/>
                    <a:gd name="connsiteX525" fmla="*/ 1887936 w 2283508"/>
                    <a:gd name="connsiteY525" fmla="*/ 139470 h 433169"/>
                    <a:gd name="connsiteX526" fmla="*/ 1853264 w 2283508"/>
                    <a:gd name="connsiteY526" fmla="*/ 150507 h 433169"/>
                    <a:gd name="connsiteX527" fmla="*/ 1822010 w 2283508"/>
                    <a:gd name="connsiteY527" fmla="*/ 136638 h 433169"/>
                    <a:gd name="connsiteX528" fmla="*/ 1810094 w 2283508"/>
                    <a:gd name="connsiteY528" fmla="*/ 97473 h 433169"/>
                    <a:gd name="connsiteX529" fmla="*/ 1822546 w 2283508"/>
                    <a:gd name="connsiteY529" fmla="*/ 60603 h 433169"/>
                    <a:gd name="connsiteX530" fmla="*/ 1854924 w 2283508"/>
                    <a:gd name="connsiteY530" fmla="*/ 45611 h 433169"/>
                    <a:gd name="connsiteX531" fmla="*/ 1756106 w 2283508"/>
                    <a:gd name="connsiteY531" fmla="*/ 45611 h 433169"/>
                    <a:gd name="connsiteX532" fmla="*/ 1780914 w 2283508"/>
                    <a:gd name="connsiteY532" fmla="*/ 56403 h 433169"/>
                    <a:gd name="connsiteX533" fmla="*/ 1789510 w 2283508"/>
                    <a:gd name="connsiteY533" fmla="*/ 87218 h 433169"/>
                    <a:gd name="connsiteX534" fmla="*/ 1789510 w 2283508"/>
                    <a:gd name="connsiteY534" fmla="*/ 148065 h 433169"/>
                    <a:gd name="connsiteX535" fmla="*/ 1780524 w 2283508"/>
                    <a:gd name="connsiteY535" fmla="*/ 148065 h 433169"/>
                    <a:gd name="connsiteX536" fmla="*/ 1780524 w 2283508"/>
                    <a:gd name="connsiteY536" fmla="*/ 89855 h 433169"/>
                    <a:gd name="connsiteX537" fmla="*/ 1754544 w 2283508"/>
                    <a:gd name="connsiteY537" fmla="*/ 53815 h 433169"/>
                    <a:gd name="connsiteX538" fmla="*/ 1730810 w 2283508"/>
                    <a:gd name="connsiteY538" fmla="*/ 64412 h 433169"/>
                    <a:gd name="connsiteX539" fmla="*/ 1721532 w 2283508"/>
                    <a:gd name="connsiteY539" fmla="*/ 90636 h 433169"/>
                    <a:gd name="connsiteX540" fmla="*/ 1721532 w 2283508"/>
                    <a:gd name="connsiteY540" fmla="*/ 148065 h 433169"/>
                    <a:gd name="connsiteX541" fmla="*/ 1712546 w 2283508"/>
                    <a:gd name="connsiteY541" fmla="*/ 148065 h 433169"/>
                    <a:gd name="connsiteX542" fmla="*/ 1712546 w 2283508"/>
                    <a:gd name="connsiteY542" fmla="*/ 48053 h 433169"/>
                    <a:gd name="connsiteX543" fmla="*/ 1721532 w 2283508"/>
                    <a:gd name="connsiteY543" fmla="*/ 48053 h 433169"/>
                    <a:gd name="connsiteX544" fmla="*/ 1721532 w 2283508"/>
                    <a:gd name="connsiteY544" fmla="*/ 66219 h 433169"/>
                    <a:gd name="connsiteX545" fmla="*/ 1721922 w 2283508"/>
                    <a:gd name="connsiteY545" fmla="*/ 66219 h 433169"/>
                    <a:gd name="connsiteX546" fmla="*/ 1756106 w 2283508"/>
                    <a:gd name="connsiteY546" fmla="*/ 45611 h 433169"/>
                    <a:gd name="connsiteX547" fmla="*/ 1639462 w 2283508"/>
                    <a:gd name="connsiteY547" fmla="*/ 45611 h 433169"/>
                    <a:gd name="connsiteX548" fmla="*/ 1673256 w 2283508"/>
                    <a:gd name="connsiteY548" fmla="*/ 59578 h 433169"/>
                    <a:gd name="connsiteX549" fmla="*/ 1685660 w 2283508"/>
                    <a:gd name="connsiteY549" fmla="*/ 98254 h 433169"/>
                    <a:gd name="connsiteX550" fmla="*/ 1673012 w 2283508"/>
                    <a:gd name="connsiteY550" fmla="*/ 136052 h 433169"/>
                    <a:gd name="connsiteX551" fmla="*/ 1638388 w 2283508"/>
                    <a:gd name="connsiteY551" fmla="*/ 150507 h 433169"/>
                    <a:gd name="connsiteX552" fmla="*/ 1603764 w 2283508"/>
                    <a:gd name="connsiteY552" fmla="*/ 136101 h 433169"/>
                    <a:gd name="connsiteX553" fmla="*/ 1591018 w 2283508"/>
                    <a:gd name="connsiteY553" fmla="*/ 98645 h 433169"/>
                    <a:gd name="connsiteX554" fmla="*/ 1604350 w 2283508"/>
                    <a:gd name="connsiteY554" fmla="*/ 59675 h 433169"/>
                    <a:gd name="connsiteX555" fmla="*/ 1639462 w 2283508"/>
                    <a:gd name="connsiteY555" fmla="*/ 45611 h 433169"/>
                    <a:gd name="connsiteX556" fmla="*/ 1425954 w 2283508"/>
                    <a:gd name="connsiteY556" fmla="*/ 45611 h 433169"/>
                    <a:gd name="connsiteX557" fmla="*/ 1455694 w 2283508"/>
                    <a:gd name="connsiteY557" fmla="*/ 58747 h 433169"/>
                    <a:gd name="connsiteX558" fmla="*/ 1466390 w 2283508"/>
                    <a:gd name="connsiteY558" fmla="*/ 94445 h 433169"/>
                    <a:gd name="connsiteX559" fmla="*/ 1454132 w 2283508"/>
                    <a:gd name="connsiteY559" fmla="*/ 135026 h 433169"/>
                    <a:gd name="connsiteX560" fmla="*/ 1421754 w 2283508"/>
                    <a:gd name="connsiteY560" fmla="*/ 150507 h 433169"/>
                    <a:gd name="connsiteX561" fmla="*/ 1388548 w 2283508"/>
                    <a:gd name="connsiteY561" fmla="*/ 130290 h 433169"/>
                    <a:gd name="connsiteX562" fmla="*/ 1388158 w 2283508"/>
                    <a:gd name="connsiteY562" fmla="*/ 130290 h 433169"/>
                    <a:gd name="connsiteX563" fmla="*/ 1388158 w 2283508"/>
                    <a:gd name="connsiteY563" fmla="*/ 194067 h 433169"/>
                    <a:gd name="connsiteX564" fmla="*/ 1379172 w 2283508"/>
                    <a:gd name="connsiteY564" fmla="*/ 194067 h 433169"/>
                    <a:gd name="connsiteX565" fmla="*/ 1379172 w 2283508"/>
                    <a:gd name="connsiteY565" fmla="*/ 48053 h 433169"/>
                    <a:gd name="connsiteX566" fmla="*/ 1388158 w 2283508"/>
                    <a:gd name="connsiteY566" fmla="*/ 48053 h 433169"/>
                    <a:gd name="connsiteX567" fmla="*/ 1388158 w 2283508"/>
                    <a:gd name="connsiteY567" fmla="*/ 68661 h 433169"/>
                    <a:gd name="connsiteX568" fmla="*/ 1388548 w 2283508"/>
                    <a:gd name="connsiteY568" fmla="*/ 68661 h 433169"/>
                    <a:gd name="connsiteX569" fmla="*/ 1403930 w 2283508"/>
                    <a:gd name="connsiteY569" fmla="*/ 51618 h 433169"/>
                    <a:gd name="connsiteX570" fmla="*/ 1425954 w 2283508"/>
                    <a:gd name="connsiteY570" fmla="*/ 45611 h 433169"/>
                    <a:gd name="connsiteX571" fmla="*/ 1169124 w 2283508"/>
                    <a:gd name="connsiteY571" fmla="*/ 45611 h 433169"/>
                    <a:gd name="connsiteX572" fmla="*/ 1197740 w 2283508"/>
                    <a:gd name="connsiteY572" fmla="*/ 58699 h 433169"/>
                    <a:gd name="connsiteX573" fmla="*/ 1207702 w 2283508"/>
                    <a:gd name="connsiteY573" fmla="*/ 94445 h 433169"/>
                    <a:gd name="connsiteX574" fmla="*/ 1207702 w 2283508"/>
                    <a:gd name="connsiteY574" fmla="*/ 98450 h 433169"/>
                    <a:gd name="connsiteX575" fmla="*/ 1133670 w 2283508"/>
                    <a:gd name="connsiteY575" fmla="*/ 98450 h 433169"/>
                    <a:gd name="connsiteX576" fmla="*/ 1143194 w 2283508"/>
                    <a:gd name="connsiteY576" fmla="*/ 130680 h 433169"/>
                    <a:gd name="connsiteX577" fmla="*/ 1169320 w 2283508"/>
                    <a:gd name="connsiteY577" fmla="*/ 142303 h 433169"/>
                    <a:gd name="connsiteX578" fmla="*/ 1202136 w 2283508"/>
                    <a:gd name="connsiteY578" fmla="*/ 129899 h 433169"/>
                    <a:gd name="connsiteX579" fmla="*/ 1202136 w 2283508"/>
                    <a:gd name="connsiteY579" fmla="*/ 139470 h 433169"/>
                    <a:gd name="connsiteX580" fmla="*/ 1167464 w 2283508"/>
                    <a:gd name="connsiteY580" fmla="*/ 150507 h 433169"/>
                    <a:gd name="connsiteX581" fmla="*/ 1136210 w 2283508"/>
                    <a:gd name="connsiteY581" fmla="*/ 136638 h 433169"/>
                    <a:gd name="connsiteX582" fmla="*/ 1124294 w 2283508"/>
                    <a:gd name="connsiteY582" fmla="*/ 97473 h 433169"/>
                    <a:gd name="connsiteX583" fmla="*/ 1136746 w 2283508"/>
                    <a:gd name="connsiteY583" fmla="*/ 60603 h 433169"/>
                    <a:gd name="connsiteX584" fmla="*/ 1169124 w 2283508"/>
                    <a:gd name="connsiteY584" fmla="*/ 45611 h 433169"/>
                    <a:gd name="connsiteX585" fmla="*/ 1088770 w 2283508"/>
                    <a:gd name="connsiteY585" fmla="*/ 45611 h 433169"/>
                    <a:gd name="connsiteX586" fmla="*/ 1110942 w 2283508"/>
                    <a:gd name="connsiteY586" fmla="*/ 50299 h 433169"/>
                    <a:gd name="connsiteX587" fmla="*/ 1110942 w 2283508"/>
                    <a:gd name="connsiteY587" fmla="*/ 60457 h 433169"/>
                    <a:gd name="connsiteX588" fmla="*/ 1087404 w 2283508"/>
                    <a:gd name="connsiteY588" fmla="*/ 53815 h 433169"/>
                    <a:gd name="connsiteX589" fmla="*/ 1058884 w 2283508"/>
                    <a:gd name="connsiteY589" fmla="*/ 66463 h 433169"/>
                    <a:gd name="connsiteX590" fmla="*/ 1047946 w 2283508"/>
                    <a:gd name="connsiteY590" fmla="*/ 99231 h 433169"/>
                    <a:gd name="connsiteX591" fmla="*/ 1057956 w 2283508"/>
                    <a:gd name="connsiteY591" fmla="*/ 130485 h 433169"/>
                    <a:gd name="connsiteX592" fmla="*/ 1084376 w 2283508"/>
                    <a:gd name="connsiteY592" fmla="*/ 142303 h 433169"/>
                    <a:gd name="connsiteX593" fmla="*/ 1110550 w 2283508"/>
                    <a:gd name="connsiteY593" fmla="*/ 134294 h 433169"/>
                    <a:gd name="connsiteX594" fmla="*/ 1110550 w 2283508"/>
                    <a:gd name="connsiteY594" fmla="*/ 143670 h 433169"/>
                    <a:gd name="connsiteX595" fmla="*/ 1083986 w 2283508"/>
                    <a:gd name="connsiteY595" fmla="*/ 150507 h 433169"/>
                    <a:gd name="connsiteX596" fmla="*/ 1051070 w 2283508"/>
                    <a:gd name="connsiteY596" fmla="*/ 136492 h 433169"/>
                    <a:gd name="connsiteX597" fmla="*/ 1038570 w 2283508"/>
                    <a:gd name="connsiteY597" fmla="*/ 99817 h 433169"/>
                    <a:gd name="connsiteX598" fmla="*/ 1052634 w 2283508"/>
                    <a:gd name="connsiteY598" fmla="*/ 60798 h 433169"/>
                    <a:gd name="connsiteX599" fmla="*/ 1088770 w 2283508"/>
                    <a:gd name="connsiteY599" fmla="*/ 45611 h 433169"/>
                    <a:gd name="connsiteX600" fmla="*/ 902424 w 2283508"/>
                    <a:gd name="connsiteY600" fmla="*/ 45611 h 433169"/>
                    <a:gd name="connsiteX601" fmla="*/ 931042 w 2283508"/>
                    <a:gd name="connsiteY601" fmla="*/ 58699 h 433169"/>
                    <a:gd name="connsiteX602" fmla="*/ 941002 w 2283508"/>
                    <a:gd name="connsiteY602" fmla="*/ 94445 h 433169"/>
                    <a:gd name="connsiteX603" fmla="*/ 941002 w 2283508"/>
                    <a:gd name="connsiteY603" fmla="*/ 98450 h 433169"/>
                    <a:gd name="connsiteX604" fmla="*/ 866970 w 2283508"/>
                    <a:gd name="connsiteY604" fmla="*/ 98450 h 433169"/>
                    <a:gd name="connsiteX605" fmla="*/ 876494 w 2283508"/>
                    <a:gd name="connsiteY605" fmla="*/ 130680 h 433169"/>
                    <a:gd name="connsiteX606" fmla="*/ 902620 w 2283508"/>
                    <a:gd name="connsiteY606" fmla="*/ 142303 h 433169"/>
                    <a:gd name="connsiteX607" fmla="*/ 935436 w 2283508"/>
                    <a:gd name="connsiteY607" fmla="*/ 129899 h 433169"/>
                    <a:gd name="connsiteX608" fmla="*/ 935436 w 2283508"/>
                    <a:gd name="connsiteY608" fmla="*/ 139470 h 433169"/>
                    <a:gd name="connsiteX609" fmla="*/ 900764 w 2283508"/>
                    <a:gd name="connsiteY609" fmla="*/ 150507 h 433169"/>
                    <a:gd name="connsiteX610" fmla="*/ 869510 w 2283508"/>
                    <a:gd name="connsiteY610" fmla="*/ 136638 h 433169"/>
                    <a:gd name="connsiteX611" fmla="*/ 857594 w 2283508"/>
                    <a:gd name="connsiteY611" fmla="*/ 97473 h 433169"/>
                    <a:gd name="connsiteX612" fmla="*/ 870046 w 2283508"/>
                    <a:gd name="connsiteY612" fmla="*/ 60603 h 433169"/>
                    <a:gd name="connsiteX613" fmla="*/ 902424 w 2283508"/>
                    <a:gd name="connsiteY613" fmla="*/ 45611 h 433169"/>
                    <a:gd name="connsiteX614" fmla="*/ 653602 w 2283508"/>
                    <a:gd name="connsiteY614" fmla="*/ 45611 h 433169"/>
                    <a:gd name="connsiteX615" fmla="*/ 677482 w 2283508"/>
                    <a:gd name="connsiteY615" fmla="*/ 55183 h 433169"/>
                    <a:gd name="connsiteX616" fmla="*/ 685930 w 2283508"/>
                    <a:gd name="connsiteY616" fmla="*/ 83018 h 433169"/>
                    <a:gd name="connsiteX617" fmla="*/ 685930 w 2283508"/>
                    <a:gd name="connsiteY617" fmla="*/ 148065 h 433169"/>
                    <a:gd name="connsiteX618" fmla="*/ 676944 w 2283508"/>
                    <a:gd name="connsiteY618" fmla="*/ 148065 h 433169"/>
                    <a:gd name="connsiteX619" fmla="*/ 676944 w 2283508"/>
                    <a:gd name="connsiteY619" fmla="*/ 128043 h 433169"/>
                    <a:gd name="connsiteX620" fmla="*/ 676554 w 2283508"/>
                    <a:gd name="connsiteY620" fmla="*/ 128043 h 433169"/>
                    <a:gd name="connsiteX621" fmla="*/ 662636 w 2283508"/>
                    <a:gd name="connsiteY621" fmla="*/ 144403 h 433169"/>
                    <a:gd name="connsiteX622" fmla="*/ 642370 w 2283508"/>
                    <a:gd name="connsiteY622" fmla="*/ 150507 h 433169"/>
                    <a:gd name="connsiteX623" fmla="*/ 619808 w 2283508"/>
                    <a:gd name="connsiteY623" fmla="*/ 142498 h 433169"/>
                    <a:gd name="connsiteX624" fmla="*/ 611506 w 2283508"/>
                    <a:gd name="connsiteY624" fmla="*/ 122281 h 433169"/>
                    <a:gd name="connsiteX625" fmla="*/ 646180 w 2283508"/>
                    <a:gd name="connsiteY625" fmla="*/ 90636 h 433169"/>
                    <a:gd name="connsiteX626" fmla="*/ 676944 w 2283508"/>
                    <a:gd name="connsiteY626" fmla="*/ 86046 h 433169"/>
                    <a:gd name="connsiteX627" fmla="*/ 652722 w 2283508"/>
                    <a:gd name="connsiteY627" fmla="*/ 53815 h 433169"/>
                    <a:gd name="connsiteX628" fmla="*/ 620590 w 2283508"/>
                    <a:gd name="connsiteY628" fmla="*/ 67098 h 433169"/>
                    <a:gd name="connsiteX629" fmla="*/ 620590 w 2283508"/>
                    <a:gd name="connsiteY629" fmla="*/ 56257 h 433169"/>
                    <a:gd name="connsiteX630" fmla="*/ 635680 w 2283508"/>
                    <a:gd name="connsiteY630" fmla="*/ 48736 h 433169"/>
                    <a:gd name="connsiteX631" fmla="*/ 653602 w 2283508"/>
                    <a:gd name="connsiteY631" fmla="*/ 45611 h 433169"/>
                    <a:gd name="connsiteX632" fmla="*/ 498806 w 2283508"/>
                    <a:gd name="connsiteY632" fmla="*/ 45611 h 433169"/>
                    <a:gd name="connsiteX633" fmla="*/ 523614 w 2283508"/>
                    <a:gd name="connsiteY633" fmla="*/ 56403 h 433169"/>
                    <a:gd name="connsiteX634" fmla="*/ 532210 w 2283508"/>
                    <a:gd name="connsiteY634" fmla="*/ 87218 h 433169"/>
                    <a:gd name="connsiteX635" fmla="*/ 532210 w 2283508"/>
                    <a:gd name="connsiteY635" fmla="*/ 148065 h 433169"/>
                    <a:gd name="connsiteX636" fmla="*/ 523224 w 2283508"/>
                    <a:gd name="connsiteY636" fmla="*/ 148065 h 433169"/>
                    <a:gd name="connsiteX637" fmla="*/ 523224 w 2283508"/>
                    <a:gd name="connsiteY637" fmla="*/ 89855 h 433169"/>
                    <a:gd name="connsiteX638" fmla="*/ 497244 w 2283508"/>
                    <a:gd name="connsiteY638" fmla="*/ 53815 h 433169"/>
                    <a:gd name="connsiteX639" fmla="*/ 473510 w 2283508"/>
                    <a:gd name="connsiteY639" fmla="*/ 64412 h 433169"/>
                    <a:gd name="connsiteX640" fmla="*/ 464232 w 2283508"/>
                    <a:gd name="connsiteY640" fmla="*/ 90636 h 433169"/>
                    <a:gd name="connsiteX641" fmla="*/ 464232 w 2283508"/>
                    <a:gd name="connsiteY641" fmla="*/ 148065 h 433169"/>
                    <a:gd name="connsiteX642" fmla="*/ 455246 w 2283508"/>
                    <a:gd name="connsiteY642" fmla="*/ 148065 h 433169"/>
                    <a:gd name="connsiteX643" fmla="*/ 455246 w 2283508"/>
                    <a:gd name="connsiteY643" fmla="*/ 48053 h 433169"/>
                    <a:gd name="connsiteX644" fmla="*/ 464232 w 2283508"/>
                    <a:gd name="connsiteY644" fmla="*/ 48053 h 433169"/>
                    <a:gd name="connsiteX645" fmla="*/ 464232 w 2283508"/>
                    <a:gd name="connsiteY645" fmla="*/ 66219 h 433169"/>
                    <a:gd name="connsiteX646" fmla="*/ 464622 w 2283508"/>
                    <a:gd name="connsiteY646" fmla="*/ 66219 h 433169"/>
                    <a:gd name="connsiteX647" fmla="*/ 498806 w 2283508"/>
                    <a:gd name="connsiteY647" fmla="*/ 45611 h 433169"/>
                    <a:gd name="connsiteX648" fmla="*/ 396428 w 2283508"/>
                    <a:gd name="connsiteY648" fmla="*/ 45611 h 433169"/>
                    <a:gd name="connsiteX649" fmla="*/ 420306 w 2283508"/>
                    <a:gd name="connsiteY649" fmla="*/ 55183 h 433169"/>
                    <a:gd name="connsiteX650" fmla="*/ 428756 w 2283508"/>
                    <a:gd name="connsiteY650" fmla="*/ 83018 h 433169"/>
                    <a:gd name="connsiteX651" fmla="*/ 428756 w 2283508"/>
                    <a:gd name="connsiteY651" fmla="*/ 148065 h 433169"/>
                    <a:gd name="connsiteX652" fmla="*/ 419770 w 2283508"/>
                    <a:gd name="connsiteY652" fmla="*/ 148065 h 433169"/>
                    <a:gd name="connsiteX653" fmla="*/ 419770 w 2283508"/>
                    <a:gd name="connsiteY653" fmla="*/ 128043 h 433169"/>
                    <a:gd name="connsiteX654" fmla="*/ 419380 w 2283508"/>
                    <a:gd name="connsiteY654" fmla="*/ 128043 h 433169"/>
                    <a:gd name="connsiteX655" fmla="*/ 405462 w 2283508"/>
                    <a:gd name="connsiteY655" fmla="*/ 144403 h 433169"/>
                    <a:gd name="connsiteX656" fmla="*/ 385196 w 2283508"/>
                    <a:gd name="connsiteY656" fmla="*/ 150507 h 433169"/>
                    <a:gd name="connsiteX657" fmla="*/ 362634 w 2283508"/>
                    <a:gd name="connsiteY657" fmla="*/ 142498 h 433169"/>
                    <a:gd name="connsiteX658" fmla="*/ 354332 w 2283508"/>
                    <a:gd name="connsiteY658" fmla="*/ 122281 h 433169"/>
                    <a:gd name="connsiteX659" fmla="*/ 389004 w 2283508"/>
                    <a:gd name="connsiteY659" fmla="*/ 90636 h 433169"/>
                    <a:gd name="connsiteX660" fmla="*/ 419770 w 2283508"/>
                    <a:gd name="connsiteY660" fmla="*/ 86046 h 433169"/>
                    <a:gd name="connsiteX661" fmla="*/ 395548 w 2283508"/>
                    <a:gd name="connsiteY661" fmla="*/ 53815 h 433169"/>
                    <a:gd name="connsiteX662" fmla="*/ 363416 w 2283508"/>
                    <a:gd name="connsiteY662" fmla="*/ 67098 h 433169"/>
                    <a:gd name="connsiteX663" fmla="*/ 363416 w 2283508"/>
                    <a:gd name="connsiteY663" fmla="*/ 56257 h 433169"/>
                    <a:gd name="connsiteX664" fmla="*/ 378504 w 2283508"/>
                    <a:gd name="connsiteY664" fmla="*/ 48736 h 433169"/>
                    <a:gd name="connsiteX665" fmla="*/ 396428 w 2283508"/>
                    <a:gd name="connsiteY665" fmla="*/ 45611 h 433169"/>
                    <a:gd name="connsiteX666" fmla="*/ 254380 w 2283508"/>
                    <a:gd name="connsiteY666" fmla="*/ 45611 h 433169"/>
                    <a:gd name="connsiteX667" fmla="*/ 284120 w 2283508"/>
                    <a:gd name="connsiteY667" fmla="*/ 58747 h 433169"/>
                    <a:gd name="connsiteX668" fmla="*/ 294814 w 2283508"/>
                    <a:gd name="connsiteY668" fmla="*/ 94445 h 433169"/>
                    <a:gd name="connsiteX669" fmla="*/ 282558 w 2283508"/>
                    <a:gd name="connsiteY669" fmla="*/ 135026 h 433169"/>
                    <a:gd name="connsiteX670" fmla="*/ 250180 w 2283508"/>
                    <a:gd name="connsiteY670" fmla="*/ 150507 h 433169"/>
                    <a:gd name="connsiteX671" fmla="*/ 216972 w 2283508"/>
                    <a:gd name="connsiteY671" fmla="*/ 130290 h 433169"/>
                    <a:gd name="connsiteX672" fmla="*/ 216582 w 2283508"/>
                    <a:gd name="connsiteY672" fmla="*/ 130290 h 433169"/>
                    <a:gd name="connsiteX673" fmla="*/ 216582 w 2283508"/>
                    <a:gd name="connsiteY673" fmla="*/ 194067 h 433169"/>
                    <a:gd name="connsiteX674" fmla="*/ 207596 w 2283508"/>
                    <a:gd name="connsiteY674" fmla="*/ 194067 h 433169"/>
                    <a:gd name="connsiteX675" fmla="*/ 207596 w 2283508"/>
                    <a:gd name="connsiteY675" fmla="*/ 48053 h 433169"/>
                    <a:gd name="connsiteX676" fmla="*/ 216582 w 2283508"/>
                    <a:gd name="connsiteY676" fmla="*/ 48053 h 433169"/>
                    <a:gd name="connsiteX677" fmla="*/ 216582 w 2283508"/>
                    <a:gd name="connsiteY677" fmla="*/ 68661 h 433169"/>
                    <a:gd name="connsiteX678" fmla="*/ 216972 w 2283508"/>
                    <a:gd name="connsiteY678" fmla="*/ 68661 h 433169"/>
                    <a:gd name="connsiteX679" fmla="*/ 232356 w 2283508"/>
                    <a:gd name="connsiteY679" fmla="*/ 51618 h 433169"/>
                    <a:gd name="connsiteX680" fmla="*/ 254380 w 2283508"/>
                    <a:gd name="connsiteY680" fmla="*/ 45611 h 433169"/>
                    <a:gd name="connsiteX681" fmla="*/ 85618 w 2283508"/>
                    <a:gd name="connsiteY681" fmla="*/ 45611 h 433169"/>
                    <a:gd name="connsiteX682" fmla="*/ 104322 w 2283508"/>
                    <a:gd name="connsiteY682" fmla="*/ 51911 h 433169"/>
                    <a:gd name="connsiteX683" fmla="*/ 114820 w 2283508"/>
                    <a:gd name="connsiteY683" fmla="*/ 68465 h 433169"/>
                    <a:gd name="connsiteX684" fmla="*/ 128250 w 2283508"/>
                    <a:gd name="connsiteY684" fmla="*/ 51618 h 433169"/>
                    <a:gd name="connsiteX685" fmla="*/ 147246 w 2283508"/>
                    <a:gd name="connsiteY685" fmla="*/ 45611 h 433169"/>
                    <a:gd name="connsiteX686" fmla="*/ 180064 w 2283508"/>
                    <a:gd name="connsiteY686" fmla="*/ 86241 h 433169"/>
                    <a:gd name="connsiteX687" fmla="*/ 180064 w 2283508"/>
                    <a:gd name="connsiteY687" fmla="*/ 148065 h 433169"/>
                    <a:gd name="connsiteX688" fmla="*/ 171078 w 2283508"/>
                    <a:gd name="connsiteY688" fmla="*/ 148065 h 433169"/>
                    <a:gd name="connsiteX689" fmla="*/ 171078 w 2283508"/>
                    <a:gd name="connsiteY689" fmla="*/ 87901 h 433169"/>
                    <a:gd name="connsiteX690" fmla="*/ 165170 w 2283508"/>
                    <a:gd name="connsiteY690" fmla="*/ 61433 h 433169"/>
                    <a:gd name="connsiteX691" fmla="*/ 146466 w 2283508"/>
                    <a:gd name="connsiteY691" fmla="*/ 53815 h 433169"/>
                    <a:gd name="connsiteX692" fmla="*/ 126052 w 2283508"/>
                    <a:gd name="connsiteY692" fmla="*/ 63973 h 433169"/>
                    <a:gd name="connsiteX693" fmla="*/ 117458 w 2283508"/>
                    <a:gd name="connsiteY693" fmla="*/ 89464 h 433169"/>
                    <a:gd name="connsiteX694" fmla="*/ 117458 w 2283508"/>
                    <a:gd name="connsiteY694" fmla="*/ 148065 h 433169"/>
                    <a:gd name="connsiteX695" fmla="*/ 108472 w 2283508"/>
                    <a:gd name="connsiteY695" fmla="*/ 148065 h 433169"/>
                    <a:gd name="connsiteX696" fmla="*/ 108472 w 2283508"/>
                    <a:gd name="connsiteY696" fmla="*/ 87218 h 433169"/>
                    <a:gd name="connsiteX697" fmla="*/ 83078 w 2283508"/>
                    <a:gd name="connsiteY697" fmla="*/ 53815 h 433169"/>
                    <a:gd name="connsiteX698" fmla="*/ 62764 w 2283508"/>
                    <a:gd name="connsiteY698" fmla="*/ 64022 h 433169"/>
                    <a:gd name="connsiteX699" fmla="*/ 54658 w 2283508"/>
                    <a:gd name="connsiteY699" fmla="*/ 90441 h 433169"/>
                    <a:gd name="connsiteX700" fmla="*/ 54658 w 2283508"/>
                    <a:gd name="connsiteY700" fmla="*/ 148065 h 433169"/>
                    <a:gd name="connsiteX701" fmla="*/ 45672 w 2283508"/>
                    <a:gd name="connsiteY701" fmla="*/ 148065 h 433169"/>
                    <a:gd name="connsiteX702" fmla="*/ 45672 w 2283508"/>
                    <a:gd name="connsiteY702" fmla="*/ 48053 h 433169"/>
                    <a:gd name="connsiteX703" fmla="*/ 54658 w 2283508"/>
                    <a:gd name="connsiteY703" fmla="*/ 48053 h 433169"/>
                    <a:gd name="connsiteX704" fmla="*/ 54658 w 2283508"/>
                    <a:gd name="connsiteY704" fmla="*/ 64656 h 433169"/>
                    <a:gd name="connsiteX705" fmla="*/ 55048 w 2283508"/>
                    <a:gd name="connsiteY705" fmla="*/ 64656 h 433169"/>
                    <a:gd name="connsiteX706" fmla="*/ 85618 w 2283508"/>
                    <a:gd name="connsiteY706" fmla="*/ 45611 h 433169"/>
                    <a:gd name="connsiteX707" fmla="*/ 573206 w 2283508"/>
                    <a:gd name="connsiteY707" fmla="*/ 19045 h 433169"/>
                    <a:gd name="connsiteX708" fmla="*/ 573206 w 2283508"/>
                    <a:gd name="connsiteY708" fmla="*/ 48053 h 433169"/>
                    <a:gd name="connsiteX709" fmla="*/ 599578 w 2283508"/>
                    <a:gd name="connsiteY709" fmla="*/ 48053 h 433169"/>
                    <a:gd name="connsiteX710" fmla="*/ 599578 w 2283508"/>
                    <a:gd name="connsiteY710" fmla="*/ 56257 h 433169"/>
                    <a:gd name="connsiteX711" fmla="*/ 573206 w 2283508"/>
                    <a:gd name="connsiteY711" fmla="*/ 56257 h 433169"/>
                    <a:gd name="connsiteX712" fmla="*/ 573206 w 2283508"/>
                    <a:gd name="connsiteY712" fmla="*/ 122281 h 433169"/>
                    <a:gd name="connsiteX713" fmla="*/ 576478 w 2283508"/>
                    <a:gd name="connsiteY713" fmla="*/ 137273 h 433169"/>
                    <a:gd name="connsiteX714" fmla="*/ 587564 w 2283508"/>
                    <a:gd name="connsiteY714" fmla="*/ 141912 h 433169"/>
                    <a:gd name="connsiteX715" fmla="*/ 599578 w 2283508"/>
                    <a:gd name="connsiteY715" fmla="*/ 138298 h 433169"/>
                    <a:gd name="connsiteX716" fmla="*/ 599578 w 2283508"/>
                    <a:gd name="connsiteY716" fmla="*/ 146698 h 433169"/>
                    <a:gd name="connsiteX717" fmla="*/ 586392 w 2283508"/>
                    <a:gd name="connsiteY717" fmla="*/ 150019 h 433169"/>
                    <a:gd name="connsiteX718" fmla="*/ 564222 w 2283508"/>
                    <a:gd name="connsiteY718" fmla="*/ 123453 h 433169"/>
                    <a:gd name="connsiteX719" fmla="*/ 564222 w 2283508"/>
                    <a:gd name="connsiteY719" fmla="*/ 56257 h 433169"/>
                    <a:gd name="connsiteX720" fmla="*/ 546250 w 2283508"/>
                    <a:gd name="connsiteY720" fmla="*/ 56257 h 433169"/>
                    <a:gd name="connsiteX721" fmla="*/ 546250 w 2283508"/>
                    <a:gd name="connsiteY721" fmla="*/ 48053 h 433169"/>
                    <a:gd name="connsiteX722" fmla="*/ 564222 w 2283508"/>
                    <a:gd name="connsiteY722" fmla="*/ 48053 h 433169"/>
                    <a:gd name="connsiteX723" fmla="*/ 564222 w 2283508"/>
                    <a:gd name="connsiteY723" fmla="*/ 22073 h 433169"/>
                    <a:gd name="connsiteX724" fmla="*/ 568714 w 2283508"/>
                    <a:gd name="connsiteY724" fmla="*/ 20510 h 433169"/>
                    <a:gd name="connsiteX725" fmla="*/ 573206 w 2283508"/>
                    <a:gd name="connsiteY725" fmla="*/ 19045 h 433169"/>
                    <a:gd name="connsiteX726" fmla="*/ 2202716 w 2283508"/>
                    <a:gd name="connsiteY726" fmla="*/ 8009 h 433169"/>
                    <a:gd name="connsiteX727" fmla="*/ 2208040 w 2283508"/>
                    <a:gd name="connsiteY727" fmla="*/ 9962 h 433169"/>
                    <a:gd name="connsiteX728" fmla="*/ 2210334 w 2283508"/>
                    <a:gd name="connsiteY728" fmla="*/ 15236 h 433169"/>
                    <a:gd name="connsiteX729" fmla="*/ 2208088 w 2283508"/>
                    <a:gd name="connsiteY729" fmla="*/ 20608 h 433169"/>
                    <a:gd name="connsiteX730" fmla="*/ 2202716 w 2283508"/>
                    <a:gd name="connsiteY730" fmla="*/ 22854 h 433169"/>
                    <a:gd name="connsiteX731" fmla="*/ 2197540 w 2283508"/>
                    <a:gd name="connsiteY731" fmla="*/ 20706 h 433169"/>
                    <a:gd name="connsiteX732" fmla="*/ 2195294 w 2283508"/>
                    <a:gd name="connsiteY732" fmla="*/ 15236 h 433169"/>
                    <a:gd name="connsiteX733" fmla="*/ 2197590 w 2283508"/>
                    <a:gd name="connsiteY733" fmla="*/ 10011 h 433169"/>
                    <a:gd name="connsiteX734" fmla="*/ 2202716 w 2283508"/>
                    <a:gd name="connsiteY734" fmla="*/ 8009 h 433169"/>
                    <a:gd name="connsiteX735" fmla="*/ 0 w 2283508"/>
                    <a:gd name="connsiteY735" fmla="*/ 8009 h 433169"/>
                    <a:gd name="connsiteX736" fmla="*/ 9670 w 2283508"/>
                    <a:gd name="connsiteY736" fmla="*/ 8009 h 433169"/>
                    <a:gd name="connsiteX737" fmla="*/ 9670 w 2283508"/>
                    <a:gd name="connsiteY737" fmla="*/ 148065 h 433169"/>
                    <a:gd name="connsiteX738" fmla="*/ 0 w 2283508"/>
                    <a:gd name="connsiteY738" fmla="*/ 148065 h 433169"/>
                    <a:gd name="connsiteX739" fmla="*/ 2274522 w 2283508"/>
                    <a:gd name="connsiteY739" fmla="*/ 0 h 433169"/>
                    <a:gd name="connsiteX740" fmla="*/ 2283508 w 2283508"/>
                    <a:gd name="connsiteY740" fmla="*/ 0 h 433169"/>
                    <a:gd name="connsiteX741" fmla="*/ 2283508 w 2283508"/>
                    <a:gd name="connsiteY741" fmla="*/ 148065 h 433169"/>
                    <a:gd name="connsiteX742" fmla="*/ 2274522 w 2283508"/>
                    <a:gd name="connsiteY742" fmla="*/ 148065 h 433169"/>
                    <a:gd name="connsiteX743" fmla="*/ 2236422 w 2283508"/>
                    <a:gd name="connsiteY743" fmla="*/ 0 h 433169"/>
                    <a:gd name="connsiteX744" fmla="*/ 2245406 w 2283508"/>
                    <a:gd name="connsiteY744" fmla="*/ 0 h 433169"/>
                    <a:gd name="connsiteX745" fmla="*/ 2245406 w 2283508"/>
                    <a:gd name="connsiteY745" fmla="*/ 148065 h 433169"/>
                    <a:gd name="connsiteX746" fmla="*/ 2236422 w 2283508"/>
                    <a:gd name="connsiteY746" fmla="*/ 148065 h 433169"/>
                    <a:gd name="connsiteX747" fmla="*/ 1493472 w 2283508"/>
                    <a:gd name="connsiteY747" fmla="*/ 0 h 433169"/>
                    <a:gd name="connsiteX748" fmla="*/ 1502458 w 2283508"/>
                    <a:gd name="connsiteY748" fmla="*/ 0 h 433169"/>
                    <a:gd name="connsiteX749" fmla="*/ 1502458 w 2283508"/>
                    <a:gd name="connsiteY749" fmla="*/ 66024 h 433169"/>
                    <a:gd name="connsiteX750" fmla="*/ 1502848 w 2283508"/>
                    <a:gd name="connsiteY750" fmla="*/ 66024 h 433169"/>
                    <a:gd name="connsiteX751" fmla="*/ 1537226 w 2283508"/>
                    <a:gd name="connsiteY751" fmla="*/ 45611 h 433169"/>
                    <a:gd name="connsiteX752" fmla="*/ 1561938 w 2283508"/>
                    <a:gd name="connsiteY752" fmla="*/ 56062 h 433169"/>
                    <a:gd name="connsiteX753" fmla="*/ 1570434 w 2283508"/>
                    <a:gd name="connsiteY753" fmla="*/ 86046 h 433169"/>
                    <a:gd name="connsiteX754" fmla="*/ 1570434 w 2283508"/>
                    <a:gd name="connsiteY754" fmla="*/ 148065 h 433169"/>
                    <a:gd name="connsiteX755" fmla="*/ 1561448 w 2283508"/>
                    <a:gd name="connsiteY755" fmla="*/ 148065 h 433169"/>
                    <a:gd name="connsiteX756" fmla="*/ 1561448 w 2283508"/>
                    <a:gd name="connsiteY756" fmla="*/ 88097 h 433169"/>
                    <a:gd name="connsiteX757" fmla="*/ 1555002 w 2283508"/>
                    <a:gd name="connsiteY757" fmla="*/ 62068 h 433169"/>
                    <a:gd name="connsiteX758" fmla="*/ 1534882 w 2283508"/>
                    <a:gd name="connsiteY758" fmla="*/ 53815 h 433169"/>
                    <a:gd name="connsiteX759" fmla="*/ 1512224 w 2283508"/>
                    <a:gd name="connsiteY759" fmla="*/ 63875 h 433169"/>
                    <a:gd name="connsiteX760" fmla="*/ 1502458 w 2283508"/>
                    <a:gd name="connsiteY760" fmla="*/ 92687 h 433169"/>
                    <a:gd name="connsiteX761" fmla="*/ 1502458 w 2283508"/>
                    <a:gd name="connsiteY761" fmla="*/ 148065 h 433169"/>
                    <a:gd name="connsiteX762" fmla="*/ 1493472 w 2283508"/>
                    <a:gd name="connsiteY762" fmla="*/ 148065 h 433169"/>
                    <a:gd name="connsiteX763" fmla="*/ 1274396 w 2283508"/>
                    <a:gd name="connsiteY763" fmla="*/ 0 h 433169"/>
                    <a:gd name="connsiteX764" fmla="*/ 1283382 w 2283508"/>
                    <a:gd name="connsiteY764" fmla="*/ 0 h 433169"/>
                    <a:gd name="connsiteX765" fmla="*/ 1283382 w 2283508"/>
                    <a:gd name="connsiteY765" fmla="*/ 148065 h 433169"/>
                    <a:gd name="connsiteX766" fmla="*/ 1274396 w 2283508"/>
                    <a:gd name="connsiteY766" fmla="*/ 148065 h 433169"/>
                    <a:gd name="connsiteX767" fmla="*/ 1236296 w 2283508"/>
                    <a:gd name="connsiteY767" fmla="*/ 0 h 433169"/>
                    <a:gd name="connsiteX768" fmla="*/ 1245282 w 2283508"/>
                    <a:gd name="connsiteY768" fmla="*/ 0 h 433169"/>
                    <a:gd name="connsiteX769" fmla="*/ 1245282 w 2283508"/>
                    <a:gd name="connsiteY769" fmla="*/ 148065 h 433169"/>
                    <a:gd name="connsiteX770" fmla="*/ 1236296 w 2283508"/>
                    <a:gd name="connsiteY770" fmla="*/ 148065 h 433169"/>
                    <a:gd name="connsiteX771" fmla="*/ 826722 w 2283508"/>
                    <a:gd name="connsiteY771" fmla="*/ 0 h 433169"/>
                    <a:gd name="connsiteX772" fmla="*/ 835708 w 2283508"/>
                    <a:gd name="connsiteY772" fmla="*/ 0 h 433169"/>
                    <a:gd name="connsiteX773" fmla="*/ 835708 w 2283508"/>
                    <a:gd name="connsiteY773" fmla="*/ 148065 h 433169"/>
                    <a:gd name="connsiteX774" fmla="*/ 826722 w 2283508"/>
                    <a:gd name="connsiteY774" fmla="*/ 148065 h 433169"/>
                    <a:gd name="connsiteX775" fmla="*/ 712422 w 2283508"/>
                    <a:gd name="connsiteY775" fmla="*/ 0 h 433169"/>
                    <a:gd name="connsiteX776" fmla="*/ 721408 w 2283508"/>
                    <a:gd name="connsiteY776" fmla="*/ 0 h 433169"/>
                    <a:gd name="connsiteX777" fmla="*/ 721408 w 2283508"/>
                    <a:gd name="connsiteY777" fmla="*/ 68661 h 433169"/>
                    <a:gd name="connsiteX778" fmla="*/ 721798 w 2283508"/>
                    <a:gd name="connsiteY778" fmla="*/ 68661 h 433169"/>
                    <a:gd name="connsiteX779" fmla="*/ 737180 w 2283508"/>
                    <a:gd name="connsiteY779" fmla="*/ 51618 h 433169"/>
                    <a:gd name="connsiteX780" fmla="*/ 759204 w 2283508"/>
                    <a:gd name="connsiteY780" fmla="*/ 45611 h 433169"/>
                    <a:gd name="connsiteX781" fmla="*/ 788946 w 2283508"/>
                    <a:gd name="connsiteY781" fmla="*/ 58747 h 433169"/>
                    <a:gd name="connsiteX782" fmla="*/ 799640 w 2283508"/>
                    <a:gd name="connsiteY782" fmla="*/ 94445 h 433169"/>
                    <a:gd name="connsiteX783" fmla="*/ 787236 w 2283508"/>
                    <a:gd name="connsiteY783" fmla="*/ 135026 h 433169"/>
                    <a:gd name="connsiteX784" fmla="*/ 755006 w 2283508"/>
                    <a:gd name="connsiteY784" fmla="*/ 150507 h 433169"/>
                    <a:gd name="connsiteX785" fmla="*/ 721798 w 2283508"/>
                    <a:gd name="connsiteY785" fmla="*/ 130290 h 433169"/>
                    <a:gd name="connsiteX786" fmla="*/ 721408 w 2283508"/>
                    <a:gd name="connsiteY786" fmla="*/ 130290 h 433169"/>
                    <a:gd name="connsiteX787" fmla="*/ 721408 w 2283508"/>
                    <a:gd name="connsiteY787" fmla="*/ 148065 h 433169"/>
                    <a:gd name="connsiteX788" fmla="*/ 712422 w 2283508"/>
                    <a:gd name="connsiteY788" fmla="*/ 148065 h 433169"/>
                    <a:gd name="connsiteX789" fmla="*/ 321896 w 2283508"/>
                    <a:gd name="connsiteY789" fmla="*/ 0 h 433169"/>
                    <a:gd name="connsiteX790" fmla="*/ 330882 w 2283508"/>
                    <a:gd name="connsiteY790" fmla="*/ 0 h 433169"/>
                    <a:gd name="connsiteX791" fmla="*/ 330882 w 2283508"/>
                    <a:gd name="connsiteY791" fmla="*/ 148065 h 433169"/>
                    <a:gd name="connsiteX792" fmla="*/ 321896 w 2283508"/>
                    <a:gd name="connsiteY792" fmla="*/ 148065 h 433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</a:cxnLst>
                  <a:rect l="l" t="t" r="r" b="b"/>
                  <a:pathLst>
                    <a:path w="2283508" h="433169">
                      <a:moveTo>
                        <a:pt x="1934244" y="332375"/>
                      </a:moveTo>
                      <a:lnTo>
                        <a:pt x="1906702" y="336379"/>
                      </a:lnTo>
                      <a:cubicBezTo>
                        <a:pt x="1896218" y="337877"/>
                        <a:pt x="1888862" y="340302"/>
                        <a:pt x="1884630" y="343656"/>
                      </a:cubicBezTo>
                      <a:cubicBezTo>
                        <a:pt x="1880396" y="347009"/>
                        <a:pt x="1878280" y="352462"/>
                        <a:pt x="1878280" y="360015"/>
                      </a:cubicBezTo>
                      <a:cubicBezTo>
                        <a:pt x="1878280" y="365940"/>
                        <a:pt x="1880250" y="370824"/>
                        <a:pt x="1884190" y="374665"/>
                      </a:cubicBezTo>
                      <a:cubicBezTo>
                        <a:pt x="1888130" y="378507"/>
                        <a:pt x="1893614" y="380428"/>
                        <a:pt x="1900646" y="380428"/>
                      </a:cubicBezTo>
                      <a:cubicBezTo>
                        <a:pt x="1910284" y="380428"/>
                        <a:pt x="1918292" y="376863"/>
                        <a:pt x="1924674" y="369733"/>
                      </a:cubicBezTo>
                      <a:cubicBezTo>
                        <a:pt x="1931054" y="362603"/>
                        <a:pt x="1934244" y="353406"/>
                        <a:pt x="1934244" y="342142"/>
                      </a:cubicBezTo>
                      <a:close/>
                      <a:moveTo>
                        <a:pt x="1762794" y="332375"/>
                      </a:moveTo>
                      <a:lnTo>
                        <a:pt x="1735252" y="336379"/>
                      </a:lnTo>
                      <a:cubicBezTo>
                        <a:pt x="1724770" y="337877"/>
                        <a:pt x="1717412" y="340302"/>
                        <a:pt x="1713180" y="343656"/>
                      </a:cubicBezTo>
                      <a:cubicBezTo>
                        <a:pt x="1708946" y="347009"/>
                        <a:pt x="1706830" y="352462"/>
                        <a:pt x="1706830" y="360015"/>
                      </a:cubicBezTo>
                      <a:cubicBezTo>
                        <a:pt x="1706830" y="365940"/>
                        <a:pt x="1708800" y="370824"/>
                        <a:pt x="1712740" y="374665"/>
                      </a:cubicBezTo>
                      <a:cubicBezTo>
                        <a:pt x="1716678" y="378507"/>
                        <a:pt x="1722166" y="380428"/>
                        <a:pt x="1729198" y="380428"/>
                      </a:cubicBezTo>
                      <a:cubicBezTo>
                        <a:pt x="1738834" y="380428"/>
                        <a:pt x="1746842" y="376863"/>
                        <a:pt x="1753224" y="369733"/>
                      </a:cubicBezTo>
                      <a:cubicBezTo>
                        <a:pt x="1759604" y="362603"/>
                        <a:pt x="1762794" y="353406"/>
                        <a:pt x="1762794" y="342142"/>
                      </a:cubicBezTo>
                      <a:close/>
                      <a:moveTo>
                        <a:pt x="1572294" y="332375"/>
                      </a:moveTo>
                      <a:lnTo>
                        <a:pt x="1544752" y="336379"/>
                      </a:lnTo>
                      <a:cubicBezTo>
                        <a:pt x="1534270" y="337877"/>
                        <a:pt x="1526912" y="340302"/>
                        <a:pt x="1522678" y="343656"/>
                      </a:cubicBezTo>
                      <a:cubicBezTo>
                        <a:pt x="1518446" y="347009"/>
                        <a:pt x="1516330" y="352462"/>
                        <a:pt x="1516330" y="360015"/>
                      </a:cubicBezTo>
                      <a:cubicBezTo>
                        <a:pt x="1516330" y="365940"/>
                        <a:pt x="1518300" y="370824"/>
                        <a:pt x="1522240" y="374665"/>
                      </a:cubicBezTo>
                      <a:cubicBezTo>
                        <a:pt x="1526178" y="378507"/>
                        <a:pt x="1531664" y="380428"/>
                        <a:pt x="1538696" y="380428"/>
                      </a:cubicBezTo>
                      <a:cubicBezTo>
                        <a:pt x="1548334" y="380428"/>
                        <a:pt x="1556342" y="376863"/>
                        <a:pt x="1562724" y="369733"/>
                      </a:cubicBezTo>
                      <a:cubicBezTo>
                        <a:pt x="1569104" y="362603"/>
                        <a:pt x="1572294" y="353406"/>
                        <a:pt x="1572294" y="342142"/>
                      </a:cubicBezTo>
                      <a:close/>
                      <a:moveTo>
                        <a:pt x="1219870" y="332375"/>
                      </a:moveTo>
                      <a:lnTo>
                        <a:pt x="1192328" y="336379"/>
                      </a:lnTo>
                      <a:cubicBezTo>
                        <a:pt x="1181844" y="337877"/>
                        <a:pt x="1174486" y="340302"/>
                        <a:pt x="1170254" y="343656"/>
                      </a:cubicBezTo>
                      <a:cubicBezTo>
                        <a:pt x="1166022" y="347009"/>
                        <a:pt x="1163906" y="352462"/>
                        <a:pt x="1163906" y="360015"/>
                      </a:cubicBezTo>
                      <a:cubicBezTo>
                        <a:pt x="1163906" y="365940"/>
                        <a:pt x="1165876" y="370824"/>
                        <a:pt x="1169814" y="374665"/>
                      </a:cubicBezTo>
                      <a:cubicBezTo>
                        <a:pt x="1173754" y="378507"/>
                        <a:pt x="1179240" y="380428"/>
                        <a:pt x="1186272" y="380428"/>
                      </a:cubicBezTo>
                      <a:cubicBezTo>
                        <a:pt x="1195908" y="380428"/>
                        <a:pt x="1203918" y="376863"/>
                        <a:pt x="1210298" y="369733"/>
                      </a:cubicBezTo>
                      <a:cubicBezTo>
                        <a:pt x="1216680" y="362603"/>
                        <a:pt x="1219870" y="353406"/>
                        <a:pt x="1219870" y="342142"/>
                      </a:cubicBezTo>
                      <a:close/>
                      <a:moveTo>
                        <a:pt x="2159334" y="291940"/>
                      </a:moveTo>
                      <a:cubicBezTo>
                        <a:pt x="2149958" y="291940"/>
                        <a:pt x="2142192" y="295082"/>
                        <a:pt x="2136040" y="301365"/>
                      </a:cubicBezTo>
                      <a:cubicBezTo>
                        <a:pt x="2129886" y="307649"/>
                        <a:pt x="2126094" y="316650"/>
                        <a:pt x="2124662" y="328371"/>
                      </a:cubicBezTo>
                      <a:lnTo>
                        <a:pt x="2188926" y="328371"/>
                      </a:lnTo>
                      <a:cubicBezTo>
                        <a:pt x="2188536" y="316846"/>
                        <a:pt x="2185768" y="307893"/>
                        <a:pt x="2180626" y="301512"/>
                      </a:cubicBezTo>
                      <a:cubicBezTo>
                        <a:pt x="2175482" y="295131"/>
                        <a:pt x="2168384" y="291940"/>
                        <a:pt x="2159334" y="291940"/>
                      </a:cubicBezTo>
                      <a:close/>
                      <a:moveTo>
                        <a:pt x="2015332" y="291940"/>
                      </a:moveTo>
                      <a:cubicBezTo>
                        <a:pt x="2003678" y="291940"/>
                        <a:pt x="1994660" y="295847"/>
                        <a:pt x="1988278" y="303660"/>
                      </a:cubicBezTo>
                      <a:cubicBezTo>
                        <a:pt x="1981898" y="311474"/>
                        <a:pt x="1978706" y="320655"/>
                        <a:pt x="1978706" y="331203"/>
                      </a:cubicBezTo>
                      <a:lnTo>
                        <a:pt x="1978706" y="343802"/>
                      </a:lnTo>
                      <a:cubicBezTo>
                        <a:pt x="1978706" y="353829"/>
                        <a:pt x="1981866" y="362441"/>
                        <a:pt x="1988182" y="369635"/>
                      </a:cubicBezTo>
                      <a:cubicBezTo>
                        <a:pt x="1994496" y="376830"/>
                        <a:pt x="2002798" y="380428"/>
                        <a:pt x="2013086" y="380428"/>
                      </a:cubicBezTo>
                      <a:cubicBezTo>
                        <a:pt x="2023310" y="380428"/>
                        <a:pt x="2031610" y="376049"/>
                        <a:pt x="2037992" y="367291"/>
                      </a:cubicBezTo>
                      <a:cubicBezTo>
                        <a:pt x="2044374" y="358534"/>
                        <a:pt x="2047564" y="347025"/>
                        <a:pt x="2047564" y="332766"/>
                      </a:cubicBezTo>
                      <a:cubicBezTo>
                        <a:pt x="2047564" y="320264"/>
                        <a:pt x="2044634" y="310334"/>
                        <a:pt x="2038774" y="302977"/>
                      </a:cubicBezTo>
                      <a:cubicBezTo>
                        <a:pt x="2032914" y="295619"/>
                        <a:pt x="2025100" y="291940"/>
                        <a:pt x="2015332" y="291940"/>
                      </a:cubicBezTo>
                      <a:close/>
                      <a:moveTo>
                        <a:pt x="902034" y="291940"/>
                      </a:moveTo>
                      <a:cubicBezTo>
                        <a:pt x="892658" y="291940"/>
                        <a:pt x="884892" y="295082"/>
                        <a:pt x="878740" y="301365"/>
                      </a:cubicBezTo>
                      <a:cubicBezTo>
                        <a:pt x="872586" y="307649"/>
                        <a:pt x="868794" y="316650"/>
                        <a:pt x="867362" y="328371"/>
                      </a:cubicBezTo>
                      <a:lnTo>
                        <a:pt x="931626" y="328371"/>
                      </a:lnTo>
                      <a:cubicBezTo>
                        <a:pt x="931236" y="316846"/>
                        <a:pt x="928470" y="307893"/>
                        <a:pt x="923326" y="301512"/>
                      </a:cubicBezTo>
                      <a:cubicBezTo>
                        <a:pt x="918182" y="295131"/>
                        <a:pt x="911084" y="291940"/>
                        <a:pt x="902034" y="291940"/>
                      </a:cubicBezTo>
                      <a:close/>
                      <a:moveTo>
                        <a:pt x="467498" y="291940"/>
                      </a:moveTo>
                      <a:cubicBezTo>
                        <a:pt x="455712" y="291940"/>
                        <a:pt x="446320" y="295912"/>
                        <a:pt x="439320" y="303856"/>
                      </a:cubicBezTo>
                      <a:cubicBezTo>
                        <a:pt x="432320" y="311799"/>
                        <a:pt x="428820" y="322836"/>
                        <a:pt x="428820" y="336965"/>
                      </a:cubicBezTo>
                      <a:cubicBezTo>
                        <a:pt x="428820" y="350053"/>
                        <a:pt x="432238" y="360569"/>
                        <a:pt x="439076" y="368512"/>
                      </a:cubicBezTo>
                      <a:cubicBezTo>
                        <a:pt x="445912" y="376456"/>
                        <a:pt x="455256" y="380428"/>
                        <a:pt x="467106" y="380428"/>
                      </a:cubicBezTo>
                      <a:cubicBezTo>
                        <a:pt x="479152" y="380428"/>
                        <a:pt x="488430" y="376521"/>
                        <a:pt x="494942" y="368708"/>
                      </a:cubicBezTo>
                      <a:cubicBezTo>
                        <a:pt x="501454" y="360894"/>
                        <a:pt x="504708" y="350053"/>
                        <a:pt x="504708" y="336184"/>
                      </a:cubicBezTo>
                      <a:cubicBezTo>
                        <a:pt x="504708" y="321924"/>
                        <a:pt x="501470" y="310986"/>
                        <a:pt x="494990" y="303367"/>
                      </a:cubicBezTo>
                      <a:cubicBezTo>
                        <a:pt x="488512" y="295749"/>
                        <a:pt x="479348" y="291940"/>
                        <a:pt x="467498" y="291940"/>
                      </a:cubicBezTo>
                      <a:close/>
                      <a:moveTo>
                        <a:pt x="216234" y="291940"/>
                      </a:moveTo>
                      <a:cubicBezTo>
                        <a:pt x="206858" y="291940"/>
                        <a:pt x="199092" y="295082"/>
                        <a:pt x="192940" y="301365"/>
                      </a:cubicBezTo>
                      <a:cubicBezTo>
                        <a:pt x="186786" y="307649"/>
                        <a:pt x="182994" y="316650"/>
                        <a:pt x="181562" y="328371"/>
                      </a:cubicBezTo>
                      <a:lnTo>
                        <a:pt x="245826" y="328371"/>
                      </a:lnTo>
                      <a:cubicBezTo>
                        <a:pt x="245436" y="316846"/>
                        <a:pt x="242668" y="307893"/>
                        <a:pt x="237526" y="301512"/>
                      </a:cubicBezTo>
                      <a:cubicBezTo>
                        <a:pt x="232382" y="295131"/>
                        <a:pt x="225284" y="291940"/>
                        <a:pt x="216234" y="291940"/>
                      </a:cubicBezTo>
                      <a:close/>
                      <a:moveTo>
                        <a:pt x="115354" y="286775"/>
                      </a:moveTo>
                      <a:cubicBezTo>
                        <a:pt x="103700" y="286775"/>
                        <a:pt x="94682" y="290682"/>
                        <a:pt x="88300" y="298495"/>
                      </a:cubicBezTo>
                      <a:cubicBezTo>
                        <a:pt x="81920" y="306309"/>
                        <a:pt x="78728" y="315490"/>
                        <a:pt x="78728" y="326038"/>
                      </a:cubicBezTo>
                      <a:lnTo>
                        <a:pt x="78728" y="338637"/>
                      </a:lnTo>
                      <a:cubicBezTo>
                        <a:pt x="78728" y="348664"/>
                        <a:pt x="81888" y="357276"/>
                        <a:pt x="88204" y="364470"/>
                      </a:cubicBezTo>
                      <a:cubicBezTo>
                        <a:pt x="94518" y="371665"/>
                        <a:pt x="102820" y="375263"/>
                        <a:pt x="113108" y="375263"/>
                      </a:cubicBezTo>
                      <a:cubicBezTo>
                        <a:pt x="123332" y="375263"/>
                        <a:pt x="131632" y="370884"/>
                        <a:pt x="138014" y="362126"/>
                      </a:cubicBezTo>
                      <a:cubicBezTo>
                        <a:pt x="144396" y="353369"/>
                        <a:pt x="147586" y="341860"/>
                        <a:pt x="147586" y="327601"/>
                      </a:cubicBezTo>
                      <a:cubicBezTo>
                        <a:pt x="147586" y="315099"/>
                        <a:pt x="144656" y="305169"/>
                        <a:pt x="138796" y="297812"/>
                      </a:cubicBezTo>
                      <a:cubicBezTo>
                        <a:pt x="132936" y="290454"/>
                        <a:pt x="125122" y="286775"/>
                        <a:pt x="115354" y="286775"/>
                      </a:cubicBezTo>
                      <a:close/>
                      <a:moveTo>
                        <a:pt x="1798272" y="286178"/>
                      </a:moveTo>
                      <a:lnTo>
                        <a:pt x="1807258" y="286178"/>
                      </a:lnTo>
                      <a:lnTo>
                        <a:pt x="1807258" y="386190"/>
                      </a:lnTo>
                      <a:lnTo>
                        <a:pt x="1798272" y="386190"/>
                      </a:lnTo>
                      <a:close/>
                      <a:moveTo>
                        <a:pt x="1593708" y="286178"/>
                      </a:moveTo>
                      <a:lnTo>
                        <a:pt x="1603768" y="286178"/>
                      </a:lnTo>
                      <a:lnTo>
                        <a:pt x="1633556" y="365778"/>
                      </a:lnTo>
                      <a:cubicBezTo>
                        <a:pt x="1634988" y="369619"/>
                        <a:pt x="1635998" y="373103"/>
                        <a:pt x="1636584" y="376228"/>
                      </a:cubicBezTo>
                      <a:lnTo>
                        <a:pt x="1636974" y="376228"/>
                      </a:lnTo>
                      <a:cubicBezTo>
                        <a:pt x="1637822" y="372126"/>
                        <a:pt x="1638766" y="368773"/>
                        <a:pt x="1639806" y="366168"/>
                      </a:cubicBezTo>
                      <a:lnTo>
                        <a:pt x="1670572" y="286178"/>
                      </a:lnTo>
                      <a:lnTo>
                        <a:pt x="1680340" y="286178"/>
                      </a:lnTo>
                      <a:lnTo>
                        <a:pt x="1640588" y="386190"/>
                      </a:lnTo>
                      <a:lnTo>
                        <a:pt x="1632384" y="386190"/>
                      </a:lnTo>
                      <a:close/>
                      <a:moveTo>
                        <a:pt x="1317482" y="286178"/>
                      </a:moveTo>
                      <a:lnTo>
                        <a:pt x="1327542" y="286178"/>
                      </a:lnTo>
                      <a:lnTo>
                        <a:pt x="1357722" y="367633"/>
                      </a:lnTo>
                      <a:cubicBezTo>
                        <a:pt x="1358372" y="369391"/>
                        <a:pt x="1358828" y="370726"/>
                        <a:pt x="1359090" y="371638"/>
                      </a:cubicBezTo>
                      <a:cubicBezTo>
                        <a:pt x="1359350" y="372875"/>
                        <a:pt x="1359642" y="373982"/>
                        <a:pt x="1359968" y="374958"/>
                      </a:cubicBezTo>
                      <a:lnTo>
                        <a:pt x="1360358" y="374958"/>
                      </a:lnTo>
                      <a:lnTo>
                        <a:pt x="1362702" y="368219"/>
                      </a:lnTo>
                      <a:lnTo>
                        <a:pt x="1394934" y="286178"/>
                      </a:lnTo>
                      <a:lnTo>
                        <a:pt x="1404700" y="286178"/>
                      </a:lnTo>
                      <a:lnTo>
                        <a:pt x="1355964" y="406603"/>
                      </a:lnTo>
                      <a:cubicBezTo>
                        <a:pt x="1352318" y="415588"/>
                        <a:pt x="1348280" y="422262"/>
                        <a:pt x="1343852" y="426625"/>
                      </a:cubicBezTo>
                      <a:cubicBezTo>
                        <a:pt x="1339426" y="430987"/>
                        <a:pt x="1333728" y="433169"/>
                        <a:pt x="1326760" y="433169"/>
                      </a:cubicBezTo>
                      <a:cubicBezTo>
                        <a:pt x="1323830" y="433169"/>
                        <a:pt x="1321226" y="432713"/>
                        <a:pt x="1318948" y="431801"/>
                      </a:cubicBezTo>
                      <a:lnTo>
                        <a:pt x="1318948" y="422816"/>
                      </a:lnTo>
                      <a:cubicBezTo>
                        <a:pt x="1321292" y="423727"/>
                        <a:pt x="1324026" y="424183"/>
                        <a:pt x="1327152" y="424183"/>
                      </a:cubicBezTo>
                      <a:cubicBezTo>
                        <a:pt x="1335160" y="424183"/>
                        <a:pt x="1341476" y="418649"/>
                        <a:pt x="1346100" y="407580"/>
                      </a:cubicBezTo>
                      <a:lnTo>
                        <a:pt x="1355378" y="385409"/>
                      </a:lnTo>
                      <a:close/>
                      <a:moveTo>
                        <a:pt x="1121996" y="286178"/>
                      </a:moveTo>
                      <a:lnTo>
                        <a:pt x="1130982" y="286178"/>
                      </a:lnTo>
                      <a:lnTo>
                        <a:pt x="1130982" y="386190"/>
                      </a:lnTo>
                      <a:lnTo>
                        <a:pt x="1121996" y="386190"/>
                      </a:lnTo>
                      <a:close/>
                      <a:moveTo>
                        <a:pt x="1006808" y="284224"/>
                      </a:moveTo>
                      <a:cubicBezTo>
                        <a:pt x="1010520" y="284224"/>
                        <a:pt x="1013840" y="284810"/>
                        <a:pt x="1016770" y="285982"/>
                      </a:cubicBezTo>
                      <a:lnTo>
                        <a:pt x="1016770" y="295554"/>
                      </a:lnTo>
                      <a:cubicBezTo>
                        <a:pt x="1013776" y="293405"/>
                        <a:pt x="1010260" y="292331"/>
                        <a:pt x="1006222" y="292331"/>
                      </a:cubicBezTo>
                      <a:cubicBezTo>
                        <a:pt x="998344" y="292331"/>
                        <a:pt x="991734" y="296400"/>
                        <a:pt x="986396" y="304539"/>
                      </a:cubicBezTo>
                      <a:cubicBezTo>
                        <a:pt x="981056" y="312678"/>
                        <a:pt x="978386" y="324236"/>
                        <a:pt x="978386" y="339212"/>
                      </a:cubicBezTo>
                      <a:lnTo>
                        <a:pt x="978386" y="386190"/>
                      </a:lnTo>
                      <a:lnTo>
                        <a:pt x="969596" y="386190"/>
                      </a:lnTo>
                      <a:lnTo>
                        <a:pt x="969596" y="286178"/>
                      </a:lnTo>
                      <a:lnTo>
                        <a:pt x="978386" y="286178"/>
                      </a:lnTo>
                      <a:lnTo>
                        <a:pt x="978386" y="308348"/>
                      </a:lnTo>
                      <a:lnTo>
                        <a:pt x="978778" y="308348"/>
                      </a:lnTo>
                      <a:cubicBezTo>
                        <a:pt x="981056" y="300730"/>
                        <a:pt x="984670" y="294805"/>
                        <a:pt x="989618" y="290573"/>
                      </a:cubicBezTo>
                      <a:cubicBezTo>
                        <a:pt x="994568" y="286341"/>
                        <a:pt x="1000298" y="284224"/>
                        <a:pt x="1006808" y="284224"/>
                      </a:cubicBezTo>
                      <a:close/>
                      <a:moveTo>
                        <a:pt x="2159724" y="283736"/>
                      </a:moveTo>
                      <a:cubicBezTo>
                        <a:pt x="2172160" y="283736"/>
                        <a:pt x="2181700" y="288099"/>
                        <a:pt x="2188340" y="296824"/>
                      </a:cubicBezTo>
                      <a:cubicBezTo>
                        <a:pt x="2194982" y="305549"/>
                        <a:pt x="2198302" y="317464"/>
                        <a:pt x="2198302" y="332570"/>
                      </a:cubicBezTo>
                      <a:lnTo>
                        <a:pt x="2198302" y="336575"/>
                      </a:lnTo>
                      <a:lnTo>
                        <a:pt x="2124270" y="336575"/>
                      </a:lnTo>
                      <a:cubicBezTo>
                        <a:pt x="2124270" y="350313"/>
                        <a:pt x="2127444" y="361057"/>
                        <a:pt x="2133794" y="368805"/>
                      </a:cubicBezTo>
                      <a:cubicBezTo>
                        <a:pt x="2140142" y="376554"/>
                        <a:pt x="2148850" y="380428"/>
                        <a:pt x="2159920" y="380428"/>
                      </a:cubicBezTo>
                      <a:cubicBezTo>
                        <a:pt x="2171118" y="380428"/>
                        <a:pt x="2182058" y="376293"/>
                        <a:pt x="2192736" y="368024"/>
                      </a:cubicBezTo>
                      <a:lnTo>
                        <a:pt x="2192736" y="377595"/>
                      </a:lnTo>
                      <a:cubicBezTo>
                        <a:pt x="2182382" y="384953"/>
                        <a:pt x="2170826" y="388632"/>
                        <a:pt x="2158064" y="388632"/>
                      </a:cubicBezTo>
                      <a:cubicBezTo>
                        <a:pt x="2145172" y="388632"/>
                        <a:pt x="2134754" y="384009"/>
                        <a:pt x="2126810" y="374763"/>
                      </a:cubicBezTo>
                      <a:cubicBezTo>
                        <a:pt x="2118866" y="365517"/>
                        <a:pt x="2114894" y="352462"/>
                        <a:pt x="2114894" y="335598"/>
                      </a:cubicBezTo>
                      <a:cubicBezTo>
                        <a:pt x="2114894" y="321013"/>
                        <a:pt x="2119046" y="308723"/>
                        <a:pt x="2127346" y="298728"/>
                      </a:cubicBezTo>
                      <a:cubicBezTo>
                        <a:pt x="2135648" y="288733"/>
                        <a:pt x="2146442" y="283736"/>
                        <a:pt x="2159724" y="283736"/>
                      </a:cubicBezTo>
                      <a:close/>
                      <a:moveTo>
                        <a:pt x="1910902" y="283736"/>
                      </a:moveTo>
                      <a:cubicBezTo>
                        <a:pt x="1921190" y="283736"/>
                        <a:pt x="1929150" y="286927"/>
                        <a:pt x="1934782" y="293308"/>
                      </a:cubicBezTo>
                      <a:cubicBezTo>
                        <a:pt x="1940414" y="299689"/>
                        <a:pt x="1943230" y="308967"/>
                        <a:pt x="1943230" y="321143"/>
                      </a:cubicBezTo>
                      <a:lnTo>
                        <a:pt x="1943230" y="386190"/>
                      </a:lnTo>
                      <a:lnTo>
                        <a:pt x="1934244" y="386190"/>
                      </a:lnTo>
                      <a:lnTo>
                        <a:pt x="1934244" y="366168"/>
                      </a:lnTo>
                      <a:lnTo>
                        <a:pt x="1933854" y="366168"/>
                      </a:lnTo>
                      <a:cubicBezTo>
                        <a:pt x="1930664" y="373005"/>
                        <a:pt x="1926024" y="378458"/>
                        <a:pt x="1919936" y="382528"/>
                      </a:cubicBezTo>
                      <a:cubicBezTo>
                        <a:pt x="1913848" y="386597"/>
                        <a:pt x="1907092" y="388632"/>
                        <a:pt x="1899670" y="388632"/>
                      </a:cubicBezTo>
                      <a:cubicBezTo>
                        <a:pt x="1890164" y="388632"/>
                        <a:pt x="1882644" y="385962"/>
                        <a:pt x="1877108" y="380623"/>
                      </a:cubicBezTo>
                      <a:cubicBezTo>
                        <a:pt x="1871574" y="375284"/>
                        <a:pt x="1868806" y="368545"/>
                        <a:pt x="1868806" y="360406"/>
                      </a:cubicBezTo>
                      <a:cubicBezTo>
                        <a:pt x="1868806" y="342956"/>
                        <a:pt x="1880364" y="332407"/>
                        <a:pt x="1903478" y="328761"/>
                      </a:cubicBezTo>
                      <a:lnTo>
                        <a:pt x="1934244" y="324171"/>
                      </a:lnTo>
                      <a:cubicBezTo>
                        <a:pt x="1934244" y="302684"/>
                        <a:pt x="1926170" y="291940"/>
                        <a:pt x="1910022" y="291940"/>
                      </a:cubicBezTo>
                      <a:cubicBezTo>
                        <a:pt x="1899018" y="291940"/>
                        <a:pt x="1888308" y="296368"/>
                        <a:pt x="1877890" y="305223"/>
                      </a:cubicBezTo>
                      <a:lnTo>
                        <a:pt x="1877890" y="294382"/>
                      </a:lnTo>
                      <a:cubicBezTo>
                        <a:pt x="1881602" y="291452"/>
                        <a:pt x="1886632" y="288945"/>
                        <a:pt x="1892980" y="286861"/>
                      </a:cubicBezTo>
                      <a:cubicBezTo>
                        <a:pt x="1899328" y="284778"/>
                        <a:pt x="1905302" y="283736"/>
                        <a:pt x="1910902" y="283736"/>
                      </a:cubicBezTo>
                      <a:close/>
                      <a:moveTo>
                        <a:pt x="1739452" y="283736"/>
                      </a:moveTo>
                      <a:cubicBezTo>
                        <a:pt x="1749740" y="283736"/>
                        <a:pt x="1757700" y="286927"/>
                        <a:pt x="1763332" y="293308"/>
                      </a:cubicBezTo>
                      <a:cubicBezTo>
                        <a:pt x="1768964" y="299689"/>
                        <a:pt x="1771780" y="308967"/>
                        <a:pt x="1771780" y="321143"/>
                      </a:cubicBezTo>
                      <a:lnTo>
                        <a:pt x="1771780" y="386190"/>
                      </a:lnTo>
                      <a:lnTo>
                        <a:pt x="1762794" y="386190"/>
                      </a:lnTo>
                      <a:lnTo>
                        <a:pt x="1762794" y="366168"/>
                      </a:lnTo>
                      <a:lnTo>
                        <a:pt x="1762404" y="366168"/>
                      </a:lnTo>
                      <a:cubicBezTo>
                        <a:pt x="1759214" y="373005"/>
                        <a:pt x="1754574" y="378458"/>
                        <a:pt x="1748486" y="382528"/>
                      </a:cubicBezTo>
                      <a:cubicBezTo>
                        <a:pt x="1742398" y="386597"/>
                        <a:pt x="1735644" y="388632"/>
                        <a:pt x="1728220" y="388632"/>
                      </a:cubicBezTo>
                      <a:cubicBezTo>
                        <a:pt x="1718714" y="388632"/>
                        <a:pt x="1711194" y="385962"/>
                        <a:pt x="1705658" y="380623"/>
                      </a:cubicBezTo>
                      <a:cubicBezTo>
                        <a:pt x="1700124" y="375284"/>
                        <a:pt x="1697358" y="368545"/>
                        <a:pt x="1697358" y="360406"/>
                      </a:cubicBezTo>
                      <a:cubicBezTo>
                        <a:pt x="1697358" y="342956"/>
                        <a:pt x="1708914" y="332407"/>
                        <a:pt x="1732030" y="328761"/>
                      </a:cubicBezTo>
                      <a:lnTo>
                        <a:pt x="1762794" y="324171"/>
                      </a:lnTo>
                      <a:cubicBezTo>
                        <a:pt x="1762794" y="302684"/>
                        <a:pt x="1754720" y="291940"/>
                        <a:pt x="1738574" y="291940"/>
                      </a:cubicBezTo>
                      <a:cubicBezTo>
                        <a:pt x="1727570" y="291940"/>
                        <a:pt x="1716858" y="296368"/>
                        <a:pt x="1706440" y="305223"/>
                      </a:cubicBezTo>
                      <a:lnTo>
                        <a:pt x="1706440" y="294382"/>
                      </a:lnTo>
                      <a:cubicBezTo>
                        <a:pt x="1710152" y="291452"/>
                        <a:pt x="1715182" y="288945"/>
                        <a:pt x="1721530" y="286861"/>
                      </a:cubicBezTo>
                      <a:cubicBezTo>
                        <a:pt x="1727878" y="284778"/>
                        <a:pt x="1733852" y="283736"/>
                        <a:pt x="1739452" y="283736"/>
                      </a:cubicBezTo>
                      <a:close/>
                      <a:moveTo>
                        <a:pt x="1548952" y="283736"/>
                      </a:moveTo>
                      <a:cubicBezTo>
                        <a:pt x="1559240" y="283736"/>
                        <a:pt x="1567200" y="286927"/>
                        <a:pt x="1572832" y="293308"/>
                      </a:cubicBezTo>
                      <a:cubicBezTo>
                        <a:pt x="1578464" y="299689"/>
                        <a:pt x="1581280" y="308967"/>
                        <a:pt x="1581280" y="321143"/>
                      </a:cubicBezTo>
                      <a:lnTo>
                        <a:pt x="1581280" y="386190"/>
                      </a:lnTo>
                      <a:lnTo>
                        <a:pt x="1572294" y="386190"/>
                      </a:lnTo>
                      <a:lnTo>
                        <a:pt x="1572294" y="366168"/>
                      </a:lnTo>
                      <a:lnTo>
                        <a:pt x="1571904" y="366168"/>
                      </a:lnTo>
                      <a:cubicBezTo>
                        <a:pt x="1568714" y="373005"/>
                        <a:pt x="1564074" y="378458"/>
                        <a:pt x="1557986" y="382528"/>
                      </a:cubicBezTo>
                      <a:cubicBezTo>
                        <a:pt x="1551898" y="386597"/>
                        <a:pt x="1545142" y="388632"/>
                        <a:pt x="1537720" y="388632"/>
                      </a:cubicBezTo>
                      <a:cubicBezTo>
                        <a:pt x="1528214" y="388632"/>
                        <a:pt x="1520694" y="385962"/>
                        <a:pt x="1515158" y="380623"/>
                      </a:cubicBezTo>
                      <a:cubicBezTo>
                        <a:pt x="1509624" y="375284"/>
                        <a:pt x="1506856" y="368545"/>
                        <a:pt x="1506856" y="360406"/>
                      </a:cubicBezTo>
                      <a:cubicBezTo>
                        <a:pt x="1506856" y="342956"/>
                        <a:pt x="1518414" y="332407"/>
                        <a:pt x="1541530" y="328761"/>
                      </a:cubicBezTo>
                      <a:lnTo>
                        <a:pt x="1572294" y="324171"/>
                      </a:lnTo>
                      <a:cubicBezTo>
                        <a:pt x="1572294" y="302684"/>
                        <a:pt x="1564220" y="291940"/>
                        <a:pt x="1548074" y="291940"/>
                      </a:cubicBezTo>
                      <a:cubicBezTo>
                        <a:pt x="1537070" y="291940"/>
                        <a:pt x="1526358" y="296368"/>
                        <a:pt x="1515940" y="305223"/>
                      </a:cubicBezTo>
                      <a:lnTo>
                        <a:pt x="1515940" y="294382"/>
                      </a:lnTo>
                      <a:cubicBezTo>
                        <a:pt x="1519652" y="291452"/>
                        <a:pt x="1524682" y="288945"/>
                        <a:pt x="1531030" y="286861"/>
                      </a:cubicBezTo>
                      <a:cubicBezTo>
                        <a:pt x="1537378" y="284778"/>
                        <a:pt x="1543352" y="283736"/>
                        <a:pt x="1548952" y="283736"/>
                      </a:cubicBezTo>
                      <a:close/>
                      <a:moveTo>
                        <a:pt x="1196526" y="283736"/>
                      </a:moveTo>
                      <a:cubicBezTo>
                        <a:pt x="1206814" y="283736"/>
                        <a:pt x="1214774" y="286927"/>
                        <a:pt x="1220406" y="293308"/>
                      </a:cubicBezTo>
                      <a:cubicBezTo>
                        <a:pt x="1226038" y="299689"/>
                        <a:pt x="1228856" y="308967"/>
                        <a:pt x="1228856" y="321143"/>
                      </a:cubicBezTo>
                      <a:lnTo>
                        <a:pt x="1228856" y="386190"/>
                      </a:lnTo>
                      <a:lnTo>
                        <a:pt x="1219870" y="386190"/>
                      </a:lnTo>
                      <a:lnTo>
                        <a:pt x="1219870" y="366168"/>
                      </a:lnTo>
                      <a:lnTo>
                        <a:pt x="1219478" y="366168"/>
                      </a:lnTo>
                      <a:cubicBezTo>
                        <a:pt x="1216288" y="373005"/>
                        <a:pt x="1211650" y="378458"/>
                        <a:pt x="1205562" y="382528"/>
                      </a:cubicBezTo>
                      <a:cubicBezTo>
                        <a:pt x="1199474" y="386597"/>
                        <a:pt x="1192718" y="388632"/>
                        <a:pt x="1185294" y="388632"/>
                      </a:cubicBezTo>
                      <a:cubicBezTo>
                        <a:pt x="1175788" y="388632"/>
                        <a:pt x="1168268" y="385962"/>
                        <a:pt x="1162734" y="380623"/>
                      </a:cubicBezTo>
                      <a:cubicBezTo>
                        <a:pt x="1157198" y="375284"/>
                        <a:pt x="1154432" y="368545"/>
                        <a:pt x="1154432" y="360406"/>
                      </a:cubicBezTo>
                      <a:cubicBezTo>
                        <a:pt x="1154432" y="342956"/>
                        <a:pt x="1165990" y="332407"/>
                        <a:pt x="1189104" y="328761"/>
                      </a:cubicBezTo>
                      <a:lnTo>
                        <a:pt x="1219870" y="324171"/>
                      </a:lnTo>
                      <a:cubicBezTo>
                        <a:pt x="1219870" y="302684"/>
                        <a:pt x="1211796" y="291940"/>
                        <a:pt x="1195648" y="291940"/>
                      </a:cubicBezTo>
                      <a:cubicBezTo>
                        <a:pt x="1184644" y="291940"/>
                        <a:pt x="1173934" y="296368"/>
                        <a:pt x="1163514" y="305223"/>
                      </a:cubicBezTo>
                      <a:lnTo>
                        <a:pt x="1163514" y="294382"/>
                      </a:lnTo>
                      <a:cubicBezTo>
                        <a:pt x="1167226" y="291452"/>
                        <a:pt x="1172256" y="288945"/>
                        <a:pt x="1178604" y="286861"/>
                      </a:cubicBezTo>
                      <a:cubicBezTo>
                        <a:pt x="1184954" y="284778"/>
                        <a:pt x="1190928" y="283736"/>
                        <a:pt x="1196526" y="283736"/>
                      </a:cubicBezTo>
                      <a:close/>
                      <a:moveTo>
                        <a:pt x="1079246" y="283736"/>
                      </a:moveTo>
                      <a:cubicBezTo>
                        <a:pt x="1086864" y="283736"/>
                        <a:pt x="1094254" y="285299"/>
                        <a:pt x="1101416" y="288424"/>
                      </a:cubicBezTo>
                      <a:lnTo>
                        <a:pt x="1101416" y="298582"/>
                      </a:lnTo>
                      <a:cubicBezTo>
                        <a:pt x="1094254" y="294154"/>
                        <a:pt x="1086408" y="291940"/>
                        <a:pt x="1077878" y="291940"/>
                      </a:cubicBezTo>
                      <a:cubicBezTo>
                        <a:pt x="1066158" y="291940"/>
                        <a:pt x="1056652" y="296156"/>
                        <a:pt x="1049360" y="304588"/>
                      </a:cubicBezTo>
                      <a:cubicBezTo>
                        <a:pt x="1042066" y="313020"/>
                        <a:pt x="1038420" y="323943"/>
                        <a:pt x="1038420" y="337356"/>
                      </a:cubicBezTo>
                      <a:cubicBezTo>
                        <a:pt x="1038420" y="350313"/>
                        <a:pt x="1041758" y="360731"/>
                        <a:pt x="1048432" y="368610"/>
                      </a:cubicBezTo>
                      <a:cubicBezTo>
                        <a:pt x="1055106" y="376488"/>
                        <a:pt x="1063912" y="380428"/>
                        <a:pt x="1074850" y="380428"/>
                      </a:cubicBezTo>
                      <a:cubicBezTo>
                        <a:pt x="1084878" y="380428"/>
                        <a:pt x="1093602" y="377758"/>
                        <a:pt x="1101026" y="372419"/>
                      </a:cubicBezTo>
                      <a:lnTo>
                        <a:pt x="1101026" y="381795"/>
                      </a:lnTo>
                      <a:cubicBezTo>
                        <a:pt x="1093602" y="386353"/>
                        <a:pt x="1084748" y="388632"/>
                        <a:pt x="1074460" y="388632"/>
                      </a:cubicBezTo>
                      <a:cubicBezTo>
                        <a:pt x="1060852" y="388632"/>
                        <a:pt x="1049880" y="383960"/>
                        <a:pt x="1041546" y="374617"/>
                      </a:cubicBezTo>
                      <a:cubicBezTo>
                        <a:pt x="1033212" y="365273"/>
                        <a:pt x="1029044" y="353048"/>
                        <a:pt x="1029044" y="337942"/>
                      </a:cubicBezTo>
                      <a:cubicBezTo>
                        <a:pt x="1029044" y="322055"/>
                        <a:pt x="1033732" y="309048"/>
                        <a:pt x="1043108" y="298923"/>
                      </a:cubicBezTo>
                      <a:cubicBezTo>
                        <a:pt x="1052484" y="288798"/>
                        <a:pt x="1064530" y="283736"/>
                        <a:pt x="1079246" y="283736"/>
                      </a:cubicBezTo>
                      <a:close/>
                      <a:moveTo>
                        <a:pt x="902424" y="283736"/>
                      </a:moveTo>
                      <a:cubicBezTo>
                        <a:pt x="914860" y="283736"/>
                        <a:pt x="924400" y="288099"/>
                        <a:pt x="931040" y="296824"/>
                      </a:cubicBezTo>
                      <a:cubicBezTo>
                        <a:pt x="937682" y="305549"/>
                        <a:pt x="941004" y="317464"/>
                        <a:pt x="941004" y="332570"/>
                      </a:cubicBezTo>
                      <a:lnTo>
                        <a:pt x="941004" y="336575"/>
                      </a:lnTo>
                      <a:lnTo>
                        <a:pt x="866970" y="336575"/>
                      </a:lnTo>
                      <a:cubicBezTo>
                        <a:pt x="866970" y="350313"/>
                        <a:pt x="870144" y="361057"/>
                        <a:pt x="876494" y="368805"/>
                      </a:cubicBezTo>
                      <a:cubicBezTo>
                        <a:pt x="882842" y="376554"/>
                        <a:pt x="891550" y="380428"/>
                        <a:pt x="902620" y="380428"/>
                      </a:cubicBezTo>
                      <a:cubicBezTo>
                        <a:pt x="913818" y="380428"/>
                        <a:pt x="924758" y="376293"/>
                        <a:pt x="935436" y="368024"/>
                      </a:cubicBezTo>
                      <a:lnTo>
                        <a:pt x="935436" y="377595"/>
                      </a:lnTo>
                      <a:cubicBezTo>
                        <a:pt x="925084" y="384953"/>
                        <a:pt x="913526" y="388632"/>
                        <a:pt x="900764" y="388632"/>
                      </a:cubicBezTo>
                      <a:cubicBezTo>
                        <a:pt x="887872" y="388632"/>
                        <a:pt x="877454" y="384009"/>
                        <a:pt x="869510" y="374763"/>
                      </a:cubicBezTo>
                      <a:cubicBezTo>
                        <a:pt x="861566" y="365517"/>
                        <a:pt x="857594" y="352462"/>
                        <a:pt x="857594" y="335598"/>
                      </a:cubicBezTo>
                      <a:cubicBezTo>
                        <a:pt x="857594" y="321013"/>
                        <a:pt x="861746" y="308723"/>
                        <a:pt x="870046" y="298728"/>
                      </a:cubicBezTo>
                      <a:cubicBezTo>
                        <a:pt x="878348" y="288733"/>
                        <a:pt x="889142" y="283736"/>
                        <a:pt x="902424" y="283736"/>
                      </a:cubicBezTo>
                      <a:close/>
                      <a:moveTo>
                        <a:pt x="742844" y="283736"/>
                      </a:moveTo>
                      <a:cubicBezTo>
                        <a:pt x="750136" y="283736"/>
                        <a:pt x="756370" y="285836"/>
                        <a:pt x="761546" y="290036"/>
                      </a:cubicBezTo>
                      <a:cubicBezTo>
                        <a:pt x="766724" y="294235"/>
                        <a:pt x="770222" y="299754"/>
                        <a:pt x="772046" y="306590"/>
                      </a:cubicBezTo>
                      <a:cubicBezTo>
                        <a:pt x="775172" y="299363"/>
                        <a:pt x="779648" y="293747"/>
                        <a:pt x="785476" y="289743"/>
                      </a:cubicBezTo>
                      <a:cubicBezTo>
                        <a:pt x="791302" y="285738"/>
                        <a:pt x="797634" y="283736"/>
                        <a:pt x="804472" y="283736"/>
                      </a:cubicBezTo>
                      <a:cubicBezTo>
                        <a:pt x="826350" y="283736"/>
                        <a:pt x="837288" y="297279"/>
                        <a:pt x="837288" y="324366"/>
                      </a:cubicBezTo>
                      <a:lnTo>
                        <a:pt x="837288" y="386190"/>
                      </a:lnTo>
                      <a:lnTo>
                        <a:pt x="828302" y="386190"/>
                      </a:lnTo>
                      <a:lnTo>
                        <a:pt x="828302" y="326026"/>
                      </a:lnTo>
                      <a:cubicBezTo>
                        <a:pt x="828302" y="313460"/>
                        <a:pt x="826334" y="304637"/>
                        <a:pt x="822394" y="299558"/>
                      </a:cubicBezTo>
                      <a:cubicBezTo>
                        <a:pt x="818454" y="294480"/>
                        <a:pt x="812220" y="291940"/>
                        <a:pt x="803690" y="291940"/>
                      </a:cubicBezTo>
                      <a:cubicBezTo>
                        <a:pt x="795812" y="291940"/>
                        <a:pt x="789008" y="295326"/>
                        <a:pt x="783278" y="302098"/>
                      </a:cubicBezTo>
                      <a:cubicBezTo>
                        <a:pt x="777548" y="308869"/>
                        <a:pt x="774682" y="317367"/>
                        <a:pt x="774682" y="327589"/>
                      </a:cubicBezTo>
                      <a:lnTo>
                        <a:pt x="774682" y="386190"/>
                      </a:lnTo>
                      <a:lnTo>
                        <a:pt x="765698" y="386190"/>
                      </a:lnTo>
                      <a:lnTo>
                        <a:pt x="765698" y="325343"/>
                      </a:lnTo>
                      <a:cubicBezTo>
                        <a:pt x="765698" y="303074"/>
                        <a:pt x="757234" y="291940"/>
                        <a:pt x="740304" y="291940"/>
                      </a:cubicBezTo>
                      <a:cubicBezTo>
                        <a:pt x="732164" y="291940"/>
                        <a:pt x="725392" y="295342"/>
                        <a:pt x="719988" y="302147"/>
                      </a:cubicBezTo>
                      <a:cubicBezTo>
                        <a:pt x="714584" y="308951"/>
                        <a:pt x="711882" y="317757"/>
                        <a:pt x="711882" y="328566"/>
                      </a:cubicBezTo>
                      <a:lnTo>
                        <a:pt x="711882" y="386190"/>
                      </a:lnTo>
                      <a:lnTo>
                        <a:pt x="702896" y="386190"/>
                      </a:lnTo>
                      <a:lnTo>
                        <a:pt x="702896" y="286178"/>
                      </a:lnTo>
                      <a:lnTo>
                        <a:pt x="711882" y="286178"/>
                      </a:lnTo>
                      <a:lnTo>
                        <a:pt x="711882" y="302781"/>
                      </a:lnTo>
                      <a:lnTo>
                        <a:pt x="712272" y="302781"/>
                      </a:lnTo>
                      <a:cubicBezTo>
                        <a:pt x="719240" y="290084"/>
                        <a:pt x="729430" y="283736"/>
                        <a:pt x="742844" y="283736"/>
                      </a:cubicBezTo>
                      <a:close/>
                      <a:moveTo>
                        <a:pt x="580918" y="283736"/>
                      </a:moveTo>
                      <a:cubicBezTo>
                        <a:pt x="588210" y="283736"/>
                        <a:pt x="594446" y="285836"/>
                        <a:pt x="599622" y="290036"/>
                      </a:cubicBezTo>
                      <a:cubicBezTo>
                        <a:pt x="604798" y="294235"/>
                        <a:pt x="608298" y="299754"/>
                        <a:pt x="610120" y="306590"/>
                      </a:cubicBezTo>
                      <a:cubicBezTo>
                        <a:pt x="613246" y="299363"/>
                        <a:pt x="617722" y="293747"/>
                        <a:pt x="623550" y="289743"/>
                      </a:cubicBezTo>
                      <a:cubicBezTo>
                        <a:pt x="629378" y="285738"/>
                        <a:pt x="635710" y="283736"/>
                        <a:pt x="642546" y="283736"/>
                      </a:cubicBezTo>
                      <a:cubicBezTo>
                        <a:pt x="664424" y="283736"/>
                        <a:pt x="675364" y="297279"/>
                        <a:pt x="675364" y="324366"/>
                      </a:cubicBezTo>
                      <a:lnTo>
                        <a:pt x="675364" y="386190"/>
                      </a:lnTo>
                      <a:lnTo>
                        <a:pt x="666378" y="386190"/>
                      </a:lnTo>
                      <a:lnTo>
                        <a:pt x="666378" y="326026"/>
                      </a:lnTo>
                      <a:cubicBezTo>
                        <a:pt x="666378" y="313460"/>
                        <a:pt x="664408" y="304637"/>
                        <a:pt x="660470" y="299558"/>
                      </a:cubicBezTo>
                      <a:cubicBezTo>
                        <a:pt x="656530" y="294480"/>
                        <a:pt x="650296" y="291940"/>
                        <a:pt x="641766" y="291940"/>
                      </a:cubicBezTo>
                      <a:cubicBezTo>
                        <a:pt x="633886" y="291940"/>
                        <a:pt x="627082" y="295326"/>
                        <a:pt x="621352" y="302098"/>
                      </a:cubicBezTo>
                      <a:cubicBezTo>
                        <a:pt x="615622" y="308869"/>
                        <a:pt x="612758" y="317367"/>
                        <a:pt x="612758" y="327589"/>
                      </a:cubicBezTo>
                      <a:lnTo>
                        <a:pt x="612758" y="386190"/>
                      </a:lnTo>
                      <a:lnTo>
                        <a:pt x="603772" y="386190"/>
                      </a:lnTo>
                      <a:lnTo>
                        <a:pt x="603772" y="325343"/>
                      </a:lnTo>
                      <a:cubicBezTo>
                        <a:pt x="603772" y="303074"/>
                        <a:pt x="595308" y="291940"/>
                        <a:pt x="578378" y="291940"/>
                      </a:cubicBezTo>
                      <a:cubicBezTo>
                        <a:pt x="570240" y="291940"/>
                        <a:pt x="563468" y="295342"/>
                        <a:pt x="558064" y="302147"/>
                      </a:cubicBezTo>
                      <a:cubicBezTo>
                        <a:pt x="552660" y="308951"/>
                        <a:pt x="549958" y="317757"/>
                        <a:pt x="549958" y="328566"/>
                      </a:cubicBezTo>
                      <a:lnTo>
                        <a:pt x="549958" y="386190"/>
                      </a:lnTo>
                      <a:lnTo>
                        <a:pt x="540972" y="386190"/>
                      </a:lnTo>
                      <a:lnTo>
                        <a:pt x="540972" y="286178"/>
                      </a:lnTo>
                      <a:lnTo>
                        <a:pt x="549958" y="286178"/>
                      </a:lnTo>
                      <a:lnTo>
                        <a:pt x="549958" y="302781"/>
                      </a:lnTo>
                      <a:lnTo>
                        <a:pt x="550348" y="302781"/>
                      </a:lnTo>
                      <a:cubicBezTo>
                        <a:pt x="557314" y="290084"/>
                        <a:pt x="567504" y="283736"/>
                        <a:pt x="580918" y="283736"/>
                      </a:cubicBezTo>
                      <a:close/>
                      <a:moveTo>
                        <a:pt x="467888" y="283736"/>
                      </a:moveTo>
                      <a:cubicBezTo>
                        <a:pt x="482148" y="283736"/>
                        <a:pt x="493412" y="288392"/>
                        <a:pt x="501682" y="297703"/>
                      </a:cubicBezTo>
                      <a:cubicBezTo>
                        <a:pt x="509950" y="307014"/>
                        <a:pt x="514086" y="319906"/>
                        <a:pt x="514086" y="336379"/>
                      </a:cubicBezTo>
                      <a:cubicBezTo>
                        <a:pt x="514086" y="351941"/>
                        <a:pt x="509870" y="364540"/>
                        <a:pt x="501436" y="374177"/>
                      </a:cubicBezTo>
                      <a:cubicBezTo>
                        <a:pt x="493004" y="383814"/>
                        <a:pt x="481464" y="388632"/>
                        <a:pt x="466814" y="388632"/>
                      </a:cubicBezTo>
                      <a:cubicBezTo>
                        <a:pt x="452228" y="388632"/>
                        <a:pt x="440688" y="383830"/>
                        <a:pt x="432190" y="374226"/>
                      </a:cubicBezTo>
                      <a:cubicBezTo>
                        <a:pt x="423692" y="364622"/>
                        <a:pt x="419444" y="352136"/>
                        <a:pt x="419444" y="336770"/>
                      </a:cubicBezTo>
                      <a:cubicBezTo>
                        <a:pt x="419444" y="320166"/>
                        <a:pt x="423888" y="307176"/>
                        <a:pt x="432776" y="297800"/>
                      </a:cubicBezTo>
                      <a:cubicBezTo>
                        <a:pt x="441664" y="288424"/>
                        <a:pt x="453368" y="283736"/>
                        <a:pt x="467888" y="283736"/>
                      </a:cubicBezTo>
                      <a:close/>
                      <a:moveTo>
                        <a:pt x="383920" y="283736"/>
                      </a:moveTo>
                      <a:cubicBezTo>
                        <a:pt x="391538" y="283736"/>
                        <a:pt x="398930" y="285299"/>
                        <a:pt x="406092" y="288424"/>
                      </a:cubicBezTo>
                      <a:lnTo>
                        <a:pt x="406092" y="298582"/>
                      </a:lnTo>
                      <a:cubicBezTo>
                        <a:pt x="398930" y="294154"/>
                        <a:pt x="391084" y="291940"/>
                        <a:pt x="382554" y="291940"/>
                      </a:cubicBezTo>
                      <a:cubicBezTo>
                        <a:pt x="370834" y="291940"/>
                        <a:pt x="361326" y="296156"/>
                        <a:pt x="354034" y="304588"/>
                      </a:cubicBezTo>
                      <a:cubicBezTo>
                        <a:pt x="346742" y="313020"/>
                        <a:pt x="343096" y="323943"/>
                        <a:pt x="343096" y="337356"/>
                      </a:cubicBezTo>
                      <a:cubicBezTo>
                        <a:pt x="343096" y="350313"/>
                        <a:pt x="346432" y="360731"/>
                        <a:pt x="353106" y="368610"/>
                      </a:cubicBezTo>
                      <a:cubicBezTo>
                        <a:pt x="359780" y="376488"/>
                        <a:pt x="368586" y="380428"/>
                        <a:pt x="379526" y="380428"/>
                      </a:cubicBezTo>
                      <a:cubicBezTo>
                        <a:pt x="389552" y="380428"/>
                        <a:pt x="398278" y="377758"/>
                        <a:pt x="405700" y="372419"/>
                      </a:cubicBezTo>
                      <a:lnTo>
                        <a:pt x="405700" y="381795"/>
                      </a:lnTo>
                      <a:cubicBezTo>
                        <a:pt x="398278" y="386353"/>
                        <a:pt x="389422" y="388632"/>
                        <a:pt x="379136" y="388632"/>
                      </a:cubicBezTo>
                      <a:cubicBezTo>
                        <a:pt x="365526" y="388632"/>
                        <a:pt x="354556" y="383960"/>
                        <a:pt x="346220" y="374617"/>
                      </a:cubicBezTo>
                      <a:cubicBezTo>
                        <a:pt x="337886" y="365273"/>
                        <a:pt x="333720" y="353048"/>
                        <a:pt x="333720" y="337942"/>
                      </a:cubicBezTo>
                      <a:cubicBezTo>
                        <a:pt x="333720" y="322055"/>
                        <a:pt x="338408" y="309048"/>
                        <a:pt x="347784" y="298923"/>
                      </a:cubicBezTo>
                      <a:cubicBezTo>
                        <a:pt x="357160" y="288798"/>
                        <a:pt x="369206" y="283736"/>
                        <a:pt x="383920" y="283736"/>
                      </a:cubicBezTo>
                      <a:close/>
                      <a:moveTo>
                        <a:pt x="216624" y="283736"/>
                      </a:moveTo>
                      <a:cubicBezTo>
                        <a:pt x="229060" y="283736"/>
                        <a:pt x="238600" y="288099"/>
                        <a:pt x="245240" y="296824"/>
                      </a:cubicBezTo>
                      <a:cubicBezTo>
                        <a:pt x="251882" y="305549"/>
                        <a:pt x="255204" y="317464"/>
                        <a:pt x="255204" y="332570"/>
                      </a:cubicBezTo>
                      <a:lnTo>
                        <a:pt x="255204" y="336575"/>
                      </a:lnTo>
                      <a:lnTo>
                        <a:pt x="181170" y="336575"/>
                      </a:lnTo>
                      <a:cubicBezTo>
                        <a:pt x="181170" y="350313"/>
                        <a:pt x="184344" y="361057"/>
                        <a:pt x="190694" y="368805"/>
                      </a:cubicBezTo>
                      <a:cubicBezTo>
                        <a:pt x="197042" y="376554"/>
                        <a:pt x="205750" y="380428"/>
                        <a:pt x="216820" y="380428"/>
                      </a:cubicBezTo>
                      <a:cubicBezTo>
                        <a:pt x="228018" y="380428"/>
                        <a:pt x="238958" y="376293"/>
                        <a:pt x="249636" y="368024"/>
                      </a:cubicBezTo>
                      <a:lnTo>
                        <a:pt x="249636" y="377595"/>
                      </a:lnTo>
                      <a:cubicBezTo>
                        <a:pt x="239282" y="384953"/>
                        <a:pt x="227726" y="388632"/>
                        <a:pt x="214964" y="388632"/>
                      </a:cubicBezTo>
                      <a:cubicBezTo>
                        <a:pt x="202072" y="388632"/>
                        <a:pt x="191654" y="384009"/>
                        <a:pt x="183710" y="374763"/>
                      </a:cubicBezTo>
                      <a:cubicBezTo>
                        <a:pt x="175766" y="365517"/>
                        <a:pt x="171794" y="352462"/>
                        <a:pt x="171794" y="335598"/>
                      </a:cubicBezTo>
                      <a:cubicBezTo>
                        <a:pt x="171794" y="321013"/>
                        <a:pt x="175946" y="308723"/>
                        <a:pt x="184246" y="298728"/>
                      </a:cubicBezTo>
                      <a:cubicBezTo>
                        <a:pt x="192548" y="288733"/>
                        <a:pt x="203342" y="283736"/>
                        <a:pt x="216624" y="283736"/>
                      </a:cubicBezTo>
                      <a:close/>
                      <a:moveTo>
                        <a:pt x="1802666" y="246134"/>
                      </a:moveTo>
                      <a:cubicBezTo>
                        <a:pt x="1804686" y="246134"/>
                        <a:pt x="1806460" y="246785"/>
                        <a:pt x="1807990" y="248087"/>
                      </a:cubicBezTo>
                      <a:cubicBezTo>
                        <a:pt x="1809520" y="249389"/>
                        <a:pt x="1810284" y="251147"/>
                        <a:pt x="1810284" y="253361"/>
                      </a:cubicBezTo>
                      <a:cubicBezTo>
                        <a:pt x="1810284" y="255445"/>
                        <a:pt x="1809536" y="257235"/>
                        <a:pt x="1808038" y="258733"/>
                      </a:cubicBezTo>
                      <a:cubicBezTo>
                        <a:pt x="1806540" y="260230"/>
                        <a:pt x="1804750" y="260979"/>
                        <a:pt x="1802666" y="260979"/>
                      </a:cubicBezTo>
                      <a:cubicBezTo>
                        <a:pt x="1800714" y="260979"/>
                        <a:pt x="1798988" y="260263"/>
                        <a:pt x="1797490" y="258831"/>
                      </a:cubicBezTo>
                      <a:cubicBezTo>
                        <a:pt x="1795992" y="257398"/>
                        <a:pt x="1795244" y="255575"/>
                        <a:pt x="1795244" y="253361"/>
                      </a:cubicBezTo>
                      <a:cubicBezTo>
                        <a:pt x="1795244" y="251212"/>
                        <a:pt x="1796010" y="249471"/>
                        <a:pt x="1797538" y="248136"/>
                      </a:cubicBezTo>
                      <a:cubicBezTo>
                        <a:pt x="1799070" y="246801"/>
                        <a:pt x="1800778" y="246134"/>
                        <a:pt x="1802666" y="246134"/>
                      </a:cubicBezTo>
                      <a:close/>
                      <a:moveTo>
                        <a:pt x="1126392" y="246134"/>
                      </a:moveTo>
                      <a:cubicBezTo>
                        <a:pt x="1128410" y="246134"/>
                        <a:pt x="1130184" y="246785"/>
                        <a:pt x="1131714" y="248087"/>
                      </a:cubicBezTo>
                      <a:cubicBezTo>
                        <a:pt x="1133246" y="249389"/>
                        <a:pt x="1134010" y="251147"/>
                        <a:pt x="1134010" y="253361"/>
                      </a:cubicBezTo>
                      <a:cubicBezTo>
                        <a:pt x="1134010" y="255445"/>
                        <a:pt x="1133262" y="257235"/>
                        <a:pt x="1131764" y="258733"/>
                      </a:cubicBezTo>
                      <a:cubicBezTo>
                        <a:pt x="1130266" y="260230"/>
                        <a:pt x="1128476" y="260979"/>
                        <a:pt x="1126392" y="260979"/>
                      </a:cubicBezTo>
                      <a:cubicBezTo>
                        <a:pt x="1124438" y="260979"/>
                        <a:pt x="1122714" y="260263"/>
                        <a:pt x="1121216" y="258831"/>
                      </a:cubicBezTo>
                      <a:cubicBezTo>
                        <a:pt x="1119718" y="257398"/>
                        <a:pt x="1118970" y="255575"/>
                        <a:pt x="1118970" y="253361"/>
                      </a:cubicBezTo>
                      <a:cubicBezTo>
                        <a:pt x="1118970" y="251212"/>
                        <a:pt x="1119734" y="249471"/>
                        <a:pt x="1121264" y="248136"/>
                      </a:cubicBezTo>
                      <a:cubicBezTo>
                        <a:pt x="1122794" y="246801"/>
                        <a:pt x="1124504" y="246134"/>
                        <a:pt x="1126392" y="246134"/>
                      </a:cubicBezTo>
                      <a:close/>
                      <a:moveTo>
                        <a:pt x="2084022" y="238125"/>
                      </a:moveTo>
                      <a:lnTo>
                        <a:pt x="2093006" y="238125"/>
                      </a:lnTo>
                      <a:lnTo>
                        <a:pt x="2093006" y="386190"/>
                      </a:lnTo>
                      <a:lnTo>
                        <a:pt x="2084022" y="386190"/>
                      </a:lnTo>
                      <a:close/>
                      <a:moveTo>
                        <a:pt x="1969722" y="238125"/>
                      </a:moveTo>
                      <a:lnTo>
                        <a:pt x="1978706" y="238125"/>
                      </a:lnTo>
                      <a:lnTo>
                        <a:pt x="1978706" y="306786"/>
                      </a:lnTo>
                      <a:lnTo>
                        <a:pt x="1979098" y="306786"/>
                      </a:lnTo>
                      <a:cubicBezTo>
                        <a:pt x="1982678" y="299428"/>
                        <a:pt x="1987806" y="293747"/>
                        <a:pt x="1994480" y="289743"/>
                      </a:cubicBezTo>
                      <a:cubicBezTo>
                        <a:pt x="2001154" y="285738"/>
                        <a:pt x="2008496" y="283736"/>
                        <a:pt x="2016504" y="283736"/>
                      </a:cubicBezTo>
                      <a:cubicBezTo>
                        <a:pt x="2029202" y="283736"/>
                        <a:pt x="2039114" y="288115"/>
                        <a:pt x="2046244" y="296872"/>
                      </a:cubicBezTo>
                      <a:cubicBezTo>
                        <a:pt x="2053374" y="305630"/>
                        <a:pt x="2056940" y="317529"/>
                        <a:pt x="2056940" y="332570"/>
                      </a:cubicBezTo>
                      <a:cubicBezTo>
                        <a:pt x="2056940" y="349304"/>
                        <a:pt x="2052806" y="362831"/>
                        <a:pt x="2044536" y="373151"/>
                      </a:cubicBezTo>
                      <a:cubicBezTo>
                        <a:pt x="2036266" y="383472"/>
                        <a:pt x="2025522" y="388632"/>
                        <a:pt x="2012306" y="388632"/>
                      </a:cubicBezTo>
                      <a:cubicBezTo>
                        <a:pt x="1997330" y="388632"/>
                        <a:pt x="1986260" y="381893"/>
                        <a:pt x="1979098" y="368415"/>
                      </a:cubicBezTo>
                      <a:lnTo>
                        <a:pt x="1978706" y="368415"/>
                      </a:lnTo>
                      <a:lnTo>
                        <a:pt x="1978706" y="386190"/>
                      </a:lnTo>
                      <a:lnTo>
                        <a:pt x="1969722" y="386190"/>
                      </a:lnTo>
                      <a:close/>
                      <a:moveTo>
                        <a:pt x="1836372" y="238125"/>
                      </a:moveTo>
                      <a:lnTo>
                        <a:pt x="1845358" y="238125"/>
                      </a:lnTo>
                      <a:lnTo>
                        <a:pt x="1845358" y="386190"/>
                      </a:lnTo>
                      <a:lnTo>
                        <a:pt x="1836372" y="386190"/>
                      </a:lnTo>
                      <a:close/>
                      <a:moveTo>
                        <a:pt x="1293446" y="238125"/>
                      </a:moveTo>
                      <a:lnTo>
                        <a:pt x="1302432" y="238125"/>
                      </a:lnTo>
                      <a:lnTo>
                        <a:pt x="1302432" y="386190"/>
                      </a:lnTo>
                      <a:lnTo>
                        <a:pt x="1293446" y="386190"/>
                      </a:lnTo>
                      <a:close/>
                      <a:moveTo>
                        <a:pt x="1255346" y="238125"/>
                      </a:moveTo>
                      <a:lnTo>
                        <a:pt x="1264332" y="238125"/>
                      </a:lnTo>
                      <a:lnTo>
                        <a:pt x="1264332" y="386190"/>
                      </a:lnTo>
                      <a:lnTo>
                        <a:pt x="1255346" y="386190"/>
                      </a:lnTo>
                      <a:close/>
                      <a:moveTo>
                        <a:pt x="69744" y="232960"/>
                      </a:moveTo>
                      <a:lnTo>
                        <a:pt x="78728" y="232960"/>
                      </a:lnTo>
                      <a:lnTo>
                        <a:pt x="78728" y="301621"/>
                      </a:lnTo>
                      <a:lnTo>
                        <a:pt x="79120" y="301621"/>
                      </a:lnTo>
                      <a:cubicBezTo>
                        <a:pt x="82700" y="294263"/>
                        <a:pt x="87828" y="288582"/>
                        <a:pt x="94502" y="284578"/>
                      </a:cubicBezTo>
                      <a:cubicBezTo>
                        <a:pt x="101176" y="280573"/>
                        <a:pt x="108518" y="278571"/>
                        <a:pt x="116526" y="278571"/>
                      </a:cubicBezTo>
                      <a:cubicBezTo>
                        <a:pt x="129224" y="278571"/>
                        <a:pt x="139136" y="282950"/>
                        <a:pt x="146266" y="291707"/>
                      </a:cubicBezTo>
                      <a:cubicBezTo>
                        <a:pt x="153396" y="300465"/>
                        <a:pt x="156962" y="312364"/>
                        <a:pt x="156962" y="327405"/>
                      </a:cubicBezTo>
                      <a:cubicBezTo>
                        <a:pt x="156962" y="344139"/>
                        <a:pt x="152828" y="357666"/>
                        <a:pt x="144558" y="367986"/>
                      </a:cubicBezTo>
                      <a:cubicBezTo>
                        <a:pt x="136288" y="378307"/>
                        <a:pt x="125544" y="383467"/>
                        <a:pt x="112328" y="383467"/>
                      </a:cubicBezTo>
                      <a:cubicBezTo>
                        <a:pt x="97352" y="383467"/>
                        <a:pt x="86282" y="376728"/>
                        <a:pt x="79120" y="363250"/>
                      </a:cubicBezTo>
                      <a:lnTo>
                        <a:pt x="78728" y="363250"/>
                      </a:lnTo>
                      <a:lnTo>
                        <a:pt x="78728" y="381025"/>
                      </a:lnTo>
                      <a:lnTo>
                        <a:pt x="69744" y="381025"/>
                      </a:lnTo>
                      <a:close/>
                      <a:moveTo>
                        <a:pt x="676944" y="94250"/>
                      </a:moveTo>
                      <a:lnTo>
                        <a:pt x="649402" y="98254"/>
                      </a:lnTo>
                      <a:cubicBezTo>
                        <a:pt x="638920" y="99752"/>
                        <a:pt x="631562" y="102177"/>
                        <a:pt x="627330" y="105531"/>
                      </a:cubicBezTo>
                      <a:cubicBezTo>
                        <a:pt x="623096" y="108884"/>
                        <a:pt x="620980" y="114337"/>
                        <a:pt x="620980" y="121890"/>
                      </a:cubicBezTo>
                      <a:cubicBezTo>
                        <a:pt x="620980" y="127815"/>
                        <a:pt x="622950" y="132699"/>
                        <a:pt x="626890" y="136540"/>
                      </a:cubicBezTo>
                      <a:cubicBezTo>
                        <a:pt x="630830" y="140382"/>
                        <a:pt x="636314" y="142303"/>
                        <a:pt x="643346" y="142303"/>
                      </a:cubicBezTo>
                      <a:cubicBezTo>
                        <a:pt x="652984" y="142303"/>
                        <a:pt x="660992" y="138738"/>
                        <a:pt x="667374" y="131608"/>
                      </a:cubicBezTo>
                      <a:cubicBezTo>
                        <a:pt x="673754" y="124478"/>
                        <a:pt x="676944" y="115281"/>
                        <a:pt x="676944" y="104017"/>
                      </a:cubicBezTo>
                      <a:close/>
                      <a:moveTo>
                        <a:pt x="419770" y="94250"/>
                      </a:moveTo>
                      <a:lnTo>
                        <a:pt x="392228" y="98254"/>
                      </a:lnTo>
                      <a:cubicBezTo>
                        <a:pt x="381744" y="99752"/>
                        <a:pt x="374386" y="102177"/>
                        <a:pt x="370154" y="105531"/>
                      </a:cubicBezTo>
                      <a:cubicBezTo>
                        <a:pt x="365922" y="108884"/>
                        <a:pt x="363806" y="114337"/>
                        <a:pt x="363806" y="121890"/>
                      </a:cubicBezTo>
                      <a:cubicBezTo>
                        <a:pt x="363806" y="127815"/>
                        <a:pt x="365776" y="132699"/>
                        <a:pt x="369714" y="136540"/>
                      </a:cubicBezTo>
                      <a:cubicBezTo>
                        <a:pt x="373654" y="140382"/>
                        <a:pt x="379140" y="142303"/>
                        <a:pt x="386172" y="142303"/>
                      </a:cubicBezTo>
                      <a:cubicBezTo>
                        <a:pt x="395808" y="142303"/>
                        <a:pt x="403818" y="138738"/>
                        <a:pt x="410198" y="131608"/>
                      </a:cubicBezTo>
                      <a:cubicBezTo>
                        <a:pt x="416580" y="124478"/>
                        <a:pt x="419770" y="115281"/>
                        <a:pt x="419770" y="104017"/>
                      </a:cubicBezTo>
                      <a:close/>
                      <a:moveTo>
                        <a:pt x="1854534" y="53815"/>
                      </a:moveTo>
                      <a:cubicBezTo>
                        <a:pt x="1845158" y="53815"/>
                        <a:pt x="1837392" y="56957"/>
                        <a:pt x="1831240" y="63240"/>
                      </a:cubicBezTo>
                      <a:cubicBezTo>
                        <a:pt x="1825086" y="69524"/>
                        <a:pt x="1821294" y="78525"/>
                        <a:pt x="1819862" y="90246"/>
                      </a:cubicBezTo>
                      <a:lnTo>
                        <a:pt x="1884126" y="90246"/>
                      </a:lnTo>
                      <a:cubicBezTo>
                        <a:pt x="1883736" y="78721"/>
                        <a:pt x="1880968" y="69768"/>
                        <a:pt x="1875826" y="63387"/>
                      </a:cubicBezTo>
                      <a:cubicBezTo>
                        <a:pt x="1870682" y="57006"/>
                        <a:pt x="1863584" y="53815"/>
                        <a:pt x="1854534" y="53815"/>
                      </a:cubicBezTo>
                      <a:close/>
                      <a:moveTo>
                        <a:pt x="1639072" y="53815"/>
                      </a:moveTo>
                      <a:cubicBezTo>
                        <a:pt x="1627286" y="53815"/>
                        <a:pt x="1617894" y="57787"/>
                        <a:pt x="1610894" y="65731"/>
                      </a:cubicBezTo>
                      <a:cubicBezTo>
                        <a:pt x="1603894" y="73674"/>
                        <a:pt x="1600396" y="84711"/>
                        <a:pt x="1600396" y="98840"/>
                      </a:cubicBezTo>
                      <a:cubicBezTo>
                        <a:pt x="1600396" y="111928"/>
                        <a:pt x="1603814" y="122444"/>
                        <a:pt x="1610650" y="130387"/>
                      </a:cubicBezTo>
                      <a:cubicBezTo>
                        <a:pt x="1617488" y="138331"/>
                        <a:pt x="1626830" y="142303"/>
                        <a:pt x="1638682" y="142303"/>
                      </a:cubicBezTo>
                      <a:cubicBezTo>
                        <a:pt x="1650726" y="142303"/>
                        <a:pt x="1660006" y="138396"/>
                        <a:pt x="1666516" y="130583"/>
                      </a:cubicBezTo>
                      <a:cubicBezTo>
                        <a:pt x="1673028" y="122769"/>
                        <a:pt x="1676284" y="111928"/>
                        <a:pt x="1676284" y="98059"/>
                      </a:cubicBezTo>
                      <a:cubicBezTo>
                        <a:pt x="1676284" y="83799"/>
                        <a:pt x="1673044" y="72861"/>
                        <a:pt x="1666566" y="65242"/>
                      </a:cubicBezTo>
                      <a:cubicBezTo>
                        <a:pt x="1660086" y="57624"/>
                        <a:pt x="1650922" y="53815"/>
                        <a:pt x="1639072" y="53815"/>
                      </a:cubicBezTo>
                      <a:close/>
                      <a:moveTo>
                        <a:pt x="1424782" y="53815"/>
                      </a:moveTo>
                      <a:cubicBezTo>
                        <a:pt x="1413128" y="53815"/>
                        <a:pt x="1404110" y="57722"/>
                        <a:pt x="1397728" y="65535"/>
                      </a:cubicBezTo>
                      <a:cubicBezTo>
                        <a:pt x="1391348" y="73349"/>
                        <a:pt x="1388158" y="82530"/>
                        <a:pt x="1388158" y="93078"/>
                      </a:cubicBezTo>
                      <a:lnTo>
                        <a:pt x="1388158" y="105677"/>
                      </a:lnTo>
                      <a:cubicBezTo>
                        <a:pt x="1388158" y="115704"/>
                        <a:pt x="1391314" y="124316"/>
                        <a:pt x="1397630" y="131510"/>
                      </a:cubicBezTo>
                      <a:cubicBezTo>
                        <a:pt x="1403946" y="138705"/>
                        <a:pt x="1412248" y="142303"/>
                        <a:pt x="1422536" y="142303"/>
                      </a:cubicBezTo>
                      <a:cubicBezTo>
                        <a:pt x="1432758" y="142303"/>
                        <a:pt x="1441060" y="137924"/>
                        <a:pt x="1447442" y="129166"/>
                      </a:cubicBezTo>
                      <a:cubicBezTo>
                        <a:pt x="1453822" y="120409"/>
                        <a:pt x="1457014" y="108900"/>
                        <a:pt x="1457014" y="94641"/>
                      </a:cubicBezTo>
                      <a:cubicBezTo>
                        <a:pt x="1457014" y="82139"/>
                        <a:pt x="1454084" y="72209"/>
                        <a:pt x="1448224" y="64852"/>
                      </a:cubicBezTo>
                      <a:cubicBezTo>
                        <a:pt x="1442362" y="57494"/>
                        <a:pt x="1434550" y="53815"/>
                        <a:pt x="1424782" y="53815"/>
                      </a:cubicBezTo>
                      <a:close/>
                      <a:moveTo>
                        <a:pt x="1168734" y="53815"/>
                      </a:moveTo>
                      <a:cubicBezTo>
                        <a:pt x="1159358" y="53815"/>
                        <a:pt x="1151592" y="56957"/>
                        <a:pt x="1145440" y="63240"/>
                      </a:cubicBezTo>
                      <a:cubicBezTo>
                        <a:pt x="1139286" y="69524"/>
                        <a:pt x="1135494" y="78525"/>
                        <a:pt x="1134062" y="90246"/>
                      </a:cubicBezTo>
                      <a:lnTo>
                        <a:pt x="1198326" y="90246"/>
                      </a:lnTo>
                      <a:cubicBezTo>
                        <a:pt x="1197936" y="78721"/>
                        <a:pt x="1195168" y="69768"/>
                        <a:pt x="1190026" y="63387"/>
                      </a:cubicBezTo>
                      <a:cubicBezTo>
                        <a:pt x="1184882" y="57006"/>
                        <a:pt x="1177784" y="53815"/>
                        <a:pt x="1168734" y="53815"/>
                      </a:cubicBezTo>
                      <a:close/>
                      <a:moveTo>
                        <a:pt x="902034" y="53815"/>
                      </a:moveTo>
                      <a:cubicBezTo>
                        <a:pt x="892658" y="53815"/>
                        <a:pt x="884892" y="56957"/>
                        <a:pt x="878740" y="63240"/>
                      </a:cubicBezTo>
                      <a:cubicBezTo>
                        <a:pt x="872586" y="69524"/>
                        <a:pt x="868794" y="78525"/>
                        <a:pt x="867362" y="90246"/>
                      </a:cubicBezTo>
                      <a:lnTo>
                        <a:pt x="931626" y="90246"/>
                      </a:lnTo>
                      <a:cubicBezTo>
                        <a:pt x="931236" y="78721"/>
                        <a:pt x="928468" y="69768"/>
                        <a:pt x="923326" y="63387"/>
                      </a:cubicBezTo>
                      <a:cubicBezTo>
                        <a:pt x="918182" y="57006"/>
                        <a:pt x="911084" y="53815"/>
                        <a:pt x="902034" y="53815"/>
                      </a:cubicBezTo>
                      <a:close/>
                      <a:moveTo>
                        <a:pt x="758032" y="53815"/>
                      </a:moveTo>
                      <a:cubicBezTo>
                        <a:pt x="746378" y="53815"/>
                        <a:pt x="737360" y="57722"/>
                        <a:pt x="730978" y="65535"/>
                      </a:cubicBezTo>
                      <a:cubicBezTo>
                        <a:pt x="724598" y="73349"/>
                        <a:pt x="721408" y="82530"/>
                        <a:pt x="721408" y="93078"/>
                      </a:cubicBezTo>
                      <a:lnTo>
                        <a:pt x="721408" y="105677"/>
                      </a:lnTo>
                      <a:cubicBezTo>
                        <a:pt x="721408" y="115704"/>
                        <a:pt x="724566" y="124316"/>
                        <a:pt x="730880" y="131510"/>
                      </a:cubicBezTo>
                      <a:cubicBezTo>
                        <a:pt x="737196" y="138705"/>
                        <a:pt x="745498" y="142303"/>
                        <a:pt x="755786" y="142303"/>
                      </a:cubicBezTo>
                      <a:cubicBezTo>
                        <a:pt x="766010" y="142303"/>
                        <a:pt x="774310" y="137924"/>
                        <a:pt x="780692" y="129166"/>
                      </a:cubicBezTo>
                      <a:cubicBezTo>
                        <a:pt x="787074" y="120409"/>
                        <a:pt x="790264" y="108900"/>
                        <a:pt x="790264" y="94641"/>
                      </a:cubicBezTo>
                      <a:cubicBezTo>
                        <a:pt x="790264" y="82139"/>
                        <a:pt x="787334" y="72209"/>
                        <a:pt x="781474" y="64852"/>
                      </a:cubicBezTo>
                      <a:cubicBezTo>
                        <a:pt x="775614" y="57494"/>
                        <a:pt x="767800" y="53815"/>
                        <a:pt x="758032" y="53815"/>
                      </a:cubicBezTo>
                      <a:close/>
                      <a:moveTo>
                        <a:pt x="253208" y="53815"/>
                      </a:moveTo>
                      <a:cubicBezTo>
                        <a:pt x="241552" y="53815"/>
                        <a:pt x="232534" y="57722"/>
                        <a:pt x="226154" y="65535"/>
                      </a:cubicBezTo>
                      <a:cubicBezTo>
                        <a:pt x="219772" y="73349"/>
                        <a:pt x="216582" y="82530"/>
                        <a:pt x="216582" y="93078"/>
                      </a:cubicBezTo>
                      <a:lnTo>
                        <a:pt x="216582" y="105677"/>
                      </a:lnTo>
                      <a:cubicBezTo>
                        <a:pt x="216582" y="115704"/>
                        <a:pt x="219740" y="124316"/>
                        <a:pt x="226056" y="131510"/>
                      </a:cubicBezTo>
                      <a:cubicBezTo>
                        <a:pt x="232372" y="138705"/>
                        <a:pt x="240674" y="142303"/>
                        <a:pt x="250962" y="142303"/>
                      </a:cubicBezTo>
                      <a:cubicBezTo>
                        <a:pt x="261184" y="142303"/>
                        <a:pt x="269486" y="137924"/>
                        <a:pt x="275866" y="129166"/>
                      </a:cubicBezTo>
                      <a:cubicBezTo>
                        <a:pt x="282248" y="120409"/>
                        <a:pt x="285438" y="108900"/>
                        <a:pt x="285438" y="94641"/>
                      </a:cubicBezTo>
                      <a:cubicBezTo>
                        <a:pt x="285438" y="82139"/>
                        <a:pt x="282508" y="72209"/>
                        <a:pt x="276648" y="64852"/>
                      </a:cubicBezTo>
                      <a:cubicBezTo>
                        <a:pt x="270788" y="57494"/>
                        <a:pt x="262974" y="53815"/>
                        <a:pt x="253208" y="53815"/>
                      </a:cubicBezTo>
                      <a:close/>
                      <a:moveTo>
                        <a:pt x="2198322" y="48053"/>
                      </a:moveTo>
                      <a:lnTo>
                        <a:pt x="2207306" y="48053"/>
                      </a:lnTo>
                      <a:lnTo>
                        <a:pt x="2207306" y="148065"/>
                      </a:lnTo>
                      <a:lnTo>
                        <a:pt x="2198322" y="148065"/>
                      </a:lnTo>
                      <a:close/>
                      <a:moveTo>
                        <a:pt x="2052568" y="48053"/>
                      </a:moveTo>
                      <a:lnTo>
                        <a:pt x="2062530" y="48053"/>
                      </a:lnTo>
                      <a:lnTo>
                        <a:pt x="2085774" y="127848"/>
                      </a:lnTo>
                      <a:cubicBezTo>
                        <a:pt x="2086362" y="129931"/>
                        <a:pt x="2086816" y="132731"/>
                        <a:pt x="2087142" y="136247"/>
                      </a:cubicBezTo>
                      <a:lnTo>
                        <a:pt x="2087924" y="136247"/>
                      </a:lnTo>
                      <a:cubicBezTo>
                        <a:pt x="2088054" y="134359"/>
                        <a:pt x="2088672" y="131559"/>
                        <a:pt x="2089780" y="127848"/>
                      </a:cubicBezTo>
                      <a:lnTo>
                        <a:pt x="2115174" y="48053"/>
                      </a:lnTo>
                      <a:lnTo>
                        <a:pt x="2121326" y="48053"/>
                      </a:lnTo>
                      <a:lnTo>
                        <a:pt x="2143986" y="127848"/>
                      </a:lnTo>
                      <a:cubicBezTo>
                        <a:pt x="2144506" y="129736"/>
                        <a:pt x="2144962" y="132536"/>
                        <a:pt x="2145352" y="136247"/>
                      </a:cubicBezTo>
                      <a:lnTo>
                        <a:pt x="2146134" y="136247"/>
                      </a:lnTo>
                      <a:cubicBezTo>
                        <a:pt x="2146134" y="134359"/>
                        <a:pt x="2146688" y="131559"/>
                        <a:pt x="2147794" y="127848"/>
                      </a:cubicBezTo>
                      <a:lnTo>
                        <a:pt x="2171528" y="48053"/>
                      </a:lnTo>
                      <a:lnTo>
                        <a:pt x="2180806" y="48053"/>
                      </a:lnTo>
                      <a:lnTo>
                        <a:pt x="2149748" y="148065"/>
                      </a:lnTo>
                      <a:lnTo>
                        <a:pt x="2141348" y="148065"/>
                      </a:lnTo>
                      <a:lnTo>
                        <a:pt x="2119568" y="72665"/>
                      </a:lnTo>
                      <a:cubicBezTo>
                        <a:pt x="2118982" y="70582"/>
                        <a:pt x="2118462" y="67782"/>
                        <a:pt x="2118006" y="64266"/>
                      </a:cubicBezTo>
                      <a:lnTo>
                        <a:pt x="2117518" y="64266"/>
                      </a:lnTo>
                      <a:cubicBezTo>
                        <a:pt x="2117386" y="65763"/>
                        <a:pt x="2116736" y="68498"/>
                        <a:pt x="2115564" y="72470"/>
                      </a:cubicBezTo>
                      <a:lnTo>
                        <a:pt x="2091146" y="148065"/>
                      </a:lnTo>
                      <a:lnTo>
                        <a:pt x="2082748" y="148065"/>
                      </a:lnTo>
                      <a:close/>
                      <a:moveTo>
                        <a:pt x="1949638" y="45611"/>
                      </a:moveTo>
                      <a:cubicBezTo>
                        <a:pt x="1958234" y="45611"/>
                        <a:pt x="1965592" y="47369"/>
                        <a:pt x="1971712" y="50885"/>
                      </a:cubicBezTo>
                      <a:lnTo>
                        <a:pt x="1971712" y="61043"/>
                      </a:lnTo>
                      <a:cubicBezTo>
                        <a:pt x="1964290" y="56224"/>
                        <a:pt x="1956606" y="53815"/>
                        <a:pt x="1948662" y="53815"/>
                      </a:cubicBezTo>
                      <a:cubicBezTo>
                        <a:pt x="1942086" y="53815"/>
                        <a:pt x="1936780" y="55524"/>
                        <a:pt x="1932742" y="58943"/>
                      </a:cubicBezTo>
                      <a:cubicBezTo>
                        <a:pt x="1928706" y="62361"/>
                        <a:pt x="1926686" y="66805"/>
                        <a:pt x="1926686" y="72275"/>
                      </a:cubicBezTo>
                      <a:cubicBezTo>
                        <a:pt x="1926686" y="77028"/>
                        <a:pt x="1927956" y="80886"/>
                        <a:pt x="1930496" y="83848"/>
                      </a:cubicBezTo>
                      <a:cubicBezTo>
                        <a:pt x="1933036" y="86811"/>
                        <a:pt x="1938634" y="90213"/>
                        <a:pt x="1947294" y="94055"/>
                      </a:cubicBezTo>
                      <a:cubicBezTo>
                        <a:pt x="1957714" y="98743"/>
                        <a:pt x="1964876" y="103089"/>
                        <a:pt x="1968782" y="107093"/>
                      </a:cubicBezTo>
                      <a:cubicBezTo>
                        <a:pt x="1972688" y="111098"/>
                        <a:pt x="1974642" y="116421"/>
                        <a:pt x="1974642" y="123062"/>
                      </a:cubicBezTo>
                      <a:cubicBezTo>
                        <a:pt x="1974642" y="131006"/>
                        <a:pt x="1971664" y="137566"/>
                        <a:pt x="1965706" y="142742"/>
                      </a:cubicBezTo>
                      <a:cubicBezTo>
                        <a:pt x="1959748" y="147919"/>
                        <a:pt x="1951528" y="150507"/>
                        <a:pt x="1941044" y="150507"/>
                      </a:cubicBezTo>
                      <a:cubicBezTo>
                        <a:pt x="1931408" y="150507"/>
                        <a:pt x="1923366" y="148228"/>
                        <a:pt x="1916920" y="143670"/>
                      </a:cubicBezTo>
                      <a:lnTo>
                        <a:pt x="1916920" y="132829"/>
                      </a:lnTo>
                      <a:cubicBezTo>
                        <a:pt x="1920306" y="135759"/>
                        <a:pt x="1924408" y="138070"/>
                        <a:pt x="1929226" y="139763"/>
                      </a:cubicBezTo>
                      <a:cubicBezTo>
                        <a:pt x="1934044" y="141456"/>
                        <a:pt x="1938212" y="142303"/>
                        <a:pt x="1941728" y="142303"/>
                      </a:cubicBezTo>
                      <a:cubicBezTo>
                        <a:pt x="1957420" y="142303"/>
                        <a:pt x="1965266" y="135889"/>
                        <a:pt x="1965266" y="123062"/>
                      </a:cubicBezTo>
                      <a:cubicBezTo>
                        <a:pt x="1965266" y="118634"/>
                        <a:pt x="1963540" y="114858"/>
                        <a:pt x="1960090" y="111733"/>
                      </a:cubicBezTo>
                      <a:cubicBezTo>
                        <a:pt x="1956638" y="108607"/>
                        <a:pt x="1951038" y="105384"/>
                        <a:pt x="1943290" y="102063"/>
                      </a:cubicBezTo>
                      <a:cubicBezTo>
                        <a:pt x="1933720" y="97896"/>
                        <a:pt x="1926996" y="93583"/>
                        <a:pt x="1923122" y="89122"/>
                      </a:cubicBezTo>
                      <a:cubicBezTo>
                        <a:pt x="1919248" y="84662"/>
                        <a:pt x="1917310" y="79242"/>
                        <a:pt x="1917310" y="72861"/>
                      </a:cubicBezTo>
                      <a:cubicBezTo>
                        <a:pt x="1917310" y="64721"/>
                        <a:pt x="1920420" y="58145"/>
                        <a:pt x="1926638" y="53132"/>
                      </a:cubicBezTo>
                      <a:cubicBezTo>
                        <a:pt x="1932856" y="48118"/>
                        <a:pt x="1940524" y="45611"/>
                        <a:pt x="1949638" y="45611"/>
                      </a:cubicBezTo>
                      <a:close/>
                      <a:moveTo>
                        <a:pt x="1854924" y="45611"/>
                      </a:moveTo>
                      <a:cubicBezTo>
                        <a:pt x="1867360" y="45611"/>
                        <a:pt x="1876900" y="49974"/>
                        <a:pt x="1883540" y="58699"/>
                      </a:cubicBezTo>
                      <a:cubicBezTo>
                        <a:pt x="1890182" y="67424"/>
                        <a:pt x="1893502" y="79339"/>
                        <a:pt x="1893502" y="94445"/>
                      </a:cubicBezTo>
                      <a:lnTo>
                        <a:pt x="1893502" y="98450"/>
                      </a:lnTo>
                      <a:lnTo>
                        <a:pt x="1819470" y="98450"/>
                      </a:lnTo>
                      <a:cubicBezTo>
                        <a:pt x="1819470" y="112188"/>
                        <a:pt x="1822644" y="122932"/>
                        <a:pt x="1828994" y="130680"/>
                      </a:cubicBezTo>
                      <a:cubicBezTo>
                        <a:pt x="1835342" y="138429"/>
                        <a:pt x="1844050" y="142303"/>
                        <a:pt x="1855120" y="142303"/>
                      </a:cubicBezTo>
                      <a:cubicBezTo>
                        <a:pt x="1866318" y="142303"/>
                        <a:pt x="1877258" y="138168"/>
                        <a:pt x="1887936" y="129899"/>
                      </a:cubicBezTo>
                      <a:lnTo>
                        <a:pt x="1887936" y="139470"/>
                      </a:lnTo>
                      <a:cubicBezTo>
                        <a:pt x="1877582" y="146828"/>
                        <a:pt x="1866026" y="150507"/>
                        <a:pt x="1853264" y="150507"/>
                      </a:cubicBezTo>
                      <a:cubicBezTo>
                        <a:pt x="1840372" y="150507"/>
                        <a:pt x="1829954" y="145884"/>
                        <a:pt x="1822010" y="136638"/>
                      </a:cubicBezTo>
                      <a:cubicBezTo>
                        <a:pt x="1814066" y="127392"/>
                        <a:pt x="1810094" y="114337"/>
                        <a:pt x="1810094" y="97473"/>
                      </a:cubicBezTo>
                      <a:cubicBezTo>
                        <a:pt x="1810094" y="82888"/>
                        <a:pt x="1814246" y="70598"/>
                        <a:pt x="1822546" y="60603"/>
                      </a:cubicBezTo>
                      <a:cubicBezTo>
                        <a:pt x="1830848" y="50608"/>
                        <a:pt x="1841642" y="45611"/>
                        <a:pt x="1854924" y="45611"/>
                      </a:cubicBezTo>
                      <a:close/>
                      <a:moveTo>
                        <a:pt x="1756106" y="45611"/>
                      </a:moveTo>
                      <a:cubicBezTo>
                        <a:pt x="1766916" y="45611"/>
                        <a:pt x="1775184" y="49208"/>
                        <a:pt x="1780914" y="56403"/>
                      </a:cubicBezTo>
                      <a:cubicBezTo>
                        <a:pt x="1786644" y="63598"/>
                        <a:pt x="1789510" y="73870"/>
                        <a:pt x="1789510" y="87218"/>
                      </a:cubicBezTo>
                      <a:lnTo>
                        <a:pt x="1789510" y="148065"/>
                      </a:lnTo>
                      <a:lnTo>
                        <a:pt x="1780524" y="148065"/>
                      </a:lnTo>
                      <a:lnTo>
                        <a:pt x="1780524" y="89855"/>
                      </a:lnTo>
                      <a:cubicBezTo>
                        <a:pt x="1780524" y="65828"/>
                        <a:pt x="1771864" y="53815"/>
                        <a:pt x="1754544" y="53815"/>
                      </a:cubicBezTo>
                      <a:cubicBezTo>
                        <a:pt x="1744908" y="53815"/>
                        <a:pt x="1736996" y="57348"/>
                        <a:pt x="1730810" y="64412"/>
                      </a:cubicBezTo>
                      <a:cubicBezTo>
                        <a:pt x="1724626" y="71477"/>
                        <a:pt x="1721532" y="80218"/>
                        <a:pt x="1721532" y="90636"/>
                      </a:cubicBezTo>
                      <a:lnTo>
                        <a:pt x="1721532" y="148065"/>
                      </a:lnTo>
                      <a:lnTo>
                        <a:pt x="1712546" y="148065"/>
                      </a:lnTo>
                      <a:lnTo>
                        <a:pt x="1712546" y="48053"/>
                      </a:lnTo>
                      <a:lnTo>
                        <a:pt x="1721532" y="48053"/>
                      </a:lnTo>
                      <a:lnTo>
                        <a:pt x="1721532" y="66219"/>
                      </a:lnTo>
                      <a:lnTo>
                        <a:pt x="1721922" y="66219"/>
                      </a:lnTo>
                      <a:cubicBezTo>
                        <a:pt x="1729216" y="52480"/>
                        <a:pt x="1740610" y="45611"/>
                        <a:pt x="1756106" y="45611"/>
                      </a:cubicBezTo>
                      <a:close/>
                      <a:moveTo>
                        <a:pt x="1639462" y="45611"/>
                      </a:moveTo>
                      <a:cubicBezTo>
                        <a:pt x="1653722" y="45611"/>
                        <a:pt x="1664986" y="50267"/>
                        <a:pt x="1673256" y="59578"/>
                      </a:cubicBezTo>
                      <a:cubicBezTo>
                        <a:pt x="1681526" y="68889"/>
                        <a:pt x="1685660" y="81781"/>
                        <a:pt x="1685660" y="98254"/>
                      </a:cubicBezTo>
                      <a:cubicBezTo>
                        <a:pt x="1685660" y="113816"/>
                        <a:pt x="1681444" y="126415"/>
                        <a:pt x="1673012" y="136052"/>
                      </a:cubicBezTo>
                      <a:cubicBezTo>
                        <a:pt x="1664580" y="145689"/>
                        <a:pt x="1653038" y="150507"/>
                        <a:pt x="1638388" y="150507"/>
                      </a:cubicBezTo>
                      <a:cubicBezTo>
                        <a:pt x="1623804" y="150507"/>
                        <a:pt x="1612262" y="145705"/>
                        <a:pt x="1603764" y="136101"/>
                      </a:cubicBezTo>
                      <a:cubicBezTo>
                        <a:pt x="1595268" y="126497"/>
                        <a:pt x="1591018" y="114011"/>
                        <a:pt x="1591018" y="98645"/>
                      </a:cubicBezTo>
                      <a:cubicBezTo>
                        <a:pt x="1591018" y="82041"/>
                        <a:pt x="1595462" y="69051"/>
                        <a:pt x="1604350" y="59675"/>
                      </a:cubicBezTo>
                      <a:cubicBezTo>
                        <a:pt x="1613238" y="50299"/>
                        <a:pt x="1624942" y="45611"/>
                        <a:pt x="1639462" y="45611"/>
                      </a:cubicBezTo>
                      <a:close/>
                      <a:moveTo>
                        <a:pt x="1425954" y="45611"/>
                      </a:moveTo>
                      <a:cubicBezTo>
                        <a:pt x="1438652" y="45611"/>
                        <a:pt x="1448566" y="49990"/>
                        <a:pt x="1455694" y="58747"/>
                      </a:cubicBezTo>
                      <a:cubicBezTo>
                        <a:pt x="1462824" y="67505"/>
                        <a:pt x="1466390" y="79404"/>
                        <a:pt x="1466390" y="94445"/>
                      </a:cubicBezTo>
                      <a:cubicBezTo>
                        <a:pt x="1466390" y="111179"/>
                        <a:pt x="1462304" y="124706"/>
                        <a:pt x="1454132" y="135026"/>
                      </a:cubicBezTo>
                      <a:cubicBezTo>
                        <a:pt x="1445960" y="145347"/>
                        <a:pt x="1435168" y="150507"/>
                        <a:pt x="1421754" y="150507"/>
                      </a:cubicBezTo>
                      <a:cubicBezTo>
                        <a:pt x="1406780" y="150507"/>
                        <a:pt x="1395710" y="143768"/>
                        <a:pt x="1388548" y="130290"/>
                      </a:cubicBezTo>
                      <a:lnTo>
                        <a:pt x="1388158" y="130290"/>
                      </a:lnTo>
                      <a:lnTo>
                        <a:pt x="1388158" y="194067"/>
                      </a:lnTo>
                      <a:lnTo>
                        <a:pt x="1379172" y="194067"/>
                      </a:lnTo>
                      <a:lnTo>
                        <a:pt x="1379172" y="48053"/>
                      </a:lnTo>
                      <a:lnTo>
                        <a:pt x="1388158" y="48053"/>
                      </a:lnTo>
                      <a:lnTo>
                        <a:pt x="1388158" y="68661"/>
                      </a:lnTo>
                      <a:lnTo>
                        <a:pt x="1388548" y="68661"/>
                      </a:lnTo>
                      <a:cubicBezTo>
                        <a:pt x="1392130" y="61303"/>
                        <a:pt x="1397256" y="55622"/>
                        <a:pt x="1403930" y="51618"/>
                      </a:cubicBezTo>
                      <a:cubicBezTo>
                        <a:pt x="1410604" y="47613"/>
                        <a:pt x="1417946" y="45611"/>
                        <a:pt x="1425954" y="45611"/>
                      </a:cubicBezTo>
                      <a:close/>
                      <a:moveTo>
                        <a:pt x="1169124" y="45611"/>
                      </a:moveTo>
                      <a:cubicBezTo>
                        <a:pt x="1181560" y="45611"/>
                        <a:pt x="1191100" y="49974"/>
                        <a:pt x="1197740" y="58699"/>
                      </a:cubicBezTo>
                      <a:cubicBezTo>
                        <a:pt x="1204382" y="67424"/>
                        <a:pt x="1207702" y="79339"/>
                        <a:pt x="1207702" y="94445"/>
                      </a:cubicBezTo>
                      <a:lnTo>
                        <a:pt x="1207702" y="98450"/>
                      </a:lnTo>
                      <a:lnTo>
                        <a:pt x="1133670" y="98450"/>
                      </a:lnTo>
                      <a:cubicBezTo>
                        <a:pt x="1133670" y="112188"/>
                        <a:pt x="1136844" y="122932"/>
                        <a:pt x="1143194" y="130680"/>
                      </a:cubicBezTo>
                      <a:cubicBezTo>
                        <a:pt x="1149542" y="138429"/>
                        <a:pt x="1158250" y="142303"/>
                        <a:pt x="1169320" y="142303"/>
                      </a:cubicBezTo>
                      <a:cubicBezTo>
                        <a:pt x="1180518" y="142303"/>
                        <a:pt x="1191458" y="138168"/>
                        <a:pt x="1202136" y="129899"/>
                      </a:cubicBezTo>
                      <a:lnTo>
                        <a:pt x="1202136" y="139470"/>
                      </a:lnTo>
                      <a:cubicBezTo>
                        <a:pt x="1191782" y="146828"/>
                        <a:pt x="1180226" y="150507"/>
                        <a:pt x="1167464" y="150507"/>
                      </a:cubicBezTo>
                      <a:cubicBezTo>
                        <a:pt x="1154572" y="150507"/>
                        <a:pt x="1144154" y="145884"/>
                        <a:pt x="1136210" y="136638"/>
                      </a:cubicBezTo>
                      <a:cubicBezTo>
                        <a:pt x="1128266" y="127392"/>
                        <a:pt x="1124294" y="114337"/>
                        <a:pt x="1124294" y="97473"/>
                      </a:cubicBezTo>
                      <a:cubicBezTo>
                        <a:pt x="1124294" y="82888"/>
                        <a:pt x="1128446" y="70598"/>
                        <a:pt x="1136746" y="60603"/>
                      </a:cubicBezTo>
                      <a:cubicBezTo>
                        <a:pt x="1145048" y="50608"/>
                        <a:pt x="1155842" y="45611"/>
                        <a:pt x="1169124" y="45611"/>
                      </a:cubicBezTo>
                      <a:close/>
                      <a:moveTo>
                        <a:pt x="1088770" y="45611"/>
                      </a:moveTo>
                      <a:cubicBezTo>
                        <a:pt x="1096390" y="45611"/>
                        <a:pt x="1103780" y="47174"/>
                        <a:pt x="1110942" y="50299"/>
                      </a:cubicBezTo>
                      <a:lnTo>
                        <a:pt x="1110942" y="60457"/>
                      </a:lnTo>
                      <a:cubicBezTo>
                        <a:pt x="1103780" y="56029"/>
                        <a:pt x="1095934" y="53815"/>
                        <a:pt x="1087404" y="53815"/>
                      </a:cubicBezTo>
                      <a:cubicBezTo>
                        <a:pt x="1075684" y="53815"/>
                        <a:pt x="1066178" y="58031"/>
                        <a:pt x="1058884" y="66463"/>
                      </a:cubicBezTo>
                      <a:cubicBezTo>
                        <a:pt x="1051592" y="74895"/>
                        <a:pt x="1047946" y="85818"/>
                        <a:pt x="1047946" y="99231"/>
                      </a:cubicBezTo>
                      <a:cubicBezTo>
                        <a:pt x="1047946" y="112188"/>
                        <a:pt x="1051282" y="122606"/>
                        <a:pt x="1057956" y="130485"/>
                      </a:cubicBezTo>
                      <a:cubicBezTo>
                        <a:pt x="1064630" y="138364"/>
                        <a:pt x="1073436" y="142303"/>
                        <a:pt x="1084376" y="142303"/>
                      </a:cubicBezTo>
                      <a:cubicBezTo>
                        <a:pt x="1094402" y="142303"/>
                        <a:pt x="1103128" y="139633"/>
                        <a:pt x="1110550" y="134294"/>
                      </a:cubicBezTo>
                      <a:lnTo>
                        <a:pt x="1110550" y="143670"/>
                      </a:lnTo>
                      <a:cubicBezTo>
                        <a:pt x="1103128" y="148228"/>
                        <a:pt x="1094272" y="150507"/>
                        <a:pt x="1083986" y="150507"/>
                      </a:cubicBezTo>
                      <a:cubicBezTo>
                        <a:pt x="1070376" y="150507"/>
                        <a:pt x="1059406" y="145835"/>
                        <a:pt x="1051070" y="136492"/>
                      </a:cubicBezTo>
                      <a:cubicBezTo>
                        <a:pt x="1042736" y="127148"/>
                        <a:pt x="1038570" y="114923"/>
                        <a:pt x="1038570" y="99817"/>
                      </a:cubicBezTo>
                      <a:cubicBezTo>
                        <a:pt x="1038570" y="83930"/>
                        <a:pt x="1043258" y="70923"/>
                        <a:pt x="1052634" y="60798"/>
                      </a:cubicBezTo>
                      <a:cubicBezTo>
                        <a:pt x="1062010" y="50674"/>
                        <a:pt x="1074056" y="45611"/>
                        <a:pt x="1088770" y="45611"/>
                      </a:cubicBezTo>
                      <a:close/>
                      <a:moveTo>
                        <a:pt x="902424" y="45611"/>
                      </a:moveTo>
                      <a:cubicBezTo>
                        <a:pt x="914860" y="45611"/>
                        <a:pt x="924400" y="49974"/>
                        <a:pt x="931042" y="58699"/>
                      </a:cubicBezTo>
                      <a:cubicBezTo>
                        <a:pt x="937682" y="67424"/>
                        <a:pt x="941002" y="79339"/>
                        <a:pt x="941002" y="94445"/>
                      </a:cubicBezTo>
                      <a:lnTo>
                        <a:pt x="941002" y="98450"/>
                      </a:lnTo>
                      <a:lnTo>
                        <a:pt x="866970" y="98450"/>
                      </a:lnTo>
                      <a:cubicBezTo>
                        <a:pt x="866970" y="112188"/>
                        <a:pt x="870144" y="122932"/>
                        <a:pt x="876494" y="130680"/>
                      </a:cubicBezTo>
                      <a:cubicBezTo>
                        <a:pt x="882842" y="138429"/>
                        <a:pt x="891550" y="142303"/>
                        <a:pt x="902620" y="142303"/>
                      </a:cubicBezTo>
                      <a:cubicBezTo>
                        <a:pt x="913818" y="142303"/>
                        <a:pt x="924758" y="138168"/>
                        <a:pt x="935436" y="129899"/>
                      </a:cubicBezTo>
                      <a:lnTo>
                        <a:pt x="935436" y="139470"/>
                      </a:lnTo>
                      <a:cubicBezTo>
                        <a:pt x="925084" y="146828"/>
                        <a:pt x="913526" y="150507"/>
                        <a:pt x="900764" y="150507"/>
                      </a:cubicBezTo>
                      <a:cubicBezTo>
                        <a:pt x="887872" y="150507"/>
                        <a:pt x="877454" y="145884"/>
                        <a:pt x="869510" y="136638"/>
                      </a:cubicBezTo>
                      <a:cubicBezTo>
                        <a:pt x="861566" y="127392"/>
                        <a:pt x="857594" y="114337"/>
                        <a:pt x="857594" y="97473"/>
                      </a:cubicBezTo>
                      <a:cubicBezTo>
                        <a:pt x="857594" y="82888"/>
                        <a:pt x="861746" y="70598"/>
                        <a:pt x="870046" y="60603"/>
                      </a:cubicBezTo>
                      <a:cubicBezTo>
                        <a:pt x="878348" y="50608"/>
                        <a:pt x="889142" y="45611"/>
                        <a:pt x="902424" y="45611"/>
                      </a:cubicBezTo>
                      <a:close/>
                      <a:moveTo>
                        <a:pt x="653602" y="45611"/>
                      </a:moveTo>
                      <a:cubicBezTo>
                        <a:pt x="663890" y="45611"/>
                        <a:pt x="671850" y="48802"/>
                        <a:pt x="677482" y="55183"/>
                      </a:cubicBezTo>
                      <a:cubicBezTo>
                        <a:pt x="683114" y="61564"/>
                        <a:pt x="685930" y="70842"/>
                        <a:pt x="685930" y="83018"/>
                      </a:cubicBezTo>
                      <a:lnTo>
                        <a:pt x="685930" y="148065"/>
                      </a:lnTo>
                      <a:lnTo>
                        <a:pt x="676944" y="148065"/>
                      </a:lnTo>
                      <a:lnTo>
                        <a:pt x="676944" y="128043"/>
                      </a:lnTo>
                      <a:lnTo>
                        <a:pt x="676554" y="128043"/>
                      </a:lnTo>
                      <a:cubicBezTo>
                        <a:pt x="673364" y="134880"/>
                        <a:pt x="668724" y="140333"/>
                        <a:pt x="662636" y="144403"/>
                      </a:cubicBezTo>
                      <a:cubicBezTo>
                        <a:pt x="656548" y="148472"/>
                        <a:pt x="649792" y="150507"/>
                        <a:pt x="642370" y="150507"/>
                      </a:cubicBezTo>
                      <a:cubicBezTo>
                        <a:pt x="632864" y="150507"/>
                        <a:pt x="625344" y="147837"/>
                        <a:pt x="619808" y="142498"/>
                      </a:cubicBezTo>
                      <a:cubicBezTo>
                        <a:pt x="614274" y="137159"/>
                        <a:pt x="611506" y="130420"/>
                        <a:pt x="611506" y="122281"/>
                      </a:cubicBezTo>
                      <a:cubicBezTo>
                        <a:pt x="611506" y="104831"/>
                        <a:pt x="623064" y="94282"/>
                        <a:pt x="646180" y="90636"/>
                      </a:cubicBezTo>
                      <a:lnTo>
                        <a:pt x="676944" y="86046"/>
                      </a:lnTo>
                      <a:cubicBezTo>
                        <a:pt x="676944" y="64559"/>
                        <a:pt x="668870" y="53815"/>
                        <a:pt x="652722" y="53815"/>
                      </a:cubicBezTo>
                      <a:cubicBezTo>
                        <a:pt x="641720" y="53815"/>
                        <a:pt x="631008" y="58243"/>
                        <a:pt x="620590" y="67098"/>
                      </a:cubicBezTo>
                      <a:lnTo>
                        <a:pt x="620590" y="56257"/>
                      </a:lnTo>
                      <a:cubicBezTo>
                        <a:pt x="624302" y="53327"/>
                        <a:pt x="629332" y="50820"/>
                        <a:pt x="635680" y="48736"/>
                      </a:cubicBezTo>
                      <a:cubicBezTo>
                        <a:pt x="642028" y="46653"/>
                        <a:pt x="648002" y="45611"/>
                        <a:pt x="653602" y="45611"/>
                      </a:cubicBezTo>
                      <a:close/>
                      <a:moveTo>
                        <a:pt x="498806" y="45611"/>
                      </a:moveTo>
                      <a:cubicBezTo>
                        <a:pt x="509616" y="45611"/>
                        <a:pt x="517884" y="49208"/>
                        <a:pt x="523614" y="56403"/>
                      </a:cubicBezTo>
                      <a:cubicBezTo>
                        <a:pt x="529344" y="63598"/>
                        <a:pt x="532210" y="73870"/>
                        <a:pt x="532210" y="87218"/>
                      </a:cubicBezTo>
                      <a:lnTo>
                        <a:pt x="532210" y="148065"/>
                      </a:lnTo>
                      <a:lnTo>
                        <a:pt x="523224" y="148065"/>
                      </a:lnTo>
                      <a:lnTo>
                        <a:pt x="523224" y="89855"/>
                      </a:lnTo>
                      <a:cubicBezTo>
                        <a:pt x="523224" y="65828"/>
                        <a:pt x="514564" y="53815"/>
                        <a:pt x="497244" y="53815"/>
                      </a:cubicBezTo>
                      <a:cubicBezTo>
                        <a:pt x="487608" y="53815"/>
                        <a:pt x="479696" y="57348"/>
                        <a:pt x="473510" y="64412"/>
                      </a:cubicBezTo>
                      <a:cubicBezTo>
                        <a:pt x="467326" y="71477"/>
                        <a:pt x="464232" y="80218"/>
                        <a:pt x="464232" y="90636"/>
                      </a:cubicBezTo>
                      <a:lnTo>
                        <a:pt x="464232" y="148065"/>
                      </a:lnTo>
                      <a:lnTo>
                        <a:pt x="455246" y="148065"/>
                      </a:lnTo>
                      <a:lnTo>
                        <a:pt x="455246" y="48053"/>
                      </a:lnTo>
                      <a:lnTo>
                        <a:pt x="464232" y="48053"/>
                      </a:lnTo>
                      <a:lnTo>
                        <a:pt x="464232" y="66219"/>
                      </a:lnTo>
                      <a:lnTo>
                        <a:pt x="464622" y="66219"/>
                      </a:lnTo>
                      <a:cubicBezTo>
                        <a:pt x="471916" y="52480"/>
                        <a:pt x="483310" y="45611"/>
                        <a:pt x="498806" y="45611"/>
                      </a:cubicBezTo>
                      <a:close/>
                      <a:moveTo>
                        <a:pt x="396428" y="45611"/>
                      </a:moveTo>
                      <a:cubicBezTo>
                        <a:pt x="406714" y="45611"/>
                        <a:pt x="414674" y="48802"/>
                        <a:pt x="420306" y="55183"/>
                      </a:cubicBezTo>
                      <a:cubicBezTo>
                        <a:pt x="425940" y="61564"/>
                        <a:pt x="428756" y="70842"/>
                        <a:pt x="428756" y="83018"/>
                      </a:cubicBezTo>
                      <a:lnTo>
                        <a:pt x="428756" y="148065"/>
                      </a:lnTo>
                      <a:lnTo>
                        <a:pt x="419770" y="148065"/>
                      </a:lnTo>
                      <a:lnTo>
                        <a:pt x="419770" y="128043"/>
                      </a:lnTo>
                      <a:lnTo>
                        <a:pt x="419380" y="128043"/>
                      </a:lnTo>
                      <a:cubicBezTo>
                        <a:pt x="416188" y="134880"/>
                        <a:pt x="411550" y="140333"/>
                        <a:pt x="405462" y="144403"/>
                      </a:cubicBezTo>
                      <a:cubicBezTo>
                        <a:pt x="399374" y="148472"/>
                        <a:pt x="392618" y="150507"/>
                        <a:pt x="385196" y="150507"/>
                      </a:cubicBezTo>
                      <a:cubicBezTo>
                        <a:pt x="375688" y="150507"/>
                        <a:pt x="368168" y="147837"/>
                        <a:pt x="362634" y="142498"/>
                      </a:cubicBezTo>
                      <a:cubicBezTo>
                        <a:pt x="357100" y="137159"/>
                        <a:pt x="354332" y="130420"/>
                        <a:pt x="354332" y="122281"/>
                      </a:cubicBezTo>
                      <a:cubicBezTo>
                        <a:pt x="354332" y="104831"/>
                        <a:pt x="365890" y="94282"/>
                        <a:pt x="389004" y="90636"/>
                      </a:cubicBezTo>
                      <a:lnTo>
                        <a:pt x="419770" y="86046"/>
                      </a:lnTo>
                      <a:cubicBezTo>
                        <a:pt x="419770" y="64559"/>
                        <a:pt x="411696" y="53815"/>
                        <a:pt x="395548" y="53815"/>
                      </a:cubicBezTo>
                      <a:cubicBezTo>
                        <a:pt x="384544" y="53815"/>
                        <a:pt x="373834" y="58243"/>
                        <a:pt x="363416" y="67098"/>
                      </a:cubicBezTo>
                      <a:lnTo>
                        <a:pt x="363416" y="56257"/>
                      </a:lnTo>
                      <a:cubicBezTo>
                        <a:pt x="367126" y="53327"/>
                        <a:pt x="372156" y="50820"/>
                        <a:pt x="378504" y="48736"/>
                      </a:cubicBezTo>
                      <a:cubicBezTo>
                        <a:pt x="384854" y="46653"/>
                        <a:pt x="390828" y="45611"/>
                        <a:pt x="396428" y="45611"/>
                      </a:cubicBezTo>
                      <a:close/>
                      <a:moveTo>
                        <a:pt x="254380" y="45611"/>
                      </a:moveTo>
                      <a:cubicBezTo>
                        <a:pt x="267076" y="45611"/>
                        <a:pt x="276990" y="49990"/>
                        <a:pt x="284120" y="58747"/>
                      </a:cubicBezTo>
                      <a:cubicBezTo>
                        <a:pt x="291250" y="67505"/>
                        <a:pt x="294814" y="79404"/>
                        <a:pt x="294814" y="94445"/>
                      </a:cubicBezTo>
                      <a:cubicBezTo>
                        <a:pt x="294814" y="111179"/>
                        <a:pt x="290728" y="124706"/>
                        <a:pt x="282558" y="135026"/>
                      </a:cubicBezTo>
                      <a:cubicBezTo>
                        <a:pt x="274386" y="145347"/>
                        <a:pt x="263594" y="150507"/>
                        <a:pt x="250180" y="150507"/>
                      </a:cubicBezTo>
                      <a:cubicBezTo>
                        <a:pt x="235204" y="150507"/>
                        <a:pt x="224136" y="143768"/>
                        <a:pt x="216972" y="130290"/>
                      </a:cubicBezTo>
                      <a:lnTo>
                        <a:pt x="216582" y="130290"/>
                      </a:lnTo>
                      <a:lnTo>
                        <a:pt x="216582" y="194067"/>
                      </a:lnTo>
                      <a:lnTo>
                        <a:pt x="207596" y="194067"/>
                      </a:lnTo>
                      <a:lnTo>
                        <a:pt x="207596" y="48053"/>
                      </a:lnTo>
                      <a:lnTo>
                        <a:pt x="216582" y="48053"/>
                      </a:lnTo>
                      <a:lnTo>
                        <a:pt x="216582" y="68661"/>
                      </a:lnTo>
                      <a:lnTo>
                        <a:pt x="216972" y="68661"/>
                      </a:lnTo>
                      <a:cubicBezTo>
                        <a:pt x="220554" y="61303"/>
                        <a:pt x="225682" y="55622"/>
                        <a:pt x="232356" y="51618"/>
                      </a:cubicBezTo>
                      <a:cubicBezTo>
                        <a:pt x="239030" y="47613"/>
                        <a:pt x="246372" y="45611"/>
                        <a:pt x="254380" y="45611"/>
                      </a:cubicBezTo>
                      <a:close/>
                      <a:moveTo>
                        <a:pt x="85618" y="45611"/>
                      </a:moveTo>
                      <a:cubicBezTo>
                        <a:pt x="92910" y="45611"/>
                        <a:pt x="99146" y="47711"/>
                        <a:pt x="104322" y="51911"/>
                      </a:cubicBezTo>
                      <a:cubicBezTo>
                        <a:pt x="109498" y="56110"/>
                        <a:pt x="112998" y="61629"/>
                        <a:pt x="114820" y="68465"/>
                      </a:cubicBezTo>
                      <a:cubicBezTo>
                        <a:pt x="117946" y="61238"/>
                        <a:pt x="122422" y="55622"/>
                        <a:pt x="128250" y="51618"/>
                      </a:cubicBezTo>
                      <a:cubicBezTo>
                        <a:pt x="134078" y="47613"/>
                        <a:pt x="140410" y="45611"/>
                        <a:pt x="147246" y="45611"/>
                      </a:cubicBezTo>
                      <a:cubicBezTo>
                        <a:pt x="169124" y="45611"/>
                        <a:pt x="180064" y="59154"/>
                        <a:pt x="180064" y="86241"/>
                      </a:cubicBezTo>
                      <a:lnTo>
                        <a:pt x="180064" y="148065"/>
                      </a:lnTo>
                      <a:lnTo>
                        <a:pt x="171078" y="148065"/>
                      </a:lnTo>
                      <a:lnTo>
                        <a:pt x="171078" y="87901"/>
                      </a:lnTo>
                      <a:cubicBezTo>
                        <a:pt x="171078" y="75335"/>
                        <a:pt x="169108" y="66512"/>
                        <a:pt x="165170" y="61433"/>
                      </a:cubicBezTo>
                      <a:cubicBezTo>
                        <a:pt x="161230" y="56355"/>
                        <a:pt x="154996" y="53815"/>
                        <a:pt x="146466" y="53815"/>
                      </a:cubicBezTo>
                      <a:cubicBezTo>
                        <a:pt x="138586" y="53815"/>
                        <a:pt x="131782" y="57201"/>
                        <a:pt x="126052" y="63973"/>
                      </a:cubicBezTo>
                      <a:cubicBezTo>
                        <a:pt x="120322" y="70744"/>
                        <a:pt x="117458" y="79242"/>
                        <a:pt x="117458" y="89464"/>
                      </a:cubicBezTo>
                      <a:lnTo>
                        <a:pt x="117458" y="148065"/>
                      </a:lnTo>
                      <a:lnTo>
                        <a:pt x="108472" y="148065"/>
                      </a:lnTo>
                      <a:lnTo>
                        <a:pt x="108472" y="87218"/>
                      </a:lnTo>
                      <a:cubicBezTo>
                        <a:pt x="108472" y="64949"/>
                        <a:pt x="100008" y="53815"/>
                        <a:pt x="83078" y="53815"/>
                      </a:cubicBezTo>
                      <a:cubicBezTo>
                        <a:pt x="74940" y="53815"/>
                        <a:pt x="68168" y="57217"/>
                        <a:pt x="62764" y="64022"/>
                      </a:cubicBezTo>
                      <a:cubicBezTo>
                        <a:pt x="57360" y="70826"/>
                        <a:pt x="54658" y="79632"/>
                        <a:pt x="54658" y="90441"/>
                      </a:cubicBezTo>
                      <a:lnTo>
                        <a:pt x="54658" y="148065"/>
                      </a:lnTo>
                      <a:lnTo>
                        <a:pt x="45672" y="148065"/>
                      </a:lnTo>
                      <a:lnTo>
                        <a:pt x="45672" y="48053"/>
                      </a:lnTo>
                      <a:lnTo>
                        <a:pt x="54658" y="48053"/>
                      </a:lnTo>
                      <a:lnTo>
                        <a:pt x="54658" y="64656"/>
                      </a:lnTo>
                      <a:lnTo>
                        <a:pt x="55048" y="64656"/>
                      </a:lnTo>
                      <a:cubicBezTo>
                        <a:pt x="62014" y="51959"/>
                        <a:pt x="72206" y="45611"/>
                        <a:pt x="85618" y="45611"/>
                      </a:cubicBezTo>
                      <a:close/>
                      <a:moveTo>
                        <a:pt x="573206" y="19045"/>
                      </a:moveTo>
                      <a:lnTo>
                        <a:pt x="573206" y="48053"/>
                      </a:lnTo>
                      <a:lnTo>
                        <a:pt x="599578" y="48053"/>
                      </a:lnTo>
                      <a:lnTo>
                        <a:pt x="599578" y="56257"/>
                      </a:lnTo>
                      <a:lnTo>
                        <a:pt x="573206" y="56257"/>
                      </a:lnTo>
                      <a:lnTo>
                        <a:pt x="573206" y="122281"/>
                      </a:lnTo>
                      <a:cubicBezTo>
                        <a:pt x="573206" y="129183"/>
                        <a:pt x="574298" y="134180"/>
                        <a:pt x="576478" y="137273"/>
                      </a:cubicBezTo>
                      <a:cubicBezTo>
                        <a:pt x="578660" y="140366"/>
                        <a:pt x="582356" y="141912"/>
                        <a:pt x="587564" y="141912"/>
                      </a:cubicBezTo>
                      <a:cubicBezTo>
                        <a:pt x="591276" y="141912"/>
                        <a:pt x="595280" y="140708"/>
                        <a:pt x="599578" y="138298"/>
                      </a:cubicBezTo>
                      <a:lnTo>
                        <a:pt x="599578" y="146698"/>
                      </a:lnTo>
                      <a:cubicBezTo>
                        <a:pt x="594890" y="148912"/>
                        <a:pt x="590494" y="150019"/>
                        <a:pt x="586392" y="150019"/>
                      </a:cubicBezTo>
                      <a:cubicBezTo>
                        <a:pt x="571612" y="150019"/>
                        <a:pt x="564222" y="141163"/>
                        <a:pt x="564222" y="123453"/>
                      </a:cubicBezTo>
                      <a:lnTo>
                        <a:pt x="564222" y="56257"/>
                      </a:lnTo>
                      <a:lnTo>
                        <a:pt x="546250" y="56257"/>
                      </a:lnTo>
                      <a:lnTo>
                        <a:pt x="546250" y="48053"/>
                      </a:lnTo>
                      <a:lnTo>
                        <a:pt x="564222" y="48053"/>
                      </a:lnTo>
                      <a:lnTo>
                        <a:pt x="564222" y="22073"/>
                      </a:lnTo>
                      <a:cubicBezTo>
                        <a:pt x="565654" y="21552"/>
                        <a:pt x="567152" y="21031"/>
                        <a:pt x="568714" y="20510"/>
                      </a:cubicBezTo>
                      <a:cubicBezTo>
                        <a:pt x="570276" y="20054"/>
                        <a:pt x="571774" y="19566"/>
                        <a:pt x="573206" y="19045"/>
                      </a:cubicBezTo>
                      <a:close/>
                      <a:moveTo>
                        <a:pt x="2202716" y="8009"/>
                      </a:moveTo>
                      <a:cubicBezTo>
                        <a:pt x="2204736" y="8009"/>
                        <a:pt x="2206510" y="8660"/>
                        <a:pt x="2208040" y="9962"/>
                      </a:cubicBezTo>
                      <a:cubicBezTo>
                        <a:pt x="2209570" y="11264"/>
                        <a:pt x="2210334" y="13022"/>
                        <a:pt x="2210334" y="15236"/>
                      </a:cubicBezTo>
                      <a:cubicBezTo>
                        <a:pt x="2210334" y="17320"/>
                        <a:pt x="2209586" y="19110"/>
                        <a:pt x="2208088" y="20608"/>
                      </a:cubicBezTo>
                      <a:cubicBezTo>
                        <a:pt x="2206590" y="22105"/>
                        <a:pt x="2204800" y="22854"/>
                        <a:pt x="2202716" y="22854"/>
                      </a:cubicBezTo>
                      <a:cubicBezTo>
                        <a:pt x="2200764" y="22854"/>
                        <a:pt x="2199038" y="22138"/>
                        <a:pt x="2197540" y="20706"/>
                      </a:cubicBezTo>
                      <a:cubicBezTo>
                        <a:pt x="2196042" y="19273"/>
                        <a:pt x="2195294" y="17450"/>
                        <a:pt x="2195294" y="15236"/>
                      </a:cubicBezTo>
                      <a:cubicBezTo>
                        <a:pt x="2195294" y="13087"/>
                        <a:pt x="2196058" y="11346"/>
                        <a:pt x="2197590" y="10011"/>
                      </a:cubicBezTo>
                      <a:cubicBezTo>
                        <a:pt x="2199120" y="8676"/>
                        <a:pt x="2200828" y="8009"/>
                        <a:pt x="2202716" y="8009"/>
                      </a:cubicBezTo>
                      <a:close/>
                      <a:moveTo>
                        <a:pt x="0" y="8009"/>
                      </a:moveTo>
                      <a:lnTo>
                        <a:pt x="9670" y="8009"/>
                      </a:lnTo>
                      <a:lnTo>
                        <a:pt x="9670" y="148065"/>
                      </a:lnTo>
                      <a:lnTo>
                        <a:pt x="0" y="148065"/>
                      </a:lnTo>
                      <a:close/>
                      <a:moveTo>
                        <a:pt x="2274522" y="0"/>
                      </a:moveTo>
                      <a:lnTo>
                        <a:pt x="2283508" y="0"/>
                      </a:lnTo>
                      <a:lnTo>
                        <a:pt x="2283508" y="148065"/>
                      </a:lnTo>
                      <a:lnTo>
                        <a:pt x="2274522" y="148065"/>
                      </a:lnTo>
                      <a:close/>
                      <a:moveTo>
                        <a:pt x="2236422" y="0"/>
                      </a:moveTo>
                      <a:lnTo>
                        <a:pt x="2245406" y="0"/>
                      </a:lnTo>
                      <a:lnTo>
                        <a:pt x="2245406" y="148065"/>
                      </a:lnTo>
                      <a:lnTo>
                        <a:pt x="2236422" y="148065"/>
                      </a:lnTo>
                      <a:close/>
                      <a:moveTo>
                        <a:pt x="1493472" y="0"/>
                      </a:moveTo>
                      <a:lnTo>
                        <a:pt x="1502458" y="0"/>
                      </a:lnTo>
                      <a:lnTo>
                        <a:pt x="1502458" y="66024"/>
                      </a:lnTo>
                      <a:lnTo>
                        <a:pt x="1502848" y="66024"/>
                      </a:lnTo>
                      <a:cubicBezTo>
                        <a:pt x="1510726" y="52415"/>
                        <a:pt x="1522186" y="45611"/>
                        <a:pt x="1537226" y="45611"/>
                      </a:cubicBezTo>
                      <a:cubicBezTo>
                        <a:pt x="1548036" y="45611"/>
                        <a:pt x="1556272" y="49095"/>
                        <a:pt x="1561938" y="56062"/>
                      </a:cubicBezTo>
                      <a:cubicBezTo>
                        <a:pt x="1567602" y="63029"/>
                        <a:pt x="1570434" y="73023"/>
                        <a:pt x="1570434" y="86046"/>
                      </a:cubicBezTo>
                      <a:lnTo>
                        <a:pt x="1570434" y="148065"/>
                      </a:lnTo>
                      <a:lnTo>
                        <a:pt x="1561448" y="148065"/>
                      </a:lnTo>
                      <a:lnTo>
                        <a:pt x="1561448" y="88097"/>
                      </a:lnTo>
                      <a:cubicBezTo>
                        <a:pt x="1561448" y="76246"/>
                        <a:pt x="1559300" y="67570"/>
                        <a:pt x="1555002" y="62068"/>
                      </a:cubicBezTo>
                      <a:cubicBezTo>
                        <a:pt x="1550706" y="56566"/>
                        <a:pt x="1543998" y="53815"/>
                        <a:pt x="1534882" y="53815"/>
                      </a:cubicBezTo>
                      <a:cubicBezTo>
                        <a:pt x="1526288" y="53815"/>
                        <a:pt x="1518736" y="57168"/>
                        <a:pt x="1512224" y="63875"/>
                      </a:cubicBezTo>
                      <a:cubicBezTo>
                        <a:pt x="1505712" y="70582"/>
                        <a:pt x="1502458" y="80186"/>
                        <a:pt x="1502458" y="92687"/>
                      </a:cubicBezTo>
                      <a:lnTo>
                        <a:pt x="1502458" y="148065"/>
                      </a:lnTo>
                      <a:lnTo>
                        <a:pt x="1493472" y="148065"/>
                      </a:lnTo>
                      <a:close/>
                      <a:moveTo>
                        <a:pt x="1274396" y="0"/>
                      </a:moveTo>
                      <a:lnTo>
                        <a:pt x="1283382" y="0"/>
                      </a:lnTo>
                      <a:lnTo>
                        <a:pt x="1283382" y="148065"/>
                      </a:lnTo>
                      <a:lnTo>
                        <a:pt x="1274396" y="148065"/>
                      </a:lnTo>
                      <a:close/>
                      <a:moveTo>
                        <a:pt x="1236296" y="0"/>
                      </a:moveTo>
                      <a:lnTo>
                        <a:pt x="1245282" y="0"/>
                      </a:lnTo>
                      <a:lnTo>
                        <a:pt x="1245282" y="148065"/>
                      </a:lnTo>
                      <a:lnTo>
                        <a:pt x="1236296" y="148065"/>
                      </a:lnTo>
                      <a:close/>
                      <a:moveTo>
                        <a:pt x="826722" y="0"/>
                      </a:moveTo>
                      <a:lnTo>
                        <a:pt x="835708" y="0"/>
                      </a:lnTo>
                      <a:lnTo>
                        <a:pt x="835708" y="148065"/>
                      </a:lnTo>
                      <a:lnTo>
                        <a:pt x="826722" y="148065"/>
                      </a:lnTo>
                      <a:close/>
                      <a:moveTo>
                        <a:pt x="712422" y="0"/>
                      </a:moveTo>
                      <a:lnTo>
                        <a:pt x="721408" y="0"/>
                      </a:lnTo>
                      <a:lnTo>
                        <a:pt x="721408" y="68661"/>
                      </a:lnTo>
                      <a:lnTo>
                        <a:pt x="721798" y="68661"/>
                      </a:lnTo>
                      <a:cubicBezTo>
                        <a:pt x="725378" y="61303"/>
                        <a:pt x="730506" y="55622"/>
                        <a:pt x="737180" y="51618"/>
                      </a:cubicBezTo>
                      <a:cubicBezTo>
                        <a:pt x="743854" y="47613"/>
                        <a:pt x="751196" y="45611"/>
                        <a:pt x="759204" y="45611"/>
                      </a:cubicBezTo>
                      <a:cubicBezTo>
                        <a:pt x="771902" y="45611"/>
                        <a:pt x="781814" y="49990"/>
                        <a:pt x="788946" y="58747"/>
                      </a:cubicBezTo>
                      <a:cubicBezTo>
                        <a:pt x="796074" y="67505"/>
                        <a:pt x="799640" y="79404"/>
                        <a:pt x="799640" y="94445"/>
                      </a:cubicBezTo>
                      <a:cubicBezTo>
                        <a:pt x="799640" y="111179"/>
                        <a:pt x="795504" y="124706"/>
                        <a:pt x="787236" y="135026"/>
                      </a:cubicBezTo>
                      <a:cubicBezTo>
                        <a:pt x="778966" y="145347"/>
                        <a:pt x="768222" y="150507"/>
                        <a:pt x="755006" y="150507"/>
                      </a:cubicBezTo>
                      <a:cubicBezTo>
                        <a:pt x="740030" y="150507"/>
                        <a:pt x="728960" y="143768"/>
                        <a:pt x="721798" y="130290"/>
                      </a:cubicBezTo>
                      <a:lnTo>
                        <a:pt x="721408" y="130290"/>
                      </a:lnTo>
                      <a:lnTo>
                        <a:pt x="721408" y="148065"/>
                      </a:lnTo>
                      <a:lnTo>
                        <a:pt x="712422" y="148065"/>
                      </a:lnTo>
                      <a:close/>
                      <a:moveTo>
                        <a:pt x="321896" y="0"/>
                      </a:moveTo>
                      <a:lnTo>
                        <a:pt x="330882" y="0"/>
                      </a:lnTo>
                      <a:lnTo>
                        <a:pt x="330882" y="148065"/>
                      </a:lnTo>
                      <a:lnTo>
                        <a:pt x="321896" y="148065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kern="0" dirty="0">
                      <a:solidFill>
                        <a:prstClr val="white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Телефоны-импланты можно будет приобрести в любой торговой точке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626" name="Census"/>
              <p:cNvGrpSpPr/>
              <p:nvPr/>
            </p:nvGrpSpPr>
            <p:grpSpPr>
              <a:xfrm>
                <a:off x="32701641" y="2388210"/>
                <a:ext cx="3826852" cy="2072870"/>
                <a:chOff x="353980" y="4509989"/>
                <a:chExt cx="3826852" cy="2072870"/>
              </a:xfrm>
            </p:grpSpPr>
            <p:grpSp>
              <p:nvGrpSpPr>
                <p:cNvPr id="249" name="Group 248"/>
                <p:cNvGrpSpPr/>
                <p:nvPr/>
              </p:nvGrpSpPr>
              <p:grpSpPr>
                <a:xfrm>
                  <a:off x="889718" y="4509989"/>
                  <a:ext cx="2435214" cy="1346610"/>
                  <a:chOff x="2809875" y="3492500"/>
                  <a:chExt cx="1708151" cy="944563"/>
                </a:xfrm>
              </p:grpSpPr>
              <p:sp>
                <p:nvSpPr>
                  <p:cNvPr id="250" name="Rectangle 9"/>
                  <p:cNvSpPr>
                    <a:spLocks noChangeArrowheads="1"/>
                  </p:cNvSpPr>
                  <p:nvPr/>
                </p:nvSpPr>
                <p:spPr bwMode="auto">
                  <a:xfrm>
                    <a:off x="2897188" y="3492500"/>
                    <a:ext cx="1468438" cy="558800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1" name="Freeform 10"/>
                  <p:cNvSpPr>
                    <a:spLocks/>
                  </p:cNvSpPr>
                  <p:nvPr/>
                </p:nvSpPr>
                <p:spPr bwMode="auto">
                  <a:xfrm>
                    <a:off x="2897188" y="3975100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3 h 3"/>
                      <a:gd name="T4" fmla="*/ 0 w 924"/>
                      <a:gd name="T5" fmla="*/ 3 h 3"/>
                      <a:gd name="T6" fmla="*/ 0 w 924"/>
                      <a:gd name="T7" fmla="*/ 1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2" name="Freeform 11"/>
                  <p:cNvSpPr>
                    <a:spLocks/>
                  </p:cNvSpPr>
                  <p:nvPr/>
                </p:nvSpPr>
                <p:spPr bwMode="auto">
                  <a:xfrm>
                    <a:off x="2897188" y="3906838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2 h 3"/>
                      <a:gd name="T4" fmla="*/ 0 w 924"/>
                      <a:gd name="T5" fmla="*/ 3 h 3"/>
                      <a:gd name="T6" fmla="*/ 0 w 924"/>
                      <a:gd name="T7" fmla="*/ 0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2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3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2897188" y="3838575"/>
                    <a:ext cx="1466850" cy="3175"/>
                  </a:xfrm>
                  <a:prstGeom prst="rect">
                    <a:avLst/>
                  </a:pr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4" name="Freeform 13"/>
                  <p:cNvSpPr>
                    <a:spLocks/>
                  </p:cNvSpPr>
                  <p:nvPr/>
                </p:nvSpPr>
                <p:spPr bwMode="auto">
                  <a:xfrm>
                    <a:off x="2897188" y="3768725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3 h 3"/>
                      <a:gd name="T4" fmla="*/ 0 w 924"/>
                      <a:gd name="T5" fmla="*/ 3 h 3"/>
                      <a:gd name="T6" fmla="*/ 0 w 924"/>
                      <a:gd name="T7" fmla="*/ 1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5" name="Freeform 14"/>
                  <p:cNvSpPr>
                    <a:spLocks/>
                  </p:cNvSpPr>
                  <p:nvPr/>
                </p:nvSpPr>
                <p:spPr bwMode="auto">
                  <a:xfrm>
                    <a:off x="2897188" y="3700463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2 h 3"/>
                      <a:gd name="T4" fmla="*/ 0 w 924"/>
                      <a:gd name="T5" fmla="*/ 3 h 3"/>
                      <a:gd name="T6" fmla="*/ 0 w 924"/>
                      <a:gd name="T7" fmla="*/ 0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2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6" name="Freeform 15"/>
                  <p:cNvSpPr>
                    <a:spLocks/>
                  </p:cNvSpPr>
                  <p:nvPr/>
                </p:nvSpPr>
                <p:spPr bwMode="auto">
                  <a:xfrm>
                    <a:off x="2897188" y="3630613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3 h 3"/>
                      <a:gd name="T4" fmla="*/ 0 w 924"/>
                      <a:gd name="T5" fmla="*/ 3 h 3"/>
                      <a:gd name="T6" fmla="*/ 0 w 924"/>
                      <a:gd name="T7" fmla="*/ 1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7" name="Freeform 16"/>
                  <p:cNvSpPr>
                    <a:spLocks/>
                  </p:cNvSpPr>
                  <p:nvPr/>
                </p:nvSpPr>
                <p:spPr bwMode="auto">
                  <a:xfrm>
                    <a:off x="2897188" y="3562350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2 h 3"/>
                      <a:gd name="T4" fmla="*/ 0 w 924"/>
                      <a:gd name="T5" fmla="*/ 3 h 3"/>
                      <a:gd name="T6" fmla="*/ 0 w 924"/>
                      <a:gd name="T7" fmla="*/ 0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2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8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562350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9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630613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0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630613"/>
                    <a:ext cx="15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1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700463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2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768725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3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838575"/>
                    <a:ext cx="65088" cy="158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4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906838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5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976688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6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4491038" y="3976688"/>
                    <a:ext cx="15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7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3381375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8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3313113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9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3243263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0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3175000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1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3106738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2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3036888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3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967038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4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3863975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5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3795713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6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3725863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7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3657600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8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3589338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9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3519488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0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3449638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1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4346575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2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4278313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3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4278313" y="4129088"/>
                    <a:ext cx="1588" cy="158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4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4208463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5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4140200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6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4070350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7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4000500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8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3932238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9" name="Freeform 48"/>
                  <p:cNvSpPr>
                    <a:spLocks/>
                  </p:cNvSpPr>
                  <p:nvPr/>
                </p:nvSpPr>
                <p:spPr bwMode="auto">
                  <a:xfrm>
                    <a:off x="2987675" y="3689350"/>
                    <a:ext cx="1012825" cy="255588"/>
                  </a:xfrm>
                  <a:custGeom>
                    <a:avLst/>
                    <a:gdLst>
                      <a:gd name="T0" fmla="*/ 2481 w 2557"/>
                      <a:gd name="T1" fmla="*/ 20 h 646"/>
                      <a:gd name="T2" fmla="*/ 2466 w 2557"/>
                      <a:gd name="T3" fmla="*/ 24 h 646"/>
                      <a:gd name="T4" fmla="*/ 2106 w 2557"/>
                      <a:gd name="T5" fmla="*/ 112 h 646"/>
                      <a:gd name="T6" fmla="*/ 2017 w 2557"/>
                      <a:gd name="T7" fmla="*/ 112 h 646"/>
                      <a:gd name="T8" fmla="*/ 1983 w 2557"/>
                      <a:gd name="T9" fmla="*/ 112 h 646"/>
                      <a:gd name="T10" fmla="*/ 1905 w 2557"/>
                      <a:gd name="T11" fmla="*/ 132 h 646"/>
                      <a:gd name="T12" fmla="*/ 1826 w 2557"/>
                      <a:gd name="T13" fmla="*/ 152 h 646"/>
                      <a:gd name="T14" fmla="*/ 1706 w 2557"/>
                      <a:gd name="T15" fmla="*/ 150 h 646"/>
                      <a:gd name="T16" fmla="*/ 1701 w 2557"/>
                      <a:gd name="T17" fmla="*/ 150 h 646"/>
                      <a:gd name="T18" fmla="*/ 1696 w 2557"/>
                      <a:gd name="T19" fmla="*/ 152 h 646"/>
                      <a:gd name="T20" fmla="*/ 1532 w 2557"/>
                      <a:gd name="T21" fmla="*/ 226 h 646"/>
                      <a:gd name="T22" fmla="*/ 1434 w 2557"/>
                      <a:gd name="T23" fmla="*/ 233 h 646"/>
                      <a:gd name="T24" fmla="*/ 1431 w 2557"/>
                      <a:gd name="T25" fmla="*/ 233 h 646"/>
                      <a:gd name="T26" fmla="*/ 1429 w 2557"/>
                      <a:gd name="T27" fmla="*/ 234 h 646"/>
                      <a:gd name="T28" fmla="*/ 1227 w 2557"/>
                      <a:gd name="T29" fmla="*/ 298 h 646"/>
                      <a:gd name="T30" fmla="*/ 1206 w 2557"/>
                      <a:gd name="T31" fmla="*/ 300 h 646"/>
                      <a:gd name="T32" fmla="*/ 1063 w 2557"/>
                      <a:gd name="T33" fmla="*/ 328 h 646"/>
                      <a:gd name="T34" fmla="*/ 500 w 2557"/>
                      <a:gd name="T35" fmla="*/ 497 h 646"/>
                      <a:gd name="T36" fmla="*/ 153 w 2557"/>
                      <a:gd name="T37" fmla="*/ 601 h 646"/>
                      <a:gd name="T38" fmla="*/ 0 w 2557"/>
                      <a:gd name="T39" fmla="*/ 632 h 646"/>
                      <a:gd name="T40" fmla="*/ 0 w 2557"/>
                      <a:gd name="T41" fmla="*/ 646 h 646"/>
                      <a:gd name="T42" fmla="*/ 164 w 2557"/>
                      <a:gd name="T43" fmla="*/ 611 h 646"/>
                      <a:gd name="T44" fmla="*/ 507 w 2557"/>
                      <a:gd name="T45" fmla="*/ 510 h 646"/>
                      <a:gd name="T46" fmla="*/ 1073 w 2557"/>
                      <a:gd name="T47" fmla="*/ 340 h 646"/>
                      <a:gd name="T48" fmla="*/ 1208 w 2557"/>
                      <a:gd name="T49" fmla="*/ 314 h 646"/>
                      <a:gd name="T50" fmla="*/ 1232 w 2557"/>
                      <a:gd name="T51" fmla="*/ 311 h 646"/>
                      <a:gd name="T52" fmla="*/ 1434 w 2557"/>
                      <a:gd name="T53" fmla="*/ 245 h 646"/>
                      <a:gd name="T54" fmla="*/ 1540 w 2557"/>
                      <a:gd name="T55" fmla="*/ 236 h 646"/>
                      <a:gd name="T56" fmla="*/ 1706 w 2557"/>
                      <a:gd name="T57" fmla="*/ 164 h 646"/>
                      <a:gd name="T58" fmla="*/ 1831 w 2557"/>
                      <a:gd name="T59" fmla="*/ 166 h 646"/>
                      <a:gd name="T60" fmla="*/ 1915 w 2557"/>
                      <a:gd name="T61" fmla="*/ 145 h 646"/>
                      <a:gd name="T62" fmla="*/ 1983 w 2557"/>
                      <a:gd name="T63" fmla="*/ 127 h 646"/>
                      <a:gd name="T64" fmla="*/ 2013 w 2557"/>
                      <a:gd name="T65" fmla="*/ 127 h 646"/>
                      <a:gd name="T66" fmla="*/ 2109 w 2557"/>
                      <a:gd name="T67" fmla="*/ 127 h 646"/>
                      <a:gd name="T68" fmla="*/ 2472 w 2557"/>
                      <a:gd name="T69" fmla="*/ 38 h 646"/>
                      <a:gd name="T70" fmla="*/ 2486 w 2557"/>
                      <a:gd name="T71" fmla="*/ 34 h 646"/>
                      <a:gd name="T72" fmla="*/ 2557 w 2557"/>
                      <a:gd name="T73" fmla="*/ 12 h 646"/>
                      <a:gd name="T74" fmla="*/ 2545 w 2557"/>
                      <a:gd name="T75" fmla="*/ 0 h 646"/>
                      <a:gd name="T76" fmla="*/ 2481 w 2557"/>
                      <a:gd name="T77" fmla="*/ 20 h 6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</a:cxnLst>
                    <a:rect l="0" t="0" r="r" b="b"/>
                    <a:pathLst>
                      <a:path w="2557" h="646">
                        <a:moveTo>
                          <a:pt x="2481" y="20"/>
                        </a:moveTo>
                        <a:cubicBezTo>
                          <a:pt x="2466" y="24"/>
                          <a:pt x="2466" y="24"/>
                          <a:pt x="2466" y="24"/>
                        </a:cubicBezTo>
                        <a:cubicBezTo>
                          <a:pt x="2370" y="50"/>
                          <a:pt x="2146" y="111"/>
                          <a:pt x="2106" y="112"/>
                        </a:cubicBezTo>
                        <a:cubicBezTo>
                          <a:pt x="2078" y="113"/>
                          <a:pt x="2043" y="112"/>
                          <a:pt x="2017" y="112"/>
                        </a:cubicBezTo>
                        <a:cubicBezTo>
                          <a:pt x="1997" y="112"/>
                          <a:pt x="1988" y="111"/>
                          <a:pt x="1983" y="112"/>
                        </a:cubicBezTo>
                        <a:cubicBezTo>
                          <a:pt x="1977" y="112"/>
                          <a:pt x="1961" y="116"/>
                          <a:pt x="1905" y="132"/>
                        </a:cubicBezTo>
                        <a:cubicBezTo>
                          <a:pt x="1874" y="140"/>
                          <a:pt x="1835" y="151"/>
                          <a:pt x="1826" y="152"/>
                        </a:cubicBezTo>
                        <a:cubicBezTo>
                          <a:pt x="1816" y="154"/>
                          <a:pt x="1757" y="152"/>
                          <a:pt x="1706" y="150"/>
                        </a:cubicBezTo>
                        <a:cubicBezTo>
                          <a:pt x="1701" y="150"/>
                          <a:pt x="1701" y="150"/>
                          <a:pt x="1701" y="150"/>
                        </a:cubicBezTo>
                        <a:cubicBezTo>
                          <a:pt x="1696" y="152"/>
                          <a:pt x="1696" y="152"/>
                          <a:pt x="1696" y="152"/>
                        </a:cubicBezTo>
                        <a:cubicBezTo>
                          <a:pt x="1624" y="185"/>
                          <a:pt x="1542" y="223"/>
                          <a:pt x="1532" y="226"/>
                        </a:cubicBezTo>
                        <a:cubicBezTo>
                          <a:pt x="1525" y="227"/>
                          <a:pt x="1477" y="231"/>
                          <a:pt x="1434" y="233"/>
                        </a:cubicBezTo>
                        <a:cubicBezTo>
                          <a:pt x="1431" y="233"/>
                          <a:pt x="1431" y="233"/>
                          <a:pt x="1431" y="233"/>
                        </a:cubicBezTo>
                        <a:cubicBezTo>
                          <a:pt x="1429" y="234"/>
                          <a:pt x="1429" y="234"/>
                          <a:pt x="1429" y="234"/>
                        </a:cubicBezTo>
                        <a:cubicBezTo>
                          <a:pt x="1340" y="263"/>
                          <a:pt x="1238" y="296"/>
                          <a:pt x="1227" y="298"/>
                        </a:cubicBezTo>
                        <a:cubicBezTo>
                          <a:pt x="1223" y="299"/>
                          <a:pt x="1215" y="299"/>
                          <a:pt x="1206" y="300"/>
                        </a:cubicBezTo>
                        <a:cubicBezTo>
                          <a:pt x="1173" y="303"/>
                          <a:pt x="1111" y="309"/>
                          <a:pt x="1063" y="328"/>
                        </a:cubicBezTo>
                        <a:cubicBezTo>
                          <a:pt x="1032" y="341"/>
                          <a:pt x="737" y="428"/>
                          <a:pt x="500" y="497"/>
                        </a:cubicBezTo>
                        <a:cubicBezTo>
                          <a:pt x="200" y="585"/>
                          <a:pt x="162" y="597"/>
                          <a:pt x="153" y="601"/>
                        </a:cubicBezTo>
                        <a:cubicBezTo>
                          <a:pt x="143" y="605"/>
                          <a:pt x="68" y="620"/>
                          <a:pt x="0" y="632"/>
                        </a:cubicBezTo>
                        <a:cubicBezTo>
                          <a:pt x="0" y="646"/>
                          <a:pt x="0" y="646"/>
                          <a:pt x="0" y="646"/>
                        </a:cubicBezTo>
                        <a:cubicBezTo>
                          <a:pt x="126" y="624"/>
                          <a:pt x="157" y="614"/>
                          <a:pt x="164" y="611"/>
                        </a:cubicBezTo>
                        <a:cubicBezTo>
                          <a:pt x="178" y="605"/>
                          <a:pt x="347" y="557"/>
                          <a:pt x="507" y="510"/>
                        </a:cubicBezTo>
                        <a:cubicBezTo>
                          <a:pt x="757" y="437"/>
                          <a:pt x="1039" y="354"/>
                          <a:pt x="1073" y="340"/>
                        </a:cubicBezTo>
                        <a:cubicBezTo>
                          <a:pt x="1114" y="323"/>
                          <a:pt x="1175" y="317"/>
                          <a:pt x="1208" y="314"/>
                        </a:cubicBezTo>
                        <a:cubicBezTo>
                          <a:pt x="1219" y="313"/>
                          <a:pt x="1226" y="312"/>
                          <a:pt x="1232" y="311"/>
                        </a:cubicBezTo>
                        <a:cubicBezTo>
                          <a:pt x="1251" y="308"/>
                          <a:pt x="1397" y="257"/>
                          <a:pt x="1434" y="245"/>
                        </a:cubicBezTo>
                        <a:cubicBezTo>
                          <a:pt x="1458" y="244"/>
                          <a:pt x="1527" y="239"/>
                          <a:pt x="1540" y="236"/>
                        </a:cubicBezTo>
                        <a:cubicBezTo>
                          <a:pt x="1552" y="234"/>
                          <a:pt x="1647" y="192"/>
                          <a:pt x="1706" y="164"/>
                        </a:cubicBezTo>
                        <a:cubicBezTo>
                          <a:pt x="1733" y="165"/>
                          <a:pt x="1812" y="169"/>
                          <a:pt x="1831" y="166"/>
                        </a:cubicBezTo>
                        <a:cubicBezTo>
                          <a:pt x="1841" y="164"/>
                          <a:pt x="1872" y="156"/>
                          <a:pt x="1915" y="145"/>
                        </a:cubicBezTo>
                        <a:cubicBezTo>
                          <a:pt x="1944" y="137"/>
                          <a:pt x="1978" y="128"/>
                          <a:pt x="1983" y="127"/>
                        </a:cubicBezTo>
                        <a:cubicBezTo>
                          <a:pt x="1986" y="127"/>
                          <a:pt x="2000" y="127"/>
                          <a:pt x="2013" y="127"/>
                        </a:cubicBezTo>
                        <a:cubicBezTo>
                          <a:pt x="2039" y="128"/>
                          <a:pt x="2081" y="128"/>
                          <a:pt x="2109" y="127"/>
                        </a:cubicBezTo>
                        <a:cubicBezTo>
                          <a:pt x="2150" y="126"/>
                          <a:pt x="2303" y="84"/>
                          <a:pt x="2472" y="38"/>
                        </a:cubicBezTo>
                        <a:cubicBezTo>
                          <a:pt x="2486" y="34"/>
                          <a:pt x="2486" y="34"/>
                          <a:pt x="2486" y="34"/>
                        </a:cubicBezTo>
                        <a:cubicBezTo>
                          <a:pt x="2513" y="26"/>
                          <a:pt x="2537" y="19"/>
                          <a:pt x="2557" y="12"/>
                        </a:cubicBezTo>
                        <a:cubicBezTo>
                          <a:pt x="2553" y="9"/>
                          <a:pt x="2549" y="4"/>
                          <a:pt x="2545" y="0"/>
                        </a:cubicBezTo>
                        <a:cubicBezTo>
                          <a:pt x="2527" y="6"/>
                          <a:pt x="2506" y="13"/>
                          <a:pt x="2481" y="2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0" name="Freeform 49"/>
                  <p:cNvSpPr>
                    <a:spLocks/>
                  </p:cNvSpPr>
                  <p:nvPr/>
                </p:nvSpPr>
                <p:spPr bwMode="auto">
                  <a:xfrm>
                    <a:off x="2987675" y="3544888"/>
                    <a:ext cx="1016000" cy="144463"/>
                  </a:xfrm>
                  <a:custGeom>
                    <a:avLst/>
                    <a:gdLst>
                      <a:gd name="T0" fmla="*/ 311 w 2565"/>
                      <a:gd name="T1" fmla="*/ 179 h 364"/>
                      <a:gd name="T2" fmla="*/ 590 w 2565"/>
                      <a:gd name="T3" fmla="*/ 117 h 364"/>
                      <a:gd name="T4" fmla="*/ 1007 w 2565"/>
                      <a:gd name="T5" fmla="*/ 47 h 364"/>
                      <a:gd name="T6" fmla="*/ 1290 w 2565"/>
                      <a:gd name="T7" fmla="*/ 74 h 364"/>
                      <a:gd name="T8" fmla="*/ 1294 w 2565"/>
                      <a:gd name="T9" fmla="*/ 75 h 364"/>
                      <a:gd name="T10" fmla="*/ 1298 w 2565"/>
                      <a:gd name="T11" fmla="*/ 74 h 364"/>
                      <a:gd name="T12" fmla="*/ 1557 w 2565"/>
                      <a:gd name="T13" fmla="*/ 18 h 364"/>
                      <a:gd name="T14" fmla="*/ 1866 w 2565"/>
                      <a:gd name="T15" fmla="*/ 46 h 364"/>
                      <a:gd name="T16" fmla="*/ 2082 w 2565"/>
                      <a:gd name="T17" fmla="*/ 65 h 364"/>
                      <a:gd name="T18" fmla="*/ 2266 w 2565"/>
                      <a:gd name="T19" fmla="*/ 52 h 364"/>
                      <a:gd name="T20" fmla="*/ 2445 w 2565"/>
                      <a:gd name="T21" fmla="*/ 209 h 364"/>
                      <a:gd name="T22" fmla="*/ 2545 w 2565"/>
                      <a:gd name="T23" fmla="*/ 364 h 364"/>
                      <a:gd name="T24" fmla="*/ 2565 w 2565"/>
                      <a:gd name="T25" fmla="*/ 358 h 364"/>
                      <a:gd name="T26" fmla="*/ 2461 w 2565"/>
                      <a:gd name="T27" fmla="*/ 199 h 364"/>
                      <a:gd name="T28" fmla="*/ 2460 w 2565"/>
                      <a:gd name="T29" fmla="*/ 197 h 364"/>
                      <a:gd name="T30" fmla="*/ 2273 w 2565"/>
                      <a:gd name="T31" fmla="*/ 36 h 364"/>
                      <a:gd name="T32" fmla="*/ 2081 w 2565"/>
                      <a:gd name="T33" fmla="*/ 50 h 364"/>
                      <a:gd name="T34" fmla="*/ 1868 w 2565"/>
                      <a:gd name="T35" fmla="*/ 31 h 364"/>
                      <a:gd name="T36" fmla="*/ 1557 w 2565"/>
                      <a:gd name="T37" fmla="*/ 5 h 364"/>
                      <a:gd name="T38" fmla="*/ 1292 w 2565"/>
                      <a:gd name="T39" fmla="*/ 61 h 364"/>
                      <a:gd name="T40" fmla="*/ 1004 w 2565"/>
                      <a:gd name="T41" fmla="*/ 34 h 364"/>
                      <a:gd name="T42" fmla="*/ 586 w 2565"/>
                      <a:gd name="T43" fmla="*/ 102 h 364"/>
                      <a:gd name="T44" fmla="*/ 308 w 2565"/>
                      <a:gd name="T45" fmla="*/ 164 h 364"/>
                      <a:gd name="T46" fmla="*/ 0 w 2565"/>
                      <a:gd name="T47" fmla="*/ 235 h 364"/>
                      <a:gd name="T48" fmla="*/ 0 w 2565"/>
                      <a:gd name="T49" fmla="*/ 251 h 364"/>
                      <a:gd name="T50" fmla="*/ 311 w 2565"/>
                      <a:gd name="T51" fmla="*/ 179 h 3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</a:cxnLst>
                    <a:rect l="0" t="0" r="r" b="b"/>
                    <a:pathLst>
                      <a:path w="2565" h="364">
                        <a:moveTo>
                          <a:pt x="311" y="179"/>
                        </a:moveTo>
                        <a:cubicBezTo>
                          <a:pt x="411" y="156"/>
                          <a:pt x="516" y="132"/>
                          <a:pt x="590" y="117"/>
                        </a:cubicBezTo>
                        <a:cubicBezTo>
                          <a:pt x="766" y="80"/>
                          <a:pt x="939" y="53"/>
                          <a:pt x="1007" y="47"/>
                        </a:cubicBezTo>
                        <a:cubicBezTo>
                          <a:pt x="1071" y="43"/>
                          <a:pt x="1288" y="74"/>
                          <a:pt x="1290" y="74"/>
                        </a:cubicBezTo>
                        <a:cubicBezTo>
                          <a:pt x="1294" y="75"/>
                          <a:pt x="1294" y="75"/>
                          <a:pt x="1294" y="75"/>
                        </a:cubicBezTo>
                        <a:cubicBezTo>
                          <a:pt x="1298" y="74"/>
                          <a:pt x="1298" y="74"/>
                          <a:pt x="1298" y="74"/>
                        </a:cubicBezTo>
                        <a:cubicBezTo>
                          <a:pt x="1300" y="74"/>
                          <a:pt x="1493" y="23"/>
                          <a:pt x="1557" y="18"/>
                        </a:cubicBezTo>
                        <a:cubicBezTo>
                          <a:pt x="1625" y="13"/>
                          <a:pt x="1801" y="28"/>
                          <a:pt x="1866" y="46"/>
                        </a:cubicBezTo>
                        <a:cubicBezTo>
                          <a:pt x="1935" y="65"/>
                          <a:pt x="1961" y="74"/>
                          <a:pt x="2082" y="65"/>
                        </a:cubicBezTo>
                        <a:cubicBezTo>
                          <a:pt x="2266" y="52"/>
                          <a:pt x="2266" y="52"/>
                          <a:pt x="2266" y="52"/>
                        </a:cubicBezTo>
                        <a:cubicBezTo>
                          <a:pt x="2445" y="209"/>
                          <a:pt x="2445" y="209"/>
                          <a:pt x="2445" y="209"/>
                        </a:cubicBezTo>
                        <a:cubicBezTo>
                          <a:pt x="2454" y="228"/>
                          <a:pt x="2494" y="308"/>
                          <a:pt x="2545" y="364"/>
                        </a:cubicBezTo>
                        <a:cubicBezTo>
                          <a:pt x="2552" y="362"/>
                          <a:pt x="2559" y="360"/>
                          <a:pt x="2565" y="358"/>
                        </a:cubicBezTo>
                        <a:cubicBezTo>
                          <a:pt x="2521" y="308"/>
                          <a:pt x="2479" y="234"/>
                          <a:pt x="2461" y="199"/>
                        </a:cubicBezTo>
                        <a:cubicBezTo>
                          <a:pt x="2460" y="197"/>
                          <a:pt x="2460" y="197"/>
                          <a:pt x="2460" y="197"/>
                        </a:cubicBezTo>
                        <a:cubicBezTo>
                          <a:pt x="2273" y="36"/>
                          <a:pt x="2273" y="36"/>
                          <a:pt x="2273" y="36"/>
                        </a:cubicBezTo>
                        <a:cubicBezTo>
                          <a:pt x="2081" y="50"/>
                          <a:pt x="2081" y="50"/>
                          <a:pt x="2081" y="50"/>
                        </a:cubicBezTo>
                        <a:cubicBezTo>
                          <a:pt x="1968" y="59"/>
                          <a:pt x="1937" y="50"/>
                          <a:pt x="1868" y="31"/>
                        </a:cubicBezTo>
                        <a:cubicBezTo>
                          <a:pt x="1799" y="12"/>
                          <a:pt x="1628" y="0"/>
                          <a:pt x="1557" y="5"/>
                        </a:cubicBezTo>
                        <a:cubicBezTo>
                          <a:pt x="1493" y="10"/>
                          <a:pt x="1322" y="53"/>
                          <a:pt x="1292" y="61"/>
                        </a:cubicBezTo>
                        <a:cubicBezTo>
                          <a:pt x="1260" y="56"/>
                          <a:pt x="1068" y="30"/>
                          <a:pt x="1004" y="34"/>
                        </a:cubicBezTo>
                        <a:cubicBezTo>
                          <a:pt x="934" y="40"/>
                          <a:pt x="764" y="65"/>
                          <a:pt x="586" y="102"/>
                        </a:cubicBezTo>
                        <a:cubicBezTo>
                          <a:pt x="512" y="118"/>
                          <a:pt x="409" y="141"/>
                          <a:pt x="308" y="164"/>
                        </a:cubicBezTo>
                        <a:cubicBezTo>
                          <a:pt x="211" y="186"/>
                          <a:pt x="83" y="216"/>
                          <a:pt x="0" y="235"/>
                        </a:cubicBezTo>
                        <a:cubicBezTo>
                          <a:pt x="0" y="251"/>
                          <a:pt x="0" y="251"/>
                          <a:pt x="0" y="251"/>
                        </a:cubicBezTo>
                        <a:cubicBezTo>
                          <a:pt x="81" y="232"/>
                          <a:pt x="204" y="203"/>
                          <a:pt x="311" y="17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1" name="Freeform 50"/>
                  <p:cNvSpPr>
                    <a:spLocks/>
                  </p:cNvSpPr>
                  <p:nvPr/>
                </p:nvSpPr>
                <p:spPr bwMode="auto">
                  <a:xfrm>
                    <a:off x="3995738" y="3687763"/>
                    <a:ext cx="12700" cy="6350"/>
                  </a:xfrm>
                  <a:custGeom>
                    <a:avLst/>
                    <a:gdLst>
                      <a:gd name="T0" fmla="*/ 12 w 32"/>
                      <a:gd name="T1" fmla="*/ 18 h 18"/>
                      <a:gd name="T2" fmla="*/ 32 w 32"/>
                      <a:gd name="T3" fmla="*/ 12 h 18"/>
                      <a:gd name="T4" fmla="*/ 20 w 32"/>
                      <a:gd name="T5" fmla="*/ 0 h 18"/>
                      <a:gd name="T6" fmla="*/ 0 w 32"/>
                      <a:gd name="T7" fmla="*/ 6 h 18"/>
                      <a:gd name="T8" fmla="*/ 12 w 32"/>
                      <a:gd name="T9" fmla="*/ 18 h 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2" h="18">
                        <a:moveTo>
                          <a:pt x="12" y="18"/>
                        </a:moveTo>
                        <a:cubicBezTo>
                          <a:pt x="19" y="16"/>
                          <a:pt x="25" y="14"/>
                          <a:pt x="32" y="12"/>
                        </a:cubicBezTo>
                        <a:cubicBezTo>
                          <a:pt x="28" y="8"/>
                          <a:pt x="24" y="4"/>
                          <a:pt x="20" y="0"/>
                        </a:cubicBezTo>
                        <a:cubicBezTo>
                          <a:pt x="14" y="2"/>
                          <a:pt x="7" y="4"/>
                          <a:pt x="0" y="6"/>
                        </a:cubicBezTo>
                        <a:cubicBezTo>
                          <a:pt x="4" y="10"/>
                          <a:pt x="8" y="15"/>
                          <a:pt x="12" y="1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2" name="Freeform 51"/>
                  <p:cNvSpPr>
                    <a:spLocks/>
                  </p:cNvSpPr>
                  <p:nvPr/>
                </p:nvSpPr>
                <p:spPr bwMode="auto">
                  <a:xfrm>
                    <a:off x="4003675" y="3635375"/>
                    <a:ext cx="280988" cy="57150"/>
                  </a:xfrm>
                  <a:custGeom>
                    <a:avLst/>
                    <a:gdLst>
                      <a:gd name="T0" fmla="*/ 102 w 713"/>
                      <a:gd name="T1" fmla="*/ 117 h 141"/>
                      <a:gd name="T2" fmla="*/ 190 w 713"/>
                      <a:gd name="T3" fmla="*/ 107 h 141"/>
                      <a:gd name="T4" fmla="*/ 193 w 713"/>
                      <a:gd name="T5" fmla="*/ 106 h 141"/>
                      <a:gd name="T6" fmla="*/ 196 w 713"/>
                      <a:gd name="T7" fmla="*/ 105 h 141"/>
                      <a:gd name="T8" fmla="*/ 332 w 713"/>
                      <a:gd name="T9" fmla="*/ 51 h 141"/>
                      <a:gd name="T10" fmla="*/ 713 w 713"/>
                      <a:gd name="T11" fmla="*/ 15 h 141"/>
                      <a:gd name="T12" fmla="*/ 713 w 713"/>
                      <a:gd name="T13" fmla="*/ 0 h 141"/>
                      <a:gd name="T14" fmla="*/ 327 w 713"/>
                      <a:gd name="T15" fmla="*/ 36 h 141"/>
                      <a:gd name="T16" fmla="*/ 183 w 713"/>
                      <a:gd name="T17" fmla="*/ 93 h 141"/>
                      <a:gd name="T18" fmla="*/ 97 w 713"/>
                      <a:gd name="T19" fmla="*/ 103 h 141"/>
                      <a:gd name="T20" fmla="*/ 13 w 713"/>
                      <a:gd name="T21" fmla="*/ 124 h 141"/>
                      <a:gd name="T22" fmla="*/ 0 w 713"/>
                      <a:gd name="T23" fmla="*/ 129 h 141"/>
                      <a:gd name="T24" fmla="*/ 12 w 713"/>
                      <a:gd name="T25" fmla="*/ 141 h 141"/>
                      <a:gd name="T26" fmla="*/ 25 w 713"/>
                      <a:gd name="T27" fmla="*/ 136 h 141"/>
                      <a:gd name="T28" fmla="*/ 102 w 713"/>
                      <a:gd name="T29" fmla="*/ 117 h 1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713" h="141">
                        <a:moveTo>
                          <a:pt x="102" y="117"/>
                        </a:moveTo>
                        <a:cubicBezTo>
                          <a:pt x="145" y="114"/>
                          <a:pt x="188" y="107"/>
                          <a:pt x="190" y="107"/>
                        </a:cubicBezTo>
                        <a:cubicBezTo>
                          <a:pt x="193" y="106"/>
                          <a:pt x="193" y="106"/>
                          <a:pt x="193" y="106"/>
                        </a:cubicBezTo>
                        <a:cubicBezTo>
                          <a:pt x="196" y="105"/>
                          <a:pt x="196" y="105"/>
                          <a:pt x="196" y="105"/>
                        </a:cubicBezTo>
                        <a:cubicBezTo>
                          <a:pt x="235" y="86"/>
                          <a:pt x="308" y="54"/>
                          <a:pt x="332" y="51"/>
                        </a:cubicBezTo>
                        <a:cubicBezTo>
                          <a:pt x="363" y="47"/>
                          <a:pt x="652" y="20"/>
                          <a:pt x="713" y="15"/>
                        </a:cubicBezTo>
                        <a:cubicBezTo>
                          <a:pt x="713" y="0"/>
                          <a:pt x="713" y="0"/>
                          <a:pt x="713" y="0"/>
                        </a:cubicBezTo>
                        <a:cubicBezTo>
                          <a:pt x="657" y="5"/>
                          <a:pt x="360" y="32"/>
                          <a:pt x="327" y="36"/>
                        </a:cubicBezTo>
                        <a:cubicBezTo>
                          <a:pt x="291" y="41"/>
                          <a:pt x="203" y="83"/>
                          <a:pt x="183" y="93"/>
                        </a:cubicBezTo>
                        <a:cubicBezTo>
                          <a:pt x="172" y="94"/>
                          <a:pt x="132" y="100"/>
                          <a:pt x="97" y="103"/>
                        </a:cubicBezTo>
                        <a:cubicBezTo>
                          <a:pt x="70" y="105"/>
                          <a:pt x="46" y="113"/>
                          <a:pt x="13" y="124"/>
                        </a:cubicBezTo>
                        <a:cubicBezTo>
                          <a:pt x="9" y="126"/>
                          <a:pt x="5" y="127"/>
                          <a:pt x="0" y="129"/>
                        </a:cubicBezTo>
                        <a:cubicBezTo>
                          <a:pt x="4" y="133"/>
                          <a:pt x="8" y="137"/>
                          <a:pt x="12" y="141"/>
                        </a:cubicBezTo>
                        <a:cubicBezTo>
                          <a:pt x="16" y="139"/>
                          <a:pt x="21" y="138"/>
                          <a:pt x="25" y="136"/>
                        </a:cubicBezTo>
                        <a:cubicBezTo>
                          <a:pt x="56" y="126"/>
                          <a:pt x="81" y="119"/>
                          <a:pt x="102" y="11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3" name="Freeform 52"/>
                  <p:cNvSpPr>
                    <a:spLocks/>
                  </p:cNvSpPr>
                  <p:nvPr/>
                </p:nvSpPr>
                <p:spPr bwMode="auto">
                  <a:xfrm>
                    <a:off x="2987675" y="3768725"/>
                    <a:ext cx="1296988" cy="233363"/>
                  </a:xfrm>
                  <a:custGeom>
                    <a:avLst/>
                    <a:gdLst>
                      <a:gd name="T0" fmla="*/ 2750 w 3278"/>
                      <a:gd name="T1" fmla="*/ 95 h 590"/>
                      <a:gd name="T2" fmla="*/ 2721 w 3278"/>
                      <a:gd name="T3" fmla="*/ 101 h 590"/>
                      <a:gd name="T4" fmla="*/ 2605 w 3278"/>
                      <a:gd name="T5" fmla="*/ 125 h 590"/>
                      <a:gd name="T6" fmla="*/ 2531 w 3278"/>
                      <a:gd name="T7" fmla="*/ 130 h 590"/>
                      <a:gd name="T8" fmla="*/ 2469 w 3278"/>
                      <a:gd name="T9" fmla="*/ 133 h 590"/>
                      <a:gd name="T10" fmla="*/ 2379 w 3278"/>
                      <a:gd name="T11" fmla="*/ 151 h 590"/>
                      <a:gd name="T12" fmla="*/ 2300 w 3278"/>
                      <a:gd name="T13" fmla="*/ 167 h 590"/>
                      <a:gd name="T14" fmla="*/ 2294 w 3278"/>
                      <a:gd name="T15" fmla="*/ 167 h 590"/>
                      <a:gd name="T16" fmla="*/ 2044 w 3278"/>
                      <a:gd name="T17" fmla="*/ 177 h 590"/>
                      <a:gd name="T18" fmla="*/ 1883 w 3278"/>
                      <a:gd name="T19" fmla="*/ 196 h 590"/>
                      <a:gd name="T20" fmla="*/ 1845 w 3278"/>
                      <a:gd name="T21" fmla="*/ 188 h 590"/>
                      <a:gd name="T22" fmla="*/ 1801 w 3278"/>
                      <a:gd name="T23" fmla="*/ 175 h 590"/>
                      <a:gd name="T24" fmla="*/ 1570 w 3278"/>
                      <a:gd name="T25" fmla="*/ 148 h 590"/>
                      <a:gd name="T26" fmla="*/ 1364 w 3278"/>
                      <a:gd name="T27" fmla="*/ 174 h 590"/>
                      <a:gd name="T28" fmla="*/ 1190 w 3278"/>
                      <a:gd name="T29" fmla="*/ 240 h 590"/>
                      <a:gd name="T30" fmla="*/ 982 w 3278"/>
                      <a:gd name="T31" fmla="*/ 281 h 590"/>
                      <a:gd name="T32" fmla="*/ 928 w 3278"/>
                      <a:gd name="T33" fmla="*/ 291 h 590"/>
                      <a:gd name="T34" fmla="*/ 842 w 3278"/>
                      <a:gd name="T35" fmla="*/ 318 h 590"/>
                      <a:gd name="T36" fmla="*/ 539 w 3278"/>
                      <a:gd name="T37" fmla="*/ 405 h 590"/>
                      <a:gd name="T38" fmla="*/ 183 w 3278"/>
                      <a:gd name="T39" fmla="*/ 511 h 590"/>
                      <a:gd name="T40" fmla="*/ 0 w 3278"/>
                      <a:gd name="T41" fmla="*/ 574 h 590"/>
                      <a:gd name="T42" fmla="*/ 0 w 3278"/>
                      <a:gd name="T43" fmla="*/ 590 h 590"/>
                      <a:gd name="T44" fmla="*/ 200 w 3278"/>
                      <a:gd name="T45" fmla="*/ 521 h 590"/>
                      <a:gd name="T46" fmla="*/ 542 w 3278"/>
                      <a:gd name="T47" fmla="*/ 418 h 590"/>
                      <a:gd name="T48" fmla="*/ 849 w 3278"/>
                      <a:gd name="T49" fmla="*/ 330 h 590"/>
                      <a:gd name="T50" fmla="*/ 933 w 3278"/>
                      <a:gd name="T51" fmla="*/ 303 h 590"/>
                      <a:gd name="T52" fmla="*/ 988 w 3278"/>
                      <a:gd name="T53" fmla="*/ 293 h 590"/>
                      <a:gd name="T54" fmla="*/ 1195 w 3278"/>
                      <a:gd name="T55" fmla="*/ 253 h 590"/>
                      <a:gd name="T56" fmla="*/ 1369 w 3278"/>
                      <a:gd name="T57" fmla="*/ 186 h 590"/>
                      <a:gd name="T58" fmla="*/ 1573 w 3278"/>
                      <a:gd name="T59" fmla="*/ 160 h 590"/>
                      <a:gd name="T60" fmla="*/ 1793 w 3278"/>
                      <a:gd name="T61" fmla="*/ 189 h 590"/>
                      <a:gd name="T62" fmla="*/ 1834 w 3278"/>
                      <a:gd name="T63" fmla="*/ 201 h 590"/>
                      <a:gd name="T64" fmla="*/ 1886 w 3278"/>
                      <a:gd name="T65" fmla="*/ 211 h 590"/>
                      <a:gd name="T66" fmla="*/ 2051 w 3278"/>
                      <a:gd name="T67" fmla="*/ 190 h 590"/>
                      <a:gd name="T68" fmla="*/ 2295 w 3278"/>
                      <a:gd name="T69" fmla="*/ 180 h 590"/>
                      <a:gd name="T70" fmla="*/ 2301 w 3278"/>
                      <a:gd name="T71" fmla="*/ 181 h 590"/>
                      <a:gd name="T72" fmla="*/ 2382 w 3278"/>
                      <a:gd name="T73" fmla="*/ 164 h 590"/>
                      <a:gd name="T74" fmla="*/ 2468 w 3278"/>
                      <a:gd name="T75" fmla="*/ 147 h 590"/>
                      <a:gd name="T76" fmla="*/ 2526 w 3278"/>
                      <a:gd name="T77" fmla="*/ 144 h 590"/>
                      <a:gd name="T78" fmla="*/ 2606 w 3278"/>
                      <a:gd name="T79" fmla="*/ 138 h 590"/>
                      <a:gd name="T80" fmla="*/ 2727 w 3278"/>
                      <a:gd name="T81" fmla="*/ 114 h 590"/>
                      <a:gd name="T82" fmla="*/ 2754 w 3278"/>
                      <a:gd name="T83" fmla="*/ 108 h 590"/>
                      <a:gd name="T84" fmla="*/ 3278 w 3278"/>
                      <a:gd name="T85" fmla="*/ 13 h 590"/>
                      <a:gd name="T86" fmla="*/ 3278 w 3278"/>
                      <a:gd name="T87" fmla="*/ 0 h 590"/>
                      <a:gd name="T88" fmla="*/ 2750 w 3278"/>
                      <a:gd name="T89" fmla="*/ 95 h 5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3278" h="590">
                        <a:moveTo>
                          <a:pt x="2750" y="95"/>
                        </a:moveTo>
                        <a:cubicBezTo>
                          <a:pt x="2745" y="96"/>
                          <a:pt x="2734" y="98"/>
                          <a:pt x="2721" y="101"/>
                        </a:cubicBezTo>
                        <a:cubicBezTo>
                          <a:pt x="2687" y="109"/>
                          <a:pt x="2637" y="120"/>
                          <a:pt x="2605" y="125"/>
                        </a:cubicBezTo>
                        <a:cubicBezTo>
                          <a:pt x="2582" y="129"/>
                          <a:pt x="2556" y="129"/>
                          <a:pt x="2531" y="130"/>
                        </a:cubicBezTo>
                        <a:cubicBezTo>
                          <a:pt x="2510" y="130"/>
                          <a:pt x="2489" y="131"/>
                          <a:pt x="2469" y="133"/>
                        </a:cubicBezTo>
                        <a:cubicBezTo>
                          <a:pt x="2448" y="136"/>
                          <a:pt x="2412" y="144"/>
                          <a:pt x="2379" y="151"/>
                        </a:cubicBezTo>
                        <a:cubicBezTo>
                          <a:pt x="2348" y="158"/>
                          <a:pt x="2310" y="167"/>
                          <a:pt x="2300" y="167"/>
                        </a:cubicBezTo>
                        <a:cubicBezTo>
                          <a:pt x="2294" y="167"/>
                          <a:pt x="2294" y="167"/>
                          <a:pt x="2294" y="167"/>
                        </a:cubicBezTo>
                        <a:cubicBezTo>
                          <a:pt x="2168" y="165"/>
                          <a:pt x="2084" y="169"/>
                          <a:pt x="2044" y="177"/>
                        </a:cubicBezTo>
                        <a:cubicBezTo>
                          <a:pt x="1983" y="189"/>
                          <a:pt x="1910" y="196"/>
                          <a:pt x="1883" y="196"/>
                        </a:cubicBezTo>
                        <a:cubicBezTo>
                          <a:pt x="1868" y="196"/>
                          <a:pt x="1861" y="194"/>
                          <a:pt x="1845" y="188"/>
                        </a:cubicBezTo>
                        <a:cubicBezTo>
                          <a:pt x="1834" y="185"/>
                          <a:pt x="1821" y="180"/>
                          <a:pt x="1801" y="175"/>
                        </a:cubicBezTo>
                        <a:cubicBezTo>
                          <a:pt x="1751" y="162"/>
                          <a:pt x="1625" y="146"/>
                          <a:pt x="1570" y="148"/>
                        </a:cubicBezTo>
                        <a:cubicBezTo>
                          <a:pt x="1569" y="148"/>
                          <a:pt x="1409" y="154"/>
                          <a:pt x="1364" y="174"/>
                        </a:cubicBezTo>
                        <a:cubicBezTo>
                          <a:pt x="1333" y="187"/>
                          <a:pt x="1224" y="228"/>
                          <a:pt x="1190" y="240"/>
                        </a:cubicBezTo>
                        <a:cubicBezTo>
                          <a:pt x="1166" y="248"/>
                          <a:pt x="1046" y="270"/>
                          <a:pt x="982" y="281"/>
                        </a:cubicBezTo>
                        <a:cubicBezTo>
                          <a:pt x="956" y="286"/>
                          <a:pt x="936" y="289"/>
                          <a:pt x="928" y="291"/>
                        </a:cubicBezTo>
                        <a:cubicBezTo>
                          <a:pt x="919" y="293"/>
                          <a:pt x="892" y="302"/>
                          <a:pt x="842" y="318"/>
                        </a:cubicBezTo>
                        <a:cubicBezTo>
                          <a:pt x="749" y="349"/>
                          <a:pt x="593" y="400"/>
                          <a:pt x="539" y="405"/>
                        </a:cubicBezTo>
                        <a:cubicBezTo>
                          <a:pt x="454" y="414"/>
                          <a:pt x="228" y="490"/>
                          <a:pt x="183" y="511"/>
                        </a:cubicBezTo>
                        <a:cubicBezTo>
                          <a:pt x="146" y="528"/>
                          <a:pt x="33" y="564"/>
                          <a:pt x="0" y="574"/>
                        </a:cubicBezTo>
                        <a:cubicBezTo>
                          <a:pt x="0" y="590"/>
                          <a:pt x="0" y="590"/>
                          <a:pt x="0" y="590"/>
                        </a:cubicBezTo>
                        <a:cubicBezTo>
                          <a:pt x="36" y="579"/>
                          <a:pt x="160" y="539"/>
                          <a:pt x="200" y="521"/>
                        </a:cubicBezTo>
                        <a:cubicBezTo>
                          <a:pt x="242" y="501"/>
                          <a:pt x="463" y="426"/>
                          <a:pt x="542" y="418"/>
                        </a:cubicBezTo>
                        <a:cubicBezTo>
                          <a:pt x="601" y="412"/>
                          <a:pt x="748" y="363"/>
                          <a:pt x="849" y="330"/>
                        </a:cubicBezTo>
                        <a:cubicBezTo>
                          <a:pt x="887" y="318"/>
                          <a:pt x="925" y="305"/>
                          <a:pt x="933" y="303"/>
                        </a:cubicBezTo>
                        <a:cubicBezTo>
                          <a:pt x="940" y="302"/>
                          <a:pt x="963" y="298"/>
                          <a:pt x="988" y="293"/>
                        </a:cubicBezTo>
                        <a:cubicBezTo>
                          <a:pt x="1083" y="276"/>
                          <a:pt x="1170" y="262"/>
                          <a:pt x="1195" y="253"/>
                        </a:cubicBezTo>
                        <a:cubicBezTo>
                          <a:pt x="1230" y="241"/>
                          <a:pt x="1336" y="200"/>
                          <a:pt x="1369" y="186"/>
                        </a:cubicBezTo>
                        <a:cubicBezTo>
                          <a:pt x="1394" y="175"/>
                          <a:pt x="1509" y="163"/>
                          <a:pt x="1573" y="160"/>
                        </a:cubicBezTo>
                        <a:cubicBezTo>
                          <a:pt x="1623" y="158"/>
                          <a:pt x="1746" y="176"/>
                          <a:pt x="1793" y="189"/>
                        </a:cubicBezTo>
                        <a:cubicBezTo>
                          <a:pt x="1812" y="194"/>
                          <a:pt x="1824" y="198"/>
                          <a:pt x="1834" y="201"/>
                        </a:cubicBezTo>
                        <a:cubicBezTo>
                          <a:pt x="1852" y="207"/>
                          <a:pt x="1864" y="211"/>
                          <a:pt x="1886" y="211"/>
                        </a:cubicBezTo>
                        <a:cubicBezTo>
                          <a:pt x="1916" y="211"/>
                          <a:pt x="1986" y="203"/>
                          <a:pt x="2051" y="190"/>
                        </a:cubicBezTo>
                        <a:cubicBezTo>
                          <a:pt x="2076" y="185"/>
                          <a:pt x="2141" y="179"/>
                          <a:pt x="2295" y="180"/>
                        </a:cubicBezTo>
                        <a:cubicBezTo>
                          <a:pt x="2301" y="181"/>
                          <a:pt x="2301" y="181"/>
                          <a:pt x="2301" y="181"/>
                        </a:cubicBezTo>
                        <a:cubicBezTo>
                          <a:pt x="2315" y="181"/>
                          <a:pt x="2337" y="175"/>
                          <a:pt x="2382" y="164"/>
                        </a:cubicBezTo>
                        <a:cubicBezTo>
                          <a:pt x="2415" y="157"/>
                          <a:pt x="2449" y="149"/>
                          <a:pt x="2468" y="147"/>
                        </a:cubicBezTo>
                        <a:cubicBezTo>
                          <a:pt x="2486" y="145"/>
                          <a:pt x="2506" y="144"/>
                          <a:pt x="2526" y="144"/>
                        </a:cubicBezTo>
                        <a:cubicBezTo>
                          <a:pt x="2552" y="143"/>
                          <a:pt x="2580" y="143"/>
                          <a:pt x="2606" y="138"/>
                        </a:cubicBezTo>
                        <a:cubicBezTo>
                          <a:pt x="2639" y="133"/>
                          <a:pt x="2693" y="122"/>
                          <a:pt x="2727" y="114"/>
                        </a:cubicBezTo>
                        <a:cubicBezTo>
                          <a:pt x="2740" y="111"/>
                          <a:pt x="2750" y="109"/>
                          <a:pt x="2754" y="108"/>
                        </a:cubicBezTo>
                        <a:cubicBezTo>
                          <a:pt x="2767" y="106"/>
                          <a:pt x="3153" y="36"/>
                          <a:pt x="3278" y="13"/>
                        </a:cubicBezTo>
                        <a:cubicBezTo>
                          <a:pt x="3278" y="0"/>
                          <a:pt x="3278" y="0"/>
                          <a:pt x="3278" y="0"/>
                        </a:cubicBezTo>
                        <a:cubicBezTo>
                          <a:pt x="3152" y="23"/>
                          <a:pt x="2763" y="92"/>
                          <a:pt x="2750" y="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4" name="Freeform 53"/>
                  <p:cNvSpPr>
                    <a:spLocks/>
                  </p:cNvSpPr>
                  <p:nvPr/>
                </p:nvSpPr>
                <p:spPr bwMode="auto">
                  <a:xfrm>
                    <a:off x="4000500" y="3673475"/>
                    <a:ext cx="284163" cy="44450"/>
                  </a:xfrm>
                  <a:custGeom>
                    <a:avLst/>
                    <a:gdLst>
                      <a:gd name="T0" fmla="*/ 564 w 721"/>
                      <a:gd name="T1" fmla="*/ 47 h 110"/>
                      <a:gd name="T2" fmla="*/ 319 w 721"/>
                      <a:gd name="T3" fmla="*/ 4 h 110"/>
                      <a:gd name="T4" fmla="*/ 234 w 721"/>
                      <a:gd name="T5" fmla="*/ 37 h 110"/>
                      <a:gd name="T6" fmla="*/ 78 w 721"/>
                      <a:gd name="T7" fmla="*/ 83 h 110"/>
                      <a:gd name="T8" fmla="*/ 20 w 721"/>
                      <a:gd name="T9" fmla="*/ 45 h 110"/>
                      <a:gd name="T10" fmla="*/ 0 w 721"/>
                      <a:gd name="T11" fmla="*/ 51 h 110"/>
                      <a:gd name="T12" fmla="*/ 73 w 721"/>
                      <a:gd name="T13" fmla="*/ 97 h 110"/>
                      <a:gd name="T14" fmla="*/ 239 w 721"/>
                      <a:gd name="T15" fmla="*/ 51 h 110"/>
                      <a:gd name="T16" fmla="*/ 319 w 721"/>
                      <a:gd name="T17" fmla="*/ 17 h 110"/>
                      <a:gd name="T18" fmla="*/ 561 w 721"/>
                      <a:gd name="T19" fmla="*/ 60 h 110"/>
                      <a:gd name="T20" fmla="*/ 721 w 721"/>
                      <a:gd name="T21" fmla="*/ 95 h 110"/>
                      <a:gd name="T22" fmla="*/ 721 w 721"/>
                      <a:gd name="T23" fmla="*/ 83 h 110"/>
                      <a:gd name="T24" fmla="*/ 564 w 721"/>
                      <a:gd name="T25" fmla="*/ 47 h 1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21" h="110">
                        <a:moveTo>
                          <a:pt x="564" y="47"/>
                        </a:moveTo>
                        <a:cubicBezTo>
                          <a:pt x="544" y="42"/>
                          <a:pt x="371" y="0"/>
                          <a:pt x="319" y="4"/>
                        </a:cubicBezTo>
                        <a:cubicBezTo>
                          <a:pt x="296" y="6"/>
                          <a:pt x="268" y="20"/>
                          <a:pt x="234" y="37"/>
                        </a:cubicBezTo>
                        <a:cubicBezTo>
                          <a:pt x="185" y="62"/>
                          <a:pt x="125" y="93"/>
                          <a:pt x="78" y="83"/>
                        </a:cubicBezTo>
                        <a:cubicBezTo>
                          <a:pt x="60" y="79"/>
                          <a:pt x="40" y="65"/>
                          <a:pt x="20" y="45"/>
                        </a:cubicBezTo>
                        <a:cubicBezTo>
                          <a:pt x="13" y="47"/>
                          <a:pt x="7" y="49"/>
                          <a:pt x="0" y="51"/>
                        </a:cubicBezTo>
                        <a:cubicBezTo>
                          <a:pt x="23" y="74"/>
                          <a:pt x="47" y="92"/>
                          <a:pt x="73" y="97"/>
                        </a:cubicBezTo>
                        <a:cubicBezTo>
                          <a:pt x="134" y="110"/>
                          <a:pt x="185" y="79"/>
                          <a:pt x="239" y="51"/>
                        </a:cubicBezTo>
                        <a:cubicBezTo>
                          <a:pt x="266" y="37"/>
                          <a:pt x="305" y="18"/>
                          <a:pt x="319" y="17"/>
                        </a:cubicBezTo>
                        <a:cubicBezTo>
                          <a:pt x="358" y="14"/>
                          <a:pt x="509" y="47"/>
                          <a:pt x="561" y="60"/>
                        </a:cubicBezTo>
                        <a:cubicBezTo>
                          <a:pt x="721" y="95"/>
                          <a:pt x="721" y="95"/>
                          <a:pt x="721" y="95"/>
                        </a:cubicBezTo>
                        <a:cubicBezTo>
                          <a:pt x="721" y="83"/>
                          <a:pt x="721" y="83"/>
                          <a:pt x="721" y="83"/>
                        </a:cubicBezTo>
                        <a:lnTo>
                          <a:pt x="564" y="4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5" name="Freeform 54"/>
                  <p:cNvSpPr>
                    <a:spLocks/>
                  </p:cNvSpPr>
                  <p:nvPr/>
                </p:nvSpPr>
                <p:spPr bwMode="auto">
                  <a:xfrm>
                    <a:off x="3586163" y="4314825"/>
                    <a:ext cx="431800" cy="107950"/>
                  </a:xfrm>
                  <a:custGeom>
                    <a:avLst/>
                    <a:gdLst>
                      <a:gd name="T0" fmla="*/ 1 w 272"/>
                      <a:gd name="T1" fmla="*/ 0 h 68"/>
                      <a:gd name="T2" fmla="*/ 229 w 272"/>
                      <a:gd name="T3" fmla="*/ 53 h 68"/>
                      <a:gd name="T4" fmla="*/ 226 w 272"/>
                      <a:gd name="T5" fmla="*/ 38 h 68"/>
                      <a:gd name="T6" fmla="*/ 272 w 272"/>
                      <a:gd name="T7" fmla="*/ 68 h 68"/>
                      <a:gd name="T8" fmla="*/ 210 w 272"/>
                      <a:gd name="T9" fmla="*/ 65 h 68"/>
                      <a:gd name="T10" fmla="*/ 226 w 272"/>
                      <a:gd name="T11" fmla="*/ 57 h 68"/>
                      <a:gd name="T12" fmla="*/ 0 w 272"/>
                      <a:gd name="T13" fmla="*/ 4 h 68"/>
                      <a:gd name="T14" fmla="*/ 1 w 272"/>
                      <a:gd name="T15" fmla="*/ 0 h 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72" h="68">
                        <a:moveTo>
                          <a:pt x="1" y="0"/>
                        </a:moveTo>
                        <a:lnTo>
                          <a:pt x="229" y="53"/>
                        </a:lnTo>
                        <a:lnTo>
                          <a:pt x="226" y="38"/>
                        </a:lnTo>
                        <a:lnTo>
                          <a:pt x="272" y="68"/>
                        </a:lnTo>
                        <a:lnTo>
                          <a:pt x="210" y="65"/>
                        </a:lnTo>
                        <a:lnTo>
                          <a:pt x="226" y="57"/>
                        </a:lnTo>
                        <a:lnTo>
                          <a:pt x="0" y="4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6" name="Freeform 55"/>
                  <p:cNvSpPr>
                    <a:spLocks/>
                  </p:cNvSpPr>
                  <p:nvPr/>
                </p:nvSpPr>
                <p:spPr bwMode="auto">
                  <a:xfrm>
                    <a:off x="3568700" y="4314825"/>
                    <a:ext cx="115888" cy="114300"/>
                  </a:xfrm>
                  <a:custGeom>
                    <a:avLst/>
                    <a:gdLst>
                      <a:gd name="T0" fmla="*/ 11 w 73"/>
                      <a:gd name="T1" fmla="*/ 4 h 72"/>
                      <a:gd name="T2" fmla="*/ 54 w 73"/>
                      <a:gd name="T3" fmla="*/ 56 h 72"/>
                      <a:gd name="T4" fmla="*/ 73 w 73"/>
                      <a:gd name="T5" fmla="*/ 49 h 72"/>
                      <a:gd name="T6" fmla="*/ 50 w 73"/>
                      <a:gd name="T7" fmla="*/ 72 h 72"/>
                      <a:gd name="T8" fmla="*/ 11 w 73"/>
                      <a:gd name="T9" fmla="*/ 51 h 72"/>
                      <a:gd name="T10" fmla="*/ 36 w 73"/>
                      <a:gd name="T11" fmla="*/ 55 h 72"/>
                      <a:gd name="T12" fmla="*/ 0 w 73"/>
                      <a:gd name="T13" fmla="*/ 0 h 72"/>
                      <a:gd name="T14" fmla="*/ 11 w 73"/>
                      <a:gd name="T15" fmla="*/ 4 h 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3" h="72">
                        <a:moveTo>
                          <a:pt x="11" y="4"/>
                        </a:moveTo>
                        <a:lnTo>
                          <a:pt x="54" y="56"/>
                        </a:lnTo>
                        <a:lnTo>
                          <a:pt x="73" y="49"/>
                        </a:lnTo>
                        <a:lnTo>
                          <a:pt x="50" y="72"/>
                        </a:lnTo>
                        <a:lnTo>
                          <a:pt x="11" y="51"/>
                        </a:lnTo>
                        <a:lnTo>
                          <a:pt x="36" y="55"/>
                        </a:lnTo>
                        <a:lnTo>
                          <a:pt x="0" y="0"/>
                        </a:lnTo>
                        <a:lnTo>
                          <a:pt x="11" y="4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7" name="Freeform 56"/>
                  <p:cNvSpPr>
                    <a:spLocks/>
                  </p:cNvSpPr>
                  <p:nvPr/>
                </p:nvSpPr>
                <p:spPr bwMode="auto">
                  <a:xfrm>
                    <a:off x="3292475" y="4314825"/>
                    <a:ext cx="293688" cy="122238"/>
                  </a:xfrm>
                  <a:custGeom>
                    <a:avLst/>
                    <a:gdLst>
                      <a:gd name="T0" fmla="*/ 174 w 185"/>
                      <a:gd name="T1" fmla="*/ 0 h 77"/>
                      <a:gd name="T2" fmla="*/ 27 w 185"/>
                      <a:gd name="T3" fmla="*/ 65 h 77"/>
                      <a:gd name="T4" fmla="*/ 25 w 185"/>
                      <a:gd name="T5" fmla="*/ 55 h 77"/>
                      <a:gd name="T6" fmla="*/ 0 w 185"/>
                      <a:gd name="T7" fmla="*/ 77 h 77"/>
                      <a:gd name="T8" fmla="*/ 57 w 185"/>
                      <a:gd name="T9" fmla="*/ 76 h 77"/>
                      <a:gd name="T10" fmla="*/ 35 w 185"/>
                      <a:gd name="T11" fmla="*/ 70 h 77"/>
                      <a:gd name="T12" fmla="*/ 185 w 185"/>
                      <a:gd name="T13" fmla="*/ 4 h 77"/>
                      <a:gd name="T14" fmla="*/ 174 w 185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5" h="77">
                        <a:moveTo>
                          <a:pt x="174" y="0"/>
                        </a:moveTo>
                        <a:lnTo>
                          <a:pt x="27" y="65"/>
                        </a:lnTo>
                        <a:lnTo>
                          <a:pt x="25" y="55"/>
                        </a:lnTo>
                        <a:lnTo>
                          <a:pt x="0" y="77"/>
                        </a:lnTo>
                        <a:lnTo>
                          <a:pt x="57" y="76"/>
                        </a:lnTo>
                        <a:lnTo>
                          <a:pt x="35" y="70"/>
                        </a:lnTo>
                        <a:lnTo>
                          <a:pt x="185" y="4"/>
                        </a:lnTo>
                        <a:lnTo>
                          <a:pt x="174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8" name="Freeform 57"/>
                  <p:cNvSpPr>
                    <a:spLocks/>
                  </p:cNvSpPr>
                  <p:nvPr/>
                </p:nvSpPr>
                <p:spPr bwMode="auto">
                  <a:xfrm>
                    <a:off x="3568700" y="4310063"/>
                    <a:ext cx="325438" cy="20638"/>
                  </a:xfrm>
                  <a:custGeom>
                    <a:avLst/>
                    <a:gdLst>
                      <a:gd name="T0" fmla="*/ 11 w 205"/>
                      <a:gd name="T1" fmla="*/ 6 h 13"/>
                      <a:gd name="T2" fmla="*/ 162 w 205"/>
                      <a:gd name="T3" fmla="*/ 9 h 13"/>
                      <a:gd name="T4" fmla="*/ 161 w 205"/>
                      <a:gd name="T5" fmla="*/ 13 h 13"/>
                      <a:gd name="T6" fmla="*/ 205 w 205"/>
                      <a:gd name="T7" fmla="*/ 7 h 13"/>
                      <a:gd name="T8" fmla="*/ 151 w 205"/>
                      <a:gd name="T9" fmla="*/ 0 h 13"/>
                      <a:gd name="T10" fmla="*/ 162 w 205"/>
                      <a:gd name="T11" fmla="*/ 4 h 13"/>
                      <a:gd name="T12" fmla="*/ 0 w 205"/>
                      <a:gd name="T13" fmla="*/ 4 h 13"/>
                      <a:gd name="T14" fmla="*/ 11 w 205"/>
                      <a:gd name="T15" fmla="*/ 6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05" h="13">
                        <a:moveTo>
                          <a:pt x="11" y="6"/>
                        </a:moveTo>
                        <a:lnTo>
                          <a:pt x="162" y="9"/>
                        </a:lnTo>
                        <a:lnTo>
                          <a:pt x="161" y="13"/>
                        </a:lnTo>
                        <a:lnTo>
                          <a:pt x="205" y="7"/>
                        </a:lnTo>
                        <a:lnTo>
                          <a:pt x="151" y="0"/>
                        </a:lnTo>
                        <a:lnTo>
                          <a:pt x="162" y="4"/>
                        </a:lnTo>
                        <a:lnTo>
                          <a:pt x="0" y="4"/>
                        </a:lnTo>
                        <a:lnTo>
                          <a:pt x="11" y="6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9" name="Freeform 58"/>
                  <p:cNvSpPr>
                    <a:spLocks/>
                  </p:cNvSpPr>
                  <p:nvPr/>
                </p:nvSpPr>
                <p:spPr bwMode="auto">
                  <a:xfrm>
                    <a:off x="3568700" y="4278313"/>
                    <a:ext cx="66675" cy="42863"/>
                  </a:xfrm>
                  <a:custGeom>
                    <a:avLst/>
                    <a:gdLst>
                      <a:gd name="T0" fmla="*/ 11 w 42"/>
                      <a:gd name="T1" fmla="*/ 27 h 27"/>
                      <a:gd name="T2" fmla="*/ 27 w 42"/>
                      <a:gd name="T3" fmla="*/ 12 h 27"/>
                      <a:gd name="T4" fmla="*/ 29 w 42"/>
                      <a:gd name="T5" fmla="*/ 10 h 27"/>
                      <a:gd name="T6" fmla="*/ 42 w 42"/>
                      <a:gd name="T7" fmla="*/ 16 h 27"/>
                      <a:gd name="T8" fmla="*/ 36 w 42"/>
                      <a:gd name="T9" fmla="*/ 0 h 27"/>
                      <a:gd name="T10" fmla="*/ 6 w 42"/>
                      <a:gd name="T11" fmla="*/ 10 h 27"/>
                      <a:gd name="T12" fmla="*/ 18 w 42"/>
                      <a:gd name="T13" fmla="*/ 10 h 27"/>
                      <a:gd name="T14" fmla="*/ 0 w 42"/>
                      <a:gd name="T15" fmla="*/ 24 h 27"/>
                      <a:gd name="T16" fmla="*/ 11 w 42"/>
                      <a:gd name="T17" fmla="*/ 27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2" h="27">
                        <a:moveTo>
                          <a:pt x="11" y="27"/>
                        </a:moveTo>
                        <a:lnTo>
                          <a:pt x="27" y="12"/>
                        </a:lnTo>
                        <a:lnTo>
                          <a:pt x="29" y="10"/>
                        </a:lnTo>
                        <a:lnTo>
                          <a:pt x="42" y="16"/>
                        </a:lnTo>
                        <a:lnTo>
                          <a:pt x="36" y="0"/>
                        </a:lnTo>
                        <a:lnTo>
                          <a:pt x="6" y="10"/>
                        </a:lnTo>
                        <a:lnTo>
                          <a:pt x="18" y="10"/>
                        </a:lnTo>
                        <a:lnTo>
                          <a:pt x="0" y="24"/>
                        </a:lnTo>
                        <a:lnTo>
                          <a:pt x="11" y="27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0" name="Freeform 59"/>
                  <p:cNvSpPr>
                    <a:spLocks/>
                  </p:cNvSpPr>
                  <p:nvPr/>
                </p:nvSpPr>
                <p:spPr bwMode="auto">
                  <a:xfrm>
                    <a:off x="3379788" y="4297363"/>
                    <a:ext cx="207963" cy="31750"/>
                  </a:xfrm>
                  <a:custGeom>
                    <a:avLst/>
                    <a:gdLst>
                      <a:gd name="T0" fmla="*/ 131 w 131"/>
                      <a:gd name="T1" fmla="*/ 11 h 20"/>
                      <a:gd name="T2" fmla="*/ 35 w 131"/>
                      <a:gd name="T3" fmla="*/ 6 h 20"/>
                      <a:gd name="T4" fmla="*/ 32 w 131"/>
                      <a:gd name="T5" fmla="*/ 5 h 20"/>
                      <a:gd name="T6" fmla="*/ 42 w 131"/>
                      <a:gd name="T7" fmla="*/ 0 h 20"/>
                      <a:gd name="T8" fmla="*/ 0 w 131"/>
                      <a:gd name="T9" fmla="*/ 6 h 20"/>
                      <a:gd name="T10" fmla="*/ 44 w 131"/>
                      <a:gd name="T11" fmla="*/ 20 h 20"/>
                      <a:gd name="T12" fmla="*/ 36 w 131"/>
                      <a:gd name="T13" fmla="*/ 10 h 20"/>
                      <a:gd name="T14" fmla="*/ 125 w 131"/>
                      <a:gd name="T15" fmla="*/ 14 h 20"/>
                      <a:gd name="T16" fmla="*/ 131 w 131"/>
                      <a:gd name="T17" fmla="*/ 11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31" h="20">
                        <a:moveTo>
                          <a:pt x="131" y="11"/>
                        </a:moveTo>
                        <a:lnTo>
                          <a:pt x="35" y="6"/>
                        </a:lnTo>
                        <a:lnTo>
                          <a:pt x="32" y="5"/>
                        </a:lnTo>
                        <a:lnTo>
                          <a:pt x="42" y="0"/>
                        </a:lnTo>
                        <a:lnTo>
                          <a:pt x="0" y="6"/>
                        </a:lnTo>
                        <a:lnTo>
                          <a:pt x="44" y="20"/>
                        </a:lnTo>
                        <a:lnTo>
                          <a:pt x="36" y="10"/>
                        </a:lnTo>
                        <a:lnTo>
                          <a:pt x="125" y="14"/>
                        </a:lnTo>
                        <a:lnTo>
                          <a:pt x="131" y="11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1" name="Freeform 60"/>
                  <p:cNvSpPr>
                    <a:spLocks/>
                  </p:cNvSpPr>
                  <p:nvPr/>
                </p:nvSpPr>
                <p:spPr bwMode="auto">
                  <a:xfrm>
                    <a:off x="3206750" y="4319588"/>
                    <a:ext cx="379413" cy="49213"/>
                  </a:xfrm>
                  <a:custGeom>
                    <a:avLst/>
                    <a:gdLst>
                      <a:gd name="T0" fmla="*/ 234 w 239"/>
                      <a:gd name="T1" fmla="*/ 0 h 31"/>
                      <a:gd name="T2" fmla="*/ 43 w 239"/>
                      <a:gd name="T3" fmla="*/ 18 h 31"/>
                      <a:gd name="T4" fmla="*/ 42 w 239"/>
                      <a:gd name="T5" fmla="*/ 12 h 31"/>
                      <a:gd name="T6" fmla="*/ 0 w 239"/>
                      <a:gd name="T7" fmla="*/ 26 h 31"/>
                      <a:gd name="T8" fmla="*/ 48 w 239"/>
                      <a:gd name="T9" fmla="*/ 31 h 31"/>
                      <a:gd name="T10" fmla="*/ 35 w 239"/>
                      <a:gd name="T11" fmla="*/ 25 h 31"/>
                      <a:gd name="T12" fmla="*/ 239 w 239"/>
                      <a:gd name="T13" fmla="*/ 2 h 31"/>
                      <a:gd name="T14" fmla="*/ 234 w 239"/>
                      <a:gd name="T15" fmla="*/ 0 h 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9" h="31">
                        <a:moveTo>
                          <a:pt x="234" y="0"/>
                        </a:moveTo>
                        <a:lnTo>
                          <a:pt x="43" y="18"/>
                        </a:lnTo>
                        <a:lnTo>
                          <a:pt x="42" y="12"/>
                        </a:lnTo>
                        <a:lnTo>
                          <a:pt x="0" y="26"/>
                        </a:lnTo>
                        <a:lnTo>
                          <a:pt x="48" y="31"/>
                        </a:lnTo>
                        <a:lnTo>
                          <a:pt x="35" y="25"/>
                        </a:lnTo>
                        <a:lnTo>
                          <a:pt x="239" y="2"/>
                        </a:lnTo>
                        <a:lnTo>
                          <a:pt x="234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2" name="Freeform 61"/>
                  <p:cNvSpPr>
                    <a:spLocks/>
                  </p:cNvSpPr>
                  <p:nvPr/>
                </p:nvSpPr>
                <p:spPr bwMode="auto">
                  <a:xfrm>
                    <a:off x="3821113" y="4275138"/>
                    <a:ext cx="371475" cy="101600"/>
                  </a:xfrm>
                  <a:custGeom>
                    <a:avLst/>
                    <a:gdLst>
                      <a:gd name="T0" fmla="*/ 233 w 234"/>
                      <a:gd name="T1" fmla="*/ 0 h 64"/>
                      <a:gd name="T2" fmla="*/ 37 w 234"/>
                      <a:gd name="T3" fmla="*/ 50 h 64"/>
                      <a:gd name="T4" fmla="*/ 40 w 234"/>
                      <a:gd name="T5" fmla="*/ 36 h 64"/>
                      <a:gd name="T6" fmla="*/ 0 w 234"/>
                      <a:gd name="T7" fmla="*/ 64 h 64"/>
                      <a:gd name="T8" fmla="*/ 53 w 234"/>
                      <a:gd name="T9" fmla="*/ 61 h 64"/>
                      <a:gd name="T10" fmla="*/ 40 w 234"/>
                      <a:gd name="T11" fmla="*/ 54 h 64"/>
                      <a:gd name="T12" fmla="*/ 234 w 234"/>
                      <a:gd name="T13" fmla="*/ 4 h 64"/>
                      <a:gd name="T14" fmla="*/ 233 w 234"/>
                      <a:gd name="T15" fmla="*/ 0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4" h="64">
                        <a:moveTo>
                          <a:pt x="233" y="0"/>
                        </a:moveTo>
                        <a:lnTo>
                          <a:pt x="37" y="50"/>
                        </a:lnTo>
                        <a:lnTo>
                          <a:pt x="40" y="36"/>
                        </a:lnTo>
                        <a:lnTo>
                          <a:pt x="0" y="64"/>
                        </a:lnTo>
                        <a:lnTo>
                          <a:pt x="53" y="61"/>
                        </a:lnTo>
                        <a:lnTo>
                          <a:pt x="40" y="54"/>
                        </a:lnTo>
                        <a:lnTo>
                          <a:pt x="234" y="4"/>
                        </a:lnTo>
                        <a:lnTo>
                          <a:pt x="233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3" name="Freeform 62"/>
                  <p:cNvSpPr>
                    <a:spLocks/>
                  </p:cNvSpPr>
                  <p:nvPr/>
                </p:nvSpPr>
                <p:spPr bwMode="auto">
                  <a:xfrm>
                    <a:off x="4108450" y="4276725"/>
                    <a:ext cx="98425" cy="106363"/>
                  </a:xfrm>
                  <a:custGeom>
                    <a:avLst/>
                    <a:gdLst>
                      <a:gd name="T0" fmla="*/ 53 w 62"/>
                      <a:gd name="T1" fmla="*/ 3 h 67"/>
                      <a:gd name="T2" fmla="*/ 15 w 62"/>
                      <a:gd name="T3" fmla="*/ 52 h 67"/>
                      <a:gd name="T4" fmla="*/ 0 w 62"/>
                      <a:gd name="T5" fmla="*/ 45 h 67"/>
                      <a:gd name="T6" fmla="*/ 19 w 62"/>
                      <a:gd name="T7" fmla="*/ 67 h 67"/>
                      <a:gd name="T8" fmla="*/ 53 w 62"/>
                      <a:gd name="T9" fmla="*/ 47 h 67"/>
                      <a:gd name="T10" fmla="*/ 31 w 62"/>
                      <a:gd name="T11" fmla="*/ 51 h 67"/>
                      <a:gd name="T12" fmla="*/ 62 w 62"/>
                      <a:gd name="T13" fmla="*/ 0 h 67"/>
                      <a:gd name="T14" fmla="*/ 53 w 62"/>
                      <a:gd name="T15" fmla="*/ 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2" h="67">
                        <a:moveTo>
                          <a:pt x="53" y="3"/>
                        </a:moveTo>
                        <a:lnTo>
                          <a:pt x="15" y="52"/>
                        </a:lnTo>
                        <a:lnTo>
                          <a:pt x="0" y="45"/>
                        </a:lnTo>
                        <a:lnTo>
                          <a:pt x="19" y="67"/>
                        </a:lnTo>
                        <a:lnTo>
                          <a:pt x="53" y="47"/>
                        </a:lnTo>
                        <a:lnTo>
                          <a:pt x="31" y="51"/>
                        </a:lnTo>
                        <a:lnTo>
                          <a:pt x="62" y="0"/>
                        </a:lnTo>
                        <a:lnTo>
                          <a:pt x="53" y="3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4" name="Freeform 63"/>
                  <p:cNvSpPr>
                    <a:spLocks/>
                  </p:cNvSpPr>
                  <p:nvPr/>
                </p:nvSpPr>
                <p:spPr bwMode="auto">
                  <a:xfrm>
                    <a:off x="4192588" y="4276725"/>
                    <a:ext cx="250825" cy="114300"/>
                  </a:xfrm>
                  <a:custGeom>
                    <a:avLst/>
                    <a:gdLst>
                      <a:gd name="T0" fmla="*/ 9 w 158"/>
                      <a:gd name="T1" fmla="*/ 0 h 72"/>
                      <a:gd name="T2" fmla="*/ 135 w 158"/>
                      <a:gd name="T3" fmla="*/ 60 h 72"/>
                      <a:gd name="T4" fmla="*/ 137 w 158"/>
                      <a:gd name="T5" fmla="*/ 51 h 72"/>
                      <a:gd name="T6" fmla="*/ 158 w 158"/>
                      <a:gd name="T7" fmla="*/ 72 h 72"/>
                      <a:gd name="T8" fmla="*/ 110 w 158"/>
                      <a:gd name="T9" fmla="*/ 71 h 72"/>
                      <a:gd name="T10" fmla="*/ 128 w 158"/>
                      <a:gd name="T11" fmla="*/ 65 h 72"/>
                      <a:gd name="T12" fmla="*/ 0 w 158"/>
                      <a:gd name="T13" fmla="*/ 3 h 72"/>
                      <a:gd name="T14" fmla="*/ 9 w 158"/>
                      <a:gd name="T15" fmla="*/ 0 h 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58" h="72">
                        <a:moveTo>
                          <a:pt x="9" y="0"/>
                        </a:moveTo>
                        <a:lnTo>
                          <a:pt x="135" y="60"/>
                        </a:lnTo>
                        <a:lnTo>
                          <a:pt x="137" y="51"/>
                        </a:lnTo>
                        <a:lnTo>
                          <a:pt x="158" y="72"/>
                        </a:lnTo>
                        <a:lnTo>
                          <a:pt x="110" y="71"/>
                        </a:lnTo>
                        <a:lnTo>
                          <a:pt x="128" y="65"/>
                        </a:lnTo>
                        <a:lnTo>
                          <a:pt x="0" y="3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5" name="Freeform 64"/>
                  <p:cNvSpPr>
                    <a:spLocks/>
                  </p:cNvSpPr>
                  <p:nvPr/>
                </p:nvSpPr>
                <p:spPr bwMode="auto">
                  <a:xfrm>
                    <a:off x="3927475" y="4271963"/>
                    <a:ext cx="279400" cy="19050"/>
                  </a:xfrm>
                  <a:custGeom>
                    <a:avLst/>
                    <a:gdLst>
                      <a:gd name="T0" fmla="*/ 167 w 176"/>
                      <a:gd name="T1" fmla="*/ 6 h 12"/>
                      <a:gd name="T2" fmla="*/ 37 w 176"/>
                      <a:gd name="T3" fmla="*/ 8 h 12"/>
                      <a:gd name="T4" fmla="*/ 38 w 176"/>
                      <a:gd name="T5" fmla="*/ 12 h 12"/>
                      <a:gd name="T6" fmla="*/ 0 w 176"/>
                      <a:gd name="T7" fmla="*/ 6 h 12"/>
                      <a:gd name="T8" fmla="*/ 46 w 176"/>
                      <a:gd name="T9" fmla="*/ 0 h 12"/>
                      <a:gd name="T10" fmla="*/ 38 w 176"/>
                      <a:gd name="T11" fmla="*/ 3 h 12"/>
                      <a:gd name="T12" fmla="*/ 176 w 176"/>
                      <a:gd name="T13" fmla="*/ 3 h 12"/>
                      <a:gd name="T14" fmla="*/ 167 w 176"/>
                      <a:gd name="T15" fmla="*/ 6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76" h="12">
                        <a:moveTo>
                          <a:pt x="167" y="6"/>
                        </a:moveTo>
                        <a:lnTo>
                          <a:pt x="37" y="8"/>
                        </a:lnTo>
                        <a:lnTo>
                          <a:pt x="38" y="12"/>
                        </a:lnTo>
                        <a:lnTo>
                          <a:pt x="0" y="6"/>
                        </a:lnTo>
                        <a:lnTo>
                          <a:pt x="46" y="0"/>
                        </a:lnTo>
                        <a:lnTo>
                          <a:pt x="38" y="3"/>
                        </a:lnTo>
                        <a:lnTo>
                          <a:pt x="176" y="3"/>
                        </a:lnTo>
                        <a:lnTo>
                          <a:pt x="167" y="6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6" name="Freeform 65"/>
                  <p:cNvSpPr>
                    <a:spLocks/>
                  </p:cNvSpPr>
                  <p:nvPr/>
                </p:nvSpPr>
                <p:spPr bwMode="auto">
                  <a:xfrm>
                    <a:off x="4149725" y="4241800"/>
                    <a:ext cx="57150" cy="39688"/>
                  </a:xfrm>
                  <a:custGeom>
                    <a:avLst/>
                    <a:gdLst>
                      <a:gd name="T0" fmla="*/ 27 w 36"/>
                      <a:gd name="T1" fmla="*/ 25 h 25"/>
                      <a:gd name="T2" fmla="*/ 13 w 36"/>
                      <a:gd name="T3" fmla="*/ 11 h 25"/>
                      <a:gd name="T4" fmla="*/ 11 w 36"/>
                      <a:gd name="T5" fmla="*/ 9 h 25"/>
                      <a:gd name="T6" fmla="*/ 0 w 36"/>
                      <a:gd name="T7" fmla="*/ 15 h 25"/>
                      <a:gd name="T8" fmla="*/ 5 w 36"/>
                      <a:gd name="T9" fmla="*/ 0 h 25"/>
                      <a:gd name="T10" fmla="*/ 31 w 36"/>
                      <a:gd name="T11" fmla="*/ 9 h 25"/>
                      <a:gd name="T12" fmla="*/ 21 w 36"/>
                      <a:gd name="T13" fmla="*/ 9 h 25"/>
                      <a:gd name="T14" fmla="*/ 36 w 36"/>
                      <a:gd name="T15" fmla="*/ 22 h 25"/>
                      <a:gd name="T16" fmla="*/ 27 w 36"/>
                      <a:gd name="T17" fmla="*/ 25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6" h="25">
                        <a:moveTo>
                          <a:pt x="27" y="25"/>
                        </a:moveTo>
                        <a:lnTo>
                          <a:pt x="13" y="11"/>
                        </a:lnTo>
                        <a:lnTo>
                          <a:pt x="11" y="9"/>
                        </a:lnTo>
                        <a:lnTo>
                          <a:pt x="0" y="15"/>
                        </a:lnTo>
                        <a:lnTo>
                          <a:pt x="5" y="0"/>
                        </a:lnTo>
                        <a:lnTo>
                          <a:pt x="31" y="9"/>
                        </a:lnTo>
                        <a:lnTo>
                          <a:pt x="21" y="9"/>
                        </a:lnTo>
                        <a:lnTo>
                          <a:pt x="36" y="22"/>
                        </a:lnTo>
                        <a:lnTo>
                          <a:pt x="27" y="25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7" name="Freeform 66"/>
                  <p:cNvSpPr>
                    <a:spLocks/>
                  </p:cNvSpPr>
                  <p:nvPr/>
                </p:nvSpPr>
                <p:spPr bwMode="auto">
                  <a:xfrm>
                    <a:off x="4191000" y="4259263"/>
                    <a:ext cx="177800" cy="30163"/>
                  </a:xfrm>
                  <a:custGeom>
                    <a:avLst/>
                    <a:gdLst>
                      <a:gd name="T0" fmla="*/ 0 w 112"/>
                      <a:gd name="T1" fmla="*/ 10 h 19"/>
                      <a:gd name="T2" fmla="*/ 82 w 112"/>
                      <a:gd name="T3" fmla="*/ 5 h 19"/>
                      <a:gd name="T4" fmla="*/ 85 w 112"/>
                      <a:gd name="T5" fmla="*/ 5 h 19"/>
                      <a:gd name="T6" fmla="*/ 76 w 112"/>
                      <a:gd name="T7" fmla="*/ 0 h 19"/>
                      <a:gd name="T8" fmla="*/ 112 w 112"/>
                      <a:gd name="T9" fmla="*/ 5 h 19"/>
                      <a:gd name="T10" fmla="*/ 75 w 112"/>
                      <a:gd name="T11" fmla="*/ 19 h 19"/>
                      <a:gd name="T12" fmla="*/ 81 w 112"/>
                      <a:gd name="T13" fmla="*/ 9 h 19"/>
                      <a:gd name="T14" fmla="*/ 5 w 112"/>
                      <a:gd name="T15" fmla="*/ 13 h 19"/>
                      <a:gd name="T16" fmla="*/ 0 w 112"/>
                      <a:gd name="T17" fmla="*/ 10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2" h="19">
                        <a:moveTo>
                          <a:pt x="0" y="10"/>
                        </a:moveTo>
                        <a:lnTo>
                          <a:pt x="82" y="5"/>
                        </a:lnTo>
                        <a:lnTo>
                          <a:pt x="85" y="5"/>
                        </a:lnTo>
                        <a:lnTo>
                          <a:pt x="76" y="0"/>
                        </a:lnTo>
                        <a:lnTo>
                          <a:pt x="112" y="5"/>
                        </a:lnTo>
                        <a:lnTo>
                          <a:pt x="75" y="19"/>
                        </a:lnTo>
                        <a:lnTo>
                          <a:pt x="81" y="9"/>
                        </a:lnTo>
                        <a:lnTo>
                          <a:pt x="5" y="13"/>
                        </a:lnTo>
                        <a:lnTo>
                          <a:pt x="0" y="1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8" name="Freeform 67"/>
                  <p:cNvSpPr>
                    <a:spLocks/>
                  </p:cNvSpPr>
                  <p:nvPr/>
                </p:nvSpPr>
                <p:spPr bwMode="auto">
                  <a:xfrm>
                    <a:off x="4192588" y="4279900"/>
                    <a:ext cx="325438" cy="46038"/>
                  </a:xfrm>
                  <a:custGeom>
                    <a:avLst/>
                    <a:gdLst>
                      <a:gd name="T0" fmla="*/ 4 w 205"/>
                      <a:gd name="T1" fmla="*/ 0 h 29"/>
                      <a:gd name="T2" fmla="*/ 168 w 205"/>
                      <a:gd name="T3" fmla="*/ 17 h 29"/>
                      <a:gd name="T4" fmla="*/ 169 w 205"/>
                      <a:gd name="T5" fmla="*/ 12 h 29"/>
                      <a:gd name="T6" fmla="*/ 205 w 205"/>
                      <a:gd name="T7" fmla="*/ 25 h 29"/>
                      <a:gd name="T8" fmla="*/ 164 w 205"/>
                      <a:gd name="T9" fmla="*/ 29 h 29"/>
                      <a:gd name="T10" fmla="*/ 175 w 205"/>
                      <a:gd name="T11" fmla="*/ 23 h 29"/>
                      <a:gd name="T12" fmla="*/ 0 w 205"/>
                      <a:gd name="T13" fmla="*/ 2 h 29"/>
                      <a:gd name="T14" fmla="*/ 4 w 205"/>
                      <a:gd name="T15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05" h="29">
                        <a:moveTo>
                          <a:pt x="4" y="0"/>
                        </a:moveTo>
                        <a:lnTo>
                          <a:pt x="168" y="17"/>
                        </a:lnTo>
                        <a:lnTo>
                          <a:pt x="169" y="12"/>
                        </a:lnTo>
                        <a:lnTo>
                          <a:pt x="205" y="25"/>
                        </a:lnTo>
                        <a:lnTo>
                          <a:pt x="164" y="29"/>
                        </a:lnTo>
                        <a:lnTo>
                          <a:pt x="175" y="23"/>
                        </a:lnTo>
                        <a:lnTo>
                          <a:pt x="0" y="2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9" name="Freeform 68"/>
                  <p:cNvSpPr>
                    <a:spLocks/>
                  </p:cNvSpPr>
                  <p:nvPr/>
                </p:nvSpPr>
                <p:spPr bwMode="auto">
                  <a:xfrm>
                    <a:off x="2809875" y="4294188"/>
                    <a:ext cx="317500" cy="85725"/>
                  </a:xfrm>
                  <a:custGeom>
                    <a:avLst/>
                    <a:gdLst>
                      <a:gd name="T0" fmla="*/ 199 w 200"/>
                      <a:gd name="T1" fmla="*/ 0 h 54"/>
                      <a:gd name="T2" fmla="*/ 32 w 200"/>
                      <a:gd name="T3" fmla="*/ 42 h 54"/>
                      <a:gd name="T4" fmla="*/ 34 w 200"/>
                      <a:gd name="T5" fmla="*/ 30 h 54"/>
                      <a:gd name="T6" fmla="*/ 0 w 200"/>
                      <a:gd name="T7" fmla="*/ 54 h 54"/>
                      <a:gd name="T8" fmla="*/ 46 w 200"/>
                      <a:gd name="T9" fmla="*/ 52 h 54"/>
                      <a:gd name="T10" fmla="*/ 34 w 200"/>
                      <a:gd name="T11" fmla="*/ 46 h 54"/>
                      <a:gd name="T12" fmla="*/ 200 w 200"/>
                      <a:gd name="T13" fmla="*/ 3 h 54"/>
                      <a:gd name="T14" fmla="*/ 199 w 200"/>
                      <a:gd name="T15" fmla="*/ 0 h 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00" h="54">
                        <a:moveTo>
                          <a:pt x="199" y="0"/>
                        </a:moveTo>
                        <a:lnTo>
                          <a:pt x="32" y="42"/>
                        </a:lnTo>
                        <a:lnTo>
                          <a:pt x="34" y="30"/>
                        </a:lnTo>
                        <a:lnTo>
                          <a:pt x="0" y="54"/>
                        </a:lnTo>
                        <a:lnTo>
                          <a:pt x="46" y="52"/>
                        </a:lnTo>
                        <a:lnTo>
                          <a:pt x="34" y="46"/>
                        </a:lnTo>
                        <a:lnTo>
                          <a:pt x="200" y="3"/>
                        </a:lnTo>
                        <a:lnTo>
                          <a:pt x="199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0" name="Freeform 69"/>
                  <p:cNvSpPr>
                    <a:spLocks/>
                  </p:cNvSpPr>
                  <p:nvPr/>
                </p:nvSpPr>
                <p:spPr bwMode="auto">
                  <a:xfrm>
                    <a:off x="3055938" y="4294188"/>
                    <a:ext cx="84138" cy="92075"/>
                  </a:xfrm>
                  <a:custGeom>
                    <a:avLst/>
                    <a:gdLst>
                      <a:gd name="T0" fmla="*/ 45 w 53"/>
                      <a:gd name="T1" fmla="*/ 3 h 58"/>
                      <a:gd name="T2" fmla="*/ 14 w 53"/>
                      <a:gd name="T3" fmla="*/ 45 h 58"/>
                      <a:gd name="T4" fmla="*/ 0 w 53"/>
                      <a:gd name="T5" fmla="*/ 39 h 58"/>
                      <a:gd name="T6" fmla="*/ 16 w 53"/>
                      <a:gd name="T7" fmla="*/ 58 h 58"/>
                      <a:gd name="T8" fmla="*/ 45 w 53"/>
                      <a:gd name="T9" fmla="*/ 41 h 58"/>
                      <a:gd name="T10" fmla="*/ 27 w 53"/>
                      <a:gd name="T11" fmla="*/ 44 h 58"/>
                      <a:gd name="T12" fmla="*/ 53 w 53"/>
                      <a:gd name="T13" fmla="*/ 0 h 58"/>
                      <a:gd name="T14" fmla="*/ 45 w 53"/>
                      <a:gd name="T15" fmla="*/ 3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58">
                        <a:moveTo>
                          <a:pt x="45" y="3"/>
                        </a:moveTo>
                        <a:lnTo>
                          <a:pt x="14" y="45"/>
                        </a:lnTo>
                        <a:lnTo>
                          <a:pt x="0" y="39"/>
                        </a:lnTo>
                        <a:lnTo>
                          <a:pt x="16" y="58"/>
                        </a:lnTo>
                        <a:lnTo>
                          <a:pt x="45" y="41"/>
                        </a:lnTo>
                        <a:lnTo>
                          <a:pt x="27" y="44"/>
                        </a:lnTo>
                        <a:lnTo>
                          <a:pt x="53" y="0"/>
                        </a:lnTo>
                        <a:lnTo>
                          <a:pt x="45" y="3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1" name="Freeform 70"/>
                  <p:cNvSpPr>
                    <a:spLocks/>
                  </p:cNvSpPr>
                  <p:nvPr/>
                </p:nvSpPr>
                <p:spPr bwMode="auto">
                  <a:xfrm>
                    <a:off x="3127375" y="4294188"/>
                    <a:ext cx="215900" cy="98425"/>
                  </a:xfrm>
                  <a:custGeom>
                    <a:avLst/>
                    <a:gdLst>
                      <a:gd name="T0" fmla="*/ 8 w 136"/>
                      <a:gd name="T1" fmla="*/ 0 h 62"/>
                      <a:gd name="T2" fmla="*/ 116 w 136"/>
                      <a:gd name="T3" fmla="*/ 52 h 62"/>
                      <a:gd name="T4" fmla="*/ 118 w 136"/>
                      <a:gd name="T5" fmla="*/ 44 h 62"/>
                      <a:gd name="T6" fmla="*/ 136 w 136"/>
                      <a:gd name="T7" fmla="*/ 62 h 62"/>
                      <a:gd name="T8" fmla="*/ 94 w 136"/>
                      <a:gd name="T9" fmla="*/ 61 h 62"/>
                      <a:gd name="T10" fmla="*/ 110 w 136"/>
                      <a:gd name="T11" fmla="*/ 56 h 62"/>
                      <a:gd name="T12" fmla="*/ 0 w 136"/>
                      <a:gd name="T13" fmla="*/ 3 h 62"/>
                      <a:gd name="T14" fmla="*/ 8 w 136"/>
                      <a:gd name="T15" fmla="*/ 0 h 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36" h="62">
                        <a:moveTo>
                          <a:pt x="8" y="0"/>
                        </a:moveTo>
                        <a:lnTo>
                          <a:pt x="116" y="52"/>
                        </a:lnTo>
                        <a:lnTo>
                          <a:pt x="118" y="44"/>
                        </a:lnTo>
                        <a:lnTo>
                          <a:pt x="136" y="62"/>
                        </a:lnTo>
                        <a:lnTo>
                          <a:pt x="94" y="61"/>
                        </a:lnTo>
                        <a:lnTo>
                          <a:pt x="110" y="56"/>
                        </a:lnTo>
                        <a:lnTo>
                          <a:pt x="0" y="3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2" name="Freeform 71"/>
                  <p:cNvSpPr>
                    <a:spLocks/>
                  </p:cNvSpPr>
                  <p:nvPr/>
                </p:nvSpPr>
                <p:spPr bwMode="auto">
                  <a:xfrm>
                    <a:off x="2901950" y="4289425"/>
                    <a:ext cx="238125" cy="17463"/>
                  </a:xfrm>
                  <a:custGeom>
                    <a:avLst/>
                    <a:gdLst>
                      <a:gd name="T0" fmla="*/ 142 w 150"/>
                      <a:gd name="T1" fmla="*/ 6 h 11"/>
                      <a:gd name="T2" fmla="*/ 31 w 150"/>
                      <a:gd name="T3" fmla="*/ 8 h 11"/>
                      <a:gd name="T4" fmla="*/ 32 w 150"/>
                      <a:gd name="T5" fmla="*/ 11 h 11"/>
                      <a:gd name="T6" fmla="*/ 0 w 150"/>
                      <a:gd name="T7" fmla="*/ 6 h 11"/>
                      <a:gd name="T8" fmla="*/ 39 w 150"/>
                      <a:gd name="T9" fmla="*/ 0 h 11"/>
                      <a:gd name="T10" fmla="*/ 32 w 150"/>
                      <a:gd name="T11" fmla="*/ 3 h 11"/>
                      <a:gd name="T12" fmla="*/ 150 w 150"/>
                      <a:gd name="T13" fmla="*/ 4 h 11"/>
                      <a:gd name="T14" fmla="*/ 142 w 150"/>
                      <a:gd name="T15" fmla="*/ 6 h 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50" h="11">
                        <a:moveTo>
                          <a:pt x="142" y="6"/>
                        </a:moveTo>
                        <a:lnTo>
                          <a:pt x="31" y="8"/>
                        </a:lnTo>
                        <a:lnTo>
                          <a:pt x="32" y="11"/>
                        </a:lnTo>
                        <a:lnTo>
                          <a:pt x="0" y="6"/>
                        </a:lnTo>
                        <a:lnTo>
                          <a:pt x="39" y="0"/>
                        </a:lnTo>
                        <a:lnTo>
                          <a:pt x="32" y="3"/>
                        </a:lnTo>
                        <a:lnTo>
                          <a:pt x="150" y="4"/>
                        </a:lnTo>
                        <a:lnTo>
                          <a:pt x="142" y="6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3" name="Freeform 72"/>
                  <p:cNvSpPr>
                    <a:spLocks/>
                  </p:cNvSpPr>
                  <p:nvPr/>
                </p:nvSpPr>
                <p:spPr bwMode="auto">
                  <a:xfrm>
                    <a:off x="3090863" y="4264025"/>
                    <a:ext cx="49213" cy="34925"/>
                  </a:xfrm>
                  <a:custGeom>
                    <a:avLst/>
                    <a:gdLst>
                      <a:gd name="T0" fmla="*/ 23 w 31"/>
                      <a:gd name="T1" fmla="*/ 22 h 22"/>
                      <a:gd name="T2" fmla="*/ 11 w 31"/>
                      <a:gd name="T3" fmla="*/ 10 h 22"/>
                      <a:gd name="T4" fmla="*/ 10 w 31"/>
                      <a:gd name="T5" fmla="*/ 8 h 22"/>
                      <a:gd name="T6" fmla="*/ 0 w 31"/>
                      <a:gd name="T7" fmla="*/ 13 h 22"/>
                      <a:gd name="T8" fmla="*/ 4 w 31"/>
                      <a:gd name="T9" fmla="*/ 0 h 22"/>
                      <a:gd name="T10" fmla="*/ 27 w 31"/>
                      <a:gd name="T11" fmla="*/ 8 h 22"/>
                      <a:gd name="T12" fmla="*/ 18 w 31"/>
                      <a:gd name="T13" fmla="*/ 9 h 22"/>
                      <a:gd name="T14" fmla="*/ 31 w 31"/>
                      <a:gd name="T15" fmla="*/ 20 h 22"/>
                      <a:gd name="T16" fmla="*/ 23 w 31"/>
                      <a:gd name="T1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1" h="22">
                        <a:moveTo>
                          <a:pt x="23" y="22"/>
                        </a:moveTo>
                        <a:lnTo>
                          <a:pt x="11" y="10"/>
                        </a:lnTo>
                        <a:lnTo>
                          <a:pt x="10" y="8"/>
                        </a:lnTo>
                        <a:lnTo>
                          <a:pt x="0" y="13"/>
                        </a:lnTo>
                        <a:lnTo>
                          <a:pt x="4" y="0"/>
                        </a:lnTo>
                        <a:lnTo>
                          <a:pt x="27" y="8"/>
                        </a:lnTo>
                        <a:lnTo>
                          <a:pt x="18" y="9"/>
                        </a:lnTo>
                        <a:lnTo>
                          <a:pt x="31" y="20"/>
                        </a:lnTo>
                        <a:lnTo>
                          <a:pt x="23" y="22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4" name="Freeform 73"/>
                  <p:cNvSpPr>
                    <a:spLocks/>
                  </p:cNvSpPr>
                  <p:nvPr/>
                </p:nvSpPr>
                <p:spPr bwMode="auto">
                  <a:xfrm>
                    <a:off x="3125788" y="4279900"/>
                    <a:ext cx="152400" cy="25400"/>
                  </a:xfrm>
                  <a:custGeom>
                    <a:avLst/>
                    <a:gdLst>
                      <a:gd name="T0" fmla="*/ 0 w 96"/>
                      <a:gd name="T1" fmla="*/ 9 h 16"/>
                      <a:gd name="T2" fmla="*/ 71 w 96"/>
                      <a:gd name="T3" fmla="*/ 4 h 16"/>
                      <a:gd name="T4" fmla="*/ 73 w 96"/>
                      <a:gd name="T5" fmla="*/ 4 h 16"/>
                      <a:gd name="T6" fmla="*/ 66 w 96"/>
                      <a:gd name="T7" fmla="*/ 0 h 16"/>
                      <a:gd name="T8" fmla="*/ 96 w 96"/>
                      <a:gd name="T9" fmla="*/ 5 h 16"/>
                      <a:gd name="T10" fmla="*/ 65 w 96"/>
                      <a:gd name="T11" fmla="*/ 16 h 16"/>
                      <a:gd name="T12" fmla="*/ 70 w 96"/>
                      <a:gd name="T13" fmla="*/ 8 h 16"/>
                      <a:gd name="T14" fmla="*/ 5 w 96"/>
                      <a:gd name="T15" fmla="*/ 11 h 16"/>
                      <a:gd name="T16" fmla="*/ 0 w 96"/>
                      <a:gd name="T17" fmla="*/ 9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6" h="16">
                        <a:moveTo>
                          <a:pt x="0" y="9"/>
                        </a:moveTo>
                        <a:lnTo>
                          <a:pt x="71" y="4"/>
                        </a:lnTo>
                        <a:lnTo>
                          <a:pt x="73" y="4"/>
                        </a:lnTo>
                        <a:lnTo>
                          <a:pt x="66" y="0"/>
                        </a:lnTo>
                        <a:lnTo>
                          <a:pt x="96" y="5"/>
                        </a:lnTo>
                        <a:lnTo>
                          <a:pt x="65" y="16"/>
                        </a:lnTo>
                        <a:lnTo>
                          <a:pt x="70" y="8"/>
                        </a:lnTo>
                        <a:lnTo>
                          <a:pt x="5" y="11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5" name="Freeform 74"/>
                  <p:cNvSpPr>
                    <a:spLocks/>
                  </p:cNvSpPr>
                  <p:nvPr/>
                </p:nvSpPr>
                <p:spPr bwMode="auto">
                  <a:xfrm>
                    <a:off x="3127375" y="4297363"/>
                    <a:ext cx="279400" cy="39688"/>
                  </a:xfrm>
                  <a:custGeom>
                    <a:avLst/>
                    <a:gdLst>
                      <a:gd name="T0" fmla="*/ 4 w 176"/>
                      <a:gd name="T1" fmla="*/ 0 h 25"/>
                      <a:gd name="T2" fmla="*/ 144 w 176"/>
                      <a:gd name="T3" fmla="*/ 15 h 25"/>
                      <a:gd name="T4" fmla="*/ 145 w 176"/>
                      <a:gd name="T5" fmla="*/ 10 h 25"/>
                      <a:gd name="T6" fmla="*/ 176 w 176"/>
                      <a:gd name="T7" fmla="*/ 21 h 25"/>
                      <a:gd name="T8" fmla="*/ 140 w 176"/>
                      <a:gd name="T9" fmla="*/ 25 h 25"/>
                      <a:gd name="T10" fmla="*/ 150 w 176"/>
                      <a:gd name="T11" fmla="*/ 20 h 25"/>
                      <a:gd name="T12" fmla="*/ 0 w 176"/>
                      <a:gd name="T13" fmla="*/ 2 h 25"/>
                      <a:gd name="T14" fmla="*/ 4 w 176"/>
                      <a:gd name="T15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76" h="25">
                        <a:moveTo>
                          <a:pt x="4" y="0"/>
                        </a:moveTo>
                        <a:lnTo>
                          <a:pt x="144" y="15"/>
                        </a:lnTo>
                        <a:lnTo>
                          <a:pt x="145" y="10"/>
                        </a:lnTo>
                        <a:lnTo>
                          <a:pt x="176" y="21"/>
                        </a:lnTo>
                        <a:lnTo>
                          <a:pt x="140" y="25"/>
                        </a:lnTo>
                        <a:lnTo>
                          <a:pt x="150" y="20"/>
                        </a:lnTo>
                        <a:lnTo>
                          <a:pt x="0" y="2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6" name="Freeform 75"/>
                  <p:cNvSpPr>
                    <a:spLocks/>
                  </p:cNvSpPr>
                  <p:nvPr/>
                </p:nvSpPr>
                <p:spPr bwMode="auto">
                  <a:xfrm>
                    <a:off x="3660775" y="4113213"/>
                    <a:ext cx="23813" cy="38100"/>
                  </a:xfrm>
                  <a:custGeom>
                    <a:avLst/>
                    <a:gdLst>
                      <a:gd name="T0" fmla="*/ 1 w 60"/>
                      <a:gd name="T1" fmla="*/ 0 h 96"/>
                      <a:gd name="T2" fmla="*/ 0 w 60"/>
                      <a:gd name="T3" fmla="*/ 31 h 96"/>
                      <a:gd name="T4" fmla="*/ 2 w 60"/>
                      <a:gd name="T5" fmla="*/ 61 h 96"/>
                      <a:gd name="T6" fmla="*/ 11 w 60"/>
                      <a:gd name="T7" fmla="*/ 77 h 96"/>
                      <a:gd name="T8" fmla="*/ 23 w 60"/>
                      <a:gd name="T9" fmla="*/ 85 h 96"/>
                      <a:gd name="T10" fmla="*/ 27 w 60"/>
                      <a:gd name="T11" fmla="*/ 83 h 96"/>
                      <a:gd name="T12" fmla="*/ 31 w 60"/>
                      <a:gd name="T13" fmla="*/ 89 h 96"/>
                      <a:gd name="T14" fmla="*/ 38 w 60"/>
                      <a:gd name="T15" fmla="*/ 92 h 96"/>
                      <a:gd name="T16" fmla="*/ 41 w 60"/>
                      <a:gd name="T17" fmla="*/ 91 h 96"/>
                      <a:gd name="T18" fmla="*/ 48 w 60"/>
                      <a:gd name="T19" fmla="*/ 95 h 96"/>
                      <a:gd name="T20" fmla="*/ 53 w 60"/>
                      <a:gd name="T21" fmla="*/ 91 h 96"/>
                      <a:gd name="T22" fmla="*/ 57 w 60"/>
                      <a:gd name="T23" fmla="*/ 89 h 96"/>
                      <a:gd name="T24" fmla="*/ 60 w 60"/>
                      <a:gd name="T25" fmla="*/ 6 h 96"/>
                      <a:gd name="T26" fmla="*/ 1 w 60"/>
                      <a:gd name="T27" fmla="*/ 0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60" h="96">
                        <a:moveTo>
                          <a:pt x="1" y="0"/>
                        </a:moveTo>
                        <a:cubicBezTo>
                          <a:pt x="1" y="0"/>
                          <a:pt x="0" y="17"/>
                          <a:pt x="0" y="31"/>
                        </a:cubicBezTo>
                        <a:cubicBezTo>
                          <a:pt x="1" y="45"/>
                          <a:pt x="2" y="55"/>
                          <a:pt x="2" y="61"/>
                        </a:cubicBezTo>
                        <a:cubicBezTo>
                          <a:pt x="3" y="67"/>
                          <a:pt x="8" y="74"/>
                          <a:pt x="11" y="77"/>
                        </a:cubicBezTo>
                        <a:cubicBezTo>
                          <a:pt x="14" y="81"/>
                          <a:pt x="21" y="85"/>
                          <a:pt x="23" y="85"/>
                        </a:cubicBezTo>
                        <a:cubicBezTo>
                          <a:pt x="25" y="84"/>
                          <a:pt x="27" y="83"/>
                          <a:pt x="27" y="83"/>
                        </a:cubicBezTo>
                        <a:cubicBezTo>
                          <a:pt x="27" y="83"/>
                          <a:pt x="30" y="88"/>
                          <a:pt x="31" y="89"/>
                        </a:cubicBezTo>
                        <a:cubicBezTo>
                          <a:pt x="33" y="91"/>
                          <a:pt x="35" y="92"/>
                          <a:pt x="38" y="92"/>
                        </a:cubicBezTo>
                        <a:cubicBezTo>
                          <a:pt x="40" y="91"/>
                          <a:pt x="41" y="91"/>
                          <a:pt x="41" y="91"/>
                        </a:cubicBezTo>
                        <a:cubicBezTo>
                          <a:pt x="41" y="91"/>
                          <a:pt x="44" y="96"/>
                          <a:pt x="48" y="95"/>
                        </a:cubicBezTo>
                        <a:cubicBezTo>
                          <a:pt x="52" y="94"/>
                          <a:pt x="53" y="91"/>
                          <a:pt x="53" y="91"/>
                        </a:cubicBezTo>
                        <a:cubicBezTo>
                          <a:pt x="53" y="91"/>
                          <a:pt x="56" y="90"/>
                          <a:pt x="57" y="89"/>
                        </a:cubicBezTo>
                        <a:cubicBezTo>
                          <a:pt x="58" y="88"/>
                          <a:pt x="60" y="6"/>
                          <a:pt x="60" y="6"/>
                        </a:cubicBez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7" name="Freeform 76"/>
                  <p:cNvSpPr>
                    <a:spLocks/>
                  </p:cNvSpPr>
                  <p:nvPr/>
                </p:nvSpPr>
                <p:spPr bwMode="auto">
                  <a:xfrm>
                    <a:off x="3719513" y="3965575"/>
                    <a:ext cx="41275" cy="20638"/>
                  </a:xfrm>
                  <a:custGeom>
                    <a:avLst/>
                    <a:gdLst>
                      <a:gd name="T0" fmla="*/ 20 w 103"/>
                      <a:gd name="T1" fmla="*/ 52 h 52"/>
                      <a:gd name="T2" fmla="*/ 58 w 103"/>
                      <a:gd name="T3" fmla="*/ 29 h 52"/>
                      <a:gd name="T4" fmla="*/ 93 w 103"/>
                      <a:gd name="T5" fmla="*/ 21 h 52"/>
                      <a:gd name="T6" fmla="*/ 103 w 103"/>
                      <a:gd name="T7" fmla="*/ 21 h 52"/>
                      <a:gd name="T8" fmla="*/ 94 w 103"/>
                      <a:gd name="T9" fmla="*/ 14 h 52"/>
                      <a:gd name="T10" fmla="*/ 80 w 103"/>
                      <a:gd name="T11" fmla="*/ 3 h 52"/>
                      <a:gd name="T12" fmla="*/ 51 w 103"/>
                      <a:gd name="T13" fmla="*/ 5 h 52"/>
                      <a:gd name="T14" fmla="*/ 15 w 103"/>
                      <a:gd name="T15" fmla="*/ 28 h 52"/>
                      <a:gd name="T16" fmla="*/ 0 w 103"/>
                      <a:gd name="T17" fmla="*/ 39 h 52"/>
                      <a:gd name="T18" fmla="*/ 20 w 103"/>
                      <a:gd name="T19" fmla="*/ 52 h 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03" h="52">
                        <a:moveTo>
                          <a:pt x="20" y="52"/>
                        </a:moveTo>
                        <a:cubicBezTo>
                          <a:pt x="20" y="52"/>
                          <a:pt x="47" y="33"/>
                          <a:pt x="58" y="29"/>
                        </a:cubicBezTo>
                        <a:cubicBezTo>
                          <a:pt x="69" y="25"/>
                          <a:pt x="87" y="21"/>
                          <a:pt x="93" y="21"/>
                        </a:cubicBezTo>
                        <a:cubicBezTo>
                          <a:pt x="100" y="21"/>
                          <a:pt x="103" y="21"/>
                          <a:pt x="103" y="21"/>
                        </a:cubicBezTo>
                        <a:cubicBezTo>
                          <a:pt x="103" y="21"/>
                          <a:pt x="99" y="19"/>
                          <a:pt x="94" y="14"/>
                        </a:cubicBezTo>
                        <a:cubicBezTo>
                          <a:pt x="89" y="10"/>
                          <a:pt x="84" y="5"/>
                          <a:pt x="80" y="3"/>
                        </a:cubicBezTo>
                        <a:cubicBezTo>
                          <a:pt x="75" y="1"/>
                          <a:pt x="66" y="0"/>
                          <a:pt x="51" y="5"/>
                        </a:cubicBezTo>
                        <a:cubicBezTo>
                          <a:pt x="37" y="11"/>
                          <a:pt x="25" y="20"/>
                          <a:pt x="15" y="28"/>
                        </a:cubicBezTo>
                        <a:cubicBezTo>
                          <a:pt x="5" y="35"/>
                          <a:pt x="0" y="39"/>
                          <a:pt x="0" y="39"/>
                        </a:cubicBezTo>
                        <a:lnTo>
                          <a:pt x="20" y="52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8" name="Freeform 77"/>
                  <p:cNvSpPr>
                    <a:spLocks noEditPoints="1"/>
                  </p:cNvSpPr>
                  <p:nvPr/>
                </p:nvSpPr>
                <p:spPr bwMode="auto">
                  <a:xfrm>
                    <a:off x="3646488" y="3933825"/>
                    <a:ext cx="161925" cy="414338"/>
                  </a:xfrm>
                  <a:custGeom>
                    <a:avLst/>
                    <a:gdLst>
                      <a:gd name="T0" fmla="*/ 358 w 407"/>
                      <a:gd name="T1" fmla="*/ 241 h 1046"/>
                      <a:gd name="T2" fmla="*/ 294 w 407"/>
                      <a:gd name="T3" fmla="*/ 158 h 1046"/>
                      <a:gd name="T4" fmla="*/ 305 w 407"/>
                      <a:gd name="T5" fmla="*/ 137 h 1046"/>
                      <a:gd name="T6" fmla="*/ 316 w 407"/>
                      <a:gd name="T7" fmla="*/ 135 h 1046"/>
                      <a:gd name="T8" fmla="*/ 319 w 407"/>
                      <a:gd name="T9" fmla="*/ 109 h 1046"/>
                      <a:gd name="T10" fmla="*/ 329 w 407"/>
                      <a:gd name="T11" fmla="*/ 98 h 1046"/>
                      <a:gd name="T12" fmla="*/ 333 w 407"/>
                      <a:gd name="T13" fmla="*/ 70 h 1046"/>
                      <a:gd name="T14" fmla="*/ 323 w 407"/>
                      <a:gd name="T15" fmla="*/ 30 h 1046"/>
                      <a:gd name="T16" fmla="*/ 246 w 407"/>
                      <a:gd name="T17" fmla="*/ 7 h 1046"/>
                      <a:gd name="T18" fmla="*/ 213 w 407"/>
                      <a:gd name="T19" fmla="*/ 75 h 1046"/>
                      <a:gd name="T20" fmla="*/ 213 w 407"/>
                      <a:gd name="T21" fmla="*/ 91 h 1046"/>
                      <a:gd name="T22" fmla="*/ 197 w 407"/>
                      <a:gd name="T23" fmla="*/ 98 h 1046"/>
                      <a:gd name="T24" fmla="*/ 181 w 407"/>
                      <a:gd name="T25" fmla="*/ 114 h 1046"/>
                      <a:gd name="T26" fmla="*/ 134 w 407"/>
                      <a:gd name="T27" fmla="*/ 135 h 1046"/>
                      <a:gd name="T28" fmla="*/ 55 w 407"/>
                      <a:gd name="T29" fmla="*/ 212 h 1046"/>
                      <a:gd name="T30" fmla="*/ 1 w 407"/>
                      <a:gd name="T31" fmla="*/ 405 h 1046"/>
                      <a:gd name="T32" fmla="*/ 17 w 407"/>
                      <a:gd name="T33" fmla="*/ 478 h 1046"/>
                      <a:gd name="T34" fmla="*/ 50 w 407"/>
                      <a:gd name="T35" fmla="*/ 495 h 1046"/>
                      <a:gd name="T36" fmla="*/ 74 w 407"/>
                      <a:gd name="T37" fmla="*/ 489 h 1046"/>
                      <a:gd name="T38" fmla="*/ 78 w 407"/>
                      <a:gd name="T39" fmla="*/ 603 h 1046"/>
                      <a:gd name="T40" fmla="*/ 84 w 407"/>
                      <a:gd name="T41" fmla="*/ 727 h 1046"/>
                      <a:gd name="T42" fmla="*/ 97 w 407"/>
                      <a:gd name="T43" fmla="*/ 784 h 1046"/>
                      <a:gd name="T44" fmla="*/ 119 w 407"/>
                      <a:gd name="T45" fmla="*/ 939 h 1046"/>
                      <a:gd name="T46" fmla="*/ 115 w 407"/>
                      <a:gd name="T47" fmla="*/ 965 h 1046"/>
                      <a:gd name="T48" fmla="*/ 109 w 407"/>
                      <a:gd name="T49" fmla="*/ 1000 h 1046"/>
                      <a:gd name="T50" fmla="*/ 106 w 407"/>
                      <a:gd name="T51" fmla="*/ 1019 h 1046"/>
                      <a:gd name="T52" fmla="*/ 153 w 407"/>
                      <a:gd name="T53" fmla="*/ 1026 h 1046"/>
                      <a:gd name="T54" fmla="*/ 174 w 407"/>
                      <a:gd name="T55" fmla="*/ 1014 h 1046"/>
                      <a:gd name="T56" fmla="*/ 179 w 407"/>
                      <a:gd name="T57" fmla="*/ 1015 h 1046"/>
                      <a:gd name="T58" fmla="*/ 175 w 407"/>
                      <a:gd name="T59" fmla="*/ 1027 h 1046"/>
                      <a:gd name="T60" fmla="*/ 188 w 407"/>
                      <a:gd name="T61" fmla="*/ 1044 h 1046"/>
                      <a:gd name="T62" fmla="*/ 249 w 407"/>
                      <a:gd name="T63" fmla="*/ 1038 h 1046"/>
                      <a:gd name="T64" fmla="*/ 274 w 407"/>
                      <a:gd name="T65" fmla="*/ 1017 h 1046"/>
                      <a:gd name="T66" fmla="*/ 254 w 407"/>
                      <a:gd name="T67" fmla="*/ 990 h 1046"/>
                      <a:gd name="T68" fmla="*/ 239 w 407"/>
                      <a:gd name="T69" fmla="*/ 956 h 1046"/>
                      <a:gd name="T70" fmla="*/ 241 w 407"/>
                      <a:gd name="T71" fmla="*/ 921 h 1046"/>
                      <a:gd name="T72" fmla="*/ 269 w 407"/>
                      <a:gd name="T73" fmla="*/ 774 h 1046"/>
                      <a:gd name="T74" fmla="*/ 284 w 407"/>
                      <a:gd name="T75" fmla="*/ 730 h 1046"/>
                      <a:gd name="T76" fmla="*/ 311 w 407"/>
                      <a:gd name="T77" fmla="*/ 725 h 1046"/>
                      <a:gd name="T78" fmla="*/ 314 w 407"/>
                      <a:gd name="T79" fmla="*/ 630 h 1046"/>
                      <a:gd name="T80" fmla="*/ 314 w 407"/>
                      <a:gd name="T81" fmla="*/ 487 h 1046"/>
                      <a:gd name="T82" fmla="*/ 328 w 407"/>
                      <a:gd name="T83" fmla="*/ 479 h 1046"/>
                      <a:gd name="T84" fmla="*/ 361 w 407"/>
                      <a:gd name="T85" fmla="*/ 517 h 1046"/>
                      <a:gd name="T86" fmla="*/ 407 w 407"/>
                      <a:gd name="T87" fmla="*/ 443 h 1046"/>
                      <a:gd name="T88" fmla="*/ 197 w 407"/>
                      <a:gd name="T89" fmla="*/ 796 h 1046"/>
                      <a:gd name="T90" fmla="*/ 195 w 407"/>
                      <a:gd name="T91" fmla="*/ 925 h 1046"/>
                      <a:gd name="T92" fmla="*/ 191 w 407"/>
                      <a:gd name="T93" fmla="*/ 956 h 1046"/>
                      <a:gd name="T94" fmla="*/ 173 w 407"/>
                      <a:gd name="T95" fmla="*/ 958 h 1046"/>
                      <a:gd name="T96" fmla="*/ 158 w 407"/>
                      <a:gd name="T97" fmla="*/ 930 h 1046"/>
                      <a:gd name="T98" fmla="*/ 158 w 407"/>
                      <a:gd name="T99" fmla="*/ 890 h 1046"/>
                      <a:gd name="T100" fmla="*/ 177 w 407"/>
                      <a:gd name="T101" fmla="*/ 718 h 1046"/>
                      <a:gd name="T102" fmla="*/ 189 w 407"/>
                      <a:gd name="T103" fmla="*/ 712 h 1046"/>
                      <a:gd name="T104" fmla="*/ 193 w 407"/>
                      <a:gd name="T105" fmla="*/ 727 h 1046"/>
                      <a:gd name="T106" fmla="*/ 197 w 407"/>
                      <a:gd name="T107" fmla="*/ 796 h 10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407" h="1046">
                        <a:moveTo>
                          <a:pt x="394" y="372"/>
                        </a:moveTo>
                        <a:cubicBezTo>
                          <a:pt x="389" y="348"/>
                          <a:pt x="372" y="277"/>
                          <a:pt x="358" y="241"/>
                        </a:cubicBezTo>
                        <a:cubicBezTo>
                          <a:pt x="344" y="205"/>
                          <a:pt x="337" y="187"/>
                          <a:pt x="322" y="177"/>
                        </a:cubicBezTo>
                        <a:cubicBezTo>
                          <a:pt x="307" y="167"/>
                          <a:pt x="294" y="158"/>
                          <a:pt x="294" y="158"/>
                        </a:cubicBezTo>
                        <a:cubicBezTo>
                          <a:pt x="294" y="158"/>
                          <a:pt x="296" y="155"/>
                          <a:pt x="298" y="150"/>
                        </a:cubicBezTo>
                        <a:cubicBezTo>
                          <a:pt x="300" y="146"/>
                          <a:pt x="304" y="140"/>
                          <a:pt x="305" y="137"/>
                        </a:cubicBezTo>
                        <a:cubicBezTo>
                          <a:pt x="307" y="133"/>
                          <a:pt x="308" y="133"/>
                          <a:pt x="309" y="133"/>
                        </a:cubicBezTo>
                        <a:cubicBezTo>
                          <a:pt x="310" y="134"/>
                          <a:pt x="314" y="136"/>
                          <a:pt x="316" y="135"/>
                        </a:cubicBezTo>
                        <a:cubicBezTo>
                          <a:pt x="318" y="134"/>
                          <a:pt x="320" y="132"/>
                          <a:pt x="319" y="126"/>
                        </a:cubicBezTo>
                        <a:cubicBezTo>
                          <a:pt x="319" y="121"/>
                          <a:pt x="318" y="112"/>
                          <a:pt x="319" y="109"/>
                        </a:cubicBezTo>
                        <a:cubicBezTo>
                          <a:pt x="320" y="106"/>
                          <a:pt x="323" y="106"/>
                          <a:pt x="325" y="105"/>
                        </a:cubicBezTo>
                        <a:cubicBezTo>
                          <a:pt x="326" y="104"/>
                          <a:pt x="328" y="102"/>
                          <a:pt x="329" y="98"/>
                        </a:cubicBezTo>
                        <a:cubicBezTo>
                          <a:pt x="331" y="95"/>
                          <a:pt x="331" y="87"/>
                          <a:pt x="332" y="80"/>
                        </a:cubicBezTo>
                        <a:cubicBezTo>
                          <a:pt x="332" y="74"/>
                          <a:pt x="333" y="70"/>
                          <a:pt x="333" y="70"/>
                        </a:cubicBezTo>
                        <a:cubicBezTo>
                          <a:pt x="333" y="70"/>
                          <a:pt x="341" y="70"/>
                          <a:pt x="336" y="59"/>
                        </a:cubicBezTo>
                        <a:cubicBezTo>
                          <a:pt x="336" y="59"/>
                          <a:pt x="331" y="42"/>
                          <a:pt x="323" y="30"/>
                        </a:cubicBezTo>
                        <a:cubicBezTo>
                          <a:pt x="315" y="19"/>
                          <a:pt x="304" y="8"/>
                          <a:pt x="290" y="4"/>
                        </a:cubicBezTo>
                        <a:cubicBezTo>
                          <a:pt x="275" y="0"/>
                          <a:pt x="260" y="0"/>
                          <a:pt x="246" y="7"/>
                        </a:cubicBezTo>
                        <a:cubicBezTo>
                          <a:pt x="233" y="15"/>
                          <a:pt x="226" y="25"/>
                          <a:pt x="221" y="38"/>
                        </a:cubicBezTo>
                        <a:cubicBezTo>
                          <a:pt x="217" y="51"/>
                          <a:pt x="212" y="68"/>
                          <a:pt x="213" y="75"/>
                        </a:cubicBezTo>
                        <a:cubicBezTo>
                          <a:pt x="214" y="83"/>
                          <a:pt x="215" y="84"/>
                          <a:pt x="215" y="84"/>
                        </a:cubicBezTo>
                        <a:cubicBezTo>
                          <a:pt x="215" y="84"/>
                          <a:pt x="214" y="87"/>
                          <a:pt x="213" y="91"/>
                        </a:cubicBezTo>
                        <a:cubicBezTo>
                          <a:pt x="211" y="95"/>
                          <a:pt x="210" y="98"/>
                          <a:pt x="210" y="98"/>
                        </a:cubicBezTo>
                        <a:cubicBezTo>
                          <a:pt x="210" y="98"/>
                          <a:pt x="203" y="97"/>
                          <a:pt x="197" y="98"/>
                        </a:cubicBezTo>
                        <a:cubicBezTo>
                          <a:pt x="190" y="99"/>
                          <a:pt x="186" y="102"/>
                          <a:pt x="184" y="105"/>
                        </a:cubicBezTo>
                        <a:cubicBezTo>
                          <a:pt x="182" y="107"/>
                          <a:pt x="182" y="111"/>
                          <a:pt x="181" y="114"/>
                        </a:cubicBezTo>
                        <a:cubicBezTo>
                          <a:pt x="180" y="117"/>
                          <a:pt x="180" y="122"/>
                          <a:pt x="180" y="122"/>
                        </a:cubicBezTo>
                        <a:cubicBezTo>
                          <a:pt x="180" y="122"/>
                          <a:pt x="150" y="130"/>
                          <a:pt x="134" y="135"/>
                        </a:cubicBezTo>
                        <a:cubicBezTo>
                          <a:pt x="118" y="140"/>
                          <a:pt x="91" y="150"/>
                          <a:pt x="83" y="162"/>
                        </a:cubicBezTo>
                        <a:cubicBezTo>
                          <a:pt x="75" y="174"/>
                          <a:pt x="68" y="182"/>
                          <a:pt x="55" y="212"/>
                        </a:cubicBezTo>
                        <a:cubicBezTo>
                          <a:pt x="42" y="243"/>
                          <a:pt x="35" y="266"/>
                          <a:pt x="35" y="266"/>
                        </a:cubicBezTo>
                        <a:cubicBezTo>
                          <a:pt x="17" y="320"/>
                          <a:pt x="0" y="388"/>
                          <a:pt x="1" y="405"/>
                        </a:cubicBezTo>
                        <a:cubicBezTo>
                          <a:pt x="2" y="423"/>
                          <a:pt x="0" y="442"/>
                          <a:pt x="5" y="453"/>
                        </a:cubicBezTo>
                        <a:cubicBezTo>
                          <a:pt x="11" y="464"/>
                          <a:pt x="14" y="475"/>
                          <a:pt x="17" y="478"/>
                        </a:cubicBezTo>
                        <a:cubicBezTo>
                          <a:pt x="19" y="481"/>
                          <a:pt x="30" y="492"/>
                          <a:pt x="33" y="494"/>
                        </a:cubicBezTo>
                        <a:cubicBezTo>
                          <a:pt x="36" y="496"/>
                          <a:pt x="34" y="493"/>
                          <a:pt x="50" y="495"/>
                        </a:cubicBezTo>
                        <a:cubicBezTo>
                          <a:pt x="66" y="497"/>
                          <a:pt x="73" y="481"/>
                          <a:pt x="73" y="481"/>
                        </a:cubicBezTo>
                        <a:cubicBezTo>
                          <a:pt x="73" y="481"/>
                          <a:pt x="73" y="485"/>
                          <a:pt x="74" y="489"/>
                        </a:cubicBezTo>
                        <a:cubicBezTo>
                          <a:pt x="76" y="494"/>
                          <a:pt x="82" y="495"/>
                          <a:pt x="82" y="495"/>
                        </a:cubicBezTo>
                        <a:cubicBezTo>
                          <a:pt x="82" y="495"/>
                          <a:pt x="78" y="547"/>
                          <a:pt x="78" y="603"/>
                        </a:cubicBezTo>
                        <a:cubicBezTo>
                          <a:pt x="77" y="659"/>
                          <a:pt x="80" y="707"/>
                          <a:pt x="81" y="717"/>
                        </a:cubicBezTo>
                        <a:cubicBezTo>
                          <a:pt x="81" y="722"/>
                          <a:pt x="81" y="727"/>
                          <a:pt x="84" y="727"/>
                        </a:cubicBezTo>
                        <a:cubicBezTo>
                          <a:pt x="89" y="729"/>
                          <a:pt x="101" y="727"/>
                          <a:pt x="101" y="727"/>
                        </a:cubicBezTo>
                        <a:cubicBezTo>
                          <a:pt x="101" y="727"/>
                          <a:pt x="97" y="755"/>
                          <a:pt x="97" y="784"/>
                        </a:cubicBezTo>
                        <a:cubicBezTo>
                          <a:pt x="98" y="813"/>
                          <a:pt x="103" y="851"/>
                          <a:pt x="109" y="886"/>
                        </a:cubicBezTo>
                        <a:cubicBezTo>
                          <a:pt x="116" y="921"/>
                          <a:pt x="119" y="939"/>
                          <a:pt x="119" y="939"/>
                        </a:cubicBezTo>
                        <a:cubicBezTo>
                          <a:pt x="119" y="939"/>
                          <a:pt x="116" y="940"/>
                          <a:pt x="116" y="946"/>
                        </a:cubicBezTo>
                        <a:cubicBezTo>
                          <a:pt x="116" y="952"/>
                          <a:pt x="115" y="961"/>
                          <a:pt x="115" y="965"/>
                        </a:cubicBezTo>
                        <a:cubicBezTo>
                          <a:pt x="115" y="970"/>
                          <a:pt x="115" y="973"/>
                          <a:pt x="112" y="984"/>
                        </a:cubicBezTo>
                        <a:cubicBezTo>
                          <a:pt x="109" y="996"/>
                          <a:pt x="109" y="1000"/>
                          <a:pt x="109" y="1000"/>
                        </a:cubicBezTo>
                        <a:cubicBezTo>
                          <a:pt x="109" y="1000"/>
                          <a:pt x="107" y="1002"/>
                          <a:pt x="106" y="1007"/>
                        </a:cubicBezTo>
                        <a:cubicBezTo>
                          <a:pt x="106" y="1011"/>
                          <a:pt x="105" y="1017"/>
                          <a:pt x="106" y="1019"/>
                        </a:cubicBezTo>
                        <a:cubicBezTo>
                          <a:pt x="108" y="1022"/>
                          <a:pt x="112" y="1025"/>
                          <a:pt x="121" y="1026"/>
                        </a:cubicBezTo>
                        <a:cubicBezTo>
                          <a:pt x="131" y="1028"/>
                          <a:pt x="150" y="1027"/>
                          <a:pt x="153" y="1026"/>
                        </a:cubicBezTo>
                        <a:cubicBezTo>
                          <a:pt x="157" y="1024"/>
                          <a:pt x="160" y="1021"/>
                          <a:pt x="162" y="1019"/>
                        </a:cubicBezTo>
                        <a:cubicBezTo>
                          <a:pt x="167" y="1016"/>
                          <a:pt x="169" y="1015"/>
                          <a:pt x="174" y="1014"/>
                        </a:cubicBezTo>
                        <a:cubicBezTo>
                          <a:pt x="178" y="1013"/>
                          <a:pt x="180" y="1011"/>
                          <a:pt x="180" y="1011"/>
                        </a:cubicBezTo>
                        <a:cubicBezTo>
                          <a:pt x="180" y="1011"/>
                          <a:pt x="180" y="1013"/>
                          <a:pt x="179" y="1015"/>
                        </a:cubicBezTo>
                        <a:cubicBezTo>
                          <a:pt x="179" y="1016"/>
                          <a:pt x="178" y="1019"/>
                          <a:pt x="178" y="1019"/>
                        </a:cubicBezTo>
                        <a:cubicBezTo>
                          <a:pt x="178" y="1019"/>
                          <a:pt x="176" y="1023"/>
                          <a:pt x="175" y="1027"/>
                        </a:cubicBezTo>
                        <a:cubicBezTo>
                          <a:pt x="175" y="1032"/>
                          <a:pt x="176" y="1037"/>
                          <a:pt x="177" y="1039"/>
                        </a:cubicBezTo>
                        <a:cubicBezTo>
                          <a:pt x="178" y="1041"/>
                          <a:pt x="184" y="1043"/>
                          <a:pt x="188" y="1044"/>
                        </a:cubicBezTo>
                        <a:cubicBezTo>
                          <a:pt x="192" y="1044"/>
                          <a:pt x="221" y="1046"/>
                          <a:pt x="227" y="1045"/>
                        </a:cubicBezTo>
                        <a:cubicBezTo>
                          <a:pt x="234" y="1043"/>
                          <a:pt x="239" y="1040"/>
                          <a:pt x="249" y="1038"/>
                        </a:cubicBezTo>
                        <a:cubicBezTo>
                          <a:pt x="258" y="1037"/>
                          <a:pt x="271" y="1032"/>
                          <a:pt x="275" y="1027"/>
                        </a:cubicBezTo>
                        <a:cubicBezTo>
                          <a:pt x="278" y="1024"/>
                          <a:pt x="274" y="1017"/>
                          <a:pt x="274" y="1017"/>
                        </a:cubicBezTo>
                        <a:cubicBezTo>
                          <a:pt x="274" y="1017"/>
                          <a:pt x="275" y="1006"/>
                          <a:pt x="270" y="1000"/>
                        </a:cubicBezTo>
                        <a:cubicBezTo>
                          <a:pt x="266" y="994"/>
                          <a:pt x="259" y="993"/>
                          <a:pt x="254" y="990"/>
                        </a:cubicBezTo>
                        <a:cubicBezTo>
                          <a:pt x="248" y="986"/>
                          <a:pt x="244" y="981"/>
                          <a:pt x="243" y="975"/>
                        </a:cubicBezTo>
                        <a:cubicBezTo>
                          <a:pt x="242" y="970"/>
                          <a:pt x="242" y="957"/>
                          <a:pt x="239" y="956"/>
                        </a:cubicBezTo>
                        <a:cubicBezTo>
                          <a:pt x="236" y="954"/>
                          <a:pt x="233" y="954"/>
                          <a:pt x="233" y="954"/>
                        </a:cubicBezTo>
                        <a:cubicBezTo>
                          <a:pt x="233" y="954"/>
                          <a:pt x="236" y="935"/>
                          <a:pt x="241" y="921"/>
                        </a:cubicBezTo>
                        <a:cubicBezTo>
                          <a:pt x="245" y="907"/>
                          <a:pt x="260" y="862"/>
                          <a:pt x="263" y="844"/>
                        </a:cubicBezTo>
                        <a:cubicBezTo>
                          <a:pt x="268" y="817"/>
                          <a:pt x="269" y="791"/>
                          <a:pt x="269" y="774"/>
                        </a:cubicBezTo>
                        <a:cubicBezTo>
                          <a:pt x="269" y="757"/>
                          <a:pt x="270" y="732"/>
                          <a:pt x="270" y="732"/>
                        </a:cubicBezTo>
                        <a:cubicBezTo>
                          <a:pt x="270" y="732"/>
                          <a:pt x="277" y="731"/>
                          <a:pt x="284" y="730"/>
                        </a:cubicBezTo>
                        <a:cubicBezTo>
                          <a:pt x="291" y="730"/>
                          <a:pt x="297" y="726"/>
                          <a:pt x="303" y="726"/>
                        </a:cubicBezTo>
                        <a:cubicBezTo>
                          <a:pt x="309" y="726"/>
                          <a:pt x="310" y="727"/>
                          <a:pt x="311" y="725"/>
                        </a:cubicBezTo>
                        <a:cubicBezTo>
                          <a:pt x="312" y="723"/>
                          <a:pt x="310" y="705"/>
                          <a:pt x="312" y="691"/>
                        </a:cubicBezTo>
                        <a:cubicBezTo>
                          <a:pt x="314" y="677"/>
                          <a:pt x="314" y="646"/>
                          <a:pt x="314" y="630"/>
                        </a:cubicBezTo>
                        <a:cubicBezTo>
                          <a:pt x="314" y="615"/>
                          <a:pt x="313" y="559"/>
                          <a:pt x="314" y="527"/>
                        </a:cubicBezTo>
                        <a:cubicBezTo>
                          <a:pt x="316" y="495"/>
                          <a:pt x="314" y="487"/>
                          <a:pt x="314" y="487"/>
                        </a:cubicBezTo>
                        <a:cubicBezTo>
                          <a:pt x="314" y="487"/>
                          <a:pt x="320" y="484"/>
                          <a:pt x="323" y="482"/>
                        </a:cubicBezTo>
                        <a:cubicBezTo>
                          <a:pt x="326" y="481"/>
                          <a:pt x="328" y="479"/>
                          <a:pt x="328" y="479"/>
                        </a:cubicBezTo>
                        <a:cubicBezTo>
                          <a:pt x="328" y="479"/>
                          <a:pt x="336" y="491"/>
                          <a:pt x="341" y="497"/>
                        </a:cubicBezTo>
                        <a:cubicBezTo>
                          <a:pt x="346" y="503"/>
                          <a:pt x="353" y="512"/>
                          <a:pt x="361" y="517"/>
                        </a:cubicBezTo>
                        <a:cubicBezTo>
                          <a:pt x="369" y="522"/>
                          <a:pt x="388" y="531"/>
                          <a:pt x="388" y="531"/>
                        </a:cubicBezTo>
                        <a:cubicBezTo>
                          <a:pt x="407" y="443"/>
                          <a:pt x="407" y="443"/>
                          <a:pt x="407" y="443"/>
                        </a:cubicBezTo>
                        <a:cubicBezTo>
                          <a:pt x="407" y="443"/>
                          <a:pt x="398" y="395"/>
                          <a:pt x="394" y="372"/>
                        </a:cubicBezTo>
                        <a:close/>
                        <a:moveTo>
                          <a:pt x="197" y="796"/>
                        </a:moveTo>
                        <a:cubicBezTo>
                          <a:pt x="196" y="813"/>
                          <a:pt x="195" y="845"/>
                          <a:pt x="195" y="860"/>
                        </a:cubicBezTo>
                        <a:cubicBezTo>
                          <a:pt x="196" y="874"/>
                          <a:pt x="194" y="910"/>
                          <a:pt x="195" y="925"/>
                        </a:cubicBezTo>
                        <a:cubicBezTo>
                          <a:pt x="195" y="940"/>
                          <a:pt x="194" y="952"/>
                          <a:pt x="194" y="952"/>
                        </a:cubicBezTo>
                        <a:cubicBezTo>
                          <a:pt x="194" y="952"/>
                          <a:pt x="192" y="951"/>
                          <a:pt x="191" y="956"/>
                        </a:cubicBezTo>
                        <a:cubicBezTo>
                          <a:pt x="189" y="960"/>
                          <a:pt x="187" y="967"/>
                          <a:pt x="187" y="967"/>
                        </a:cubicBezTo>
                        <a:cubicBezTo>
                          <a:pt x="187" y="967"/>
                          <a:pt x="178" y="966"/>
                          <a:pt x="173" y="958"/>
                        </a:cubicBezTo>
                        <a:cubicBezTo>
                          <a:pt x="167" y="950"/>
                          <a:pt x="165" y="935"/>
                          <a:pt x="163" y="933"/>
                        </a:cubicBezTo>
                        <a:cubicBezTo>
                          <a:pt x="161" y="931"/>
                          <a:pt x="158" y="930"/>
                          <a:pt x="158" y="930"/>
                        </a:cubicBezTo>
                        <a:cubicBezTo>
                          <a:pt x="158" y="930"/>
                          <a:pt x="157" y="926"/>
                          <a:pt x="157" y="920"/>
                        </a:cubicBezTo>
                        <a:cubicBezTo>
                          <a:pt x="156" y="913"/>
                          <a:pt x="157" y="908"/>
                          <a:pt x="158" y="890"/>
                        </a:cubicBezTo>
                        <a:cubicBezTo>
                          <a:pt x="160" y="872"/>
                          <a:pt x="163" y="845"/>
                          <a:pt x="167" y="796"/>
                        </a:cubicBezTo>
                        <a:cubicBezTo>
                          <a:pt x="172" y="748"/>
                          <a:pt x="177" y="718"/>
                          <a:pt x="177" y="718"/>
                        </a:cubicBezTo>
                        <a:cubicBezTo>
                          <a:pt x="177" y="718"/>
                          <a:pt x="181" y="716"/>
                          <a:pt x="183" y="715"/>
                        </a:cubicBezTo>
                        <a:cubicBezTo>
                          <a:pt x="185" y="714"/>
                          <a:pt x="189" y="712"/>
                          <a:pt x="189" y="712"/>
                        </a:cubicBezTo>
                        <a:cubicBezTo>
                          <a:pt x="189" y="712"/>
                          <a:pt x="189" y="720"/>
                          <a:pt x="190" y="723"/>
                        </a:cubicBezTo>
                        <a:cubicBezTo>
                          <a:pt x="190" y="727"/>
                          <a:pt x="193" y="727"/>
                          <a:pt x="193" y="727"/>
                        </a:cubicBezTo>
                        <a:cubicBezTo>
                          <a:pt x="193" y="727"/>
                          <a:pt x="195" y="740"/>
                          <a:pt x="197" y="753"/>
                        </a:cubicBezTo>
                        <a:cubicBezTo>
                          <a:pt x="199" y="766"/>
                          <a:pt x="198" y="780"/>
                          <a:pt x="197" y="79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19" name="Freeform 78"/>
                  <p:cNvSpPr>
                    <a:spLocks/>
                  </p:cNvSpPr>
                  <p:nvPr/>
                </p:nvSpPr>
                <p:spPr bwMode="auto">
                  <a:xfrm>
                    <a:off x="3886200" y="4098925"/>
                    <a:ext cx="26988" cy="47625"/>
                  </a:xfrm>
                  <a:custGeom>
                    <a:avLst/>
                    <a:gdLst>
                      <a:gd name="T0" fmla="*/ 29 w 67"/>
                      <a:gd name="T1" fmla="*/ 0 h 120"/>
                      <a:gd name="T2" fmla="*/ 44 w 67"/>
                      <a:gd name="T3" fmla="*/ 26 h 120"/>
                      <a:gd name="T4" fmla="*/ 64 w 67"/>
                      <a:gd name="T5" fmla="*/ 76 h 120"/>
                      <a:gd name="T6" fmla="*/ 65 w 67"/>
                      <a:gd name="T7" fmla="*/ 104 h 120"/>
                      <a:gd name="T8" fmla="*/ 30 w 67"/>
                      <a:gd name="T9" fmla="*/ 116 h 120"/>
                      <a:gd name="T10" fmla="*/ 0 w 67"/>
                      <a:gd name="T11" fmla="*/ 120 h 120"/>
                      <a:gd name="T12" fmla="*/ 3 w 67"/>
                      <a:gd name="T13" fmla="*/ 85 h 120"/>
                      <a:gd name="T14" fmla="*/ 15 w 67"/>
                      <a:gd name="T15" fmla="*/ 81 h 120"/>
                      <a:gd name="T16" fmla="*/ 24 w 67"/>
                      <a:gd name="T17" fmla="*/ 78 h 120"/>
                      <a:gd name="T18" fmla="*/ 19 w 67"/>
                      <a:gd name="T19" fmla="*/ 66 h 120"/>
                      <a:gd name="T20" fmla="*/ 12 w 67"/>
                      <a:gd name="T21" fmla="*/ 52 h 120"/>
                      <a:gd name="T22" fmla="*/ 29 w 67"/>
                      <a:gd name="T23" fmla="*/ 0 h 1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7" h="120">
                        <a:moveTo>
                          <a:pt x="29" y="0"/>
                        </a:moveTo>
                        <a:cubicBezTo>
                          <a:pt x="29" y="0"/>
                          <a:pt x="36" y="11"/>
                          <a:pt x="44" y="26"/>
                        </a:cubicBezTo>
                        <a:cubicBezTo>
                          <a:pt x="52" y="41"/>
                          <a:pt x="62" y="64"/>
                          <a:pt x="64" y="76"/>
                        </a:cubicBezTo>
                        <a:cubicBezTo>
                          <a:pt x="67" y="88"/>
                          <a:pt x="66" y="100"/>
                          <a:pt x="65" y="104"/>
                        </a:cubicBezTo>
                        <a:cubicBezTo>
                          <a:pt x="63" y="108"/>
                          <a:pt x="51" y="113"/>
                          <a:pt x="30" y="116"/>
                        </a:cubicBezTo>
                        <a:cubicBezTo>
                          <a:pt x="10" y="119"/>
                          <a:pt x="0" y="120"/>
                          <a:pt x="0" y="120"/>
                        </a:cubicBezTo>
                        <a:cubicBezTo>
                          <a:pt x="3" y="85"/>
                          <a:pt x="3" y="85"/>
                          <a:pt x="3" y="85"/>
                        </a:cubicBezTo>
                        <a:cubicBezTo>
                          <a:pt x="3" y="85"/>
                          <a:pt x="10" y="84"/>
                          <a:pt x="15" y="81"/>
                        </a:cubicBezTo>
                        <a:cubicBezTo>
                          <a:pt x="19" y="79"/>
                          <a:pt x="24" y="78"/>
                          <a:pt x="24" y="78"/>
                        </a:cubicBezTo>
                        <a:cubicBezTo>
                          <a:pt x="24" y="78"/>
                          <a:pt x="22" y="71"/>
                          <a:pt x="19" y="66"/>
                        </a:cubicBezTo>
                        <a:cubicBezTo>
                          <a:pt x="16" y="60"/>
                          <a:pt x="12" y="52"/>
                          <a:pt x="12" y="52"/>
                        </a:cubicBezTo>
                        <a:lnTo>
                          <a:pt x="29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0" name="Freeform 79"/>
                  <p:cNvSpPr>
                    <a:spLocks/>
                  </p:cNvSpPr>
                  <p:nvPr/>
                </p:nvSpPr>
                <p:spPr bwMode="auto">
                  <a:xfrm>
                    <a:off x="3824288" y="4022725"/>
                    <a:ext cx="74613" cy="196850"/>
                  </a:xfrm>
                  <a:custGeom>
                    <a:avLst/>
                    <a:gdLst>
                      <a:gd name="T0" fmla="*/ 182 w 189"/>
                      <a:gd name="T1" fmla="*/ 171 h 496"/>
                      <a:gd name="T2" fmla="*/ 185 w 189"/>
                      <a:gd name="T3" fmla="*/ 210 h 496"/>
                      <a:gd name="T4" fmla="*/ 165 w 189"/>
                      <a:gd name="T5" fmla="*/ 263 h 496"/>
                      <a:gd name="T6" fmla="*/ 159 w 189"/>
                      <a:gd name="T7" fmla="*/ 311 h 496"/>
                      <a:gd name="T8" fmla="*/ 159 w 189"/>
                      <a:gd name="T9" fmla="*/ 336 h 496"/>
                      <a:gd name="T10" fmla="*/ 155 w 189"/>
                      <a:gd name="T11" fmla="*/ 340 h 496"/>
                      <a:gd name="T12" fmla="*/ 164 w 189"/>
                      <a:gd name="T13" fmla="*/ 391 h 496"/>
                      <a:gd name="T14" fmla="*/ 176 w 189"/>
                      <a:gd name="T15" fmla="*/ 474 h 496"/>
                      <a:gd name="T16" fmla="*/ 174 w 189"/>
                      <a:gd name="T17" fmla="*/ 489 h 496"/>
                      <a:gd name="T18" fmla="*/ 160 w 189"/>
                      <a:gd name="T19" fmla="*/ 490 h 496"/>
                      <a:gd name="T20" fmla="*/ 121 w 189"/>
                      <a:gd name="T21" fmla="*/ 496 h 496"/>
                      <a:gd name="T22" fmla="*/ 54 w 189"/>
                      <a:gd name="T23" fmla="*/ 494 h 496"/>
                      <a:gd name="T24" fmla="*/ 2 w 189"/>
                      <a:gd name="T25" fmla="*/ 493 h 496"/>
                      <a:gd name="T26" fmla="*/ 10 w 189"/>
                      <a:gd name="T27" fmla="*/ 433 h 496"/>
                      <a:gd name="T28" fmla="*/ 22 w 189"/>
                      <a:gd name="T29" fmla="*/ 359 h 496"/>
                      <a:gd name="T30" fmla="*/ 26 w 189"/>
                      <a:gd name="T31" fmla="*/ 340 h 496"/>
                      <a:gd name="T32" fmla="*/ 25 w 189"/>
                      <a:gd name="T33" fmla="*/ 322 h 496"/>
                      <a:gd name="T34" fmla="*/ 35 w 189"/>
                      <a:gd name="T35" fmla="*/ 256 h 496"/>
                      <a:gd name="T36" fmla="*/ 36 w 189"/>
                      <a:gd name="T37" fmla="*/ 218 h 496"/>
                      <a:gd name="T38" fmla="*/ 20 w 189"/>
                      <a:gd name="T39" fmla="*/ 213 h 496"/>
                      <a:gd name="T40" fmla="*/ 7 w 189"/>
                      <a:gd name="T41" fmla="*/ 185 h 496"/>
                      <a:gd name="T42" fmla="*/ 34 w 189"/>
                      <a:gd name="T43" fmla="*/ 152 h 496"/>
                      <a:gd name="T44" fmla="*/ 53 w 189"/>
                      <a:gd name="T45" fmla="*/ 144 h 496"/>
                      <a:gd name="T46" fmla="*/ 48 w 189"/>
                      <a:gd name="T47" fmla="*/ 137 h 496"/>
                      <a:gd name="T48" fmla="*/ 42 w 189"/>
                      <a:gd name="T49" fmla="*/ 122 h 496"/>
                      <a:gd name="T50" fmla="*/ 31 w 189"/>
                      <a:gd name="T51" fmla="*/ 98 h 496"/>
                      <a:gd name="T52" fmla="*/ 28 w 189"/>
                      <a:gd name="T53" fmla="*/ 91 h 496"/>
                      <a:gd name="T54" fmla="*/ 21 w 189"/>
                      <a:gd name="T55" fmla="*/ 81 h 496"/>
                      <a:gd name="T56" fmla="*/ 17 w 189"/>
                      <a:gd name="T57" fmla="*/ 67 h 496"/>
                      <a:gd name="T58" fmla="*/ 16 w 189"/>
                      <a:gd name="T59" fmla="*/ 54 h 496"/>
                      <a:gd name="T60" fmla="*/ 24 w 189"/>
                      <a:gd name="T61" fmla="*/ 29 h 496"/>
                      <a:gd name="T62" fmla="*/ 53 w 189"/>
                      <a:gd name="T63" fmla="*/ 7 h 496"/>
                      <a:gd name="T64" fmla="*/ 91 w 189"/>
                      <a:gd name="T65" fmla="*/ 2 h 496"/>
                      <a:gd name="T66" fmla="*/ 131 w 189"/>
                      <a:gd name="T67" fmla="*/ 40 h 496"/>
                      <a:gd name="T68" fmla="*/ 139 w 189"/>
                      <a:gd name="T69" fmla="*/ 96 h 496"/>
                      <a:gd name="T70" fmla="*/ 149 w 189"/>
                      <a:gd name="T71" fmla="*/ 122 h 496"/>
                      <a:gd name="T72" fmla="*/ 155 w 189"/>
                      <a:gd name="T73" fmla="*/ 134 h 496"/>
                      <a:gd name="T74" fmla="*/ 153 w 189"/>
                      <a:gd name="T75" fmla="*/ 139 h 496"/>
                      <a:gd name="T76" fmla="*/ 168 w 189"/>
                      <a:gd name="T77" fmla="*/ 149 h 496"/>
                      <a:gd name="T78" fmla="*/ 182 w 189"/>
                      <a:gd name="T79" fmla="*/ 171 h 4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189" h="496">
                        <a:moveTo>
                          <a:pt x="182" y="171"/>
                        </a:moveTo>
                        <a:cubicBezTo>
                          <a:pt x="185" y="181"/>
                          <a:pt x="189" y="197"/>
                          <a:pt x="185" y="210"/>
                        </a:cubicBezTo>
                        <a:cubicBezTo>
                          <a:pt x="181" y="223"/>
                          <a:pt x="169" y="249"/>
                          <a:pt x="165" y="263"/>
                        </a:cubicBezTo>
                        <a:cubicBezTo>
                          <a:pt x="160" y="278"/>
                          <a:pt x="158" y="297"/>
                          <a:pt x="159" y="311"/>
                        </a:cubicBezTo>
                        <a:cubicBezTo>
                          <a:pt x="160" y="325"/>
                          <a:pt x="161" y="332"/>
                          <a:pt x="159" y="336"/>
                        </a:cubicBezTo>
                        <a:cubicBezTo>
                          <a:pt x="158" y="340"/>
                          <a:pt x="155" y="340"/>
                          <a:pt x="155" y="340"/>
                        </a:cubicBezTo>
                        <a:cubicBezTo>
                          <a:pt x="155" y="340"/>
                          <a:pt x="159" y="359"/>
                          <a:pt x="164" y="391"/>
                        </a:cubicBezTo>
                        <a:cubicBezTo>
                          <a:pt x="168" y="423"/>
                          <a:pt x="176" y="464"/>
                          <a:pt x="176" y="474"/>
                        </a:cubicBezTo>
                        <a:cubicBezTo>
                          <a:pt x="177" y="483"/>
                          <a:pt x="177" y="488"/>
                          <a:pt x="174" y="489"/>
                        </a:cubicBezTo>
                        <a:cubicBezTo>
                          <a:pt x="171" y="490"/>
                          <a:pt x="166" y="490"/>
                          <a:pt x="160" y="490"/>
                        </a:cubicBezTo>
                        <a:cubicBezTo>
                          <a:pt x="154" y="489"/>
                          <a:pt x="136" y="496"/>
                          <a:pt x="121" y="496"/>
                        </a:cubicBezTo>
                        <a:cubicBezTo>
                          <a:pt x="106" y="495"/>
                          <a:pt x="78" y="494"/>
                          <a:pt x="54" y="494"/>
                        </a:cubicBezTo>
                        <a:cubicBezTo>
                          <a:pt x="30" y="493"/>
                          <a:pt x="3" y="496"/>
                          <a:pt x="2" y="493"/>
                        </a:cubicBezTo>
                        <a:cubicBezTo>
                          <a:pt x="0" y="487"/>
                          <a:pt x="6" y="461"/>
                          <a:pt x="10" y="433"/>
                        </a:cubicBezTo>
                        <a:cubicBezTo>
                          <a:pt x="14" y="404"/>
                          <a:pt x="20" y="371"/>
                          <a:pt x="22" y="359"/>
                        </a:cubicBezTo>
                        <a:cubicBezTo>
                          <a:pt x="24" y="348"/>
                          <a:pt x="26" y="340"/>
                          <a:pt x="26" y="340"/>
                        </a:cubicBezTo>
                        <a:cubicBezTo>
                          <a:pt x="26" y="340"/>
                          <a:pt x="21" y="340"/>
                          <a:pt x="25" y="322"/>
                        </a:cubicBezTo>
                        <a:cubicBezTo>
                          <a:pt x="28" y="304"/>
                          <a:pt x="35" y="275"/>
                          <a:pt x="35" y="256"/>
                        </a:cubicBezTo>
                        <a:cubicBezTo>
                          <a:pt x="35" y="236"/>
                          <a:pt x="36" y="218"/>
                          <a:pt x="36" y="218"/>
                        </a:cubicBezTo>
                        <a:cubicBezTo>
                          <a:pt x="36" y="218"/>
                          <a:pt x="25" y="219"/>
                          <a:pt x="20" y="213"/>
                        </a:cubicBezTo>
                        <a:cubicBezTo>
                          <a:pt x="16" y="208"/>
                          <a:pt x="4" y="192"/>
                          <a:pt x="7" y="185"/>
                        </a:cubicBezTo>
                        <a:cubicBezTo>
                          <a:pt x="10" y="178"/>
                          <a:pt x="30" y="159"/>
                          <a:pt x="34" y="152"/>
                        </a:cubicBezTo>
                        <a:cubicBezTo>
                          <a:pt x="38" y="146"/>
                          <a:pt x="53" y="144"/>
                          <a:pt x="53" y="144"/>
                        </a:cubicBezTo>
                        <a:cubicBezTo>
                          <a:pt x="53" y="144"/>
                          <a:pt x="49" y="142"/>
                          <a:pt x="48" y="137"/>
                        </a:cubicBezTo>
                        <a:cubicBezTo>
                          <a:pt x="46" y="133"/>
                          <a:pt x="44" y="127"/>
                          <a:pt x="42" y="122"/>
                        </a:cubicBezTo>
                        <a:cubicBezTo>
                          <a:pt x="39" y="117"/>
                          <a:pt x="31" y="105"/>
                          <a:pt x="31" y="98"/>
                        </a:cubicBezTo>
                        <a:cubicBezTo>
                          <a:pt x="31" y="94"/>
                          <a:pt x="30" y="92"/>
                          <a:pt x="28" y="91"/>
                        </a:cubicBezTo>
                        <a:cubicBezTo>
                          <a:pt x="25" y="89"/>
                          <a:pt x="22" y="84"/>
                          <a:pt x="21" y="81"/>
                        </a:cubicBezTo>
                        <a:cubicBezTo>
                          <a:pt x="20" y="78"/>
                          <a:pt x="18" y="74"/>
                          <a:pt x="17" y="67"/>
                        </a:cubicBezTo>
                        <a:cubicBezTo>
                          <a:pt x="15" y="60"/>
                          <a:pt x="16" y="54"/>
                          <a:pt x="16" y="54"/>
                        </a:cubicBezTo>
                        <a:cubicBezTo>
                          <a:pt x="16" y="54"/>
                          <a:pt x="15" y="42"/>
                          <a:pt x="24" y="29"/>
                        </a:cubicBezTo>
                        <a:cubicBezTo>
                          <a:pt x="33" y="16"/>
                          <a:pt x="43" y="12"/>
                          <a:pt x="53" y="7"/>
                        </a:cubicBezTo>
                        <a:cubicBezTo>
                          <a:pt x="63" y="3"/>
                          <a:pt x="80" y="0"/>
                          <a:pt x="91" y="2"/>
                        </a:cubicBezTo>
                        <a:cubicBezTo>
                          <a:pt x="101" y="3"/>
                          <a:pt x="124" y="14"/>
                          <a:pt x="131" y="40"/>
                        </a:cubicBezTo>
                        <a:cubicBezTo>
                          <a:pt x="139" y="67"/>
                          <a:pt x="137" y="85"/>
                          <a:pt x="139" y="96"/>
                        </a:cubicBezTo>
                        <a:cubicBezTo>
                          <a:pt x="140" y="106"/>
                          <a:pt x="143" y="113"/>
                          <a:pt x="149" y="122"/>
                        </a:cubicBezTo>
                        <a:cubicBezTo>
                          <a:pt x="154" y="130"/>
                          <a:pt x="154" y="132"/>
                          <a:pt x="155" y="134"/>
                        </a:cubicBezTo>
                        <a:cubicBezTo>
                          <a:pt x="155" y="137"/>
                          <a:pt x="153" y="139"/>
                          <a:pt x="153" y="139"/>
                        </a:cubicBezTo>
                        <a:cubicBezTo>
                          <a:pt x="153" y="139"/>
                          <a:pt x="161" y="143"/>
                          <a:pt x="168" y="149"/>
                        </a:cubicBezTo>
                        <a:cubicBezTo>
                          <a:pt x="175" y="156"/>
                          <a:pt x="179" y="161"/>
                          <a:pt x="182" y="17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1" name="Freeform 80"/>
                  <p:cNvSpPr>
                    <a:spLocks/>
                  </p:cNvSpPr>
                  <p:nvPr/>
                </p:nvSpPr>
                <p:spPr bwMode="auto">
                  <a:xfrm>
                    <a:off x="3733800" y="4095750"/>
                    <a:ext cx="104775" cy="42863"/>
                  </a:xfrm>
                  <a:custGeom>
                    <a:avLst/>
                    <a:gdLst>
                      <a:gd name="T0" fmla="*/ 267 w 267"/>
                      <a:gd name="T1" fmla="*/ 30 h 110"/>
                      <a:gd name="T2" fmla="*/ 236 w 267"/>
                      <a:gd name="T3" fmla="*/ 50 h 110"/>
                      <a:gd name="T4" fmla="*/ 171 w 267"/>
                      <a:gd name="T5" fmla="*/ 82 h 110"/>
                      <a:gd name="T6" fmla="*/ 111 w 267"/>
                      <a:gd name="T7" fmla="*/ 89 h 110"/>
                      <a:gd name="T8" fmla="*/ 73 w 267"/>
                      <a:gd name="T9" fmla="*/ 94 h 110"/>
                      <a:gd name="T10" fmla="*/ 60 w 267"/>
                      <a:gd name="T11" fmla="*/ 96 h 110"/>
                      <a:gd name="T12" fmla="*/ 52 w 267"/>
                      <a:gd name="T13" fmla="*/ 97 h 110"/>
                      <a:gd name="T14" fmla="*/ 49 w 267"/>
                      <a:gd name="T15" fmla="*/ 104 h 110"/>
                      <a:gd name="T16" fmla="*/ 39 w 267"/>
                      <a:gd name="T17" fmla="*/ 109 h 110"/>
                      <a:gd name="T18" fmla="*/ 35 w 267"/>
                      <a:gd name="T19" fmla="*/ 110 h 110"/>
                      <a:gd name="T20" fmla="*/ 27 w 267"/>
                      <a:gd name="T21" fmla="*/ 106 h 110"/>
                      <a:gd name="T22" fmla="*/ 23 w 267"/>
                      <a:gd name="T23" fmla="*/ 99 h 110"/>
                      <a:gd name="T24" fmla="*/ 28 w 267"/>
                      <a:gd name="T25" fmla="*/ 87 h 110"/>
                      <a:gd name="T26" fmla="*/ 17 w 267"/>
                      <a:gd name="T27" fmla="*/ 86 h 110"/>
                      <a:gd name="T28" fmla="*/ 6 w 267"/>
                      <a:gd name="T29" fmla="*/ 87 h 110"/>
                      <a:gd name="T30" fmla="*/ 0 w 267"/>
                      <a:gd name="T31" fmla="*/ 85 h 110"/>
                      <a:gd name="T32" fmla="*/ 4 w 267"/>
                      <a:gd name="T33" fmla="*/ 82 h 110"/>
                      <a:gd name="T34" fmla="*/ 18 w 267"/>
                      <a:gd name="T35" fmla="*/ 79 h 110"/>
                      <a:gd name="T36" fmla="*/ 40 w 267"/>
                      <a:gd name="T37" fmla="*/ 77 h 110"/>
                      <a:gd name="T38" fmla="*/ 69 w 267"/>
                      <a:gd name="T39" fmla="*/ 72 h 110"/>
                      <a:gd name="T40" fmla="*/ 127 w 267"/>
                      <a:gd name="T41" fmla="*/ 57 h 110"/>
                      <a:gd name="T42" fmla="*/ 157 w 267"/>
                      <a:gd name="T43" fmla="*/ 48 h 110"/>
                      <a:gd name="T44" fmla="*/ 177 w 267"/>
                      <a:gd name="T45" fmla="*/ 42 h 110"/>
                      <a:gd name="T46" fmla="*/ 220 w 267"/>
                      <a:gd name="T47" fmla="*/ 16 h 110"/>
                      <a:gd name="T48" fmla="*/ 240 w 267"/>
                      <a:gd name="T49" fmla="*/ 2 h 110"/>
                      <a:gd name="T50" fmla="*/ 251 w 267"/>
                      <a:gd name="T51" fmla="*/ 6 h 110"/>
                      <a:gd name="T52" fmla="*/ 266 w 267"/>
                      <a:gd name="T53" fmla="*/ 23 h 110"/>
                      <a:gd name="T54" fmla="*/ 267 w 267"/>
                      <a:gd name="T55" fmla="*/ 30 h 1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267" h="110">
                        <a:moveTo>
                          <a:pt x="267" y="30"/>
                        </a:moveTo>
                        <a:cubicBezTo>
                          <a:pt x="267" y="30"/>
                          <a:pt x="251" y="40"/>
                          <a:pt x="236" y="50"/>
                        </a:cubicBezTo>
                        <a:cubicBezTo>
                          <a:pt x="222" y="59"/>
                          <a:pt x="181" y="80"/>
                          <a:pt x="171" y="82"/>
                        </a:cubicBezTo>
                        <a:cubicBezTo>
                          <a:pt x="161" y="85"/>
                          <a:pt x="134" y="88"/>
                          <a:pt x="111" y="89"/>
                        </a:cubicBezTo>
                        <a:cubicBezTo>
                          <a:pt x="88" y="89"/>
                          <a:pt x="78" y="92"/>
                          <a:pt x="73" y="94"/>
                        </a:cubicBezTo>
                        <a:cubicBezTo>
                          <a:pt x="68" y="95"/>
                          <a:pt x="66" y="95"/>
                          <a:pt x="60" y="96"/>
                        </a:cubicBezTo>
                        <a:cubicBezTo>
                          <a:pt x="54" y="97"/>
                          <a:pt x="52" y="97"/>
                          <a:pt x="52" y="97"/>
                        </a:cubicBezTo>
                        <a:cubicBezTo>
                          <a:pt x="52" y="97"/>
                          <a:pt x="52" y="101"/>
                          <a:pt x="49" y="104"/>
                        </a:cubicBezTo>
                        <a:cubicBezTo>
                          <a:pt x="46" y="106"/>
                          <a:pt x="39" y="109"/>
                          <a:pt x="39" y="109"/>
                        </a:cubicBezTo>
                        <a:cubicBezTo>
                          <a:pt x="39" y="109"/>
                          <a:pt x="37" y="110"/>
                          <a:pt x="35" y="110"/>
                        </a:cubicBezTo>
                        <a:cubicBezTo>
                          <a:pt x="33" y="109"/>
                          <a:pt x="29" y="107"/>
                          <a:pt x="27" y="106"/>
                        </a:cubicBezTo>
                        <a:cubicBezTo>
                          <a:pt x="24" y="104"/>
                          <a:pt x="22" y="103"/>
                          <a:pt x="23" y="99"/>
                        </a:cubicBezTo>
                        <a:cubicBezTo>
                          <a:pt x="24" y="96"/>
                          <a:pt x="28" y="87"/>
                          <a:pt x="28" y="87"/>
                        </a:cubicBezTo>
                        <a:cubicBezTo>
                          <a:pt x="28" y="87"/>
                          <a:pt x="21" y="86"/>
                          <a:pt x="17" y="86"/>
                        </a:cubicBezTo>
                        <a:cubicBezTo>
                          <a:pt x="15" y="86"/>
                          <a:pt x="10" y="87"/>
                          <a:pt x="6" y="87"/>
                        </a:cubicBezTo>
                        <a:cubicBezTo>
                          <a:pt x="3" y="87"/>
                          <a:pt x="0" y="86"/>
                          <a:pt x="0" y="85"/>
                        </a:cubicBezTo>
                        <a:cubicBezTo>
                          <a:pt x="0" y="83"/>
                          <a:pt x="1" y="82"/>
                          <a:pt x="4" y="82"/>
                        </a:cubicBezTo>
                        <a:cubicBezTo>
                          <a:pt x="7" y="82"/>
                          <a:pt x="13" y="80"/>
                          <a:pt x="18" y="79"/>
                        </a:cubicBezTo>
                        <a:cubicBezTo>
                          <a:pt x="24" y="79"/>
                          <a:pt x="30" y="77"/>
                          <a:pt x="40" y="77"/>
                        </a:cubicBezTo>
                        <a:cubicBezTo>
                          <a:pt x="40" y="77"/>
                          <a:pt x="56" y="75"/>
                          <a:pt x="69" y="72"/>
                        </a:cubicBezTo>
                        <a:cubicBezTo>
                          <a:pt x="82" y="70"/>
                          <a:pt x="105" y="64"/>
                          <a:pt x="127" y="57"/>
                        </a:cubicBezTo>
                        <a:cubicBezTo>
                          <a:pt x="150" y="49"/>
                          <a:pt x="153" y="49"/>
                          <a:pt x="157" y="48"/>
                        </a:cubicBezTo>
                        <a:cubicBezTo>
                          <a:pt x="162" y="48"/>
                          <a:pt x="169" y="46"/>
                          <a:pt x="177" y="42"/>
                        </a:cubicBezTo>
                        <a:cubicBezTo>
                          <a:pt x="186" y="37"/>
                          <a:pt x="210" y="24"/>
                          <a:pt x="220" y="16"/>
                        </a:cubicBezTo>
                        <a:cubicBezTo>
                          <a:pt x="231" y="8"/>
                          <a:pt x="240" y="2"/>
                          <a:pt x="240" y="2"/>
                        </a:cubicBezTo>
                        <a:cubicBezTo>
                          <a:pt x="240" y="2"/>
                          <a:pt x="244" y="0"/>
                          <a:pt x="251" y="6"/>
                        </a:cubicBezTo>
                        <a:cubicBezTo>
                          <a:pt x="258" y="12"/>
                          <a:pt x="265" y="20"/>
                          <a:pt x="266" y="23"/>
                        </a:cubicBezTo>
                        <a:cubicBezTo>
                          <a:pt x="267" y="25"/>
                          <a:pt x="267" y="30"/>
                          <a:pt x="267" y="3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2" name="Freeform 81"/>
                  <p:cNvSpPr>
                    <a:spLocks/>
                  </p:cNvSpPr>
                  <p:nvPr/>
                </p:nvSpPr>
                <p:spPr bwMode="auto">
                  <a:xfrm>
                    <a:off x="3857625" y="4214813"/>
                    <a:ext cx="31750" cy="130175"/>
                  </a:xfrm>
                  <a:custGeom>
                    <a:avLst/>
                    <a:gdLst>
                      <a:gd name="T0" fmla="*/ 66 w 83"/>
                      <a:gd name="T1" fmla="*/ 0 h 327"/>
                      <a:gd name="T2" fmla="*/ 63 w 83"/>
                      <a:gd name="T3" fmla="*/ 44 h 327"/>
                      <a:gd name="T4" fmla="*/ 67 w 83"/>
                      <a:gd name="T5" fmla="*/ 103 h 327"/>
                      <a:gd name="T6" fmla="*/ 78 w 83"/>
                      <a:gd name="T7" fmla="*/ 166 h 327"/>
                      <a:gd name="T8" fmla="*/ 75 w 83"/>
                      <a:gd name="T9" fmla="*/ 246 h 327"/>
                      <a:gd name="T10" fmla="*/ 74 w 83"/>
                      <a:gd name="T11" fmla="*/ 285 h 327"/>
                      <a:gd name="T12" fmla="*/ 82 w 83"/>
                      <a:gd name="T13" fmla="*/ 313 h 327"/>
                      <a:gd name="T14" fmla="*/ 78 w 83"/>
                      <a:gd name="T15" fmla="*/ 324 h 327"/>
                      <a:gd name="T16" fmla="*/ 62 w 83"/>
                      <a:gd name="T17" fmla="*/ 325 h 327"/>
                      <a:gd name="T18" fmla="*/ 45 w 83"/>
                      <a:gd name="T19" fmla="*/ 319 h 327"/>
                      <a:gd name="T20" fmla="*/ 16 w 83"/>
                      <a:gd name="T21" fmla="*/ 312 h 327"/>
                      <a:gd name="T22" fmla="*/ 6 w 83"/>
                      <a:gd name="T23" fmla="*/ 306 h 327"/>
                      <a:gd name="T24" fmla="*/ 15 w 83"/>
                      <a:gd name="T25" fmla="*/ 300 h 327"/>
                      <a:gd name="T26" fmla="*/ 36 w 83"/>
                      <a:gd name="T27" fmla="*/ 292 h 327"/>
                      <a:gd name="T28" fmla="*/ 42 w 83"/>
                      <a:gd name="T29" fmla="*/ 264 h 327"/>
                      <a:gd name="T30" fmla="*/ 34 w 83"/>
                      <a:gd name="T31" fmla="*/ 173 h 327"/>
                      <a:gd name="T32" fmla="*/ 23 w 83"/>
                      <a:gd name="T33" fmla="*/ 119 h 327"/>
                      <a:gd name="T34" fmla="*/ 15 w 83"/>
                      <a:gd name="T35" fmla="*/ 93 h 327"/>
                      <a:gd name="T36" fmla="*/ 6 w 83"/>
                      <a:gd name="T37" fmla="*/ 39 h 327"/>
                      <a:gd name="T38" fmla="*/ 0 w 83"/>
                      <a:gd name="T39" fmla="*/ 5 h 327"/>
                      <a:gd name="T40" fmla="*/ 66 w 83"/>
                      <a:gd name="T41" fmla="*/ 0 h 3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83" h="327">
                        <a:moveTo>
                          <a:pt x="66" y="0"/>
                        </a:moveTo>
                        <a:cubicBezTo>
                          <a:pt x="66" y="0"/>
                          <a:pt x="65" y="23"/>
                          <a:pt x="63" y="44"/>
                        </a:cubicBezTo>
                        <a:cubicBezTo>
                          <a:pt x="62" y="66"/>
                          <a:pt x="61" y="85"/>
                          <a:pt x="67" y="103"/>
                        </a:cubicBezTo>
                        <a:cubicBezTo>
                          <a:pt x="72" y="120"/>
                          <a:pt x="78" y="145"/>
                          <a:pt x="78" y="166"/>
                        </a:cubicBezTo>
                        <a:cubicBezTo>
                          <a:pt x="78" y="188"/>
                          <a:pt x="76" y="232"/>
                          <a:pt x="75" y="246"/>
                        </a:cubicBezTo>
                        <a:cubicBezTo>
                          <a:pt x="74" y="261"/>
                          <a:pt x="73" y="276"/>
                          <a:pt x="74" y="285"/>
                        </a:cubicBezTo>
                        <a:cubicBezTo>
                          <a:pt x="76" y="293"/>
                          <a:pt x="82" y="306"/>
                          <a:pt x="82" y="313"/>
                        </a:cubicBezTo>
                        <a:cubicBezTo>
                          <a:pt x="83" y="319"/>
                          <a:pt x="83" y="322"/>
                          <a:pt x="78" y="324"/>
                        </a:cubicBezTo>
                        <a:cubicBezTo>
                          <a:pt x="72" y="326"/>
                          <a:pt x="69" y="327"/>
                          <a:pt x="62" y="325"/>
                        </a:cubicBezTo>
                        <a:cubicBezTo>
                          <a:pt x="55" y="323"/>
                          <a:pt x="53" y="320"/>
                          <a:pt x="45" y="319"/>
                        </a:cubicBezTo>
                        <a:cubicBezTo>
                          <a:pt x="37" y="317"/>
                          <a:pt x="21" y="313"/>
                          <a:pt x="16" y="312"/>
                        </a:cubicBezTo>
                        <a:cubicBezTo>
                          <a:pt x="12" y="311"/>
                          <a:pt x="6" y="309"/>
                          <a:pt x="6" y="306"/>
                        </a:cubicBezTo>
                        <a:cubicBezTo>
                          <a:pt x="7" y="302"/>
                          <a:pt x="11" y="302"/>
                          <a:pt x="15" y="300"/>
                        </a:cubicBezTo>
                        <a:cubicBezTo>
                          <a:pt x="20" y="298"/>
                          <a:pt x="34" y="295"/>
                          <a:pt x="36" y="292"/>
                        </a:cubicBezTo>
                        <a:cubicBezTo>
                          <a:pt x="38" y="290"/>
                          <a:pt x="41" y="283"/>
                          <a:pt x="42" y="264"/>
                        </a:cubicBezTo>
                        <a:cubicBezTo>
                          <a:pt x="43" y="245"/>
                          <a:pt x="36" y="187"/>
                          <a:pt x="34" y="173"/>
                        </a:cubicBezTo>
                        <a:cubicBezTo>
                          <a:pt x="32" y="159"/>
                          <a:pt x="27" y="131"/>
                          <a:pt x="23" y="119"/>
                        </a:cubicBezTo>
                        <a:cubicBezTo>
                          <a:pt x="18" y="108"/>
                          <a:pt x="16" y="101"/>
                          <a:pt x="15" y="93"/>
                        </a:cubicBezTo>
                        <a:cubicBezTo>
                          <a:pt x="14" y="85"/>
                          <a:pt x="10" y="57"/>
                          <a:pt x="6" y="39"/>
                        </a:cubicBezTo>
                        <a:cubicBezTo>
                          <a:pt x="2" y="21"/>
                          <a:pt x="0" y="5"/>
                          <a:pt x="0" y="5"/>
                        </a:cubicBezTo>
                        <a:lnTo>
                          <a:pt x="66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3" name="Freeform 82"/>
                  <p:cNvSpPr>
                    <a:spLocks/>
                  </p:cNvSpPr>
                  <p:nvPr/>
                </p:nvSpPr>
                <p:spPr bwMode="auto">
                  <a:xfrm>
                    <a:off x="3805238" y="4216400"/>
                    <a:ext cx="50800" cy="127000"/>
                  </a:xfrm>
                  <a:custGeom>
                    <a:avLst/>
                    <a:gdLst>
                      <a:gd name="T0" fmla="*/ 127 w 127"/>
                      <a:gd name="T1" fmla="*/ 0 h 322"/>
                      <a:gd name="T2" fmla="*/ 119 w 127"/>
                      <a:gd name="T3" fmla="*/ 33 h 322"/>
                      <a:gd name="T4" fmla="*/ 104 w 127"/>
                      <a:gd name="T5" fmla="*/ 112 h 322"/>
                      <a:gd name="T6" fmla="*/ 98 w 127"/>
                      <a:gd name="T7" fmla="*/ 171 h 322"/>
                      <a:gd name="T8" fmla="*/ 90 w 127"/>
                      <a:gd name="T9" fmla="*/ 226 h 322"/>
                      <a:gd name="T10" fmla="*/ 85 w 127"/>
                      <a:gd name="T11" fmla="*/ 280 h 322"/>
                      <a:gd name="T12" fmla="*/ 89 w 127"/>
                      <a:gd name="T13" fmla="*/ 312 h 322"/>
                      <a:gd name="T14" fmla="*/ 74 w 127"/>
                      <a:gd name="T15" fmla="*/ 322 h 322"/>
                      <a:gd name="T16" fmla="*/ 36 w 127"/>
                      <a:gd name="T17" fmla="*/ 317 h 322"/>
                      <a:gd name="T18" fmla="*/ 3 w 127"/>
                      <a:gd name="T19" fmla="*/ 308 h 322"/>
                      <a:gd name="T20" fmla="*/ 7 w 127"/>
                      <a:gd name="T21" fmla="*/ 299 h 322"/>
                      <a:gd name="T22" fmla="*/ 33 w 127"/>
                      <a:gd name="T23" fmla="*/ 291 h 322"/>
                      <a:gd name="T24" fmla="*/ 55 w 127"/>
                      <a:gd name="T25" fmla="*/ 275 h 322"/>
                      <a:gd name="T26" fmla="*/ 53 w 127"/>
                      <a:gd name="T27" fmla="*/ 237 h 322"/>
                      <a:gd name="T28" fmla="*/ 51 w 127"/>
                      <a:gd name="T29" fmla="*/ 153 h 322"/>
                      <a:gd name="T30" fmla="*/ 56 w 127"/>
                      <a:gd name="T31" fmla="*/ 80 h 322"/>
                      <a:gd name="T32" fmla="*/ 57 w 127"/>
                      <a:gd name="T33" fmla="*/ 21 h 322"/>
                      <a:gd name="T34" fmla="*/ 56 w 127"/>
                      <a:gd name="T35" fmla="*/ 3 h 322"/>
                      <a:gd name="T36" fmla="*/ 127 w 127"/>
                      <a:gd name="T37" fmla="*/ 0 h 3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27" h="322">
                        <a:moveTo>
                          <a:pt x="127" y="0"/>
                        </a:moveTo>
                        <a:cubicBezTo>
                          <a:pt x="127" y="0"/>
                          <a:pt x="123" y="15"/>
                          <a:pt x="119" y="33"/>
                        </a:cubicBezTo>
                        <a:cubicBezTo>
                          <a:pt x="115" y="52"/>
                          <a:pt x="108" y="100"/>
                          <a:pt x="104" y="112"/>
                        </a:cubicBezTo>
                        <a:cubicBezTo>
                          <a:pt x="100" y="123"/>
                          <a:pt x="101" y="151"/>
                          <a:pt x="98" y="171"/>
                        </a:cubicBezTo>
                        <a:cubicBezTo>
                          <a:pt x="96" y="191"/>
                          <a:pt x="93" y="205"/>
                          <a:pt x="90" y="226"/>
                        </a:cubicBezTo>
                        <a:cubicBezTo>
                          <a:pt x="87" y="248"/>
                          <a:pt x="85" y="267"/>
                          <a:pt x="85" y="280"/>
                        </a:cubicBezTo>
                        <a:cubicBezTo>
                          <a:pt x="85" y="292"/>
                          <a:pt x="89" y="305"/>
                          <a:pt x="89" y="312"/>
                        </a:cubicBezTo>
                        <a:cubicBezTo>
                          <a:pt x="88" y="318"/>
                          <a:pt x="83" y="322"/>
                          <a:pt x="74" y="322"/>
                        </a:cubicBezTo>
                        <a:cubicBezTo>
                          <a:pt x="66" y="322"/>
                          <a:pt x="50" y="321"/>
                          <a:pt x="36" y="317"/>
                        </a:cubicBezTo>
                        <a:cubicBezTo>
                          <a:pt x="21" y="313"/>
                          <a:pt x="6" y="310"/>
                          <a:pt x="3" y="308"/>
                        </a:cubicBezTo>
                        <a:cubicBezTo>
                          <a:pt x="0" y="306"/>
                          <a:pt x="4" y="301"/>
                          <a:pt x="7" y="299"/>
                        </a:cubicBezTo>
                        <a:cubicBezTo>
                          <a:pt x="10" y="297"/>
                          <a:pt x="26" y="293"/>
                          <a:pt x="33" y="291"/>
                        </a:cubicBezTo>
                        <a:cubicBezTo>
                          <a:pt x="41" y="288"/>
                          <a:pt x="52" y="283"/>
                          <a:pt x="55" y="275"/>
                        </a:cubicBezTo>
                        <a:cubicBezTo>
                          <a:pt x="57" y="268"/>
                          <a:pt x="54" y="255"/>
                          <a:pt x="53" y="237"/>
                        </a:cubicBezTo>
                        <a:cubicBezTo>
                          <a:pt x="52" y="220"/>
                          <a:pt x="51" y="179"/>
                          <a:pt x="51" y="153"/>
                        </a:cubicBezTo>
                        <a:cubicBezTo>
                          <a:pt x="51" y="127"/>
                          <a:pt x="55" y="96"/>
                          <a:pt x="56" y="80"/>
                        </a:cubicBezTo>
                        <a:cubicBezTo>
                          <a:pt x="57" y="65"/>
                          <a:pt x="57" y="31"/>
                          <a:pt x="57" y="21"/>
                        </a:cubicBezTo>
                        <a:cubicBezTo>
                          <a:pt x="56" y="11"/>
                          <a:pt x="56" y="3"/>
                          <a:pt x="56" y="3"/>
                        </a:cubicBezTo>
                        <a:lnTo>
                          <a:pt x="127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4" name="Freeform 83"/>
                  <p:cNvSpPr>
                    <a:spLocks/>
                  </p:cNvSpPr>
                  <p:nvPr/>
                </p:nvSpPr>
                <p:spPr bwMode="auto">
                  <a:xfrm>
                    <a:off x="3316288" y="4138613"/>
                    <a:ext cx="19050" cy="61913"/>
                  </a:xfrm>
                  <a:custGeom>
                    <a:avLst/>
                    <a:gdLst>
                      <a:gd name="T0" fmla="*/ 17 w 48"/>
                      <a:gd name="T1" fmla="*/ 0 h 159"/>
                      <a:gd name="T2" fmla="*/ 8 w 48"/>
                      <a:gd name="T3" fmla="*/ 33 h 159"/>
                      <a:gd name="T4" fmla="*/ 2 w 48"/>
                      <a:gd name="T5" fmla="*/ 110 h 159"/>
                      <a:gd name="T6" fmla="*/ 11 w 48"/>
                      <a:gd name="T7" fmla="*/ 137 h 159"/>
                      <a:gd name="T8" fmla="*/ 29 w 48"/>
                      <a:gd name="T9" fmla="*/ 159 h 159"/>
                      <a:gd name="T10" fmla="*/ 44 w 48"/>
                      <a:gd name="T11" fmla="*/ 68 h 159"/>
                      <a:gd name="T12" fmla="*/ 17 w 48"/>
                      <a:gd name="T13" fmla="*/ 0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8" h="159">
                        <a:moveTo>
                          <a:pt x="17" y="0"/>
                        </a:moveTo>
                        <a:cubicBezTo>
                          <a:pt x="17" y="0"/>
                          <a:pt x="11" y="16"/>
                          <a:pt x="8" y="33"/>
                        </a:cubicBezTo>
                        <a:cubicBezTo>
                          <a:pt x="6" y="50"/>
                          <a:pt x="0" y="95"/>
                          <a:pt x="2" y="110"/>
                        </a:cubicBezTo>
                        <a:cubicBezTo>
                          <a:pt x="4" y="125"/>
                          <a:pt x="6" y="129"/>
                          <a:pt x="11" y="137"/>
                        </a:cubicBezTo>
                        <a:cubicBezTo>
                          <a:pt x="15" y="146"/>
                          <a:pt x="29" y="159"/>
                          <a:pt x="29" y="159"/>
                        </a:cubicBezTo>
                        <a:cubicBezTo>
                          <a:pt x="29" y="159"/>
                          <a:pt x="48" y="119"/>
                          <a:pt x="44" y="68"/>
                        </a:cubicBezTo>
                        <a:cubicBezTo>
                          <a:pt x="40" y="17"/>
                          <a:pt x="17" y="0"/>
                          <a:pt x="17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5" name="Freeform 84"/>
                  <p:cNvSpPr>
                    <a:spLocks/>
                  </p:cNvSpPr>
                  <p:nvPr/>
                </p:nvSpPr>
                <p:spPr bwMode="auto">
                  <a:xfrm>
                    <a:off x="3389313" y="4138613"/>
                    <a:ext cx="19050" cy="22225"/>
                  </a:xfrm>
                  <a:custGeom>
                    <a:avLst/>
                    <a:gdLst>
                      <a:gd name="T0" fmla="*/ 4 w 45"/>
                      <a:gd name="T1" fmla="*/ 0 h 57"/>
                      <a:gd name="T2" fmla="*/ 0 w 45"/>
                      <a:gd name="T3" fmla="*/ 20 h 57"/>
                      <a:gd name="T4" fmla="*/ 2 w 45"/>
                      <a:gd name="T5" fmla="*/ 49 h 57"/>
                      <a:gd name="T6" fmla="*/ 15 w 45"/>
                      <a:gd name="T7" fmla="*/ 55 h 57"/>
                      <a:gd name="T8" fmla="*/ 33 w 45"/>
                      <a:gd name="T9" fmla="*/ 20 h 57"/>
                      <a:gd name="T10" fmla="*/ 35 w 45"/>
                      <a:gd name="T11" fmla="*/ 30 h 57"/>
                      <a:gd name="T12" fmla="*/ 41 w 45"/>
                      <a:gd name="T13" fmla="*/ 38 h 57"/>
                      <a:gd name="T14" fmla="*/ 45 w 45"/>
                      <a:gd name="T15" fmla="*/ 28 h 57"/>
                      <a:gd name="T16" fmla="*/ 43 w 45"/>
                      <a:gd name="T17" fmla="*/ 16 h 57"/>
                      <a:gd name="T18" fmla="*/ 42 w 45"/>
                      <a:gd name="T19" fmla="*/ 6 h 57"/>
                      <a:gd name="T20" fmla="*/ 4 w 45"/>
                      <a:gd name="T21" fmla="*/ 0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45" h="57">
                        <a:moveTo>
                          <a:pt x="4" y="0"/>
                        </a:moveTo>
                        <a:cubicBezTo>
                          <a:pt x="4" y="0"/>
                          <a:pt x="1" y="7"/>
                          <a:pt x="0" y="20"/>
                        </a:cubicBezTo>
                        <a:cubicBezTo>
                          <a:pt x="0" y="33"/>
                          <a:pt x="0" y="45"/>
                          <a:pt x="2" y="49"/>
                        </a:cubicBezTo>
                        <a:cubicBezTo>
                          <a:pt x="3" y="53"/>
                          <a:pt x="10" y="57"/>
                          <a:pt x="15" y="55"/>
                        </a:cubicBezTo>
                        <a:cubicBezTo>
                          <a:pt x="21" y="52"/>
                          <a:pt x="33" y="20"/>
                          <a:pt x="33" y="20"/>
                        </a:cubicBezTo>
                        <a:cubicBezTo>
                          <a:pt x="33" y="20"/>
                          <a:pt x="34" y="25"/>
                          <a:pt x="35" y="30"/>
                        </a:cubicBezTo>
                        <a:cubicBezTo>
                          <a:pt x="36" y="35"/>
                          <a:pt x="39" y="38"/>
                          <a:pt x="41" y="38"/>
                        </a:cubicBezTo>
                        <a:cubicBezTo>
                          <a:pt x="43" y="38"/>
                          <a:pt x="45" y="33"/>
                          <a:pt x="45" y="28"/>
                        </a:cubicBezTo>
                        <a:cubicBezTo>
                          <a:pt x="45" y="22"/>
                          <a:pt x="44" y="21"/>
                          <a:pt x="43" y="16"/>
                        </a:cubicBezTo>
                        <a:cubicBezTo>
                          <a:pt x="42" y="12"/>
                          <a:pt x="42" y="6"/>
                          <a:pt x="42" y="6"/>
                        </a:cubicBez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6" name="Freeform 85"/>
                  <p:cNvSpPr>
                    <a:spLocks/>
                  </p:cNvSpPr>
                  <p:nvPr/>
                </p:nvSpPr>
                <p:spPr bwMode="auto">
                  <a:xfrm>
                    <a:off x="3373438" y="4138613"/>
                    <a:ext cx="30163" cy="49213"/>
                  </a:xfrm>
                  <a:custGeom>
                    <a:avLst/>
                    <a:gdLst>
                      <a:gd name="T0" fmla="*/ 0 w 76"/>
                      <a:gd name="T1" fmla="*/ 51 h 125"/>
                      <a:gd name="T2" fmla="*/ 18 w 76"/>
                      <a:gd name="T3" fmla="*/ 98 h 125"/>
                      <a:gd name="T4" fmla="*/ 42 w 76"/>
                      <a:gd name="T5" fmla="*/ 123 h 125"/>
                      <a:gd name="T6" fmla="*/ 62 w 76"/>
                      <a:gd name="T7" fmla="*/ 88 h 125"/>
                      <a:gd name="T8" fmla="*/ 68 w 76"/>
                      <a:gd name="T9" fmla="*/ 55 h 125"/>
                      <a:gd name="T10" fmla="*/ 71 w 76"/>
                      <a:gd name="T11" fmla="*/ 34 h 125"/>
                      <a:gd name="T12" fmla="*/ 75 w 76"/>
                      <a:gd name="T13" fmla="*/ 23 h 125"/>
                      <a:gd name="T14" fmla="*/ 74 w 76"/>
                      <a:gd name="T15" fmla="*/ 17 h 125"/>
                      <a:gd name="T16" fmla="*/ 70 w 76"/>
                      <a:gd name="T17" fmla="*/ 15 h 125"/>
                      <a:gd name="T18" fmla="*/ 66 w 76"/>
                      <a:gd name="T19" fmla="*/ 12 h 125"/>
                      <a:gd name="T20" fmla="*/ 57 w 76"/>
                      <a:gd name="T21" fmla="*/ 13 h 125"/>
                      <a:gd name="T22" fmla="*/ 51 w 76"/>
                      <a:gd name="T23" fmla="*/ 28 h 125"/>
                      <a:gd name="T24" fmla="*/ 49 w 76"/>
                      <a:gd name="T25" fmla="*/ 45 h 125"/>
                      <a:gd name="T26" fmla="*/ 40 w 76"/>
                      <a:gd name="T27" fmla="*/ 61 h 125"/>
                      <a:gd name="T28" fmla="*/ 38 w 76"/>
                      <a:gd name="T29" fmla="*/ 39 h 125"/>
                      <a:gd name="T30" fmla="*/ 32 w 76"/>
                      <a:gd name="T31" fmla="*/ 11 h 125"/>
                      <a:gd name="T32" fmla="*/ 16 w 76"/>
                      <a:gd name="T33" fmla="*/ 0 h 125"/>
                      <a:gd name="T34" fmla="*/ 0 w 76"/>
                      <a:gd name="T35" fmla="*/ 51 h 1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76" h="125">
                        <a:moveTo>
                          <a:pt x="0" y="51"/>
                        </a:moveTo>
                        <a:cubicBezTo>
                          <a:pt x="0" y="51"/>
                          <a:pt x="11" y="83"/>
                          <a:pt x="18" y="98"/>
                        </a:cubicBezTo>
                        <a:cubicBezTo>
                          <a:pt x="25" y="113"/>
                          <a:pt x="35" y="125"/>
                          <a:pt x="42" y="123"/>
                        </a:cubicBezTo>
                        <a:cubicBezTo>
                          <a:pt x="49" y="122"/>
                          <a:pt x="58" y="106"/>
                          <a:pt x="62" y="88"/>
                        </a:cubicBezTo>
                        <a:cubicBezTo>
                          <a:pt x="66" y="71"/>
                          <a:pt x="67" y="68"/>
                          <a:pt x="68" y="55"/>
                        </a:cubicBezTo>
                        <a:cubicBezTo>
                          <a:pt x="69" y="42"/>
                          <a:pt x="70" y="38"/>
                          <a:pt x="71" y="34"/>
                        </a:cubicBezTo>
                        <a:cubicBezTo>
                          <a:pt x="72" y="29"/>
                          <a:pt x="74" y="27"/>
                          <a:pt x="75" y="23"/>
                        </a:cubicBezTo>
                        <a:cubicBezTo>
                          <a:pt x="76" y="19"/>
                          <a:pt x="76" y="18"/>
                          <a:pt x="74" y="17"/>
                        </a:cubicBezTo>
                        <a:cubicBezTo>
                          <a:pt x="73" y="15"/>
                          <a:pt x="70" y="15"/>
                          <a:pt x="70" y="15"/>
                        </a:cubicBezTo>
                        <a:cubicBezTo>
                          <a:pt x="69" y="14"/>
                          <a:pt x="68" y="12"/>
                          <a:pt x="66" y="12"/>
                        </a:cubicBezTo>
                        <a:cubicBezTo>
                          <a:pt x="64" y="11"/>
                          <a:pt x="60" y="11"/>
                          <a:pt x="57" y="13"/>
                        </a:cubicBezTo>
                        <a:cubicBezTo>
                          <a:pt x="55" y="15"/>
                          <a:pt x="52" y="22"/>
                          <a:pt x="51" y="28"/>
                        </a:cubicBezTo>
                        <a:cubicBezTo>
                          <a:pt x="50" y="34"/>
                          <a:pt x="51" y="37"/>
                          <a:pt x="49" y="45"/>
                        </a:cubicBezTo>
                        <a:cubicBezTo>
                          <a:pt x="46" y="52"/>
                          <a:pt x="40" y="61"/>
                          <a:pt x="40" y="61"/>
                        </a:cubicBezTo>
                        <a:cubicBezTo>
                          <a:pt x="40" y="61"/>
                          <a:pt x="39" y="49"/>
                          <a:pt x="38" y="39"/>
                        </a:cubicBezTo>
                        <a:cubicBezTo>
                          <a:pt x="36" y="28"/>
                          <a:pt x="35" y="18"/>
                          <a:pt x="32" y="11"/>
                        </a:cubicBezTo>
                        <a:cubicBezTo>
                          <a:pt x="29" y="4"/>
                          <a:pt x="16" y="0"/>
                          <a:pt x="16" y="0"/>
                        </a:cubicBezTo>
                        <a:lnTo>
                          <a:pt x="0" y="51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7" name="Freeform 86"/>
                  <p:cNvSpPr>
                    <a:spLocks/>
                  </p:cNvSpPr>
                  <p:nvPr/>
                </p:nvSpPr>
                <p:spPr bwMode="auto">
                  <a:xfrm>
                    <a:off x="3330575" y="4279900"/>
                    <a:ext cx="31750" cy="60325"/>
                  </a:xfrm>
                  <a:custGeom>
                    <a:avLst/>
                    <a:gdLst>
                      <a:gd name="T0" fmla="*/ 5 w 81"/>
                      <a:gd name="T1" fmla="*/ 3 h 152"/>
                      <a:gd name="T2" fmla="*/ 16 w 81"/>
                      <a:gd name="T3" fmla="*/ 41 h 152"/>
                      <a:gd name="T4" fmla="*/ 25 w 81"/>
                      <a:gd name="T5" fmla="*/ 76 h 152"/>
                      <a:gd name="T6" fmla="*/ 31 w 81"/>
                      <a:gd name="T7" fmla="*/ 102 h 152"/>
                      <a:gd name="T8" fmla="*/ 25 w 81"/>
                      <a:gd name="T9" fmla="*/ 114 h 152"/>
                      <a:gd name="T10" fmla="*/ 16 w 81"/>
                      <a:gd name="T11" fmla="*/ 128 h 152"/>
                      <a:gd name="T12" fmla="*/ 5 w 81"/>
                      <a:gd name="T13" fmla="*/ 136 h 152"/>
                      <a:gd name="T14" fmla="*/ 0 w 81"/>
                      <a:gd name="T15" fmla="*/ 144 h 152"/>
                      <a:gd name="T16" fmla="*/ 7 w 81"/>
                      <a:gd name="T17" fmla="*/ 152 h 152"/>
                      <a:gd name="T18" fmla="*/ 36 w 81"/>
                      <a:gd name="T19" fmla="*/ 150 h 152"/>
                      <a:gd name="T20" fmla="*/ 68 w 81"/>
                      <a:gd name="T21" fmla="*/ 143 h 152"/>
                      <a:gd name="T22" fmla="*/ 75 w 81"/>
                      <a:gd name="T23" fmla="*/ 136 h 152"/>
                      <a:gd name="T24" fmla="*/ 80 w 81"/>
                      <a:gd name="T25" fmla="*/ 126 h 152"/>
                      <a:gd name="T26" fmla="*/ 80 w 81"/>
                      <a:gd name="T27" fmla="*/ 115 h 152"/>
                      <a:gd name="T28" fmla="*/ 78 w 81"/>
                      <a:gd name="T29" fmla="*/ 104 h 152"/>
                      <a:gd name="T30" fmla="*/ 74 w 81"/>
                      <a:gd name="T31" fmla="*/ 97 h 152"/>
                      <a:gd name="T32" fmla="*/ 69 w 81"/>
                      <a:gd name="T33" fmla="*/ 95 h 152"/>
                      <a:gd name="T34" fmla="*/ 68 w 81"/>
                      <a:gd name="T35" fmla="*/ 67 h 152"/>
                      <a:gd name="T36" fmla="*/ 50 w 81"/>
                      <a:gd name="T37" fmla="*/ 12 h 152"/>
                      <a:gd name="T38" fmla="*/ 49 w 81"/>
                      <a:gd name="T39" fmla="*/ 2 h 152"/>
                      <a:gd name="T40" fmla="*/ 5 w 81"/>
                      <a:gd name="T41" fmla="*/ 3 h 1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81" h="152">
                        <a:moveTo>
                          <a:pt x="5" y="3"/>
                        </a:moveTo>
                        <a:cubicBezTo>
                          <a:pt x="7" y="9"/>
                          <a:pt x="12" y="28"/>
                          <a:pt x="16" y="41"/>
                        </a:cubicBezTo>
                        <a:cubicBezTo>
                          <a:pt x="20" y="60"/>
                          <a:pt x="22" y="64"/>
                          <a:pt x="25" y="76"/>
                        </a:cubicBezTo>
                        <a:cubicBezTo>
                          <a:pt x="28" y="88"/>
                          <a:pt x="31" y="102"/>
                          <a:pt x="31" y="102"/>
                        </a:cubicBezTo>
                        <a:cubicBezTo>
                          <a:pt x="31" y="102"/>
                          <a:pt x="27" y="108"/>
                          <a:pt x="25" y="114"/>
                        </a:cubicBezTo>
                        <a:cubicBezTo>
                          <a:pt x="22" y="123"/>
                          <a:pt x="20" y="125"/>
                          <a:pt x="16" y="128"/>
                        </a:cubicBezTo>
                        <a:cubicBezTo>
                          <a:pt x="13" y="131"/>
                          <a:pt x="9" y="134"/>
                          <a:pt x="5" y="136"/>
                        </a:cubicBezTo>
                        <a:cubicBezTo>
                          <a:pt x="1" y="138"/>
                          <a:pt x="0" y="142"/>
                          <a:pt x="0" y="144"/>
                        </a:cubicBezTo>
                        <a:cubicBezTo>
                          <a:pt x="0" y="147"/>
                          <a:pt x="2" y="152"/>
                          <a:pt x="7" y="152"/>
                        </a:cubicBezTo>
                        <a:cubicBezTo>
                          <a:pt x="13" y="152"/>
                          <a:pt x="29" y="151"/>
                          <a:pt x="36" y="150"/>
                        </a:cubicBezTo>
                        <a:cubicBezTo>
                          <a:pt x="44" y="148"/>
                          <a:pt x="65" y="147"/>
                          <a:pt x="68" y="143"/>
                        </a:cubicBezTo>
                        <a:cubicBezTo>
                          <a:pt x="70" y="140"/>
                          <a:pt x="72" y="138"/>
                          <a:pt x="75" y="136"/>
                        </a:cubicBezTo>
                        <a:cubicBezTo>
                          <a:pt x="77" y="134"/>
                          <a:pt x="79" y="131"/>
                          <a:pt x="80" y="126"/>
                        </a:cubicBezTo>
                        <a:cubicBezTo>
                          <a:pt x="81" y="121"/>
                          <a:pt x="81" y="118"/>
                          <a:pt x="80" y="115"/>
                        </a:cubicBezTo>
                        <a:cubicBezTo>
                          <a:pt x="79" y="109"/>
                          <a:pt x="79" y="108"/>
                          <a:pt x="78" y="104"/>
                        </a:cubicBezTo>
                        <a:cubicBezTo>
                          <a:pt x="76" y="99"/>
                          <a:pt x="75" y="99"/>
                          <a:pt x="74" y="97"/>
                        </a:cubicBezTo>
                        <a:cubicBezTo>
                          <a:pt x="72" y="96"/>
                          <a:pt x="69" y="95"/>
                          <a:pt x="69" y="95"/>
                        </a:cubicBezTo>
                        <a:cubicBezTo>
                          <a:pt x="69" y="95"/>
                          <a:pt x="68" y="82"/>
                          <a:pt x="68" y="67"/>
                        </a:cubicBezTo>
                        <a:cubicBezTo>
                          <a:pt x="68" y="52"/>
                          <a:pt x="50" y="24"/>
                          <a:pt x="50" y="12"/>
                        </a:cubicBezTo>
                        <a:cubicBezTo>
                          <a:pt x="49" y="7"/>
                          <a:pt x="49" y="4"/>
                          <a:pt x="49" y="2"/>
                        </a:cubicBezTo>
                        <a:cubicBezTo>
                          <a:pt x="35" y="0"/>
                          <a:pt x="19" y="1"/>
                          <a:pt x="5" y="3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8" name="Freeform 87"/>
                  <p:cNvSpPr>
                    <a:spLocks/>
                  </p:cNvSpPr>
                  <p:nvPr/>
                </p:nvSpPr>
                <p:spPr bwMode="auto">
                  <a:xfrm>
                    <a:off x="3321050" y="4106863"/>
                    <a:ext cx="63500" cy="176213"/>
                  </a:xfrm>
                  <a:custGeom>
                    <a:avLst/>
                    <a:gdLst>
                      <a:gd name="T0" fmla="*/ 161 w 163"/>
                      <a:gd name="T1" fmla="*/ 82 h 445"/>
                      <a:gd name="T2" fmla="*/ 142 w 163"/>
                      <a:gd name="T3" fmla="*/ 71 h 445"/>
                      <a:gd name="T4" fmla="*/ 125 w 163"/>
                      <a:gd name="T5" fmla="*/ 62 h 445"/>
                      <a:gd name="T6" fmla="*/ 120 w 163"/>
                      <a:gd name="T7" fmla="*/ 60 h 445"/>
                      <a:gd name="T8" fmla="*/ 116 w 163"/>
                      <a:gd name="T9" fmla="*/ 58 h 445"/>
                      <a:gd name="T10" fmla="*/ 113 w 163"/>
                      <a:gd name="T11" fmla="*/ 53 h 445"/>
                      <a:gd name="T12" fmla="*/ 117 w 163"/>
                      <a:gd name="T13" fmla="*/ 47 h 445"/>
                      <a:gd name="T14" fmla="*/ 121 w 163"/>
                      <a:gd name="T15" fmla="*/ 36 h 445"/>
                      <a:gd name="T16" fmla="*/ 123 w 163"/>
                      <a:gd name="T17" fmla="*/ 30 h 445"/>
                      <a:gd name="T18" fmla="*/ 127 w 163"/>
                      <a:gd name="T19" fmla="*/ 28 h 445"/>
                      <a:gd name="T20" fmla="*/ 129 w 163"/>
                      <a:gd name="T21" fmla="*/ 20 h 445"/>
                      <a:gd name="T22" fmla="*/ 131 w 163"/>
                      <a:gd name="T23" fmla="*/ 9 h 445"/>
                      <a:gd name="T24" fmla="*/ 58 w 163"/>
                      <a:gd name="T25" fmla="*/ 1 h 445"/>
                      <a:gd name="T26" fmla="*/ 40 w 163"/>
                      <a:gd name="T27" fmla="*/ 6 h 445"/>
                      <a:gd name="T28" fmla="*/ 42 w 163"/>
                      <a:gd name="T29" fmla="*/ 14 h 445"/>
                      <a:gd name="T30" fmla="*/ 47 w 163"/>
                      <a:gd name="T31" fmla="*/ 25 h 445"/>
                      <a:gd name="T32" fmla="*/ 54 w 163"/>
                      <a:gd name="T33" fmla="*/ 38 h 445"/>
                      <a:gd name="T34" fmla="*/ 57 w 163"/>
                      <a:gd name="T35" fmla="*/ 43 h 445"/>
                      <a:gd name="T36" fmla="*/ 57 w 163"/>
                      <a:gd name="T37" fmla="*/ 49 h 445"/>
                      <a:gd name="T38" fmla="*/ 53 w 163"/>
                      <a:gd name="T39" fmla="*/ 53 h 445"/>
                      <a:gd name="T40" fmla="*/ 42 w 163"/>
                      <a:gd name="T41" fmla="*/ 56 h 445"/>
                      <a:gd name="T42" fmla="*/ 30 w 163"/>
                      <a:gd name="T43" fmla="*/ 62 h 445"/>
                      <a:gd name="T44" fmla="*/ 19 w 163"/>
                      <a:gd name="T45" fmla="*/ 66 h 445"/>
                      <a:gd name="T46" fmla="*/ 0 w 163"/>
                      <a:gd name="T47" fmla="*/ 79 h 445"/>
                      <a:gd name="T48" fmla="*/ 4 w 163"/>
                      <a:gd name="T49" fmla="*/ 98 h 445"/>
                      <a:gd name="T50" fmla="*/ 9 w 163"/>
                      <a:gd name="T51" fmla="*/ 166 h 445"/>
                      <a:gd name="T52" fmla="*/ 6 w 163"/>
                      <a:gd name="T53" fmla="*/ 247 h 445"/>
                      <a:gd name="T54" fmla="*/ 2 w 163"/>
                      <a:gd name="T55" fmla="*/ 283 h 445"/>
                      <a:gd name="T56" fmla="*/ 4 w 163"/>
                      <a:gd name="T57" fmla="*/ 289 h 445"/>
                      <a:gd name="T58" fmla="*/ 7 w 163"/>
                      <a:gd name="T59" fmla="*/ 321 h 445"/>
                      <a:gd name="T60" fmla="*/ 9 w 163"/>
                      <a:gd name="T61" fmla="*/ 353 h 445"/>
                      <a:gd name="T62" fmla="*/ 9 w 163"/>
                      <a:gd name="T63" fmla="*/ 378 h 445"/>
                      <a:gd name="T64" fmla="*/ 12 w 163"/>
                      <a:gd name="T65" fmla="*/ 405 h 445"/>
                      <a:gd name="T66" fmla="*/ 18 w 163"/>
                      <a:gd name="T67" fmla="*/ 426 h 445"/>
                      <a:gd name="T68" fmla="*/ 26 w 163"/>
                      <a:gd name="T69" fmla="*/ 442 h 445"/>
                      <a:gd name="T70" fmla="*/ 31 w 163"/>
                      <a:gd name="T71" fmla="*/ 444 h 445"/>
                      <a:gd name="T72" fmla="*/ 55 w 163"/>
                      <a:gd name="T73" fmla="*/ 443 h 445"/>
                      <a:gd name="T74" fmla="*/ 74 w 163"/>
                      <a:gd name="T75" fmla="*/ 436 h 445"/>
                      <a:gd name="T76" fmla="*/ 92 w 163"/>
                      <a:gd name="T77" fmla="*/ 443 h 445"/>
                      <a:gd name="T78" fmla="*/ 113 w 163"/>
                      <a:gd name="T79" fmla="*/ 442 h 445"/>
                      <a:gd name="T80" fmla="*/ 119 w 163"/>
                      <a:gd name="T81" fmla="*/ 437 h 445"/>
                      <a:gd name="T82" fmla="*/ 119 w 163"/>
                      <a:gd name="T83" fmla="*/ 408 h 445"/>
                      <a:gd name="T84" fmla="*/ 126 w 163"/>
                      <a:gd name="T85" fmla="*/ 343 h 445"/>
                      <a:gd name="T86" fmla="*/ 132 w 163"/>
                      <a:gd name="T87" fmla="*/ 310 h 445"/>
                      <a:gd name="T88" fmla="*/ 134 w 163"/>
                      <a:gd name="T89" fmla="*/ 295 h 445"/>
                      <a:gd name="T90" fmla="*/ 136 w 163"/>
                      <a:gd name="T91" fmla="*/ 293 h 445"/>
                      <a:gd name="T92" fmla="*/ 140 w 163"/>
                      <a:gd name="T93" fmla="*/ 261 h 445"/>
                      <a:gd name="T94" fmla="*/ 143 w 163"/>
                      <a:gd name="T95" fmla="*/ 202 h 445"/>
                      <a:gd name="T96" fmla="*/ 144 w 163"/>
                      <a:gd name="T97" fmla="*/ 138 h 445"/>
                      <a:gd name="T98" fmla="*/ 155 w 163"/>
                      <a:gd name="T99" fmla="*/ 100 h 445"/>
                      <a:gd name="T100" fmla="*/ 161 w 163"/>
                      <a:gd name="T101" fmla="*/ 86 h 445"/>
                      <a:gd name="T102" fmla="*/ 161 w 163"/>
                      <a:gd name="T103" fmla="*/ 82 h 4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163" h="445">
                        <a:moveTo>
                          <a:pt x="161" y="82"/>
                        </a:moveTo>
                        <a:cubicBezTo>
                          <a:pt x="160" y="82"/>
                          <a:pt x="150" y="76"/>
                          <a:pt x="142" y="71"/>
                        </a:cubicBezTo>
                        <a:cubicBezTo>
                          <a:pt x="134" y="67"/>
                          <a:pt x="128" y="64"/>
                          <a:pt x="125" y="62"/>
                        </a:cubicBezTo>
                        <a:cubicBezTo>
                          <a:pt x="122" y="60"/>
                          <a:pt x="120" y="60"/>
                          <a:pt x="120" y="60"/>
                        </a:cubicBezTo>
                        <a:cubicBezTo>
                          <a:pt x="120" y="60"/>
                          <a:pt x="118" y="60"/>
                          <a:pt x="116" y="58"/>
                        </a:cubicBezTo>
                        <a:cubicBezTo>
                          <a:pt x="114" y="56"/>
                          <a:pt x="113" y="53"/>
                          <a:pt x="113" y="53"/>
                        </a:cubicBezTo>
                        <a:cubicBezTo>
                          <a:pt x="113" y="53"/>
                          <a:pt x="116" y="50"/>
                          <a:pt x="117" y="47"/>
                        </a:cubicBezTo>
                        <a:cubicBezTo>
                          <a:pt x="119" y="43"/>
                          <a:pt x="120" y="40"/>
                          <a:pt x="121" y="36"/>
                        </a:cubicBezTo>
                        <a:cubicBezTo>
                          <a:pt x="122" y="32"/>
                          <a:pt x="123" y="30"/>
                          <a:pt x="123" y="30"/>
                        </a:cubicBezTo>
                        <a:cubicBezTo>
                          <a:pt x="123" y="30"/>
                          <a:pt x="125" y="30"/>
                          <a:pt x="127" y="28"/>
                        </a:cubicBezTo>
                        <a:cubicBezTo>
                          <a:pt x="128" y="26"/>
                          <a:pt x="128" y="24"/>
                          <a:pt x="129" y="20"/>
                        </a:cubicBezTo>
                        <a:cubicBezTo>
                          <a:pt x="131" y="17"/>
                          <a:pt x="131" y="12"/>
                          <a:pt x="131" y="9"/>
                        </a:cubicBezTo>
                        <a:cubicBezTo>
                          <a:pt x="131" y="6"/>
                          <a:pt x="72" y="0"/>
                          <a:pt x="58" y="1"/>
                        </a:cubicBezTo>
                        <a:cubicBezTo>
                          <a:pt x="44" y="2"/>
                          <a:pt x="41" y="4"/>
                          <a:pt x="40" y="6"/>
                        </a:cubicBezTo>
                        <a:cubicBezTo>
                          <a:pt x="39" y="7"/>
                          <a:pt x="40" y="11"/>
                          <a:pt x="42" y="14"/>
                        </a:cubicBezTo>
                        <a:cubicBezTo>
                          <a:pt x="43" y="17"/>
                          <a:pt x="45" y="22"/>
                          <a:pt x="47" y="25"/>
                        </a:cubicBezTo>
                        <a:cubicBezTo>
                          <a:pt x="48" y="28"/>
                          <a:pt x="51" y="33"/>
                          <a:pt x="54" y="38"/>
                        </a:cubicBezTo>
                        <a:cubicBezTo>
                          <a:pt x="55" y="41"/>
                          <a:pt x="57" y="43"/>
                          <a:pt x="57" y="43"/>
                        </a:cubicBezTo>
                        <a:cubicBezTo>
                          <a:pt x="57" y="43"/>
                          <a:pt x="58" y="47"/>
                          <a:pt x="57" y="49"/>
                        </a:cubicBezTo>
                        <a:cubicBezTo>
                          <a:pt x="56" y="51"/>
                          <a:pt x="53" y="53"/>
                          <a:pt x="53" y="53"/>
                        </a:cubicBezTo>
                        <a:cubicBezTo>
                          <a:pt x="53" y="53"/>
                          <a:pt x="47" y="54"/>
                          <a:pt x="42" y="56"/>
                        </a:cubicBezTo>
                        <a:cubicBezTo>
                          <a:pt x="37" y="58"/>
                          <a:pt x="38" y="60"/>
                          <a:pt x="30" y="62"/>
                        </a:cubicBezTo>
                        <a:cubicBezTo>
                          <a:pt x="22" y="65"/>
                          <a:pt x="19" y="66"/>
                          <a:pt x="19" y="66"/>
                        </a:cubicBezTo>
                        <a:cubicBezTo>
                          <a:pt x="11" y="69"/>
                          <a:pt x="0" y="76"/>
                          <a:pt x="0" y="79"/>
                        </a:cubicBezTo>
                        <a:cubicBezTo>
                          <a:pt x="0" y="82"/>
                          <a:pt x="3" y="87"/>
                          <a:pt x="4" y="98"/>
                        </a:cubicBezTo>
                        <a:cubicBezTo>
                          <a:pt x="5" y="109"/>
                          <a:pt x="8" y="135"/>
                          <a:pt x="9" y="166"/>
                        </a:cubicBezTo>
                        <a:cubicBezTo>
                          <a:pt x="10" y="196"/>
                          <a:pt x="7" y="225"/>
                          <a:pt x="6" y="247"/>
                        </a:cubicBezTo>
                        <a:cubicBezTo>
                          <a:pt x="4" y="269"/>
                          <a:pt x="2" y="277"/>
                          <a:pt x="2" y="283"/>
                        </a:cubicBezTo>
                        <a:cubicBezTo>
                          <a:pt x="2" y="288"/>
                          <a:pt x="4" y="289"/>
                          <a:pt x="4" y="289"/>
                        </a:cubicBezTo>
                        <a:cubicBezTo>
                          <a:pt x="4" y="289"/>
                          <a:pt x="7" y="303"/>
                          <a:pt x="7" y="321"/>
                        </a:cubicBezTo>
                        <a:cubicBezTo>
                          <a:pt x="8" y="339"/>
                          <a:pt x="9" y="349"/>
                          <a:pt x="9" y="353"/>
                        </a:cubicBezTo>
                        <a:cubicBezTo>
                          <a:pt x="9" y="357"/>
                          <a:pt x="8" y="364"/>
                          <a:pt x="9" y="378"/>
                        </a:cubicBezTo>
                        <a:cubicBezTo>
                          <a:pt x="11" y="391"/>
                          <a:pt x="11" y="399"/>
                          <a:pt x="12" y="405"/>
                        </a:cubicBezTo>
                        <a:cubicBezTo>
                          <a:pt x="12" y="412"/>
                          <a:pt x="15" y="417"/>
                          <a:pt x="18" y="426"/>
                        </a:cubicBezTo>
                        <a:cubicBezTo>
                          <a:pt x="21" y="436"/>
                          <a:pt x="24" y="440"/>
                          <a:pt x="26" y="442"/>
                        </a:cubicBezTo>
                        <a:cubicBezTo>
                          <a:pt x="29" y="443"/>
                          <a:pt x="31" y="444"/>
                          <a:pt x="31" y="444"/>
                        </a:cubicBezTo>
                        <a:cubicBezTo>
                          <a:pt x="31" y="444"/>
                          <a:pt x="37" y="445"/>
                          <a:pt x="55" y="443"/>
                        </a:cubicBezTo>
                        <a:cubicBezTo>
                          <a:pt x="73" y="440"/>
                          <a:pt x="74" y="436"/>
                          <a:pt x="74" y="436"/>
                        </a:cubicBezTo>
                        <a:cubicBezTo>
                          <a:pt x="74" y="436"/>
                          <a:pt x="85" y="441"/>
                          <a:pt x="92" y="443"/>
                        </a:cubicBezTo>
                        <a:cubicBezTo>
                          <a:pt x="99" y="444"/>
                          <a:pt x="110" y="444"/>
                          <a:pt x="113" y="442"/>
                        </a:cubicBezTo>
                        <a:cubicBezTo>
                          <a:pt x="116" y="441"/>
                          <a:pt x="119" y="439"/>
                          <a:pt x="119" y="437"/>
                        </a:cubicBezTo>
                        <a:cubicBezTo>
                          <a:pt x="119" y="436"/>
                          <a:pt x="118" y="420"/>
                          <a:pt x="119" y="408"/>
                        </a:cubicBezTo>
                        <a:cubicBezTo>
                          <a:pt x="119" y="397"/>
                          <a:pt x="123" y="359"/>
                          <a:pt x="126" y="343"/>
                        </a:cubicBezTo>
                        <a:cubicBezTo>
                          <a:pt x="129" y="327"/>
                          <a:pt x="131" y="317"/>
                          <a:pt x="132" y="310"/>
                        </a:cubicBezTo>
                        <a:cubicBezTo>
                          <a:pt x="134" y="304"/>
                          <a:pt x="134" y="295"/>
                          <a:pt x="134" y="295"/>
                        </a:cubicBezTo>
                        <a:cubicBezTo>
                          <a:pt x="134" y="295"/>
                          <a:pt x="136" y="295"/>
                          <a:pt x="136" y="293"/>
                        </a:cubicBezTo>
                        <a:cubicBezTo>
                          <a:pt x="137" y="291"/>
                          <a:pt x="139" y="276"/>
                          <a:pt x="140" y="261"/>
                        </a:cubicBezTo>
                        <a:cubicBezTo>
                          <a:pt x="142" y="247"/>
                          <a:pt x="143" y="218"/>
                          <a:pt x="143" y="202"/>
                        </a:cubicBezTo>
                        <a:cubicBezTo>
                          <a:pt x="143" y="185"/>
                          <a:pt x="143" y="152"/>
                          <a:pt x="144" y="138"/>
                        </a:cubicBezTo>
                        <a:cubicBezTo>
                          <a:pt x="145" y="124"/>
                          <a:pt x="151" y="110"/>
                          <a:pt x="155" y="100"/>
                        </a:cubicBezTo>
                        <a:cubicBezTo>
                          <a:pt x="158" y="91"/>
                          <a:pt x="160" y="88"/>
                          <a:pt x="161" y="86"/>
                        </a:cubicBezTo>
                        <a:cubicBezTo>
                          <a:pt x="163" y="84"/>
                          <a:pt x="162" y="83"/>
                          <a:pt x="161" y="8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9" name="Freeform 88"/>
                  <p:cNvSpPr>
                    <a:spLocks/>
                  </p:cNvSpPr>
                  <p:nvPr/>
                </p:nvSpPr>
                <p:spPr bwMode="auto">
                  <a:xfrm>
                    <a:off x="3335338" y="4081463"/>
                    <a:ext cx="39688" cy="34925"/>
                  </a:xfrm>
                  <a:custGeom>
                    <a:avLst/>
                    <a:gdLst>
                      <a:gd name="T0" fmla="*/ 51 w 104"/>
                      <a:gd name="T1" fmla="*/ 91 h 92"/>
                      <a:gd name="T2" fmla="*/ 88 w 104"/>
                      <a:gd name="T3" fmla="*/ 85 h 92"/>
                      <a:gd name="T4" fmla="*/ 101 w 104"/>
                      <a:gd name="T5" fmla="*/ 74 h 92"/>
                      <a:gd name="T6" fmla="*/ 103 w 104"/>
                      <a:gd name="T7" fmla="*/ 48 h 92"/>
                      <a:gd name="T8" fmla="*/ 97 w 104"/>
                      <a:gd name="T9" fmla="*/ 18 h 92"/>
                      <a:gd name="T10" fmla="*/ 53 w 104"/>
                      <a:gd name="T11" fmla="*/ 0 h 92"/>
                      <a:gd name="T12" fmla="*/ 11 w 104"/>
                      <a:gd name="T13" fmla="*/ 22 h 92"/>
                      <a:gd name="T14" fmla="*/ 1 w 104"/>
                      <a:gd name="T15" fmla="*/ 58 h 92"/>
                      <a:gd name="T16" fmla="*/ 3 w 104"/>
                      <a:gd name="T17" fmla="*/ 71 h 92"/>
                      <a:gd name="T18" fmla="*/ 17 w 104"/>
                      <a:gd name="T19" fmla="*/ 82 h 92"/>
                      <a:gd name="T20" fmla="*/ 51 w 104"/>
                      <a:gd name="T21" fmla="*/ 91 h 9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04" h="92">
                        <a:moveTo>
                          <a:pt x="51" y="91"/>
                        </a:moveTo>
                        <a:cubicBezTo>
                          <a:pt x="73" y="92"/>
                          <a:pt x="78" y="91"/>
                          <a:pt x="88" y="85"/>
                        </a:cubicBezTo>
                        <a:cubicBezTo>
                          <a:pt x="98" y="80"/>
                          <a:pt x="101" y="76"/>
                          <a:pt x="101" y="74"/>
                        </a:cubicBezTo>
                        <a:cubicBezTo>
                          <a:pt x="101" y="71"/>
                          <a:pt x="103" y="61"/>
                          <a:pt x="103" y="48"/>
                        </a:cubicBezTo>
                        <a:cubicBezTo>
                          <a:pt x="104" y="35"/>
                          <a:pt x="101" y="25"/>
                          <a:pt x="97" y="18"/>
                        </a:cubicBezTo>
                        <a:cubicBezTo>
                          <a:pt x="92" y="11"/>
                          <a:pt x="71" y="1"/>
                          <a:pt x="53" y="0"/>
                        </a:cubicBezTo>
                        <a:cubicBezTo>
                          <a:pt x="34" y="0"/>
                          <a:pt x="18" y="9"/>
                          <a:pt x="11" y="22"/>
                        </a:cubicBezTo>
                        <a:cubicBezTo>
                          <a:pt x="1" y="39"/>
                          <a:pt x="2" y="52"/>
                          <a:pt x="1" y="58"/>
                        </a:cubicBezTo>
                        <a:cubicBezTo>
                          <a:pt x="0" y="65"/>
                          <a:pt x="0" y="68"/>
                          <a:pt x="3" y="71"/>
                        </a:cubicBezTo>
                        <a:cubicBezTo>
                          <a:pt x="6" y="75"/>
                          <a:pt x="8" y="76"/>
                          <a:pt x="17" y="82"/>
                        </a:cubicBezTo>
                        <a:cubicBezTo>
                          <a:pt x="25" y="88"/>
                          <a:pt x="35" y="90"/>
                          <a:pt x="51" y="9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0" name="Freeform 89"/>
                  <p:cNvSpPr>
                    <a:spLocks/>
                  </p:cNvSpPr>
                  <p:nvPr/>
                </p:nvSpPr>
                <p:spPr bwMode="auto">
                  <a:xfrm>
                    <a:off x="3370263" y="4102100"/>
                    <a:ext cx="12700" cy="9525"/>
                  </a:xfrm>
                  <a:custGeom>
                    <a:avLst/>
                    <a:gdLst>
                      <a:gd name="T0" fmla="*/ 0 w 29"/>
                      <a:gd name="T1" fmla="*/ 26 h 26"/>
                      <a:gd name="T2" fmla="*/ 24 w 29"/>
                      <a:gd name="T3" fmla="*/ 18 h 26"/>
                      <a:gd name="T4" fmla="*/ 14 w 29"/>
                      <a:gd name="T5" fmla="*/ 4 h 26"/>
                      <a:gd name="T6" fmla="*/ 7 w 29"/>
                      <a:gd name="T7" fmla="*/ 0 h 26"/>
                      <a:gd name="T8" fmla="*/ 0 w 29"/>
                      <a:gd name="T9" fmla="*/ 26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9" h="26">
                        <a:moveTo>
                          <a:pt x="0" y="26"/>
                        </a:moveTo>
                        <a:cubicBezTo>
                          <a:pt x="0" y="26"/>
                          <a:pt x="20" y="23"/>
                          <a:pt x="24" y="18"/>
                        </a:cubicBezTo>
                        <a:cubicBezTo>
                          <a:pt x="29" y="14"/>
                          <a:pt x="17" y="6"/>
                          <a:pt x="14" y="4"/>
                        </a:cubicBezTo>
                        <a:cubicBezTo>
                          <a:pt x="12" y="3"/>
                          <a:pt x="7" y="0"/>
                          <a:pt x="7" y="0"/>
                        </a:cubicBezTo>
                        <a:cubicBezTo>
                          <a:pt x="6" y="0"/>
                          <a:pt x="0" y="26"/>
                          <a:pt x="0" y="2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1" name="Freeform 90"/>
                  <p:cNvSpPr>
                    <a:spLocks/>
                  </p:cNvSpPr>
                  <p:nvPr/>
                </p:nvSpPr>
                <p:spPr bwMode="auto">
                  <a:xfrm>
                    <a:off x="3348038" y="4278313"/>
                    <a:ext cx="15875" cy="38100"/>
                  </a:xfrm>
                  <a:custGeom>
                    <a:avLst/>
                    <a:gdLst>
                      <a:gd name="T0" fmla="*/ 21 w 40"/>
                      <a:gd name="T1" fmla="*/ 97 h 97"/>
                      <a:gd name="T2" fmla="*/ 33 w 40"/>
                      <a:gd name="T3" fmla="*/ 63 h 97"/>
                      <a:gd name="T4" fmla="*/ 30 w 40"/>
                      <a:gd name="T5" fmla="*/ 4 h 97"/>
                      <a:gd name="T6" fmla="*/ 0 w 40"/>
                      <a:gd name="T7" fmla="*/ 0 h 97"/>
                      <a:gd name="T8" fmla="*/ 21 w 40"/>
                      <a:gd name="T9" fmla="*/ 97 h 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97">
                        <a:moveTo>
                          <a:pt x="21" y="97"/>
                        </a:moveTo>
                        <a:cubicBezTo>
                          <a:pt x="21" y="97"/>
                          <a:pt x="27" y="86"/>
                          <a:pt x="33" y="63"/>
                        </a:cubicBezTo>
                        <a:cubicBezTo>
                          <a:pt x="40" y="39"/>
                          <a:pt x="30" y="4"/>
                          <a:pt x="30" y="4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9" y="40"/>
                          <a:pt x="21" y="9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2" name="Freeform 91"/>
                  <p:cNvSpPr>
                    <a:spLocks/>
                  </p:cNvSpPr>
                  <p:nvPr/>
                </p:nvSpPr>
                <p:spPr bwMode="auto">
                  <a:xfrm>
                    <a:off x="3635375" y="4103688"/>
                    <a:ext cx="33338" cy="107950"/>
                  </a:xfrm>
                  <a:custGeom>
                    <a:avLst/>
                    <a:gdLst>
                      <a:gd name="T0" fmla="*/ 0 w 83"/>
                      <a:gd name="T1" fmla="*/ 58 h 275"/>
                      <a:gd name="T2" fmla="*/ 7 w 83"/>
                      <a:gd name="T3" fmla="*/ 95 h 275"/>
                      <a:gd name="T4" fmla="*/ 22 w 83"/>
                      <a:gd name="T5" fmla="*/ 142 h 275"/>
                      <a:gd name="T6" fmla="*/ 44 w 83"/>
                      <a:gd name="T7" fmla="*/ 196 h 275"/>
                      <a:gd name="T8" fmla="*/ 51 w 83"/>
                      <a:gd name="T9" fmla="*/ 215 h 275"/>
                      <a:gd name="T10" fmla="*/ 52 w 83"/>
                      <a:gd name="T11" fmla="*/ 222 h 275"/>
                      <a:gd name="T12" fmla="*/ 53 w 83"/>
                      <a:gd name="T13" fmla="*/ 229 h 275"/>
                      <a:gd name="T14" fmla="*/ 55 w 83"/>
                      <a:gd name="T15" fmla="*/ 237 h 275"/>
                      <a:gd name="T16" fmla="*/ 59 w 83"/>
                      <a:gd name="T17" fmla="*/ 250 h 275"/>
                      <a:gd name="T18" fmla="*/ 61 w 83"/>
                      <a:gd name="T19" fmla="*/ 257 h 275"/>
                      <a:gd name="T20" fmla="*/ 59 w 83"/>
                      <a:gd name="T21" fmla="*/ 261 h 275"/>
                      <a:gd name="T22" fmla="*/ 57 w 83"/>
                      <a:gd name="T23" fmla="*/ 265 h 275"/>
                      <a:gd name="T24" fmla="*/ 56 w 83"/>
                      <a:gd name="T25" fmla="*/ 269 h 275"/>
                      <a:gd name="T26" fmla="*/ 58 w 83"/>
                      <a:gd name="T27" fmla="*/ 270 h 275"/>
                      <a:gd name="T28" fmla="*/ 57 w 83"/>
                      <a:gd name="T29" fmla="*/ 272 h 275"/>
                      <a:gd name="T30" fmla="*/ 60 w 83"/>
                      <a:gd name="T31" fmla="*/ 275 h 275"/>
                      <a:gd name="T32" fmla="*/ 69 w 83"/>
                      <a:gd name="T33" fmla="*/ 270 h 275"/>
                      <a:gd name="T34" fmla="*/ 75 w 83"/>
                      <a:gd name="T35" fmla="*/ 264 h 275"/>
                      <a:gd name="T36" fmla="*/ 75 w 83"/>
                      <a:gd name="T37" fmla="*/ 262 h 275"/>
                      <a:gd name="T38" fmla="*/ 79 w 83"/>
                      <a:gd name="T39" fmla="*/ 260 h 275"/>
                      <a:gd name="T40" fmla="*/ 80 w 83"/>
                      <a:gd name="T41" fmla="*/ 252 h 275"/>
                      <a:gd name="T42" fmla="*/ 80 w 83"/>
                      <a:gd name="T43" fmla="*/ 248 h 275"/>
                      <a:gd name="T44" fmla="*/ 81 w 83"/>
                      <a:gd name="T45" fmla="*/ 246 h 275"/>
                      <a:gd name="T46" fmla="*/ 82 w 83"/>
                      <a:gd name="T47" fmla="*/ 235 h 275"/>
                      <a:gd name="T48" fmla="*/ 80 w 83"/>
                      <a:gd name="T49" fmla="*/ 219 h 275"/>
                      <a:gd name="T50" fmla="*/ 79 w 83"/>
                      <a:gd name="T51" fmla="*/ 212 h 275"/>
                      <a:gd name="T52" fmla="*/ 77 w 83"/>
                      <a:gd name="T53" fmla="*/ 198 h 275"/>
                      <a:gd name="T54" fmla="*/ 69 w 83"/>
                      <a:gd name="T55" fmla="*/ 159 h 275"/>
                      <a:gd name="T56" fmla="*/ 50 w 83"/>
                      <a:gd name="T57" fmla="*/ 110 h 275"/>
                      <a:gd name="T58" fmla="*/ 37 w 83"/>
                      <a:gd name="T59" fmla="*/ 60 h 275"/>
                      <a:gd name="T60" fmla="*/ 25 w 83"/>
                      <a:gd name="T61" fmla="*/ 18 h 275"/>
                      <a:gd name="T62" fmla="*/ 10 w 83"/>
                      <a:gd name="T63" fmla="*/ 0 h 275"/>
                      <a:gd name="T64" fmla="*/ 0 w 83"/>
                      <a:gd name="T65" fmla="*/ 58 h 2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83" h="275">
                        <a:moveTo>
                          <a:pt x="0" y="58"/>
                        </a:moveTo>
                        <a:cubicBezTo>
                          <a:pt x="0" y="58"/>
                          <a:pt x="3" y="77"/>
                          <a:pt x="7" y="95"/>
                        </a:cubicBezTo>
                        <a:cubicBezTo>
                          <a:pt x="12" y="113"/>
                          <a:pt x="16" y="130"/>
                          <a:pt x="22" y="142"/>
                        </a:cubicBezTo>
                        <a:cubicBezTo>
                          <a:pt x="27" y="154"/>
                          <a:pt x="39" y="181"/>
                          <a:pt x="44" y="196"/>
                        </a:cubicBezTo>
                        <a:cubicBezTo>
                          <a:pt x="47" y="205"/>
                          <a:pt x="51" y="212"/>
                          <a:pt x="51" y="215"/>
                        </a:cubicBezTo>
                        <a:cubicBezTo>
                          <a:pt x="52" y="217"/>
                          <a:pt x="52" y="220"/>
                          <a:pt x="52" y="222"/>
                        </a:cubicBezTo>
                        <a:cubicBezTo>
                          <a:pt x="52" y="223"/>
                          <a:pt x="52" y="225"/>
                          <a:pt x="53" y="229"/>
                        </a:cubicBezTo>
                        <a:cubicBezTo>
                          <a:pt x="54" y="232"/>
                          <a:pt x="55" y="234"/>
                          <a:pt x="55" y="237"/>
                        </a:cubicBezTo>
                        <a:cubicBezTo>
                          <a:pt x="56" y="240"/>
                          <a:pt x="58" y="247"/>
                          <a:pt x="59" y="250"/>
                        </a:cubicBezTo>
                        <a:cubicBezTo>
                          <a:pt x="60" y="253"/>
                          <a:pt x="61" y="255"/>
                          <a:pt x="61" y="257"/>
                        </a:cubicBezTo>
                        <a:cubicBezTo>
                          <a:pt x="60" y="258"/>
                          <a:pt x="60" y="259"/>
                          <a:pt x="59" y="261"/>
                        </a:cubicBezTo>
                        <a:cubicBezTo>
                          <a:pt x="58" y="264"/>
                          <a:pt x="58" y="264"/>
                          <a:pt x="57" y="265"/>
                        </a:cubicBezTo>
                        <a:cubicBezTo>
                          <a:pt x="56" y="267"/>
                          <a:pt x="56" y="268"/>
                          <a:pt x="56" y="269"/>
                        </a:cubicBezTo>
                        <a:cubicBezTo>
                          <a:pt x="57" y="270"/>
                          <a:pt x="58" y="270"/>
                          <a:pt x="58" y="270"/>
                        </a:cubicBezTo>
                        <a:cubicBezTo>
                          <a:pt x="58" y="270"/>
                          <a:pt x="57" y="271"/>
                          <a:pt x="57" y="272"/>
                        </a:cubicBezTo>
                        <a:cubicBezTo>
                          <a:pt x="57" y="273"/>
                          <a:pt x="58" y="275"/>
                          <a:pt x="60" y="275"/>
                        </a:cubicBezTo>
                        <a:cubicBezTo>
                          <a:pt x="63" y="274"/>
                          <a:pt x="65" y="274"/>
                          <a:pt x="69" y="270"/>
                        </a:cubicBezTo>
                        <a:cubicBezTo>
                          <a:pt x="74" y="266"/>
                          <a:pt x="75" y="265"/>
                          <a:pt x="75" y="264"/>
                        </a:cubicBezTo>
                        <a:cubicBezTo>
                          <a:pt x="75" y="264"/>
                          <a:pt x="75" y="262"/>
                          <a:pt x="75" y="262"/>
                        </a:cubicBezTo>
                        <a:cubicBezTo>
                          <a:pt x="75" y="262"/>
                          <a:pt x="78" y="262"/>
                          <a:pt x="79" y="260"/>
                        </a:cubicBezTo>
                        <a:cubicBezTo>
                          <a:pt x="80" y="258"/>
                          <a:pt x="80" y="255"/>
                          <a:pt x="80" y="252"/>
                        </a:cubicBezTo>
                        <a:cubicBezTo>
                          <a:pt x="80" y="250"/>
                          <a:pt x="80" y="248"/>
                          <a:pt x="80" y="248"/>
                        </a:cubicBezTo>
                        <a:cubicBezTo>
                          <a:pt x="80" y="248"/>
                          <a:pt x="80" y="248"/>
                          <a:pt x="81" y="246"/>
                        </a:cubicBezTo>
                        <a:cubicBezTo>
                          <a:pt x="82" y="244"/>
                          <a:pt x="83" y="241"/>
                          <a:pt x="82" y="235"/>
                        </a:cubicBezTo>
                        <a:cubicBezTo>
                          <a:pt x="81" y="229"/>
                          <a:pt x="81" y="221"/>
                          <a:pt x="80" y="219"/>
                        </a:cubicBezTo>
                        <a:cubicBezTo>
                          <a:pt x="80" y="216"/>
                          <a:pt x="79" y="214"/>
                          <a:pt x="79" y="212"/>
                        </a:cubicBezTo>
                        <a:cubicBezTo>
                          <a:pt x="78" y="209"/>
                          <a:pt x="78" y="202"/>
                          <a:pt x="77" y="198"/>
                        </a:cubicBezTo>
                        <a:cubicBezTo>
                          <a:pt x="76" y="191"/>
                          <a:pt x="72" y="171"/>
                          <a:pt x="69" y="159"/>
                        </a:cubicBezTo>
                        <a:cubicBezTo>
                          <a:pt x="65" y="146"/>
                          <a:pt x="53" y="121"/>
                          <a:pt x="50" y="110"/>
                        </a:cubicBezTo>
                        <a:cubicBezTo>
                          <a:pt x="46" y="100"/>
                          <a:pt x="39" y="78"/>
                          <a:pt x="37" y="60"/>
                        </a:cubicBezTo>
                        <a:cubicBezTo>
                          <a:pt x="35" y="43"/>
                          <a:pt x="31" y="28"/>
                          <a:pt x="25" y="18"/>
                        </a:cubicBezTo>
                        <a:cubicBezTo>
                          <a:pt x="19" y="7"/>
                          <a:pt x="10" y="0"/>
                          <a:pt x="10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3" name="Freeform 92"/>
                  <p:cNvSpPr>
                    <a:spLocks/>
                  </p:cNvSpPr>
                  <p:nvPr/>
                </p:nvSpPr>
                <p:spPr bwMode="auto">
                  <a:xfrm>
                    <a:off x="3527425" y="4135438"/>
                    <a:ext cx="12700" cy="25400"/>
                  </a:xfrm>
                  <a:custGeom>
                    <a:avLst/>
                    <a:gdLst>
                      <a:gd name="T0" fmla="*/ 1 w 34"/>
                      <a:gd name="T1" fmla="*/ 15 h 61"/>
                      <a:gd name="T2" fmla="*/ 0 w 34"/>
                      <a:gd name="T3" fmla="*/ 21 h 61"/>
                      <a:gd name="T4" fmla="*/ 12 w 34"/>
                      <a:gd name="T5" fmla="*/ 39 h 61"/>
                      <a:gd name="T6" fmla="*/ 16 w 34"/>
                      <a:gd name="T7" fmla="*/ 58 h 61"/>
                      <a:gd name="T8" fmla="*/ 18 w 34"/>
                      <a:gd name="T9" fmla="*/ 59 h 61"/>
                      <a:gd name="T10" fmla="*/ 22 w 34"/>
                      <a:gd name="T11" fmla="*/ 60 h 61"/>
                      <a:gd name="T12" fmla="*/ 25 w 34"/>
                      <a:gd name="T13" fmla="*/ 59 h 61"/>
                      <a:gd name="T14" fmla="*/ 29 w 34"/>
                      <a:gd name="T15" fmla="*/ 56 h 61"/>
                      <a:gd name="T16" fmla="*/ 32 w 34"/>
                      <a:gd name="T17" fmla="*/ 50 h 61"/>
                      <a:gd name="T18" fmla="*/ 33 w 34"/>
                      <a:gd name="T19" fmla="*/ 29 h 61"/>
                      <a:gd name="T20" fmla="*/ 32 w 34"/>
                      <a:gd name="T21" fmla="*/ 12 h 61"/>
                      <a:gd name="T22" fmla="*/ 31 w 34"/>
                      <a:gd name="T23" fmla="*/ 6 h 61"/>
                      <a:gd name="T24" fmla="*/ 28 w 34"/>
                      <a:gd name="T25" fmla="*/ 1 h 61"/>
                      <a:gd name="T26" fmla="*/ 21 w 34"/>
                      <a:gd name="T27" fmla="*/ 1 h 61"/>
                      <a:gd name="T28" fmla="*/ 1 w 34"/>
                      <a:gd name="T29" fmla="*/ 15 h 6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4" h="61">
                        <a:moveTo>
                          <a:pt x="1" y="15"/>
                        </a:moveTo>
                        <a:cubicBezTo>
                          <a:pt x="2" y="17"/>
                          <a:pt x="0" y="21"/>
                          <a:pt x="0" y="21"/>
                        </a:cubicBezTo>
                        <a:cubicBezTo>
                          <a:pt x="0" y="21"/>
                          <a:pt x="10" y="26"/>
                          <a:pt x="12" y="39"/>
                        </a:cubicBezTo>
                        <a:cubicBezTo>
                          <a:pt x="14" y="52"/>
                          <a:pt x="15" y="57"/>
                          <a:pt x="16" y="58"/>
                        </a:cubicBezTo>
                        <a:cubicBezTo>
                          <a:pt x="17" y="59"/>
                          <a:pt x="18" y="59"/>
                          <a:pt x="18" y="59"/>
                        </a:cubicBezTo>
                        <a:cubicBezTo>
                          <a:pt x="18" y="59"/>
                          <a:pt x="20" y="61"/>
                          <a:pt x="22" y="60"/>
                        </a:cubicBezTo>
                        <a:cubicBezTo>
                          <a:pt x="24" y="60"/>
                          <a:pt x="25" y="59"/>
                          <a:pt x="25" y="59"/>
                        </a:cubicBezTo>
                        <a:cubicBezTo>
                          <a:pt x="25" y="59"/>
                          <a:pt x="28" y="58"/>
                          <a:pt x="29" y="56"/>
                        </a:cubicBezTo>
                        <a:cubicBezTo>
                          <a:pt x="30" y="55"/>
                          <a:pt x="31" y="55"/>
                          <a:pt x="32" y="50"/>
                        </a:cubicBezTo>
                        <a:cubicBezTo>
                          <a:pt x="32" y="46"/>
                          <a:pt x="33" y="38"/>
                          <a:pt x="33" y="29"/>
                        </a:cubicBezTo>
                        <a:cubicBezTo>
                          <a:pt x="34" y="20"/>
                          <a:pt x="33" y="14"/>
                          <a:pt x="32" y="12"/>
                        </a:cubicBezTo>
                        <a:cubicBezTo>
                          <a:pt x="31" y="9"/>
                          <a:pt x="31" y="8"/>
                          <a:pt x="31" y="6"/>
                        </a:cubicBezTo>
                        <a:cubicBezTo>
                          <a:pt x="31" y="4"/>
                          <a:pt x="30" y="2"/>
                          <a:pt x="28" y="1"/>
                        </a:cubicBezTo>
                        <a:cubicBezTo>
                          <a:pt x="26" y="1"/>
                          <a:pt x="24" y="0"/>
                          <a:pt x="21" y="1"/>
                        </a:cubicBezTo>
                        <a:cubicBezTo>
                          <a:pt x="18" y="1"/>
                          <a:pt x="1" y="15"/>
                          <a:pt x="1" y="1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4" name="Freeform 93"/>
                  <p:cNvSpPr>
                    <a:spLocks/>
                  </p:cNvSpPr>
                  <p:nvPr/>
                </p:nvSpPr>
                <p:spPr bwMode="auto">
                  <a:xfrm>
                    <a:off x="3521075" y="4098925"/>
                    <a:ext cx="63500" cy="55563"/>
                  </a:xfrm>
                  <a:custGeom>
                    <a:avLst/>
                    <a:gdLst>
                      <a:gd name="T0" fmla="*/ 0 w 160"/>
                      <a:gd name="T1" fmla="*/ 89 h 139"/>
                      <a:gd name="T2" fmla="*/ 6 w 160"/>
                      <a:gd name="T3" fmla="*/ 111 h 139"/>
                      <a:gd name="T4" fmla="*/ 16 w 160"/>
                      <a:gd name="T5" fmla="*/ 132 h 139"/>
                      <a:gd name="T6" fmla="*/ 31 w 160"/>
                      <a:gd name="T7" fmla="*/ 139 h 139"/>
                      <a:gd name="T8" fmla="*/ 75 w 160"/>
                      <a:gd name="T9" fmla="*/ 135 h 139"/>
                      <a:gd name="T10" fmla="*/ 111 w 160"/>
                      <a:gd name="T11" fmla="*/ 124 h 139"/>
                      <a:gd name="T12" fmla="*/ 134 w 160"/>
                      <a:gd name="T13" fmla="*/ 95 h 139"/>
                      <a:gd name="T14" fmla="*/ 150 w 160"/>
                      <a:gd name="T15" fmla="*/ 71 h 139"/>
                      <a:gd name="T16" fmla="*/ 158 w 160"/>
                      <a:gd name="T17" fmla="*/ 56 h 139"/>
                      <a:gd name="T18" fmla="*/ 159 w 160"/>
                      <a:gd name="T19" fmla="*/ 37 h 139"/>
                      <a:gd name="T20" fmla="*/ 151 w 160"/>
                      <a:gd name="T21" fmla="*/ 11 h 139"/>
                      <a:gd name="T22" fmla="*/ 143 w 160"/>
                      <a:gd name="T23" fmla="*/ 1 h 139"/>
                      <a:gd name="T24" fmla="*/ 139 w 160"/>
                      <a:gd name="T25" fmla="*/ 0 h 139"/>
                      <a:gd name="T26" fmla="*/ 129 w 160"/>
                      <a:gd name="T27" fmla="*/ 15 h 139"/>
                      <a:gd name="T28" fmla="*/ 106 w 160"/>
                      <a:gd name="T29" fmla="*/ 68 h 139"/>
                      <a:gd name="T30" fmla="*/ 86 w 160"/>
                      <a:gd name="T31" fmla="*/ 90 h 139"/>
                      <a:gd name="T32" fmla="*/ 63 w 160"/>
                      <a:gd name="T33" fmla="*/ 98 h 139"/>
                      <a:gd name="T34" fmla="*/ 32 w 160"/>
                      <a:gd name="T35" fmla="*/ 112 h 139"/>
                      <a:gd name="T36" fmla="*/ 16 w 160"/>
                      <a:gd name="T37" fmla="*/ 109 h 139"/>
                      <a:gd name="T38" fmla="*/ 0 w 160"/>
                      <a:gd name="T39" fmla="*/ 89 h 1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160" h="139">
                        <a:moveTo>
                          <a:pt x="0" y="89"/>
                        </a:moveTo>
                        <a:cubicBezTo>
                          <a:pt x="0" y="89"/>
                          <a:pt x="4" y="101"/>
                          <a:pt x="6" y="111"/>
                        </a:cubicBezTo>
                        <a:cubicBezTo>
                          <a:pt x="9" y="122"/>
                          <a:pt x="13" y="128"/>
                          <a:pt x="16" y="132"/>
                        </a:cubicBezTo>
                        <a:cubicBezTo>
                          <a:pt x="19" y="136"/>
                          <a:pt x="23" y="139"/>
                          <a:pt x="31" y="139"/>
                        </a:cubicBezTo>
                        <a:cubicBezTo>
                          <a:pt x="39" y="138"/>
                          <a:pt x="57" y="136"/>
                          <a:pt x="75" y="135"/>
                        </a:cubicBezTo>
                        <a:cubicBezTo>
                          <a:pt x="94" y="133"/>
                          <a:pt x="106" y="128"/>
                          <a:pt x="111" y="124"/>
                        </a:cubicBezTo>
                        <a:cubicBezTo>
                          <a:pt x="116" y="119"/>
                          <a:pt x="129" y="102"/>
                          <a:pt x="134" y="95"/>
                        </a:cubicBezTo>
                        <a:cubicBezTo>
                          <a:pt x="139" y="87"/>
                          <a:pt x="148" y="74"/>
                          <a:pt x="150" y="71"/>
                        </a:cubicBezTo>
                        <a:cubicBezTo>
                          <a:pt x="152" y="67"/>
                          <a:pt x="158" y="56"/>
                          <a:pt x="158" y="56"/>
                        </a:cubicBezTo>
                        <a:cubicBezTo>
                          <a:pt x="158" y="56"/>
                          <a:pt x="160" y="49"/>
                          <a:pt x="159" y="37"/>
                        </a:cubicBezTo>
                        <a:cubicBezTo>
                          <a:pt x="157" y="26"/>
                          <a:pt x="156" y="19"/>
                          <a:pt x="151" y="11"/>
                        </a:cubicBezTo>
                        <a:cubicBezTo>
                          <a:pt x="147" y="4"/>
                          <a:pt x="145" y="3"/>
                          <a:pt x="143" y="1"/>
                        </a:cubicBezTo>
                        <a:cubicBezTo>
                          <a:pt x="141" y="0"/>
                          <a:pt x="140" y="0"/>
                          <a:pt x="139" y="0"/>
                        </a:cubicBezTo>
                        <a:cubicBezTo>
                          <a:pt x="139" y="0"/>
                          <a:pt x="135" y="3"/>
                          <a:pt x="129" y="15"/>
                        </a:cubicBezTo>
                        <a:cubicBezTo>
                          <a:pt x="124" y="27"/>
                          <a:pt x="116" y="50"/>
                          <a:pt x="106" y="68"/>
                        </a:cubicBezTo>
                        <a:cubicBezTo>
                          <a:pt x="95" y="86"/>
                          <a:pt x="90" y="89"/>
                          <a:pt x="86" y="90"/>
                        </a:cubicBezTo>
                        <a:cubicBezTo>
                          <a:pt x="81" y="92"/>
                          <a:pt x="72" y="94"/>
                          <a:pt x="63" y="98"/>
                        </a:cubicBezTo>
                        <a:cubicBezTo>
                          <a:pt x="53" y="102"/>
                          <a:pt x="41" y="111"/>
                          <a:pt x="32" y="112"/>
                        </a:cubicBezTo>
                        <a:cubicBezTo>
                          <a:pt x="23" y="112"/>
                          <a:pt x="19" y="112"/>
                          <a:pt x="16" y="109"/>
                        </a:cubicBezTo>
                        <a:cubicBezTo>
                          <a:pt x="14" y="106"/>
                          <a:pt x="0" y="89"/>
                          <a:pt x="0" y="89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5" name="Freeform 94"/>
                  <p:cNvSpPr>
                    <a:spLocks/>
                  </p:cNvSpPr>
                  <p:nvPr/>
                </p:nvSpPr>
                <p:spPr bwMode="auto">
                  <a:xfrm>
                    <a:off x="3486150" y="4119563"/>
                    <a:ext cx="33338" cy="46038"/>
                  </a:xfrm>
                  <a:custGeom>
                    <a:avLst/>
                    <a:gdLst>
                      <a:gd name="T0" fmla="*/ 19 w 85"/>
                      <a:gd name="T1" fmla="*/ 18 h 113"/>
                      <a:gd name="T2" fmla="*/ 8 w 85"/>
                      <a:gd name="T3" fmla="*/ 58 h 113"/>
                      <a:gd name="T4" fmla="*/ 0 w 85"/>
                      <a:gd name="T5" fmla="*/ 104 h 113"/>
                      <a:gd name="T6" fmla="*/ 18 w 85"/>
                      <a:gd name="T7" fmla="*/ 110 h 113"/>
                      <a:gd name="T8" fmla="*/ 47 w 85"/>
                      <a:gd name="T9" fmla="*/ 110 h 113"/>
                      <a:gd name="T10" fmla="*/ 72 w 85"/>
                      <a:gd name="T11" fmla="*/ 98 h 113"/>
                      <a:gd name="T12" fmla="*/ 85 w 85"/>
                      <a:gd name="T13" fmla="*/ 84 h 113"/>
                      <a:gd name="T14" fmla="*/ 72 w 85"/>
                      <a:gd name="T15" fmla="*/ 43 h 113"/>
                      <a:gd name="T16" fmla="*/ 53 w 85"/>
                      <a:gd name="T17" fmla="*/ 11 h 113"/>
                      <a:gd name="T18" fmla="*/ 43 w 85"/>
                      <a:gd name="T19" fmla="*/ 0 h 113"/>
                      <a:gd name="T20" fmla="*/ 32 w 85"/>
                      <a:gd name="T21" fmla="*/ 8 h 113"/>
                      <a:gd name="T22" fmla="*/ 19 w 85"/>
                      <a:gd name="T23" fmla="*/ 18 h 1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85" h="113">
                        <a:moveTo>
                          <a:pt x="19" y="18"/>
                        </a:moveTo>
                        <a:cubicBezTo>
                          <a:pt x="18" y="23"/>
                          <a:pt x="11" y="41"/>
                          <a:pt x="8" y="58"/>
                        </a:cubicBezTo>
                        <a:cubicBezTo>
                          <a:pt x="5" y="76"/>
                          <a:pt x="0" y="104"/>
                          <a:pt x="0" y="104"/>
                        </a:cubicBezTo>
                        <a:cubicBezTo>
                          <a:pt x="0" y="104"/>
                          <a:pt x="7" y="107"/>
                          <a:pt x="18" y="110"/>
                        </a:cubicBezTo>
                        <a:cubicBezTo>
                          <a:pt x="29" y="113"/>
                          <a:pt x="39" y="113"/>
                          <a:pt x="47" y="110"/>
                        </a:cubicBezTo>
                        <a:cubicBezTo>
                          <a:pt x="55" y="107"/>
                          <a:pt x="64" y="103"/>
                          <a:pt x="72" y="98"/>
                        </a:cubicBezTo>
                        <a:cubicBezTo>
                          <a:pt x="81" y="92"/>
                          <a:pt x="85" y="88"/>
                          <a:pt x="85" y="84"/>
                        </a:cubicBezTo>
                        <a:cubicBezTo>
                          <a:pt x="84" y="80"/>
                          <a:pt x="81" y="65"/>
                          <a:pt x="72" y="43"/>
                        </a:cubicBezTo>
                        <a:cubicBezTo>
                          <a:pt x="62" y="21"/>
                          <a:pt x="58" y="17"/>
                          <a:pt x="53" y="11"/>
                        </a:cubicBezTo>
                        <a:cubicBezTo>
                          <a:pt x="48" y="4"/>
                          <a:pt x="43" y="0"/>
                          <a:pt x="43" y="0"/>
                        </a:cubicBezTo>
                        <a:cubicBezTo>
                          <a:pt x="43" y="0"/>
                          <a:pt x="36" y="3"/>
                          <a:pt x="32" y="8"/>
                        </a:cubicBezTo>
                        <a:cubicBezTo>
                          <a:pt x="28" y="12"/>
                          <a:pt x="19" y="18"/>
                          <a:pt x="19" y="1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6" name="Freeform 95"/>
                  <p:cNvSpPr>
                    <a:spLocks noEditPoints="1"/>
                  </p:cNvSpPr>
                  <p:nvPr/>
                </p:nvSpPr>
                <p:spPr bwMode="auto">
                  <a:xfrm>
                    <a:off x="3387725" y="3930650"/>
                    <a:ext cx="152400" cy="406400"/>
                  </a:xfrm>
                  <a:custGeom>
                    <a:avLst/>
                    <a:gdLst>
                      <a:gd name="T0" fmla="*/ 372 w 382"/>
                      <a:gd name="T1" fmla="*/ 501 h 1030"/>
                      <a:gd name="T2" fmla="*/ 330 w 382"/>
                      <a:gd name="T3" fmla="*/ 366 h 1030"/>
                      <a:gd name="T4" fmla="*/ 297 w 382"/>
                      <a:gd name="T5" fmla="*/ 221 h 1030"/>
                      <a:gd name="T6" fmla="*/ 233 w 382"/>
                      <a:gd name="T7" fmla="*/ 139 h 1030"/>
                      <a:gd name="T8" fmla="*/ 206 w 382"/>
                      <a:gd name="T9" fmla="*/ 120 h 1030"/>
                      <a:gd name="T10" fmla="*/ 193 w 382"/>
                      <a:gd name="T11" fmla="*/ 110 h 1030"/>
                      <a:gd name="T12" fmla="*/ 199 w 382"/>
                      <a:gd name="T13" fmla="*/ 89 h 1030"/>
                      <a:gd name="T14" fmla="*/ 188 w 382"/>
                      <a:gd name="T15" fmla="*/ 18 h 1030"/>
                      <a:gd name="T16" fmla="*/ 112 w 382"/>
                      <a:gd name="T17" fmla="*/ 13 h 1030"/>
                      <a:gd name="T18" fmla="*/ 97 w 382"/>
                      <a:gd name="T19" fmla="*/ 50 h 1030"/>
                      <a:gd name="T20" fmla="*/ 98 w 382"/>
                      <a:gd name="T21" fmla="*/ 62 h 1030"/>
                      <a:gd name="T22" fmla="*/ 99 w 382"/>
                      <a:gd name="T23" fmla="*/ 76 h 1030"/>
                      <a:gd name="T24" fmla="*/ 110 w 382"/>
                      <a:gd name="T25" fmla="*/ 111 h 1030"/>
                      <a:gd name="T26" fmla="*/ 108 w 382"/>
                      <a:gd name="T27" fmla="*/ 128 h 1030"/>
                      <a:gd name="T28" fmla="*/ 66 w 382"/>
                      <a:gd name="T29" fmla="*/ 151 h 1030"/>
                      <a:gd name="T30" fmla="*/ 32 w 382"/>
                      <a:gd name="T31" fmla="*/ 216 h 1030"/>
                      <a:gd name="T32" fmla="*/ 12 w 382"/>
                      <a:gd name="T33" fmla="*/ 443 h 1030"/>
                      <a:gd name="T34" fmla="*/ 5 w 382"/>
                      <a:gd name="T35" fmla="*/ 532 h 1030"/>
                      <a:gd name="T36" fmla="*/ 46 w 382"/>
                      <a:gd name="T37" fmla="*/ 537 h 1030"/>
                      <a:gd name="T38" fmla="*/ 49 w 382"/>
                      <a:gd name="T39" fmla="*/ 542 h 1030"/>
                      <a:gd name="T40" fmla="*/ 56 w 382"/>
                      <a:gd name="T41" fmla="*/ 556 h 1030"/>
                      <a:gd name="T42" fmla="*/ 59 w 382"/>
                      <a:gd name="T43" fmla="*/ 732 h 1030"/>
                      <a:gd name="T44" fmla="*/ 126 w 382"/>
                      <a:gd name="T45" fmla="*/ 895 h 1030"/>
                      <a:gd name="T46" fmla="*/ 123 w 382"/>
                      <a:gd name="T47" fmla="*/ 956 h 1030"/>
                      <a:gd name="T48" fmla="*/ 122 w 382"/>
                      <a:gd name="T49" fmla="*/ 1027 h 1030"/>
                      <a:gd name="T50" fmla="*/ 158 w 382"/>
                      <a:gd name="T51" fmla="*/ 1025 h 1030"/>
                      <a:gd name="T52" fmla="*/ 190 w 382"/>
                      <a:gd name="T53" fmla="*/ 999 h 1030"/>
                      <a:gd name="T54" fmla="*/ 178 w 382"/>
                      <a:gd name="T55" fmla="*/ 988 h 1030"/>
                      <a:gd name="T56" fmla="*/ 179 w 382"/>
                      <a:gd name="T57" fmla="*/ 953 h 1030"/>
                      <a:gd name="T58" fmla="*/ 193 w 382"/>
                      <a:gd name="T59" fmla="*/ 922 h 1030"/>
                      <a:gd name="T60" fmla="*/ 202 w 382"/>
                      <a:gd name="T61" fmla="*/ 880 h 1030"/>
                      <a:gd name="T62" fmla="*/ 221 w 382"/>
                      <a:gd name="T63" fmla="*/ 719 h 1030"/>
                      <a:gd name="T64" fmla="*/ 249 w 382"/>
                      <a:gd name="T65" fmla="*/ 593 h 1030"/>
                      <a:gd name="T66" fmla="*/ 262 w 382"/>
                      <a:gd name="T67" fmla="*/ 560 h 1030"/>
                      <a:gd name="T68" fmla="*/ 267 w 382"/>
                      <a:gd name="T69" fmla="*/ 517 h 1030"/>
                      <a:gd name="T70" fmla="*/ 270 w 382"/>
                      <a:gd name="T71" fmla="*/ 387 h 1030"/>
                      <a:gd name="T72" fmla="*/ 326 w 382"/>
                      <a:gd name="T73" fmla="*/ 509 h 1030"/>
                      <a:gd name="T74" fmla="*/ 352 w 382"/>
                      <a:gd name="T75" fmla="*/ 540 h 1030"/>
                      <a:gd name="T76" fmla="*/ 381 w 382"/>
                      <a:gd name="T77" fmla="*/ 523 h 1030"/>
                      <a:gd name="T78" fmla="*/ 161 w 382"/>
                      <a:gd name="T79" fmla="*/ 841 h 1030"/>
                      <a:gd name="T80" fmla="*/ 154 w 382"/>
                      <a:gd name="T81" fmla="*/ 843 h 1030"/>
                      <a:gd name="T82" fmla="*/ 138 w 382"/>
                      <a:gd name="T83" fmla="*/ 767 h 1030"/>
                      <a:gd name="T84" fmla="*/ 133 w 382"/>
                      <a:gd name="T85" fmla="*/ 659 h 1030"/>
                      <a:gd name="T86" fmla="*/ 162 w 382"/>
                      <a:gd name="T87" fmla="*/ 579 h 1030"/>
                      <a:gd name="T88" fmla="*/ 161 w 382"/>
                      <a:gd name="T89" fmla="*/ 729 h 10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382" h="1030">
                        <a:moveTo>
                          <a:pt x="381" y="523"/>
                        </a:moveTo>
                        <a:cubicBezTo>
                          <a:pt x="381" y="521"/>
                          <a:pt x="376" y="511"/>
                          <a:pt x="372" y="501"/>
                        </a:cubicBezTo>
                        <a:cubicBezTo>
                          <a:pt x="367" y="490"/>
                          <a:pt x="356" y="464"/>
                          <a:pt x="350" y="445"/>
                        </a:cubicBezTo>
                        <a:cubicBezTo>
                          <a:pt x="342" y="422"/>
                          <a:pt x="336" y="386"/>
                          <a:pt x="330" y="366"/>
                        </a:cubicBezTo>
                        <a:cubicBezTo>
                          <a:pt x="325" y="347"/>
                          <a:pt x="312" y="315"/>
                          <a:pt x="306" y="286"/>
                        </a:cubicBezTo>
                        <a:cubicBezTo>
                          <a:pt x="299" y="257"/>
                          <a:pt x="301" y="248"/>
                          <a:pt x="297" y="221"/>
                        </a:cubicBezTo>
                        <a:cubicBezTo>
                          <a:pt x="293" y="194"/>
                          <a:pt x="287" y="176"/>
                          <a:pt x="279" y="167"/>
                        </a:cubicBezTo>
                        <a:cubicBezTo>
                          <a:pt x="271" y="157"/>
                          <a:pt x="248" y="146"/>
                          <a:pt x="233" y="139"/>
                        </a:cubicBezTo>
                        <a:cubicBezTo>
                          <a:pt x="218" y="131"/>
                          <a:pt x="213" y="129"/>
                          <a:pt x="213" y="129"/>
                        </a:cubicBezTo>
                        <a:cubicBezTo>
                          <a:pt x="213" y="129"/>
                          <a:pt x="212" y="125"/>
                          <a:pt x="206" y="120"/>
                        </a:cubicBezTo>
                        <a:cubicBezTo>
                          <a:pt x="200" y="115"/>
                          <a:pt x="204" y="117"/>
                          <a:pt x="199" y="114"/>
                        </a:cubicBezTo>
                        <a:cubicBezTo>
                          <a:pt x="194" y="111"/>
                          <a:pt x="193" y="110"/>
                          <a:pt x="193" y="110"/>
                        </a:cubicBezTo>
                        <a:cubicBezTo>
                          <a:pt x="193" y="110"/>
                          <a:pt x="194" y="108"/>
                          <a:pt x="196" y="103"/>
                        </a:cubicBezTo>
                        <a:cubicBezTo>
                          <a:pt x="197" y="98"/>
                          <a:pt x="198" y="95"/>
                          <a:pt x="199" y="89"/>
                        </a:cubicBezTo>
                        <a:cubicBezTo>
                          <a:pt x="200" y="84"/>
                          <a:pt x="201" y="55"/>
                          <a:pt x="201" y="44"/>
                        </a:cubicBezTo>
                        <a:cubicBezTo>
                          <a:pt x="200" y="34"/>
                          <a:pt x="192" y="21"/>
                          <a:pt x="188" y="18"/>
                        </a:cubicBezTo>
                        <a:cubicBezTo>
                          <a:pt x="184" y="14"/>
                          <a:pt x="167" y="0"/>
                          <a:pt x="147" y="0"/>
                        </a:cubicBezTo>
                        <a:cubicBezTo>
                          <a:pt x="127" y="1"/>
                          <a:pt x="120" y="5"/>
                          <a:pt x="112" y="13"/>
                        </a:cubicBezTo>
                        <a:cubicBezTo>
                          <a:pt x="103" y="20"/>
                          <a:pt x="96" y="19"/>
                          <a:pt x="94" y="26"/>
                        </a:cubicBezTo>
                        <a:cubicBezTo>
                          <a:pt x="92" y="33"/>
                          <a:pt x="96" y="45"/>
                          <a:pt x="97" y="50"/>
                        </a:cubicBezTo>
                        <a:cubicBezTo>
                          <a:pt x="97" y="55"/>
                          <a:pt x="98" y="56"/>
                          <a:pt x="98" y="56"/>
                        </a:cubicBezTo>
                        <a:cubicBezTo>
                          <a:pt x="98" y="56"/>
                          <a:pt x="97" y="60"/>
                          <a:pt x="98" y="62"/>
                        </a:cubicBezTo>
                        <a:cubicBezTo>
                          <a:pt x="99" y="63"/>
                          <a:pt x="99" y="65"/>
                          <a:pt x="99" y="67"/>
                        </a:cubicBezTo>
                        <a:cubicBezTo>
                          <a:pt x="99" y="69"/>
                          <a:pt x="99" y="72"/>
                          <a:pt x="99" y="76"/>
                        </a:cubicBezTo>
                        <a:cubicBezTo>
                          <a:pt x="100" y="81"/>
                          <a:pt x="100" y="85"/>
                          <a:pt x="103" y="92"/>
                        </a:cubicBezTo>
                        <a:cubicBezTo>
                          <a:pt x="105" y="99"/>
                          <a:pt x="108" y="106"/>
                          <a:pt x="110" y="111"/>
                        </a:cubicBezTo>
                        <a:cubicBezTo>
                          <a:pt x="112" y="117"/>
                          <a:pt x="114" y="123"/>
                          <a:pt x="114" y="123"/>
                        </a:cubicBezTo>
                        <a:cubicBezTo>
                          <a:pt x="114" y="123"/>
                          <a:pt x="110" y="125"/>
                          <a:pt x="108" y="128"/>
                        </a:cubicBezTo>
                        <a:cubicBezTo>
                          <a:pt x="106" y="131"/>
                          <a:pt x="104" y="137"/>
                          <a:pt x="104" y="137"/>
                        </a:cubicBezTo>
                        <a:cubicBezTo>
                          <a:pt x="104" y="137"/>
                          <a:pt x="82" y="145"/>
                          <a:pt x="66" y="151"/>
                        </a:cubicBezTo>
                        <a:cubicBezTo>
                          <a:pt x="50" y="157"/>
                          <a:pt x="42" y="167"/>
                          <a:pt x="39" y="178"/>
                        </a:cubicBezTo>
                        <a:cubicBezTo>
                          <a:pt x="37" y="189"/>
                          <a:pt x="32" y="216"/>
                          <a:pt x="32" y="216"/>
                        </a:cubicBezTo>
                        <a:cubicBezTo>
                          <a:pt x="31" y="238"/>
                          <a:pt x="30" y="268"/>
                          <a:pt x="26" y="312"/>
                        </a:cubicBezTo>
                        <a:cubicBezTo>
                          <a:pt x="23" y="356"/>
                          <a:pt x="19" y="404"/>
                          <a:pt x="12" y="443"/>
                        </a:cubicBezTo>
                        <a:cubicBezTo>
                          <a:pt x="5" y="483"/>
                          <a:pt x="0" y="516"/>
                          <a:pt x="0" y="522"/>
                        </a:cubicBezTo>
                        <a:cubicBezTo>
                          <a:pt x="0" y="528"/>
                          <a:pt x="0" y="531"/>
                          <a:pt x="5" y="532"/>
                        </a:cubicBezTo>
                        <a:cubicBezTo>
                          <a:pt x="10" y="534"/>
                          <a:pt x="20" y="535"/>
                          <a:pt x="29" y="537"/>
                        </a:cubicBezTo>
                        <a:cubicBezTo>
                          <a:pt x="39" y="538"/>
                          <a:pt x="45" y="538"/>
                          <a:pt x="46" y="537"/>
                        </a:cubicBezTo>
                        <a:cubicBezTo>
                          <a:pt x="47" y="535"/>
                          <a:pt x="48" y="531"/>
                          <a:pt x="48" y="531"/>
                        </a:cubicBezTo>
                        <a:cubicBezTo>
                          <a:pt x="48" y="531"/>
                          <a:pt x="48" y="537"/>
                          <a:pt x="49" y="542"/>
                        </a:cubicBezTo>
                        <a:cubicBezTo>
                          <a:pt x="50" y="547"/>
                          <a:pt x="50" y="551"/>
                          <a:pt x="52" y="553"/>
                        </a:cubicBezTo>
                        <a:cubicBezTo>
                          <a:pt x="54" y="554"/>
                          <a:pt x="56" y="556"/>
                          <a:pt x="56" y="556"/>
                        </a:cubicBezTo>
                        <a:cubicBezTo>
                          <a:pt x="56" y="556"/>
                          <a:pt x="56" y="578"/>
                          <a:pt x="55" y="632"/>
                        </a:cubicBezTo>
                        <a:cubicBezTo>
                          <a:pt x="53" y="687"/>
                          <a:pt x="56" y="714"/>
                          <a:pt x="59" y="732"/>
                        </a:cubicBezTo>
                        <a:cubicBezTo>
                          <a:pt x="62" y="751"/>
                          <a:pt x="74" y="787"/>
                          <a:pt x="90" y="821"/>
                        </a:cubicBezTo>
                        <a:cubicBezTo>
                          <a:pt x="107" y="855"/>
                          <a:pt x="120" y="878"/>
                          <a:pt x="126" y="895"/>
                        </a:cubicBezTo>
                        <a:cubicBezTo>
                          <a:pt x="132" y="911"/>
                          <a:pt x="136" y="923"/>
                          <a:pt x="136" y="923"/>
                        </a:cubicBezTo>
                        <a:cubicBezTo>
                          <a:pt x="136" y="923"/>
                          <a:pt x="130" y="942"/>
                          <a:pt x="123" y="956"/>
                        </a:cubicBezTo>
                        <a:cubicBezTo>
                          <a:pt x="117" y="969"/>
                          <a:pt x="107" y="979"/>
                          <a:pt x="105" y="998"/>
                        </a:cubicBezTo>
                        <a:cubicBezTo>
                          <a:pt x="103" y="1016"/>
                          <a:pt x="111" y="1024"/>
                          <a:pt x="122" y="1027"/>
                        </a:cubicBezTo>
                        <a:cubicBezTo>
                          <a:pt x="134" y="1030"/>
                          <a:pt x="140" y="1023"/>
                          <a:pt x="140" y="1023"/>
                        </a:cubicBezTo>
                        <a:cubicBezTo>
                          <a:pt x="140" y="1023"/>
                          <a:pt x="147" y="1026"/>
                          <a:pt x="158" y="1025"/>
                        </a:cubicBezTo>
                        <a:cubicBezTo>
                          <a:pt x="170" y="1023"/>
                          <a:pt x="177" y="1018"/>
                          <a:pt x="183" y="1015"/>
                        </a:cubicBezTo>
                        <a:cubicBezTo>
                          <a:pt x="189" y="1011"/>
                          <a:pt x="191" y="1004"/>
                          <a:pt x="190" y="999"/>
                        </a:cubicBezTo>
                        <a:cubicBezTo>
                          <a:pt x="190" y="994"/>
                          <a:pt x="189" y="991"/>
                          <a:pt x="186" y="990"/>
                        </a:cubicBezTo>
                        <a:cubicBezTo>
                          <a:pt x="183" y="988"/>
                          <a:pt x="178" y="988"/>
                          <a:pt x="178" y="988"/>
                        </a:cubicBezTo>
                        <a:cubicBezTo>
                          <a:pt x="178" y="988"/>
                          <a:pt x="178" y="983"/>
                          <a:pt x="179" y="972"/>
                        </a:cubicBezTo>
                        <a:cubicBezTo>
                          <a:pt x="179" y="961"/>
                          <a:pt x="179" y="953"/>
                          <a:pt x="179" y="953"/>
                        </a:cubicBezTo>
                        <a:cubicBezTo>
                          <a:pt x="179" y="953"/>
                          <a:pt x="183" y="947"/>
                          <a:pt x="186" y="942"/>
                        </a:cubicBezTo>
                        <a:cubicBezTo>
                          <a:pt x="189" y="936"/>
                          <a:pt x="193" y="929"/>
                          <a:pt x="193" y="922"/>
                        </a:cubicBezTo>
                        <a:cubicBezTo>
                          <a:pt x="192" y="915"/>
                          <a:pt x="192" y="912"/>
                          <a:pt x="192" y="912"/>
                        </a:cubicBezTo>
                        <a:cubicBezTo>
                          <a:pt x="192" y="912"/>
                          <a:pt x="197" y="895"/>
                          <a:pt x="202" y="880"/>
                        </a:cubicBezTo>
                        <a:cubicBezTo>
                          <a:pt x="207" y="864"/>
                          <a:pt x="219" y="824"/>
                          <a:pt x="220" y="796"/>
                        </a:cubicBezTo>
                        <a:cubicBezTo>
                          <a:pt x="221" y="769"/>
                          <a:pt x="220" y="743"/>
                          <a:pt x="221" y="719"/>
                        </a:cubicBezTo>
                        <a:cubicBezTo>
                          <a:pt x="223" y="695"/>
                          <a:pt x="229" y="672"/>
                          <a:pt x="236" y="644"/>
                        </a:cubicBezTo>
                        <a:cubicBezTo>
                          <a:pt x="243" y="617"/>
                          <a:pt x="242" y="617"/>
                          <a:pt x="249" y="593"/>
                        </a:cubicBezTo>
                        <a:cubicBezTo>
                          <a:pt x="256" y="568"/>
                          <a:pt x="258" y="561"/>
                          <a:pt x="258" y="561"/>
                        </a:cubicBezTo>
                        <a:cubicBezTo>
                          <a:pt x="258" y="561"/>
                          <a:pt x="260" y="561"/>
                          <a:pt x="262" y="560"/>
                        </a:cubicBezTo>
                        <a:cubicBezTo>
                          <a:pt x="264" y="560"/>
                          <a:pt x="265" y="557"/>
                          <a:pt x="265" y="550"/>
                        </a:cubicBezTo>
                        <a:cubicBezTo>
                          <a:pt x="265" y="544"/>
                          <a:pt x="266" y="532"/>
                          <a:pt x="267" y="517"/>
                        </a:cubicBezTo>
                        <a:cubicBezTo>
                          <a:pt x="269" y="502"/>
                          <a:pt x="270" y="448"/>
                          <a:pt x="270" y="425"/>
                        </a:cubicBezTo>
                        <a:cubicBezTo>
                          <a:pt x="271" y="403"/>
                          <a:pt x="270" y="387"/>
                          <a:pt x="270" y="387"/>
                        </a:cubicBezTo>
                        <a:cubicBezTo>
                          <a:pt x="270" y="387"/>
                          <a:pt x="280" y="421"/>
                          <a:pt x="290" y="443"/>
                        </a:cubicBezTo>
                        <a:cubicBezTo>
                          <a:pt x="299" y="465"/>
                          <a:pt x="317" y="496"/>
                          <a:pt x="326" y="509"/>
                        </a:cubicBezTo>
                        <a:cubicBezTo>
                          <a:pt x="336" y="523"/>
                          <a:pt x="346" y="535"/>
                          <a:pt x="348" y="537"/>
                        </a:cubicBezTo>
                        <a:cubicBezTo>
                          <a:pt x="349" y="539"/>
                          <a:pt x="351" y="541"/>
                          <a:pt x="352" y="540"/>
                        </a:cubicBezTo>
                        <a:cubicBezTo>
                          <a:pt x="353" y="540"/>
                          <a:pt x="361" y="536"/>
                          <a:pt x="364" y="535"/>
                        </a:cubicBezTo>
                        <a:cubicBezTo>
                          <a:pt x="367" y="533"/>
                          <a:pt x="382" y="524"/>
                          <a:pt x="381" y="523"/>
                        </a:cubicBezTo>
                        <a:close/>
                        <a:moveTo>
                          <a:pt x="162" y="797"/>
                        </a:moveTo>
                        <a:cubicBezTo>
                          <a:pt x="161" y="820"/>
                          <a:pt x="161" y="841"/>
                          <a:pt x="161" y="841"/>
                        </a:cubicBezTo>
                        <a:cubicBezTo>
                          <a:pt x="161" y="841"/>
                          <a:pt x="159" y="842"/>
                          <a:pt x="157" y="842"/>
                        </a:cubicBezTo>
                        <a:cubicBezTo>
                          <a:pt x="155" y="842"/>
                          <a:pt x="154" y="843"/>
                          <a:pt x="154" y="843"/>
                        </a:cubicBezTo>
                        <a:cubicBezTo>
                          <a:pt x="154" y="843"/>
                          <a:pt x="152" y="839"/>
                          <a:pt x="150" y="826"/>
                        </a:cubicBezTo>
                        <a:cubicBezTo>
                          <a:pt x="147" y="814"/>
                          <a:pt x="145" y="789"/>
                          <a:pt x="138" y="767"/>
                        </a:cubicBezTo>
                        <a:cubicBezTo>
                          <a:pt x="131" y="745"/>
                          <a:pt x="122" y="737"/>
                          <a:pt x="120" y="730"/>
                        </a:cubicBezTo>
                        <a:cubicBezTo>
                          <a:pt x="119" y="723"/>
                          <a:pt x="126" y="686"/>
                          <a:pt x="133" y="659"/>
                        </a:cubicBezTo>
                        <a:cubicBezTo>
                          <a:pt x="139" y="631"/>
                          <a:pt x="155" y="579"/>
                          <a:pt x="155" y="579"/>
                        </a:cubicBezTo>
                        <a:cubicBezTo>
                          <a:pt x="162" y="579"/>
                          <a:pt x="162" y="579"/>
                          <a:pt x="162" y="579"/>
                        </a:cubicBezTo>
                        <a:cubicBezTo>
                          <a:pt x="162" y="579"/>
                          <a:pt x="162" y="631"/>
                          <a:pt x="162" y="657"/>
                        </a:cubicBezTo>
                        <a:cubicBezTo>
                          <a:pt x="162" y="684"/>
                          <a:pt x="157" y="706"/>
                          <a:pt x="161" y="729"/>
                        </a:cubicBezTo>
                        <a:cubicBezTo>
                          <a:pt x="164" y="752"/>
                          <a:pt x="164" y="774"/>
                          <a:pt x="162" y="79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7" name="Freeform 96"/>
                  <p:cNvSpPr>
                    <a:spLocks/>
                  </p:cNvSpPr>
                  <p:nvPr/>
                </p:nvSpPr>
                <p:spPr bwMode="auto">
                  <a:xfrm>
                    <a:off x="3414713" y="3984625"/>
                    <a:ext cx="87313" cy="161925"/>
                  </a:xfrm>
                  <a:custGeom>
                    <a:avLst/>
                    <a:gdLst>
                      <a:gd name="T0" fmla="*/ 0 w 224"/>
                      <a:gd name="T1" fmla="*/ 11 h 409"/>
                      <a:gd name="T2" fmla="*/ 4 w 224"/>
                      <a:gd name="T3" fmla="*/ 22 h 409"/>
                      <a:gd name="T4" fmla="*/ 34 w 224"/>
                      <a:gd name="T5" fmla="*/ 84 h 409"/>
                      <a:gd name="T6" fmla="*/ 102 w 224"/>
                      <a:gd name="T7" fmla="*/ 199 h 409"/>
                      <a:gd name="T8" fmla="*/ 184 w 224"/>
                      <a:gd name="T9" fmla="*/ 327 h 409"/>
                      <a:gd name="T10" fmla="*/ 202 w 224"/>
                      <a:gd name="T11" fmla="*/ 376 h 409"/>
                      <a:gd name="T12" fmla="*/ 211 w 224"/>
                      <a:gd name="T13" fmla="*/ 401 h 409"/>
                      <a:gd name="T14" fmla="*/ 224 w 224"/>
                      <a:gd name="T15" fmla="*/ 342 h 409"/>
                      <a:gd name="T16" fmla="*/ 210 w 224"/>
                      <a:gd name="T17" fmla="*/ 311 h 409"/>
                      <a:gd name="T18" fmla="*/ 174 w 224"/>
                      <a:gd name="T19" fmla="*/ 252 h 409"/>
                      <a:gd name="T20" fmla="*/ 110 w 224"/>
                      <a:gd name="T21" fmla="*/ 147 h 409"/>
                      <a:gd name="T22" fmla="*/ 63 w 224"/>
                      <a:gd name="T23" fmla="*/ 62 h 409"/>
                      <a:gd name="T24" fmla="*/ 37 w 224"/>
                      <a:gd name="T25" fmla="*/ 8 h 409"/>
                      <a:gd name="T26" fmla="*/ 31 w 224"/>
                      <a:gd name="T27" fmla="*/ 0 h 409"/>
                      <a:gd name="T28" fmla="*/ 15 w 224"/>
                      <a:gd name="T29" fmla="*/ 5 h 409"/>
                      <a:gd name="T30" fmla="*/ 0 w 224"/>
                      <a:gd name="T31" fmla="*/ 11 h 40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224" h="409">
                        <a:moveTo>
                          <a:pt x="0" y="11"/>
                        </a:moveTo>
                        <a:cubicBezTo>
                          <a:pt x="0" y="12"/>
                          <a:pt x="1" y="16"/>
                          <a:pt x="4" y="22"/>
                        </a:cubicBezTo>
                        <a:cubicBezTo>
                          <a:pt x="7" y="29"/>
                          <a:pt x="22" y="59"/>
                          <a:pt x="34" y="84"/>
                        </a:cubicBezTo>
                        <a:cubicBezTo>
                          <a:pt x="46" y="108"/>
                          <a:pt x="80" y="163"/>
                          <a:pt x="102" y="199"/>
                        </a:cubicBezTo>
                        <a:cubicBezTo>
                          <a:pt x="124" y="234"/>
                          <a:pt x="174" y="304"/>
                          <a:pt x="184" y="327"/>
                        </a:cubicBezTo>
                        <a:cubicBezTo>
                          <a:pt x="194" y="351"/>
                          <a:pt x="199" y="365"/>
                          <a:pt x="202" y="376"/>
                        </a:cubicBezTo>
                        <a:cubicBezTo>
                          <a:pt x="205" y="387"/>
                          <a:pt x="208" y="393"/>
                          <a:pt x="211" y="401"/>
                        </a:cubicBezTo>
                        <a:cubicBezTo>
                          <a:pt x="214" y="409"/>
                          <a:pt x="224" y="342"/>
                          <a:pt x="224" y="342"/>
                        </a:cubicBezTo>
                        <a:cubicBezTo>
                          <a:pt x="224" y="342"/>
                          <a:pt x="217" y="326"/>
                          <a:pt x="210" y="311"/>
                        </a:cubicBezTo>
                        <a:cubicBezTo>
                          <a:pt x="202" y="296"/>
                          <a:pt x="187" y="274"/>
                          <a:pt x="174" y="252"/>
                        </a:cubicBezTo>
                        <a:cubicBezTo>
                          <a:pt x="160" y="230"/>
                          <a:pt x="130" y="182"/>
                          <a:pt x="110" y="147"/>
                        </a:cubicBezTo>
                        <a:cubicBezTo>
                          <a:pt x="90" y="112"/>
                          <a:pt x="76" y="88"/>
                          <a:pt x="63" y="62"/>
                        </a:cubicBezTo>
                        <a:cubicBezTo>
                          <a:pt x="49" y="36"/>
                          <a:pt x="40" y="13"/>
                          <a:pt x="37" y="8"/>
                        </a:cubicBezTo>
                        <a:cubicBezTo>
                          <a:pt x="34" y="3"/>
                          <a:pt x="32" y="0"/>
                          <a:pt x="31" y="0"/>
                        </a:cubicBezTo>
                        <a:cubicBezTo>
                          <a:pt x="30" y="0"/>
                          <a:pt x="25" y="1"/>
                          <a:pt x="15" y="5"/>
                        </a:cubicBezTo>
                        <a:cubicBezTo>
                          <a:pt x="5" y="9"/>
                          <a:pt x="0" y="11"/>
                          <a:pt x="0" y="11"/>
                        </a:cubicBezTo>
                        <a:close/>
                      </a:path>
                    </a:pathLst>
                  </a:custGeom>
                  <a:solidFill>
                    <a:srgbClr val="28282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8" name="Freeform 97"/>
                  <p:cNvSpPr>
                    <a:spLocks/>
                  </p:cNvSpPr>
                  <p:nvPr/>
                </p:nvSpPr>
                <p:spPr bwMode="auto">
                  <a:xfrm>
                    <a:off x="3576638" y="4064000"/>
                    <a:ext cx="63500" cy="277813"/>
                  </a:xfrm>
                  <a:custGeom>
                    <a:avLst/>
                    <a:gdLst>
                      <a:gd name="T0" fmla="*/ 0 w 164"/>
                      <a:gd name="T1" fmla="*/ 89 h 703"/>
                      <a:gd name="T2" fmla="*/ 10 w 164"/>
                      <a:gd name="T3" fmla="*/ 159 h 703"/>
                      <a:gd name="T4" fmla="*/ 2 w 164"/>
                      <a:gd name="T5" fmla="*/ 246 h 703"/>
                      <a:gd name="T6" fmla="*/ 6 w 164"/>
                      <a:gd name="T7" fmla="*/ 360 h 703"/>
                      <a:gd name="T8" fmla="*/ 15 w 164"/>
                      <a:gd name="T9" fmla="*/ 363 h 703"/>
                      <a:gd name="T10" fmla="*/ 14 w 164"/>
                      <a:gd name="T11" fmla="*/ 470 h 703"/>
                      <a:gd name="T12" fmla="*/ 21 w 164"/>
                      <a:gd name="T13" fmla="*/ 501 h 703"/>
                      <a:gd name="T14" fmla="*/ 53 w 164"/>
                      <a:gd name="T15" fmla="*/ 565 h 703"/>
                      <a:gd name="T16" fmla="*/ 57 w 164"/>
                      <a:gd name="T17" fmla="*/ 609 h 703"/>
                      <a:gd name="T18" fmla="*/ 49 w 164"/>
                      <a:gd name="T19" fmla="*/ 636 h 703"/>
                      <a:gd name="T20" fmla="*/ 31 w 164"/>
                      <a:gd name="T21" fmla="*/ 650 h 703"/>
                      <a:gd name="T22" fmla="*/ 14 w 164"/>
                      <a:gd name="T23" fmla="*/ 661 h 703"/>
                      <a:gd name="T24" fmla="*/ 29 w 164"/>
                      <a:gd name="T25" fmla="*/ 679 h 703"/>
                      <a:gd name="T26" fmla="*/ 54 w 164"/>
                      <a:gd name="T27" fmla="*/ 685 h 703"/>
                      <a:gd name="T28" fmla="*/ 87 w 164"/>
                      <a:gd name="T29" fmla="*/ 686 h 703"/>
                      <a:gd name="T30" fmla="*/ 121 w 164"/>
                      <a:gd name="T31" fmla="*/ 698 h 703"/>
                      <a:gd name="T32" fmla="*/ 130 w 164"/>
                      <a:gd name="T33" fmla="*/ 642 h 703"/>
                      <a:gd name="T34" fmla="*/ 133 w 164"/>
                      <a:gd name="T35" fmla="*/ 600 h 703"/>
                      <a:gd name="T36" fmla="*/ 104 w 164"/>
                      <a:gd name="T37" fmla="*/ 577 h 703"/>
                      <a:gd name="T38" fmla="*/ 97 w 164"/>
                      <a:gd name="T39" fmla="*/ 566 h 703"/>
                      <a:gd name="T40" fmla="*/ 100 w 164"/>
                      <a:gd name="T41" fmla="*/ 507 h 703"/>
                      <a:gd name="T42" fmla="*/ 103 w 164"/>
                      <a:gd name="T43" fmla="*/ 485 h 703"/>
                      <a:gd name="T44" fmla="*/ 109 w 164"/>
                      <a:gd name="T45" fmla="*/ 467 h 703"/>
                      <a:gd name="T46" fmla="*/ 134 w 164"/>
                      <a:gd name="T47" fmla="*/ 397 h 703"/>
                      <a:gd name="T48" fmla="*/ 151 w 164"/>
                      <a:gd name="T49" fmla="*/ 364 h 703"/>
                      <a:gd name="T50" fmla="*/ 155 w 164"/>
                      <a:gd name="T51" fmla="*/ 314 h 703"/>
                      <a:gd name="T52" fmla="*/ 151 w 164"/>
                      <a:gd name="T53" fmla="*/ 210 h 703"/>
                      <a:gd name="T54" fmla="*/ 160 w 164"/>
                      <a:gd name="T55" fmla="*/ 128 h 703"/>
                      <a:gd name="T56" fmla="*/ 163 w 164"/>
                      <a:gd name="T57" fmla="*/ 100 h 703"/>
                      <a:gd name="T58" fmla="*/ 134 w 164"/>
                      <a:gd name="T59" fmla="*/ 81 h 703"/>
                      <a:gd name="T60" fmla="*/ 135 w 164"/>
                      <a:gd name="T61" fmla="*/ 39 h 703"/>
                      <a:gd name="T62" fmla="*/ 116 w 164"/>
                      <a:gd name="T63" fmla="*/ 4 h 703"/>
                      <a:gd name="T64" fmla="*/ 17 w 164"/>
                      <a:gd name="T65" fmla="*/ 22 h 703"/>
                      <a:gd name="T66" fmla="*/ 21 w 164"/>
                      <a:gd name="T67" fmla="*/ 42 h 703"/>
                      <a:gd name="T68" fmla="*/ 35 w 164"/>
                      <a:gd name="T69" fmla="*/ 73 h 703"/>
                      <a:gd name="T70" fmla="*/ 9 w 164"/>
                      <a:gd name="T71" fmla="*/ 80 h 7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164" h="703">
                        <a:moveTo>
                          <a:pt x="9" y="80"/>
                        </a:moveTo>
                        <a:cubicBezTo>
                          <a:pt x="4" y="84"/>
                          <a:pt x="0" y="87"/>
                          <a:pt x="0" y="89"/>
                        </a:cubicBezTo>
                        <a:cubicBezTo>
                          <a:pt x="0" y="91"/>
                          <a:pt x="0" y="95"/>
                          <a:pt x="0" y="98"/>
                        </a:cubicBezTo>
                        <a:cubicBezTo>
                          <a:pt x="1" y="104"/>
                          <a:pt x="10" y="148"/>
                          <a:pt x="10" y="159"/>
                        </a:cubicBezTo>
                        <a:cubicBezTo>
                          <a:pt x="10" y="170"/>
                          <a:pt x="10" y="175"/>
                          <a:pt x="10" y="182"/>
                        </a:cubicBezTo>
                        <a:cubicBezTo>
                          <a:pt x="11" y="188"/>
                          <a:pt x="4" y="224"/>
                          <a:pt x="2" y="246"/>
                        </a:cubicBezTo>
                        <a:cubicBezTo>
                          <a:pt x="0" y="269"/>
                          <a:pt x="1" y="296"/>
                          <a:pt x="2" y="318"/>
                        </a:cubicBezTo>
                        <a:cubicBezTo>
                          <a:pt x="3" y="340"/>
                          <a:pt x="4" y="358"/>
                          <a:pt x="6" y="360"/>
                        </a:cubicBezTo>
                        <a:cubicBezTo>
                          <a:pt x="8" y="361"/>
                          <a:pt x="10" y="362"/>
                          <a:pt x="11" y="362"/>
                        </a:cubicBezTo>
                        <a:cubicBezTo>
                          <a:pt x="13" y="363"/>
                          <a:pt x="15" y="363"/>
                          <a:pt x="15" y="363"/>
                        </a:cubicBezTo>
                        <a:cubicBezTo>
                          <a:pt x="15" y="363"/>
                          <a:pt x="14" y="374"/>
                          <a:pt x="13" y="395"/>
                        </a:cubicBezTo>
                        <a:cubicBezTo>
                          <a:pt x="12" y="416"/>
                          <a:pt x="12" y="454"/>
                          <a:pt x="14" y="470"/>
                        </a:cubicBezTo>
                        <a:cubicBezTo>
                          <a:pt x="16" y="486"/>
                          <a:pt x="17" y="498"/>
                          <a:pt x="18" y="499"/>
                        </a:cubicBezTo>
                        <a:cubicBezTo>
                          <a:pt x="19" y="501"/>
                          <a:pt x="21" y="501"/>
                          <a:pt x="21" y="501"/>
                        </a:cubicBezTo>
                        <a:cubicBezTo>
                          <a:pt x="21" y="501"/>
                          <a:pt x="23" y="517"/>
                          <a:pt x="34" y="535"/>
                        </a:cubicBezTo>
                        <a:cubicBezTo>
                          <a:pt x="45" y="553"/>
                          <a:pt x="49" y="559"/>
                          <a:pt x="53" y="565"/>
                        </a:cubicBezTo>
                        <a:cubicBezTo>
                          <a:pt x="57" y="571"/>
                          <a:pt x="59" y="573"/>
                          <a:pt x="59" y="573"/>
                        </a:cubicBezTo>
                        <a:cubicBezTo>
                          <a:pt x="59" y="573"/>
                          <a:pt x="60" y="595"/>
                          <a:pt x="57" y="609"/>
                        </a:cubicBezTo>
                        <a:cubicBezTo>
                          <a:pt x="55" y="624"/>
                          <a:pt x="54" y="629"/>
                          <a:pt x="52" y="632"/>
                        </a:cubicBezTo>
                        <a:cubicBezTo>
                          <a:pt x="50" y="635"/>
                          <a:pt x="49" y="636"/>
                          <a:pt x="49" y="636"/>
                        </a:cubicBezTo>
                        <a:cubicBezTo>
                          <a:pt x="49" y="636"/>
                          <a:pt x="44" y="635"/>
                          <a:pt x="42" y="639"/>
                        </a:cubicBezTo>
                        <a:cubicBezTo>
                          <a:pt x="40" y="642"/>
                          <a:pt x="34" y="649"/>
                          <a:pt x="31" y="650"/>
                        </a:cubicBezTo>
                        <a:cubicBezTo>
                          <a:pt x="27" y="650"/>
                          <a:pt x="19" y="649"/>
                          <a:pt x="17" y="652"/>
                        </a:cubicBezTo>
                        <a:cubicBezTo>
                          <a:pt x="15" y="654"/>
                          <a:pt x="14" y="657"/>
                          <a:pt x="14" y="661"/>
                        </a:cubicBezTo>
                        <a:cubicBezTo>
                          <a:pt x="13" y="665"/>
                          <a:pt x="13" y="669"/>
                          <a:pt x="15" y="672"/>
                        </a:cubicBezTo>
                        <a:cubicBezTo>
                          <a:pt x="18" y="675"/>
                          <a:pt x="24" y="679"/>
                          <a:pt x="29" y="679"/>
                        </a:cubicBezTo>
                        <a:cubicBezTo>
                          <a:pt x="29" y="679"/>
                          <a:pt x="35" y="680"/>
                          <a:pt x="39" y="681"/>
                        </a:cubicBezTo>
                        <a:cubicBezTo>
                          <a:pt x="43" y="682"/>
                          <a:pt x="49" y="685"/>
                          <a:pt x="54" y="685"/>
                        </a:cubicBezTo>
                        <a:cubicBezTo>
                          <a:pt x="60" y="686"/>
                          <a:pt x="66" y="687"/>
                          <a:pt x="73" y="687"/>
                        </a:cubicBezTo>
                        <a:cubicBezTo>
                          <a:pt x="81" y="686"/>
                          <a:pt x="87" y="686"/>
                          <a:pt x="87" y="686"/>
                        </a:cubicBezTo>
                        <a:cubicBezTo>
                          <a:pt x="87" y="686"/>
                          <a:pt x="91" y="696"/>
                          <a:pt x="97" y="700"/>
                        </a:cubicBezTo>
                        <a:cubicBezTo>
                          <a:pt x="102" y="703"/>
                          <a:pt x="115" y="703"/>
                          <a:pt x="121" y="698"/>
                        </a:cubicBezTo>
                        <a:cubicBezTo>
                          <a:pt x="127" y="693"/>
                          <a:pt x="130" y="686"/>
                          <a:pt x="131" y="674"/>
                        </a:cubicBezTo>
                        <a:cubicBezTo>
                          <a:pt x="131" y="661"/>
                          <a:pt x="131" y="649"/>
                          <a:pt x="130" y="642"/>
                        </a:cubicBezTo>
                        <a:cubicBezTo>
                          <a:pt x="130" y="635"/>
                          <a:pt x="131" y="631"/>
                          <a:pt x="131" y="627"/>
                        </a:cubicBezTo>
                        <a:cubicBezTo>
                          <a:pt x="132" y="623"/>
                          <a:pt x="134" y="611"/>
                          <a:pt x="133" y="600"/>
                        </a:cubicBezTo>
                        <a:cubicBezTo>
                          <a:pt x="132" y="589"/>
                          <a:pt x="130" y="582"/>
                          <a:pt x="121" y="578"/>
                        </a:cubicBezTo>
                        <a:cubicBezTo>
                          <a:pt x="112" y="575"/>
                          <a:pt x="104" y="577"/>
                          <a:pt x="104" y="577"/>
                        </a:cubicBezTo>
                        <a:cubicBezTo>
                          <a:pt x="104" y="577"/>
                          <a:pt x="102" y="575"/>
                          <a:pt x="100" y="572"/>
                        </a:cubicBezTo>
                        <a:cubicBezTo>
                          <a:pt x="98" y="568"/>
                          <a:pt x="97" y="566"/>
                          <a:pt x="97" y="566"/>
                        </a:cubicBezTo>
                        <a:cubicBezTo>
                          <a:pt x="97" y="566"/>
                          <a:pt x="98" y="557"/>
                          <a:pt x="100" y="546"/>
                        </a:cubicBezTo>
                        <a:cubicBezTo>
                          <a:pt x="101" y="536"/>
                          <a:pt x="101" y="522"/>
                          <a:pt x="100" y="507"/>
                        </a:cubicBezTo>
                        <a:cubicBezTo>
                          <a:pt x="98" y="491"/>
                          <a:pt x="98" y="487"/>
                          <a:pt x="98" y="487"/>
                        </a:cubicBezTo>
                        <a:cubicBezTo>
                          <a:pt x="98" y="487"/>
                          <a:pt x="100" y="486"/>
                          <a:pt x="103" y="485"/>
                        </a:cubicBezTo>
                        <a:cubicBezTo>
                          <a:pt x="106" y="484"/>
                          <a:pt x="107" y="484"/>
                          <a:pt x="107" y="482"/>
                        </a:cubicBezTo>
                        <a:cubicBezTo>
                          <a:pt x="107" y="481"/>
                          <a:pt x="108" y="472"/>
                          <a:pt x="109" y="467"/>
                        </a:cubicBezTo>
                        <a:cubicBezTo>
                          <a:pt x="110" y="462"/>
                          <a:pt x="117" y="449"/>
                          <a:pt x="121" y="438"/>
                        </a:cubicBezTo>
                        <a:cubicBezTo>
                          <a:pt x="124" y="427"/>
                          <a:pt x="128" y="415"/>
                          <a:pt x="134" y="397"/>
                        </a:cubicBezTo>
                        <a:cubicBezTo>
                          <a:pt x="139" y="379"/>
                          <a:pt x="142" y="365"/>
                          <a:pt x="142" y="365"/>
                        </a:cubicBezTo>
                        <a:cubicBezTo>
                          <a:pt x="142" y="365"/>
                          <a:pt x="149" y="365"/>
                          <a:pt x="151" y="364"/>
                        </a:cubicBezTo>
                        <a:cubicBezTo>
                          <a:pt x="153" y="364"/>
                          <a:pt x="154" y="359"/>
                          <a:pt x="154" y="354"/>
                        </a:cubicBezTo>
                        <a:cubicBezTo>
                          <a:pt x="154" y="348"/>
                          <a:pt x="155" y="331"/>
                          <a:pt x="155" y="314"/>
                        </a:cubicBezTo>
                        <a:cubicBezTo>
                          <a:pt x="154" y="297"/>
                          <a:pt x="155" y="290"/>
                          <a:pt x="155" y="270"/>
                        </a:cubicBezTo>
                        <a:cubicBezTo>
                          <a:pt x="156" y="250"/>
                          <a:pt x="152" y="229"/>
                          <a:pt x="151" y="210"/>
                        </a:cubicBezTo>
                        <a:cubicBezTo>
                          <a:pt x="150" y="191"/>
                          <a:pt x="152" y="173"/>
                          <a:pt x="153" y="163"/>
                        </a:cubicBezTo>
                        <a:cubicBezTo>
                          <a:pt x="155" y="153"/>
                          <a:pt x="158" y="139"/>
                          <a:pt x="160" y="128"/>
                        </a:cubicBezTo>
                        <a:cubicBezTo>
                          <a:pt x="162" y="117"/>
                          <a:pt x="163" y="110"/>
                          <a:pt x="163" y="107"/>
                        </a:cubicBezTo>
                        <a:cubicBezTo>
                          <a:pt x="163" y="104"/>
                          <a:pt x="164" y="101"/>
                          <a:pt x="163" y="100"/>
                        </a:cubicBezTo>
                        <a:cubicBezTo>
                          <a:pt x="162" y="99"/>
                          <a:pt x="158" y="97"/>
                          <a:pt x="150" y="92"/>
                        </a:cubicBezTo>
                        <a:cubicBezTo>
                          <a:pt x="142" y="87"/>
                          <a:pt x="134" y="81"/>
                          <a:pt x="134" y="81"/>
                        </a:cubicBezTo>
                        <a:cubicBezTo>
                          <a:pt x="134" y="81"/>
                          <a:pt x="136" y="77"/>
                          <a:pt x="138" y="68"/>
                        </a:cubicBezTo>
                        <a:cubicBezTo>
                          <a:pt x="140" y="60"/>
                          <a:pt x="138" y="46"/>
                          <a:pt x="135" y="39"/>
                        </a:cubicBezTo>
                        <a:cubicBezTo>
                          <a:pt x="132" y="32"/>
                          <a:pt x="127" y="24"/>
                          <a:pt x="125" y="19"/>
                        </a:cubicBezTo>
                        <a:cubicBezTo>
                          <a:pt x="122" y="14"/>
                          <a:pt x="116" y="4"/>
                          <a:pt x="116" y="4"/>
                        </a:cubicBezTo>
                        <a:cubicBezTo>
                          <a:pt x="116" y="4"/>
                          <a:pt x="94" y="0"/>
                          <a:pt x="61" y="5"/>
                        </a:cubicBezTo>
                        <a:cubicBezTo>
                          <a:pt x="29" y="9"/>
                          <a:pt x="17" y="22"/>
                          <a:pt x="17" y="22"/>
                        </a:cubicBezTo>
                        <a:cubicBezTo>
                          <a:pt x="17" y="22"/>
                          <a:pt x="17" y="28"/>
                          <a:pt x="17" y="32"/>
                        </a:cubicBezTo>
                        <a:cubicBezTo>
                          <a:pt x="18" y="37"/>
                          <a:pt x="19" y="40"/>
                          <a:pt x="21" y="42"/>
                        </a:cubicBezTo>
                        <a:cubicBezTo>
                          <a:pt x="22" y="43"/>
                          <a:pt x="23" y="51"/>
                          <a:pt x="27" y="59"/>
                        </a:cubicBezTo>
                        <a:cubicBezTo>
                          <a:pt x="30" y="66"/>
                          <a:pt x="35" y="73"/>
                          <a:pt x="35" y="73"/>
                        </a:cubicBezTo>
                        <a:cubicBezTo>
                          <a:pt x="35" y="73"/>
                          <a:pt x="25" y="74"/>
                          <a:pt x="19" y="76"/>
                        </a:cubicBezTo>
                        <a:cubicBezTo>
                          <a:pt x="13" y="78"/>
                          <a:pt x="9" y="80"/>
                          <a:pt x="9" y="8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9" name="Freeform 98"/>
                  <p:cNvSpPr>
                    <a:spLocks/>
                  </p:cNvSpPr>
                  <p:nvPr/>
                </p:nvSpPr>
                <p:spPr bwMode="auto">
                  <a:xfrm>
                    <a:off x="3578225" y="4071938"/>
                    <a:ext cx="11113" cy="17463"/>
                  </a:xfrm>
                  <a:custGeom>
                    <a:avLst/>
                    <a:gdLst>
                      <a:gd name="T0" fmla="*/ 10 w 31"/>
                      <a:gd name="T1" fmla="*/ 1 h 42"/>
                      <a:gd name="T2" fmla="*/ 2 w 31"/>
                      <a:gd name="T3" fmla="*/ 12 h 42"/>
                      <a:gd name="T4" fmla="*/ 1 w 31"/>
                      <a:gd name="T5" fmla="*/ 28 h 42"/>
                      <a:gd name="T6" fmla="*/ 8 w 31"/>
                      <a:gd name="T7" fmla="*/ 36 h 42"/>
                      <a:gd name="T8" fmla="*/ 22 w 31"/>
                      <a:gd name="T9" fmla="*/ 42 h 42"/>
                      <a:gd name="T10" fmla="*/ 31 w 31"/>
                      <a:gd name="T11" fmla="*/ 42 h 42"/>
                      <a:gd name="T12" fmla="*/ 19 w 31"/>
                      <a:gd name="T13" fmla="*/ 2 h 42"/>
                      <a:gd name="T14" fmla="*/ 10 w 31"/>
                      <a:gd name="T15" fmla="*/ 1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1" h="42">
                        <a:moveTo>
                          <a:pt x="10" y="1"/>
                        </a:moveTo>
                        <a:cubicBezTo>
                          <a:pt x="10" y="1"/>
                          <a:pt x="4" y="6"/>
                          <a:pt x="2" y="12"/>
                        </a:cubicBezTo>
                        <a:cubicBezTo>
                          <a:pt x="0" y="18"/>
                          <a:pt x="0" y="25"/>
                          <a:pt x="1" y="28"/>
                        </a:cubicBezTo>
                        <a:cubicBezTo>
                          <a:pt x="2" y="30"/>
                          <a:pt x="4" y="33"/>
                          <a:pt x="8" y="36"/>
                        </a:cubicBezTo>
                        <a:cubicBezTo>
                          <a:pt x="13" y="40"/>
                          <a:pt x="17" y="42"/>
                          <a:pt x="22" y="42"/>
                        </a:cubicBezTo>
                        <a:cubicBezTo>
                          <a:pt x="26" y="42"/>
                          <a:pt x="31" y="42"/>
                          <a:pt x="31" y="42"/>
                        </a:cubicBezTo>
                        <a:cubicBezTo>
                          <a:pt x="31" y="42"/>
                          <a:pt x="21" y="4"/>
                          <a:pt x="19" y="2"/>
                        </a:cubicBezTo>
                        <a:cubicBezTo>
                          <a:pt x="16" y="0"/>
                          <a:pt x="13" y="0"/>
                          <a:pt x="10" y="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0" name="Freeform 99"/>
                  <p:cNvSpPr>
                    <a:spLocks/>
                  </p:cNvSpPr>
                  <p:nvPr/>
                </p:nvSpPr>
                <p:spPr bwMode="auto">
                  <a:xfrm>
                    <a:off x="3581400" y="4062413"/>
                    <a:ext cx="44450" cy="12700"/>
                  </a:xfrm>
                  <a:custGeom>
                    <a:avLst/>
                    <a:gdLst>
                      <a:gd name="T0" fmla="*/ 2 w 112"/>
                      <a:gd name="T1" fmla="*/ 30 h 31"/>
                      <a:gd name="T2" fmla="*/ 9 w 112"/>
                      <a:gd name="T3" fmla="*/ 28 h 31"/>
                      <a:gd name="T4" fmla="*/ 29 w 112"/>
                      <a:gd name="T5" fmla="*/ 19 h 31"/>
                      <a:gd name="T6" fmla="*/ 60 w 112"/>
                      <a:gd name="T7" fmla="*/ 16 h 31"/>
                      <a:gd name="T8" fmla="*/ 99 w 112"/>
                      <a:gd name="T9" fmla="*/ 15 h 31"/>
                      <a:gd name="T10" fmla="*/ 111 w 112"/>
                      <a:gd name="T11" fmla="*/ 19 h 31"/>
                      <a:gd name="T12" fmla="*/ 112 w 112"/>
                      <a:gd name="T13" fmla="*/ 14 h 31"/>
                      <a:gd name="T14" fmla="*/ 111 w 112"/>
                      <a:gd name="T15" fmla="*/ 9 h 31"/>
                      <a:gd name="T16" fmla="*/ 93 w 112"/>
                      <a:gd name="T17" fmla="*/ 2 h 31"/>
                      <a:gd name="T18" fmla="*/ 40 w 112"/>
                      <a:gd name="T19" fmla="*/ 5 h 31"/>
                      <a:gd name="T20" fmla="*/ 1 w 112"/>
                      <a:gd name="T21" fmla="*/ 17 h 31"/>
                      <a:gd name="T22" fmla="*/ 1 w 112"/>
                      <a:gd name="T23" fmla="*/ 24 h 31"/>
                      <a:gd name="T24" fmla="*/ 2 w 112"/>
                      <a:gd name="T25" fmla="*/ 30 h 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2" h="31">
                        <a:moveTo>
                          <a:pt x="2" y="30"/>
                        </a:moveTo>
                        <a:cubicBezTo>
                          <a:pt x="3" y="31"/>
                          <a:pt x="6" y="30"/>
                          <a:pt x="9" y="28"/>
                        </a:cubicBezTo>
                        <a:cubicBezTo>
                          <a:pt x="12" y="26"/>
                          <a:pt x="22" y="22"/>
                          <a:pt x="29" y="19"/>
                        </a:cubicBezTo>
                        <a:cubicBezTo>
                          <a:pt x="36" y="17"/>
                          <a:pt x="49" y="16"/>
                          <a:pt x="60" y="16"/>
                        </a:cubicBezTo>
                        <a:cubicBezTo>
                          <a:pt x="72" y="15"/>
                          <a:pt x="92" y="13"/>
                          <a:pt x="99" y="15"/>
                        </a:cubicBezTo>
                        <a:cubicBezTo>
                          <a:pt x="106" y="17"/>
                          <a:pt x="111" y="20"/>
                          <a:pt x="111" y="19"/>
                        </a:cubicBezTo>
                        <a:cubicBezTo>
                          <a:pt x="112" y="17"/>
                          <a:pt x="112" y="16"/>
                          <a:pt x="112" y="14"/>
                        </a:cubicBezTo>
                        <a:cubicBezTo>
                          <a:pt x="112" y="11"/>
                          <a:pt x="111" y="9"/>
                          <a:pt x="111" y="9"/>
                        </a:cubicBezTo>
                        <a:cubicBezTo>
                          <a:pt x="111" y="9"/>
                          <a:pt x="108" y="4"/>
                          <a:pt x="93" y="2"/>
                        </a:cubicBezTo>
                        <a:cubicBezTo>
                          <a:pt x="78" y="0"/>
                          <a:pt x="62" y="1"/>
                          <a:pt x="40" y="5"/>
                        </a:cubicBezTo>
                        <a:cubicBezTo>
                          <a:pt x="20" y="9"/>
                          <a:pt x="1" y="17"/>
                          <a:pt x="1" y="17"/>
                        </a:cubicBezTo>
                        <a:cubicBezTo>
                          <a:pt x="1" y="17"/>
                          <a:pt x="0" y="20"/>
                          <a:pt x="1" y="24"/>
                        </a:cubicBezTo>
                        <a:cubicBezTo>
                          <a:pt x="1" y="28"/>
                          <a:pt x="1" y="30"/>
                          <a:pt x="2" y="3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1" name="Freeform 100"/>
                  <p:cNvSpPr>
                    <a:spLocks/>
                  </p:cNvSpPr>
                  <p:nvPr/>
                </p:nvSpPr>
                <p:spPr bwMode="auto">
                  <a:xfrm>
                    <a:off x="3581400" y="4043363"/>
                    <a:ext cx="44450" cy="26988"/>
                  </a:xfrm>
                  <a:custGeom>
                    <a:avLst/>
                    <a:gdLst>
                      <a:gd name="T0" fmla="*/ 112 w 114"/>
                      <a:gd name="T1" fmla="*/ 56 h 68"/>
                      <a:gd name="T2" fmla="*/ 112 w 114"/>
                      <a:gd name="T3" fmla="*/ 46 h 68"/>
                      <a:gd name="T4" fmla="*/ 100 w 114"/>
                      <a:gd name="T5" fmla="*/ 21 h 68"/>
                      <a:gd name="T6" fmla="*/ 80 w 114"/>
                      <a:gd name="T7" fmla="*/ 5 h 68"/>
                      <a:gd name="T8" fmla="*/ 48 w 114"/>
                      <a:gd name="T9" fmla="*/ 1 h 68"/>
                      <a:gd name="T10" fmla="*/ 15 w 114"/>
                      <a:gd name="T11" fmla="*/ 24 h 68"/>
                      <a:gd name="T12" fmla="*/ 3 w 114"/>
                      <a:gd name="T13" fmla="*/ 53 h 68"/>
                      <a:gd name="T14" fmla="*/ 2 w 114"/>
                      <a:gd name="T15" fmla="*/ 64 h 68"/>
                      <a:gd name="T16" fmla="*/ 9 w 114"/>
                      <a:gd name="T17" fmla="*/ 67 h 68"/>
                      <a:gd name="T18" fmla="*/ 54 w 114"/>
                      <a:gd name="T19" fmla="*/ 57 h 68"/>
                      <a:gd name="T20" fmla="*/ 112 w 114"/>
                      <a:gd name="T21" fmla="*/ 56 h 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68">
                        <a:moveTo>
                          <a:pt x="112" y="56"/>
                        </a:moveTo>
                        <a:cubicBezTo>
                          <a:pt x="112" y="56"/>
                          <a:pt x="114" y="55"/>
                          <a:pt x="112" y="46"/>
                        </a:cubicBezTo>
                        <a:cubicBezTo>
                          <a:pt x="110" y="38"/>
                          <a:pt x="105" y="27"/>
                          <a:pt x="100" y="21"/>
                        </a:cubicBezTo>
                        <a:cubicBezTo>
                          <a:pt x="96" y="16"/>
                          <a:pt x="90" y="9"/>
                          <a:pt x="80" y="5"/>
                        </a:cubicBezTo>
                        <a:cubicBezTo>
                          <a:pt x="70" y="1"/>
                          <a:pt x="59" y="0"/>
                          <a:pt x="48" y="1"/>
                        </a:cubicBezTo>
                        <a:cubicBezTo>
                          <a:pt x="37" y="3"/>
                          <a:pt x="22" y="12"/>
                          <a:pt x="15" y="24"/>
                        </a:cubicBezTo>
                        <a:cubicBezTo>
                          <a:pt x="8" y="37"/>
                          <a:pt x="5" y="44"/>
                          <a:pt x="3" y="53"/>
                        </a:cubicBezTo>
                        <a:cubicBezTo>
                          <a:pt x="0" y="63"/>
                          <a:pt x="2" y="64"/>
                          <a:pt x="2" y="64"/>
                        </a:cubicBezTo>
                        <a:cubicBezTo>
                          <a:pt x="2" y="64"/>
                          <a:pt x="3" y="68"/>
                          <a:pt x="9" y="67"/>
                        </a:cubicBezTo>
                        <a:cubicBezTo>
                          <a:pt x="14" y="66"/>
                          <a:pt x="40" y="60"/>
                          <a:pt x="54" y="57"/>
                        </a:cubicBezTo>
                        <a:cubicBezTo>
                          <a:pt x="69" y="55"/>
                          <a:pt x="107" y="58"/>
                          <a:pt x="112" y="5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2" name="Freeform 101"/>
                  <p:cNvSpPr>
                    <a:spLocks/>
                  </p:cNvSpPr>
                  <p:nvPr/>
                </p:nvSpPr>
                <p:spPr bwMode="auto">
                  <a:xfrm>
                    <a:off x="3446463" y="3940175"/>
                    <a:ext cx="44450" cy="76200"/>
                  </a:xfrm>
                  <a:custGeom>
                    <a:avLst/>
                    <a:gdLst>
                      <a:gd name="T0" fmla="*/ 49 w 114"/>
                      <a:gd name="T1" fmla="*/ 0 h 194"/>
                      <a:gd name="T2" fmla="*/ 71 w 114"/>
                      <a:gd name="T3" fmla="*/ 62 h 194"/>
                      <a:gd name="T4" fmla="*/ 94 w 114"/>
                      <a:gd name="T5" fmla="*/ 144 h 194"/>
                      <a:gd name="T6" fmla="*/ 114 w 114"/>
                      <a:gd name="T7" fmla="*/ 194 h 194"/>
                      <a:gd name="T8" fmla="*/ 47 w 114"/>
                      <a:gd name="T9" fmla="*/ 160 h 194"/>
                      <a:gd name="T10" fmla="*/ 0 w 114"/>
                      <a:gd name="T11" fmla="*/ 70 h 194"/>
                      <a:gd name="T12" fmla="*/ 49 w 114"/>
                      <a:gd name="T13" fmla="*/ 0 h 1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14" h="194">
                        <a:moveTo>
                          <a:pt x="49" y="0"/>
                        </a:moveTo>
                        <a:cubicBezTo>
                          <a:pt x="49" y="0"/>
                          <a:pt x="61" y="36"/>
                          <a:pt x="71" y="62"/>
                        </a:cubicBezTo>
                        <a:cubicBezTo>
                          <a:pt x="80" y="88"/>
                          <a:pt x="76" y="118"/>
                          <a:pt x="94" y="144"/>
                        </a:cubicBezTo>
                        <a:cubicBezTo>
                          <a:pt x="112" y="170"/>
                          <a:pt x="114" y="194"/>
                          <a:pt x="114" y="194"/>
                        </a:cubicBezTo>
                        <a:cubicBezTo>
                          <a:pt x="47" y="160"/>
                          <a:pt x="47" y="160"/>
                          <a:pt x="47" y="160"/>
                        </a:cubicBezTo>
                        <a:cubicBezTo>
                          <a:pt x="0" y="70"/>
                          <a:pt x="0" y="70"/>
                          <a:pt x="0" y="70"/>
                        </a:cubicBezTo>
                        <a:lnTo>
                          <a:pt x="49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3" name="Freeform 102"/>
                  <p:cNvSpPr>
                    <a:spLocks/>
                  </p:cNvSpPr>
                  <p:nvPr/>
                </p:nvSpPr>
                <p:spPr bwMode="auto">
                  <a:xfrm>
                    <a:off x="4238625" y="4179888"/>
                    <a:ext cx="19050" cy="30163"/>
                  </a:xfrm>
                  <a:custGeom>
                    <a:avLst/>
                    <a:gdLst>
                      <a:gd name="T0" fmla="*/ 41 w 50"/>
                      <a:gd name="T1" fmla="*/ 11 h 75"/>
                      <a:gd name="T2" fmla="*/ 39 w 50"/>
                      <a:gd name="T3" fmla="*/ 18 h 75"/>
                      <a:gd name="T4" fmla="*/ 38 w 50"/>
                      <a:gd name="T5" fmla="*/ 22 h 75"/>
                      <a:gd name="T6" fmla="*/ 45 w 50"/>
                      <a:gd name="T7" fmla="*/ 46 h 75"/>
                      <a:gd name="T8" fmla="*/ 50 w 50"/>
                      <a:gd name="T9" fmla="*/ 60 h 75"/>
                      <a:gd name="T10" fmla="*/ 42 w 50"/>
                      <a:gd name="T11" fmla="*/ 71 h 75"/>
                      <a:gd name="T12" fmla="*/ 22 w 50"/>
                      <a:gd name="T13" fmla="*/ 75 h 75"/>
                      <a:gd name="T14" fmla="*/ 14 w 50"/>
                      <a:gd name="T15" fmla="*/ 69 h 75"/>
                      <a:gd name="T16" fmla="*/ 11 w 50"/>
                      <a:gd name="T17" fmla="*/ 56 h 75"/>
                      <a:gd name="T18" fmla="*/ 9 w 50"/>
                      <a:gd name="T19" fmla="*/ 33 h 75"/>
                      <a:gd name="T20" fmla="*/ 7 w 50"/>
                      <a:gd name="T21" fmla="*/ 27 h 75"/>
                      <a:gd name="T22" fmla="*/ 2 w 50"/>
                      <a:gd name="T23" fmla="*/ 24 h 75"/>
                      <a:gd name="T24" fmla="*/ 0 w 50"/>
                      <a:gd name="T25" fmla="*/ 18 h 75"/>
                      <a:gd name="T26" fmla="*/ 2 w 50"/>
                      <a:gd name="T27" fmla="*/ 10 h 75"/>
                      <a:gd name="T28" fmla="*/ 36 w 50"/>
                      <a:gd name="T29" fmla="*/ 4 h 75"/>
                      <a:gd name="T30" fmla="*/ 41 w 50"/>
                      <a:gd name="T31" fmla="*/ 11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50" h="75">
                        <a:moveTo>
                          <a:pt x="41" y="11"/>
                        </a:moveTo>
                        <a:cubicBezTo>
                          <a:pt x="42" y="14"/>
                          <a:pt x="40" y="16"/>
                          <a:pt x="39" y="18"/>
                        </a:cubicBezTo>
                        <a:cubicBezTo>
                          <a:pt x="38" y="20"/>
                          <a:pt x="37" y="21"/>
                          <a:pt x="38" y="22"/>
                        </a:cubicBezTo>
                        <a:cubicBezTo>
                          <a:pt x="38" y="24"/>
                          <a:pt x="43" y="40"/>
                          <a:pt x="45" y="46"/>
                        </a:cubicBezTo>
                        <a:cubicBezTo>
                          <a:pt x="47" y="52"/>
                          <a:pt x="49" y="58"/>
                          <a:pt x="50" y="60"/>
                        </a:cubicBezTo>
                        <a:cubicBezTo>
                          <a:pt x="50" y="63"/>
                          <a:pt x="49" y="68"/>
                          <a:pt x="42" y="71"/>
                        </a:cubicBezTo>
                        <a:cubicBezTo>
                          <a:pt x="35" y="74"/>
                          <a:pt x="27" y="75"/>
                          <a:pt x="22" y="75"/>
                        </a:cubicBezTo>
                        <a:cubicBezTo>
                          <a:pt x="18" y="75"/>
                          <a:pt x="15" y="72"/>
                          <a:pt x="14" y="69"/>
                        </a:cubicBezTo>
                        <a:cubicBezTo>
                          <a:pt x="13" y="67"/>
                          <a:pt x="11" y="60"/>
                          <a:pt x="11" y="56"/>
                        </a:cubicBezTo>
                        <a:cubicBezTo>
                          <a:pt x="10" y="53"/>
                          <a:pt x="9" y="36"/>
                          <a:pt x="9" y="33"/>
                        </a:cubicBezTo>
                        <a:cubicBezTo>
                          <a:pt x="9" y="30"/>
                          <a:pt x="9" y="29"/>
                          <a:pt x="7" y="27"/>
                        </a:cubicBezTo>
                        <a:cubicBezTo>
                          <a:pt x="6" y="26"/>
                          <a:pt x="3" y="25"/>
                          <a:pt x="2" y="24"/>
                        </a:cubicBezTo>
                        <a:cubicBezTo>
                          <a:pt x="1" y="23"/>
                          <a:pt x="0" y="21"/>
                          <a:pt x="0" y="18"/>
                        </a:cubicBezTo>
                        <a:cubicBezTo>
                          <a:pt x="0" y="16"/>
                          <a:pt x="0" y="12"/>
                          <a:pt x="2" y="10"/>
                        </a:cubicBezTo>
                        <a:cubicBezTo>
                          <a:pt x="3" y="7"/>
                          <a:pt x="33" y="0"/>
                          <a:pt x="36" y="4"/>
                        </a:cubicBezTo>
                        <a:cubicBezTo>
                          <a:pt x="39" y="8"/>
                          <a:pt x="41" y="9"/>
                          <a:pt x="41" y="1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4" name="Freeform 103"/>
                  <p:cNvSpPr>
                    <a:spLocks/>
                  </p:cNvSpPr>
                  <p:nvPr/>
                </p:nvSpPr>
                <p:spPr bwMode="auto">
                  <a:xfrm>
                    <a:off x="4237038" y="4175125"/>
                    <a:ext cx="17463" cy="11113"/>
                  </a:xfrm>
                  <a:custGeom>
                    <a:avLst/>
                    <a:gdLst>
                      <a:gd name="T0" fmla="*/ 17 w 43"/>
                      <a:gd name="T1" fmla="*/ 28 h 28"/>
                      <a:gd name="T2" fmla="*/ 2 w 43"/>
                      <a:gd name="T3" fmla="*/ 25 h 28"/>
                      <a:gd name="T4" fmla="*/ 1 w 43"/>
                      <a:gd name="T5" fmla="*/ 14 h 28"/>
                      <a:gd name="T6" fmla="*/ 13 w 43"/>
                      <a:gd name="T7" fmla="*/ 3 h 28"/>
                      <a:gd name="T8" fmla="*/ 34 w 43"/>
                      <a:gd name="T9" fmla="*/ 2 h 28"/>
                      <a:gd name="T10" fmla="*/ 42 w 43"/>
                      <a:gd name="T11" fmla="*/ 10 h 28"/>
                      <a:gd name="T12" fmla="*/ 42 w 43"/>
                      <a:gd name="T13" fmla="*/ 17 h 28"/>
                      <a:gd name="T14" fmla="*/ 34 w 43"/>
                      <a:gd name="T15" fmla="*/ 24 h 28"/>
                      <a:gd name="T16" fmla="*/ 17 w 43"/>
                      <a:gd name="T17" fmla="*/ 28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3" h="28">
                        <a:moveTo>
                          <a:pt x="17" y="28"/>
                        </a:moveTo>
                        <a:cubicBezTo>
                          <a:pt x="11" y="28"/>
                          <a:pt x="3" y="27"/>
                          <a:pt x="2" y="25"/>
                        </a:cubicBezTo>
                        <a:cubicBezTo>
                          <a:pt x="1" y="23"/>
                          <a:pt x="0" y="16"/>
                          <a:pt x="1" y="14"/>
                        </a:cubicBezTo>
                        <a:cubicBezTo>
                          <a:pt x="2" y="11"/>
                          <a:pt x="7" y="5"/>
                          <a:pt x="13" y="3"/>
                        </a:cubicBezTo>
                        <a:cubicBezTo>
                          <a:pt x="19" y="1"/>
                          <a:pt x="29" y="0"/>
                          <a:pt x="34" y="2"/>
                        </a:cubicBezTo>
                        <a:cubicBezTo>
                          <a:pt x="38" y="4"/>
                          <a:pt x="40" y="6"/>
                          <a:pt x="42" y="10"/>
                        </a:cubicBezTo>
                        <a:cubicBezTo>
                          <a:pt x="43" y="14"/>
                          <a:pt x="43" y="16"/>
                          <a:pt x="42" y="17"/>
                        </a:cubicBezTo>
                        <a:cubicBezTo>
                          <a:pt x="42" y="18"/>
                          <a:pt x="38" y="22"/>
                          <a:pt x="34" y="24"/>
                        </a:cubicBezTo>
                        <a:cubicBezTo>
                          <a:pt x="30" y="26"/>
                          <a:pt x="24" y="27"/>
                          <a:pt x="17" y="2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5" name="Freeform 104"/>
                  <p:cNvSpPr>
                    <a:spLocks/>
                  </p:cNvSpPr>
                  <p:nvPr/>
                </p:nvSpPr>
                <p:spPr bwMode="auto">
                  <a:xfrm>
                    <a:off x="4225925" y="4187825"/>
                    <a:ext cx="31750" cy="30163"/>
                  </a:xfrm>
                  <a:custGeom>
                    <a:avLst/>
                    <a:gdLst>
                      <a:gd name="T0" fmla="*/ 0 w 79"/>
                      <a:gd name="T1" fmla="*/ 67 h 76"/>
                      <a:gd name="T2" fmla="*/ 8 w 79"/>
                      <a:gd name="T3" fmla="*/ 73 h 76"/>
                      <a:gd name="T4" fmla="*/ 18 w 79"/>
                      <a:gd name="T5" fmla="*/ 74 h 76"/>
                      <a:gd name="T6" fmla="*/ 33 w 79"/>
                      <a:gd name="T7" fmla="*/ 61 h 76"/>
                      <a:gd name="T8" fmla="*/ 52 w 79"/>
                      <a:gd name="T9" fmla="*/ 35 h 76"/>
                      <a:gd name="T10" fmla="*/ 62 w 79"/>
                      <a:gd name="T11" fmla="*/ 33 h 76"/>
                      <a:gd name="T12" fmla="*/ 71 w 79"/>
                      <a:gd name="T13" fmla="*/ 32 h 76"/>
                      <a:gd name="T14" fmla="*/ 79 w 79"/>
                      <a:gd name="T15" fmla="*/ 29 h 76"/>
                      <a:gd name="T16" fmla="*/ 75 w 79"/>
                      <a:gd name="T17" fmla="*/ 27 h 76"/>
                      <a:gd name="T18" fmla="*/ 67 w 79"/>
                      <a:gd name="T19" fmla="*/ 25 h 76"/>
                      <a:gd name="T20" fmla="*/ 68 w 79"/>
                      <a:gd name="T21" fmla="*/ 22 h 76"/>
                      <a:gd name="T22" fmla="*/ 76 w 79"/>
                      <a:gd name="T23" fmla="*/ 17 h 76"/>
                      <a:gd name="T24" fmla="*/ 76 w 79"/>
                      <a:gd name="T25" fmla="*/ 11 h 76"/>
                      <a:gd name="T26" fmla="*/ 74 w 79"/>
                      <a:gd name="T27" fmla="*/ 10 h 76"/>
                      <a:gd name="T28" fmla="*/ 74 w 79"/>
                      <a:gd name="T29" fmla="*/ 6 h 76"/>
                      <a:gd name="T30" fmla="*/ 72 w 79"/>
                      <a:gd name="T31" fmla="*/ 3 h 76"/>
                      <a:gd name="T32" fmla="*/ 72 w 79"/>
                      <a:gd name="T33" fmla="*/ 1 h 76"/>
                      <a:gd name="T34" fmla="*/ 69 w 79"/>
                      <a:gd name="T35" fmla="*/ 1 h 76"/>
                      <a:gd name="T36" fmla="*/ 59 w 79"/>
                      <a:gd name="T37" fmla="*/ 3 h 76"/>
                      <a:gd name="T38" fmla="*/ 50 w 79"/>
                      <a:gd name="T39" fmla="*/ 8 h 76"/>
                      <a:gd name="T40" fmla="*/ 45 w 79"/>
                      <a:gd name="T41" fmla="*/ 10 h 76"/>
                      <a:gd name="T42" fmla="*/ 41 w 79"/>
                      <a:gd name="T43" fmla="*/ 8 h 76"/>
                      <a:gd name="T44" fmla="*/ 37 w 79"/>
                      <a:gd name="T45" fmla="*/ 10 h 76"/>
                      <a:gd name="T46" fmla="*/ 37 w 79"/>
                      <a:gd name="T47" fmla="*/ 15 h 76"/>
                      <a:gd name="T48" fmla="*/ 38 w 79"/>
                      <a:gd name="T49" fmla="*/ 21 h 76"/>
                      <a:gd name="T50" fmla="*/ 34 w 79"/>
                      <a:gd name="T51" fmla="*/ 29 h 76"/>
                      <a:gd name="T52" fmla="*/ 23 w 79"/>
                      <a:gd name="T53" fmla="*/ 39 h 76"/>
                      <a:gd name="T54" fmla="*/ 15 w 79"/>
                      <a:gd name="T55" fmla="*/ 45 h 76"/>
                      <a:gd name="T56" fmla="*/ 0 w 79"/>
                      <a:gd name="T57" fmla="*/ 67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79" h="76">
                        <a:moveTo>
                          <a:pt x="0" y="67"/>
                        </a:moveTo>
                        <a:cubicBezTo>
                          <a:pt x="0" y="67"/>
                          <a:pt x="5" y="71"/>
                          <a:pt x="8" y="73"/>
                        </a:cubicBezTo>
                        <a:cubicBezTo>
                          <a:pt x="11" y="76"/>
                          <a:pt x="15" y="75"/>
                          <a:pt x="18" y="74"/>
                        </a:cubicBezTo>
                        <a:cubicBezTo>
                          <a:pt x="20" y="72"/>
                          <a:pt x="29" y="65"/>
                          <a:pt x="33" y="61"/>
                        </a:cubicBezTo>
                        <a:cubicBezTo>
                          <a:pt x="37" y="56"/>
                          <a:pt x="50" y="37"/>
                          <a:pt x="52" y="35"/>
                        </a:cubicBezTo>
                        <a:cubicBezTo>
                          <a:pt x="54" y="34"/>
                          <a:pt x="60" y="33"/>
                          <a:pt x="62" y="33"/>
                        </a:cubicBezTo>
                        <a:cubicBezTo>
                          <a:pt x="64" y="32"/>
                          <a:pt x="68" y="32"/>
                          <a:pt x="71" y="32"/>
                        </a:cubicBezTo>
                        <a:cubicBezTo>
                          <a:pt x="73" y="32"/>
                          <a:pt x="79" y="31"/>
                          <a:pt x="79" y="29"/>
                        </a:cubicBezTo>
                        <a:cubicBezTo>
                          <a:pt x="79" y="27"/>
                          <a:pt x="77" y="28"/>
                          <a:pt x="75" y="27"/>
                        </a:cubicBezTo>
                        <a:cubicBezTo>
                          <a:pt x="73" y="27"/>
                          <a:pt x="68" y="26"/>
                          <a:pt x="67" y="25"/>
                        </a:cubicBezTo>
                        <a:cubicBezTo>
                          <a:pt x="67" y="24"/>
                          <a:pt x="67" y="22"/>
                          <a:pt x="68" y="22"/>
                        </a:cubicBezTo>
                        <a:cubicBezTo>
                          <a:pt x="70" y="21"/>
                          <a:pt x="74" y="19"/>
                          <a:pt x="76" y="17"/>
                        </a:cubicBezTo>
                        <a:cubicBezTo>
                          <a:pt x="77" y="14"/>
                          <a:pt x="77" y="13"/>
                          <a:pt x="76" y="11"/>
                        </a:cubicBezTo>
                        <a:cubicBezTo>
                          <a:pt x="76" y="10"/>
                          <a:pt x="74" y="10"/>
                          <a:pt x="74" y="10"/>
                        </a:cubicBezTo>
                        <a:cubicBezTo>
                          <a:pt x="74" y="10"/>
                          <a:pt x="75" y="7"/>
                          <a:pt x="74" y="6"/>
                        </a:cubicBezTo>
                        <a:cubicBezTo>
                          <a:pt x="73" y="4"/>
                          <a:pt x="72" y="3"/>
                          <a:pt x="72" y="3"/>
                        </a:cubicBezTo>
                        <a:cubicBezTo>
                          <a:pt x="72" y="3"/>
                          <a:pt x="72" y="3"/>
                          <a:pt x="72" y="1"/>
                        </a:cubicBezTo>
                        <a:cubicBezTo>
                          <a:pt x="71" y="0"/>
                          <a:pt x="70" y="0"/>
                          <a:pt x="69" y="1"/>
                        </a:cubicBezTo>
                        <a:cubicBezTo>
                          <a:pt x="68" y="1"/>
                          <a:pt x="63" y="2"/>
                          <a:pt x="59" y="3"/>
                        </a:cubicBezTo>
                        <a:cubicBezTo>
                          <a:pt x="56" y="5"/>
                          <a:pt x="53" y="7"/>
                          <a:pt x="50" y="8"/>
                        </a:cubicBezTo>
                        <a:cubicBezTo>
                          <a:pt x="47" y="10"/>
                          <a:pt x="47" y="10"/>
                          <a:pt x="45" y="10"/>
                        </a:cubicBezTo>
                        <a:cubicBezTo>
                          <a:pt x="43" y="10"/>
                          <a:pt x="41" y="8"/>
                          <a:pt x="41" y="8"/>
                        </a:cubicBezTo>
                        <a:cubicBezTo>
                          <a:pt x="41" y="8"/>
                          <a:pt x="38" y="8"/>
                          <a:pt x="37" y="10"/>
                        </a:cubicBezTo>
                        <a:cubicBezTo>
                          <a:pt x="36" y="12"/>
                          <a:pt x="36" y="13"/>
                          <a:pt x="37" y="15"/>
                        </a:cubicBezTo>
                        <a:cubicBezTo>
                          <a:pt x="38" y="16"/>
                          <a:pt x="38" y="18"/>
                          <a:pt x="38" y="21"/>
                        </a:cubicBezTo>
                        <a:cubicBezTo>
                          <a:pt x="38" y="24"/>
                          <a:pt x="36" y="25"/>
                          <a:pt x="34" y="29"/>
                        </a:cubicBezTo>
                        <a:cubicBezTo>
                          <a:pt x="31" y="33"/>
                          <a:pt x="27" y="37"/>
                          <a:pt x="23" y="39"/>
                        </a:cubicBezTo>
                        <a:cubicBezTo>
                          <a:pt x="19" y="42"/>
                          <a:pt x="15" y="45"/>
                          <a:pt x="15" y="45"/>
                        </a:cubicBezTo>
                        <a:lnTo>
                          <a:pt x="0" y="67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6" name="Freeform 105"/>
                  <p:cNvSpPr>
                    <a:spLocks/>
                  </p:cNvSpPr>
                  <p:nvPr/>
                </p:nvSpPr>
                <p:spPr bwMode="auto">
                  <a:xfrm>
                    <a:off x="4176713" y="4170363"/>
                    <a:ext cx="57150" cy="158750"/>
                  </a:xfrm>
                  <a:custGeom>
                    <a:avLst/>
                    <a:gdLst>
                      <a:gd name="T0" fmla="*/ 128 w 144"/>
                      <a:gd name="T1" fmla="*/ 64 h 405"/>
                      <a:gd name="T2" fmla="*/ 143 w 144"/>
                      <a:gd name="T3" fmla="*/ 95 h 405"/>
                      <a:gd name="T4" fmla="*/ 132 w 144"/>
                      <a:gd name="T5" fmla="*/ 110 h 405"/>
                      <a:gd name="T6" fmla="*/ 122 w 144"/>
                      <a:gd name="T7" fmla="*/ 116 h 405"/>
                      <a:gd name="T8" fmla="*/ 123 w 144"/>
                      <a:gd name="T9" fmla="*/ 142 h 405"/>
                      <a:gd name="T10" fmla="*/ 110 w 144"/>
                      <a:gd name="T11" fmla="*/ 189 h 405"/>
                      <a:gd name="T12" fmla="*/ 103 w 144"/>
                      <a:gd name="T13" fmla="*/ 192 h 405"/>
                      <a:gd name="T14" fmla="*/ 106 w 144"/>
                      <a:gd name="T15" fmla="*/ 222 h 405"/>
                      <a:gd name="T16" fmla="*/ 111 w 144"/>
                      <a:gd name="T17" fmla="*/ 280 h 405"/>
                      <a:gd name="T18" fmla="*/ 108 w 144"/>
                      <a:gd name="T19" fmla="*/ 303 h 405"/>
                      <a:gd name="T20" fmla="*/ 97 w 144"/>
                      <a:gd name="T21" fmla="*/ 305 h 405"/>
                      <a:gd name="T22" fmla="*/ 95 w 144"/>
                      <a:gd name="T23" fmla="*/ 335 h 405"/>
                      <a:gd name="T24" fmla="*/ 90 w 144"/>
                      <a:gd name="T25" fmla="*/ 368 h 405"/>
                      <a:gd name="T26" fmla="*/ 105 w 144"/>
                      <a:gd name="T27" fmla="*/ 379 h 405"/>
                      <a:gd name="T28" fmla="*/ 122 w 144"/>
                      <a:gd name="T29" fmla="*/ 389 h 405"/>
                      <a:gd name="T30" fmla="*/ 126 w 144"/>
                      <a:gd name="T31" fmla="*/ 397 h 405"/>
                      <a:gd name="T32" fmla="*/ 118 w 144"/>
                      <a:gd name="T33" fmla="*/ 404 h 405"/>
                      <a:gd name="T34" fmla="*/ 83 w 144"/>
                      <a:gd name="T35" fmla="*/ 403 h 405"/>
                      <a:gd name="T36" fmla="*/ 51 w 144"/>
                      <a:gd name="T37" fmla="*/ 397 h 405"/>
                      <a:gd name="T38" fmla="*/ 28 w 144"/>
                      <a:gd name="T39" fmla="*/ 397 h 405"/>
                      <a:gd name="T40" fmla="*/ 18 w 144"/>
                      <a:gd name="T41" fmla="*/ 387 h 405"/>
                      <a:gd name="T42" fmla="*/ 24 w 144"/>
                      <a:gd name="T43" fmla="*/ 366 h 405"/>
                      <a:gd name="T44" fmla="*/ 28 w 144"/>
                      <a:gd name="T45" fmla="*/ 360 h 405"/>
                      <a:gd name="T46" fmla="*/ 26 w 144"/>
                      <a:gd name="T47" fmla="*/ 331 h 405"/>
                      <a:gd name="T48" fmla="*/ 25 w 144"/>
                      <a:gd name="T49" fmla="*/ 309 h 405"/>
                      <a:gd name="T50" fmla="*/ 16 w 144"/>
                      <a:gd name="T51" fmla="*/ 307 h 405"/>
                      <a:gd name="T52" fmla="*/ 10 w 144"/>
                      <a:gd name="T53" fmla="*/ 292 h 405"/>
                      <a:gd name="T54" fmla="*/ 2 w 144"/>
                      <a:gd name="T55" fmla="*/ 223 h 405"/>
                      <a:gd name="T56" fmla="*/ 7 w 144"/>
                      <a:gd name="T57" fmla="*/ 176 h 405"/>
                      <a:gd name="T58" fmla="*/ 12 w 144"/>
                      <a:gd name="T59" fmla="*/ 164 h 405"/>
                      <a:gd name="T60" fmla="*/ 10 w 144"/>
                      <a:gd name="T61" fmla="*/ 140 h 405"/>
                      <a:gd name="T62" fmla="*/ 5 w 144"/>
                      <a:gd name="T63" fmla="*/ 100 h 405"/>
                      <a:gd name="T64" fmla="*/ 14 w 144"/>
                      <a:gd name="T65" fmla="*/ 51 h 405"/>
                      <a:gd name="T66" fmla="*/ 25 w 144"/>
                      <a:gd name="T67" fmla="*/ 38 h 405"/>
                      <a:gd name="T68" fmla="*/ 37 w 144"/>
                      <a:gd name="T69" fmla="*/ 34 h 405"/>
                      <a:gd name="T70" fmla="*/ 36 w 144"/>
                      <a:gd name="T71" fmla="*/ 29 h 405"/>
                      <a:gd name="T72" fmla="*/ 36 w 144"/>
                      <a:gd name="T73" fmla="*/ 14 h 405"/>
                      <a:gd name="T74" fmla="*/ 116 w 144"/>
                      <a:gd name="T75" fmla="*/ 0 h 405"/>
                      <a:gd name="T76" fmla="*/ 110 w 144"/>
                      <a:gd name="T77" fmla="*/ 13 h 405"/>
                      <a:gd name="T78" fmla="*/ 103 w 144"/>
                      <a:gd name="T79" fmla="*/ 24 h 405"/>
                      <a:gd name="T80" fmla="*/ 93 w 144"/>
                      <a:gd name="T81" fmla="*/ 29 h 405"/>
                      <a:gd name="T82" fmla="*/ 84 w 144"/>
                      <a:gd name="T83" fmla="*/ 29 h 405"/>
                      <a:gd name="T84" fmla="*/ 84 w 144"/>
                      <a:gd name="T85" fmla="*/ 30 h 405"/>
                      <a:gd name="T86" fmla="*/ 84 w 144"/>
                      <a:gd name="T87" fmla="*/ 31 h 405"/>
                      <a:gd name="T88" fmla="*/ 88 w 144"/>
                      <a:gd name="T89" fmla="*/ 32 h 405"/>
                      <a:gd name="T90" fmla="*/ 97 w 144"/>
                      <a:gd name="T91" fmla="*/ 38 h 405"/>
                      <a:gd name="T92" fmla="*/ 115 w 144"/>
                      <a:gd name="T93" fmla="*/ 48 h 405"/>
                      <a:gd name="T94" fmla="*/ 128 w 144"/>
                      <a:gd name="T95" fmla="*/ 64 h 4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44" h="405">
                        <a:moveTo>
                          <a:pt x="128" y="64"/>
                        </a:moveTo>
                        <a:cubicBezTo>
                          <a:pt x="136" y="79"/>
                          <a:pt x="144" y="92"/>
                          <a:pt x="143" y="95"/>
                        </a:cubicBezTo>
                        <a:cubicBezTo>
                          <a:pt x="142" y="98"/>
                          <a:pt x="137" y="105"/>
                          <a:pt x="132" y="110"/>
                        </a:cubicBezTo>
                        <a:cubicBezTo>
                          <a:pt x="126" y="115"/>
                          <a:pt x="122" y="116"/>
                          <a:pt x="122" y="116"/>
                        </a:cubicBezTo>
                        <a:cubicBezTo>
                          <a:pt x="122" y="116"/>
                          <a:pt x="124" y="125"/>
                          <a:pt x="123" y="142"/>
                        </a:cubicBezTo>
                        <a:cubicBezTo>
                          <a:pt x="122" y="159"/>
                          <a:pt x="112" y="186"/>
                          <a:pt x="110" y="189"/>
                        </a:cubicBezTo>
                        <a:cubicBezTo>
                          <a:pt x="108" y="193"/>
                          <a:pt x="103" y="192"/>
                          <a:pt x="103" y="192"/>
                        </a:cubicBezTo>
                        <a:cubicBezTo>
                          <a:pt x="103" y="192"/>
                          <a:pt x="106" y="207"/>
                          <a:pt x="106" y="222"/>
                        </a:cubicBezTo>
                        <a:cubicBezTo>
                          <a:pt x="106" y="238"/>
                          <a:pt x="110" y="263"/>
                          <a:pt x="111" y="280"/>
                        </a:cubicBezTo>
                        <a:cubicBezTo>
                          <a:pt x="112" y="297"/>
                          <a:pt x="112" y="303"/>
                          <a:pt x="108" y="303"/>
                        </a:cubicBezTo>
                        <a:cubicBezTo>
                          <a:pt x="104" y="304"/>
                          <a:pt x="97" y="305"/>
                          <a:pt x="97" y="305"/>
                        </a:cubicBezTo>
                        <a:cubicBezTo>
                          <a:pt x="97" y="305"/>
                          <a:pt x="97" y="318"/>
                          <a:pt x="95" y="335"/>
                        </a:cubicBezTo>
                        <a:cubicBezTo>
                          <a:pt x="92" y="353"/>
                          <a:pt x="90" y="368"/>
                          <a:pt x="90" y="368"/>
                        </a:cubicBezTo>
                        <a:cubicBezTo>
                          <a:pt x="90" y="368"/>
                          <a:pt x="97" y="373"/>
                          <a:pt x="105" y="379"/>
                        </a:cubicBezTo>
                        <a:cubicBezTo>
                          <a:pt x="113" y="385"/>
                          <a:pt x="116" y="387"/>
                          <a:pt x="122" y="389"/>
                        </a:cubicBezTo>
                        <a:cubicBezTo>
                          <a:pt x="127" y="391"/>
                          <a:pt x="126" y="394"/>
                          <a:pt x="126" y="397"/>
                        </a:cubicBezTo>
                        <a:cubicBezTo>
                          <a:pt x="126" y="400"/>
                          <a:pt x="124" y="403"/>
                          <a:pt x="118" y="404"/>
                        </a:cubicBezTo>
                        <a:cubicBezTo>
                          <a:pt x="112" y="404"/>
                          <a:pt x="108" y="405"/>
                          <a:pt x="83" y="403"/>
                        </a:cubicBezTo>
                        <a:cubicBezTo>
                          <a:pt x="57" y="402"/>
                          <a:pt x="51" y="397"/>
                          <a:pt x="51" y="397"/>
                        </a:cubicBezTo>
                        <a:cubicBezTo>
                          <a:pt x="51" y="397"/>
                          <a:pt x="34" y="399"/>
                          <a:pt x="28" y="397"/>
                        </a:cubicBezTo>
                        <a:cubicBezTo>
                          <a:pt x="21" y="396"/>
                          <a:pt x="16" y="393"/>
                          <a:pt x="18" y="387"/>
                        </a:cubicBezTo>
                        <a:cubicBezTo>
                          <a:pt x="19" y="381"/>
                          <a:pt x="22" y="369"/>
                          <a:pt x="24" y="366"/>
                        </a:cubicBezTo>
                        <a:cubicBezTo>
                          <a:pt x="25" y="362"/>
                          <a:pt x="28" y="360"/>
                          <a:pt x="28" y="360"/>
                        </a:cubicBezTo>
                        <a:cubicBezTo>
                          <a:pt x="28" y="360"/>
                          <a:pt x="27" y="345"/>
                          <a:pt x="26" y="331"/>
                        </a:cubicBezTo>
                        <a:cubicBezTo>
                          <a:pt x="25" y="318"/>
                          <a:pt x="25" y="309"/>
                          <a:pt x="25" y="309"/>
                        </a:cubicBezTo>
                        <a:cubicBezTo>
                          <a:pt x="25" y="309"/>
                          <a:pt x="17" y="308"/>
                          <a:pt x="16" y="307"/>
                        </a:cubicBezTo>
                        <a:cubicBezTo>
                          <a:pt x="14" y="307"/>
                          <a:pt x="12" y="304"/>
                          <a:pt x="10" y="292"/>
                        </a:cubicBezTo>
                        <a:cubicBezTo>
                          <a:pt x="8" y="280"/>
                          <a:pt x="3" y="235"/>
                          <a:pt x="2" y="223"/>
                        </a:cubicBezTo>
                        <a:cubicBezTo>
                          <a:pt x="0" y="211"/>
                          <a:pt x="6" y="180"/>
                          <a:pt x="7" y="176"/>
                        </a:cubicBezTo>
                        <a:cubicBezTo>
                          <a:pt x="9" y="171"/>
                          <a:pt x="12" y="164"/>
                          <a:pt x="12" y="164"/>
                        </a:cubicBezTo>
                        <a:cubicBezTo>
                          <a:pt x="12" y="164"/>
                          <a:pt x="11" y="152"/>
                          <a:pt x="10" y="140"/>
                        </a:cubicBezTo>
                        <a:cubicBezTo>
                          <a:pt x="9" y="129"/>
                          <a:pt x="5" y="115"/>
                          <a:pt x="5" y="100"/>
                        </a:cubicBezTo>
                        <a:cubicBezTo>
                          <a:pt x="6" y="84"/>
                          <a:pt x="10" y="58"/>
                          <a:pt x="14" y="51"/>
                        </a:cubicBezTo>
                        <a:cubicBezTo>
                          <a:pt x="19" y="43"/>
                          <a:pt x="21" y="40"/>
                          <a:pt x="25" y="38"/>
                        </a:cubicBezTo>
                        <a:cubicBezTo>
                          <a:pt x="28" y="36"/>
                          <a:pt x="37" y="34"/>
                          <a:pt x="37" y="34"/>
                        </a:cubicBezTo>
                        <a:cubicBezTo>
                          <a:pt x="37" y="34"/>
                          <a:pt x="36" y="32"/>
                          <a:pt x="36" y="29"/>
                        </a:cubicBezTo>
                        <a:cubicBezTo>
                          <a:pt x="36" y="27"/>
                          <a:pt x="36" y="18"/>
                          <a:pt x="36" y="14"/>
                        </a:cubicBezTo>
                        <a:cubicBezTo>
                          <a:pt x="36" y="9"/>
                          <a:pt x="116" y="0"/>
                          <a:pt x="116" y="0"/>
                        </a:cubicBezTo>
                        <a:cubicBezTo>
                          <a:pt x="116" y="0"/>
                          <a:pt x="112" y="10"/>
                          <a:pt x="110" y="13"/>
                        </a:cubicBezTo>
                        <a:cubicBezTo>
                          <a:pt x="109" y="15"/>
                          <a:pt x="105" y="20"/>
                          <a:pt x="103" y="24"/>
                        </a:cubicBezTo>
                        <a:cubicBezTo>
                          <a:pt x="101" y="27"/>
                          <a:pt x="97" y="29"/>
                          <a:pt x="93" y="29"/>
                        </a:cubicBezTo>
                        <a:cubicBezTo>
                          <a:pt x="91" y="29"/>
                          <a:pt x="84" y="29"/>
                          <a:pt x="84" y="29"/>
                        </a:cubicBezTo>
                        <a:cubicBezTo>
                          <a:pt x="84" y="29"/>
                          <a:pt x="84" y="29"/>
                          <a:pt x="84" y="30"/>
                        </a:cubicBezTo>
                        <a:cubicBezTo>
                          <a:pt x="84" y="30"/>
                          <a:pt x="84" y="31"/>
                          <a:pt x="84" y="31"/>
                        </a:cubicBezTo>
                        <a:cubicBezTo>
                          <a:pt x="84" y="31"/>
                          <a:pt x="86" y="30"/>
                          <a:pt x="88" y="32"/>
                        </a:cubicBezTo>
                        <a:cubicBezTo>
                          <a:pt x="90" y="34"/>
                          <a:pt x="95" y="37"/>
                          <a:pt x="97" y="38"/>
                        </a:cubicBezTo>
                        <a:cubicBezTo>
                          <a:pt x="100" y="38"/>
                          <a:pt x="111" y="42"/>
                          <a:pt x="115" y="48"/>
                        </a:cubicBezTo>
                        <a:cubicBezTo>
                          <a:pt x="120" y="53"/>
                          <a:pt x="125" y="59"/>
                          <a:pt x="128" y="64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7" name="Freeform 106"/>
                  <p:cNvSpPr>
                    <a:spLocks/>
                  </p:cNvSpPr>
                  <p:nvPr/>
                </p:nvSpPr>
                <p:spPr bwMode="auto">
                  <a:xfrm>
                    <a:off x="4184650" y="4138613"/>
                    <a:ext cx="38100" cy="30163"/>
                  </a:xfrm>
                  <a:custGeom>
                    <a:avLst/>
                    <a:gdLst>
                      <a:gd name="T0" fmla="*/ 38 w 96"/>
                      <a:gd name="T1" fmla="*/ 5 h 77"/>
                      <a:gd name="T2" fmla="*/ 79 w 96"/>
                      <a:gd name="T3" fmla="*/ 9 h 77"/>
                      <a:gd name="T4" fmla="*/ 91 w 96"/>
                      <a:gd name="T5" fmla="*/ 27 h 77"/>
                      <a:gd name="T6" fmla="*/ 96 w 96"/>
                      <a:gd name="T7" fmla="*/ 43 h 77"/>
                      <a:gd name="T8" fmla="*/ 71 w 96"/>
                      <a:gd name="T9" fmla="*/ 67 h 77"/>
                      <a:gd name="T10" fmla="*/ 20 w 96"/>
                      <a:gd name="T11" fmla="*/ 77 h 77"/>
                      <a:gd name="T12" fmla="*/ 4 w 96"/>
                      <a:gd name="T13" fmla="*/ 73 h 77"/>
                      <a:gd name="T14" fmla="*/ 2 w 96"/>
                      <a:gd name="T15" fmla="*/ 59 h 77"/>
                      <a:gd name="T16" fmla="*/ 2 w 96"/>
                      <a:gd name="T17" fmla="*/ 31 h 77"/>
                      <a:gd name="T18" fmla="*/ 38 w 96"/>
                      <a:gd name="T19" fmla="*/ 5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96" h="77">
                        <a:moveTo>
                          <a:pt x="38" y="5"/>
                        </a:moveTo>
                        <a:cubicBezTo>
                          <a:pt x="56" y="0"/>
                          <a:pt x="72" y="3"/>
                          <a:pt x="79" y="9"/>
                        </a:cubicBezTo>
                        <a:cubicBezTo>
                          <a:pt x="85" y="15"/>
                          <a:pt x="89" y="21"/>
                          <a:pt x="91" y="27"/>
                        </a:cubicBezTo>
                        <a:cubicBezTo>
                          <a:pt x="94" y="33"/>
                          <a:pt x="96" y="43"/>
                          <a:pt x="96" y="43"/>
                        </a:cubicBezTo>
                        <a:cubicBezTo>
                          <a:pt x="96" y="43"/>
                          <a:pt x="94" y="59"/>
                          <a:pt x="71" y="67"/>
                        </a:cubicBezTo>
                        <a:cubicBezTo>
                          <a:pt x="48" y="76"/>
                          <a:pt x="29" y="77"/>
                          <a:pt x="20" y="77"/>
                        </a:cubicBezTo>
                        <a:cubicBezTo>
                          <a:pt x="12" y="77"/>
                          <a:pt x="4" y="73"/>
                          <a:pt x="4" y="73"/>
                        </a:cubicBezTo>
                        <a:cubicBezTo>
                          <a:pt x="4" y="73"/>
                          <a:pt x="3" y="66"/>
                          <a:pt x="2" y="59"/>
                        </a:cubicBezTo>
                        <a:cubicBezTo>
                          <a:pt x="1" y="52"/>
                          <a:pt x="0" y="38"/>
                          <a:pt x="2" y="31"/>
                        </a:cubicBezTo>
                        <a:cubicBezTo>
                          <a:pt x="4" y="24"/>
                          <a:pt x="14" y="12"/>
                          <a:pt x="38" y="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8" name="Freeform 107"/>
                  <p:cNvSpPr>
                    <a:spLocks/>
                  </p:cNvSpPr>
                  <p:nvPr/>
                </p:nvSpPr>
                <p:spPr bwMode="auto">
                  <a:xfrm>
                    <a:off x="4181475" y="4154488"/>
                    <a:ext cx="50800" cy="25400"/>
                  </a:xfrm>
                  <a:custGeom>
                    <a:avLst/>
                    <a:gdLst>
                      <a:gd name="T0" fmla="*/ 103 w 130"/>
                      <a:gd name="T1" fmla="*/ 0 h 64"/>
                      <a:gd name="T2" fmla="*/ 112 w 130"/>
                      <a:gd name="T3" fmla="*/ 4 h 64"/>
                      <a:gd name="T4" fmla="*/ 125 w 130"/>
                      <a:gd name="T5" fmla="*/ 11 h 64"/>
                      <a:gd name="T6" fmla="*/ 129 w 130"/>
                      <a:gd name="T7" fmla="*/ 12 h 64"/>
                      <a:gd name="T8" fmla="*/ 128 w 130"/>
                      <a:gd name="T9" fmla="*/ 20 h 64"/>
                      <a:gd name="T10" fmla="*/ 105 w 130"/>
                      <a:gd name="T11" fmla="*/ 43 h 64"/>
                      <a:gd name="T12" fmla="*/ 34 w 130"/>
                      <a:gd name="T13" fmla="*/ 64 h 64"/>
                      <a:gd name="T14" fmla="*/ 5 w 130"/>
                      <a:gd name="T15" fmla="*/ 56 h 64"/>
                      <a:gd name="T16" fmla="*/ 0 w 130"/>
                      <a:gd name="T17" fmla="*/ 49 h 64"/>
                      <a:gd name="T18" fmla="*/ 7 w 130"/>
                      <a:gd name="T19" fmla="*/ 39 h 64"/>
                      <a:gd name="T20" fmla="*/ 15 w 130"/>
                      <a:gd name="T21" fmla="*/ 28 h 64"/>
                      <a:gd name="T22" fmla="*/ 103 w 130"/>
                      <a:gd name="T23" fmla="*/ 0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30" h="64">
                        <a:moveTo>
                          <a:pt x="103" y="0"/>
                        </a:moveTo>
                        <a:cubicBezTo>
                          <a:pt x="103" y="0"/>
                          <a:pt x="107" y="1"/>
                          <a:pt x="112" y="4"/>
                        </a:cubicBezTo>
                        <a:cubicBezTo>
                          <a:pt x="117" y="7"/>
                          <a:pt x="122" y="10"/>
                          <a:pt x="125" y="11"/>
                        </a:cubicBezTo>
                        <a:cubicBezTo>
                          <a:pt x="127" y="11"/>
                          <a:pt x="129" y="11"/>
                          <a:pt x="129" y="12"/>
                        </a:cubicBezTo>
                        <a:cubicBezTo>
                          <a:pt x="130" y="13"/>
                          <a:pt x="130" y="16"/>
                          <a:pt x="128" y="20"/>
                        </a:cubicBezTo>
                        <a:cubicBezTo>
                          <a:pt x="127" y="25"/>
                          <a:pt x="118" y="36"/>
                          <a:pt x="105" y="43"/>
                        </a:cubicBezTo>
                        <a:cubicBezTo>
                          <a:pt x="92" y="51"/>
                          <a:pt x="50" y="64"/>
                          <a:pt x="34" y="64"/>
                        </a:cubicBezTo>
                        <a:cubicBezTo>
                          <a:pt x="19" y="64"/>
                          <a:pt x="8" y="59"/>
                          <a:pt x="5" y="56"/>
                        </a:cubicBezTo>
                        <a:cubicBezTo>
                          <a:pt x="2" y="54"/>
                          <a:pt x="0" y="51"/>
                          <a:pt x="0" y="49"/>
                        </a:cubicBezTo>
                        <a:cubicBezTo>
                          <a:pt x="1" y="48"/>
                          <a:pt x="5" y="44"/>
                          <a:pt x="7" y="39"/>
                        </a:cubicBezTo>
                        <a:cubicBezTo>
                          <a:pt x="10" y="35"/>
                          <a:pt x="15" y="28"/>
                          <a:pt x="15" y="28"/>
                        </a:cubicBezTo>
                        <a:cubicBezTo>
                          <a:pt x="15" y="28"/>
                          <a:pt x="80" y="22"/>
                          <a:pt x="103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9" name="Freeform 108"/>
                  <p:cNvSpPr>
                    <a:spLocks/>
                  </p:cNvSpPr>
                  <p:nvPr/>
                </p:nvSpPr>
                <p:spPr bwMode="auto">
                  <a:xfrm>
                    <a:off x="4298950" y="4289425"/>
                    <a:ext cx="4763" cy="23813"/>
                  </a:xfrm>
                  <a:custGeom>
                    <a:avLst/>
                    <a:gdLst>
                      <a:gd name="T0" fmla="*/ 0 w 15"/>
                      <a:gd name="T1" fmla="*/ 4 h 59"/>
                      <a:gd name="T2" fmla="*/ 4 w 15"/>
                      <a:gd name="T3" fmla="*/ 18 h 59"/>
                      <a:gd name="T4" fmla="*/ 7 w 15"/>
                      <a:gd name="T5" fmla="*/ 32 h 59"/>
                      <a:gd name="T6" fmla="*/ 9 w 15"/>
                      <a:gd name="T7" fmla="*/ 52 h 59"/>
                      <a:gd name="T8" fmla="*/ 8 w 15"/>
                      <a:gd name="T9" fmla="*/ 58 h 59"/>
                      <a:gd name="T10" fmla="*/ 14 w 15"/>
                      <a:gd name="T11" fmla="*/ 59 h 59"/>
                      <a:gd name="T12" fmla="*/ 15 w 15"/>
                      <a:gd name="T13" fmla="*/ 52 h 59"/>
                      <a:gd name="T14" fmla="*/ 12 w 15"/>
                      <a:gd name="T15" fmla="*/ 32 h 59"/>
                      <a:gd name="T16" fmla="*/ 9 w 15"/>
                      <a:gd name="T17" fmla="*/ 10 h 59"/>
                      <a:gd name="T18" fmla="*/ 5 w 15"/>
                      <a:gd name="T19" fmla="*/ 0 h 59"/>
                      <a:gd name="T20" fmla="*/ 0 w 15"/>
                      <a:gd name="T21" fmla="*/ 4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5" h="59">
                        <a:moveTo>
                          <a:pt x="0" y="4"/>
                        </a:moveTo>
                        <a:cubicBezTo>
                          <a:pt x="1" y="7"/>
                          <a:pt x="3" y="12"/>
                          <a:pt x="4" y="18"/>
                        </a:cubicBezTo>
                        <a:cubicBezTo>
                          <a:pt x="5" y="24"/>
                          <a:pt x="6" y="27"/>
                          <a:pt x="7" y="32"/>
                        </a:cubicBezTo>
                        <a:cubicBezTo>
                          <a:pt x="7" y="38"/>
                          <a:pt x="8" y="49"/>
                          <a:pt x="9" y="52"/>
                        </a:cubicBezTo>
                        <a:cubicBezTo>
                          <a:pt x="9" y="55"/>
                          <a:pt x="8" y="57"/>
                          <a:pt x="8" y="58"/>
                        </a:cubicBezTo>
                        <a:cubicBezTo>
                          <a:pt x="9" y="58"/>
                          <a:pt x="13" y="59"/>
                          <a:pt x="14" y="59"/>
                        </a:cubicBezTo>
                        <a:cubicBezTo>
                          <a:pt x="15" y="58"/>
                          <a:pt x="15" y="56"/>
                          <a:pt x="15" y="52"/>
                        </a:cubicBezTo>
                        <a:cubicBezTo>
                          <a:pt x="14" y="49"/>
                          <a:pt x="13" y="40"/>
                          <a:pt x="12" y="32"/>
                        </a:cubicBezTo>
                        <a:cubicBezTo>
                          <a:pt x="11" y="24"/>
                          <a:pt x="10" y="17"/>
                          <a:pt x="9" y="10"/>
                        </a:cubicBezTo>
                        <a:cubicBezTo>
                          <a:pt x="8" y="3"/>
                          <a:pt x="5" y="0"/>
                          <a:pt x="5" y="0"/>
                        </a:cubicBezTo>
                        <a:lnTo>
                          <a:pt x="0" y="4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0" name="Freeform 109"/>
                  <p:cNvSpPr>
                    <a:spLocks/>
                  </p:cNvSpPr>
                  <p:nvPr/>
                </p:nvSpPr>
                <p:spPr bwMode="auto">
                  <a:xfrm>
                    <a:off x="4281488" y="4295775"/>
                    <a:ext cx="14288" cy="12700"/>
                  </a:xfrm>
                  <a:custGeom>
                    <a:avLst/>
                    <a:gdLst>
                      <a:gd name="T0" fmla="*/ 5 w 36"/>
                      <a:gd name="T1" fmla="*/ 0 h 33"/>
                      <a:gd name="T2" fmla="*/ 1 w 36"/>
                      <a:gd name="T3" fmla="*/ 20 h 33"/>
                      <a:gd name="T4" fmla="*/ 13 w 36"/>
                      <a:gd name="T5" fmla="*/ 31 h 33"/>
                      <a:gd name="T6" fmla="*/ 19 w 36"/>
                      <a:gd name="T7" fmla="*/ 32 h 33"/>
                      <a:gd name="T8" fmla="*/ 29 w 36"/>
                      <a:gd name="T9" fmla="*/ 22 h 33"/>
                      <a:gd name="T10" fmla="*/ 36 w 36"/>
                      <a:gd name="T11" fmla="*/ 15 h 33"/>
                      <a:gd name="T12" fmla="*/ 5 w 36"/>
                      <a:gd name="T13" fmla="*/ 0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6" h="33">
                        <a:moveTo>
                          <a:pt x="5" y="0"/>
                        </a:moveTo>
                        <a:cubicBezTo>
                          <a:pt x="1" y="6"/>
                          <a:pt x="0" y="18"/>
                          <a:pt x="1" y="20"/>
                        </a:cubicBezTo>
                        <a:cubicBezTo>
                          <a:pt x="1" y="22"/>
                          <a:pt x="9" y="29"/>
                          <a:pt x="13" y="31"/>
                        </a:cubicBezTo>
                        <a:cubicBezTo>
                          <a:pt x="17" y="33"/>
                          <a:pt x="19" y="33"/>
                          <a:pt x="19" y="32"/>
                        </a:cubicBezTo>
                        <a:cubicBezTo>
                          <a:pt x="20" y="32"/>
                          <a:pt x="26" y="25"/>
                          <a:pt x="29" y="22"/>
                        </a:cubicBezTo>
                        <a:cubicBezTo>
                          <a:pt x="32" y="19"/>
                          <a:pt x="36" y="15"/>
                          <a:pt x="36" y="15"/>
                        </a:cubicBezTo>
                        <a:lnTo>
                          <a:pt x="5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1" name="Freeform 110"/>
                  <p:cNvSpPr>
                    <a:spLocks/>
                  </p:cNvSpPr>
                  <p:nvPr/>
                </p:nvSpPr>
                <p:spPr bwMode="auto">
                  <a:xfrm>
                    <a:off x="4279900" y="4298950"/>
                    <a:ext cx="25400" cy="15875"/>
                  </a:xfrm>
                  <a:custGeom>
                    <a:avLst/>
                    <a:gdLst>
                      <a:gd name="T0" fmla="*/ 4 w 62"/>
                      <a:gd name="T1" fmla="*/ 2 h 39"/>
                      <a:gd name="T2" fmla="*/ 1 w 62"/>
                      <a:gd name="T3" fmla="*/ 9 h 39"/>
                      <a:gd name="T4" fmla="*/ 16 w 62"/>
                      <a:gd name="T5" fmla="*/ 23 h 39"/>
                      <a:gd name="T6" fmla="*/ 37 w 62"/>
                      <a:gd name="T7" fmla="*/ 35 h 39"/>
                      <a:gd name="T8" fmla="*/ 55 w 62"/>
                      <a:gd name="T9" fmla="*/ 39 h 39"/>
                      <a:gd name="T10" fmla="*/ 61 w 62"/>
                      <a:gd name="T11" fmla="*/ 30 h 39"/>
                      <a:gd name="T12" fmla="*/ 28 w 62"/>
                      <a:gd name="T13" fmla="*/ 11 h 39"/>
                      <a:gd name="T14" fmla="*/ 4 w 62"/>
                      <a:gd name="T15" fmla="*/ 2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2" h="39">
                        <a:moveTo>
                          <a:pt x="4" y="2"/>
                        </a:moveTo>
                        <a:cubicBezTo>
                          <a:pt x="2" y="4"/>
                          <a:pt x="0" y="7"/>
                          <a:pt x="1" y="9"/>
                        </a:cubicBezTo>
                        <a:cubicBezTo>
                          <a:pt x="2" y="12"/>
                          <a:pt x="9" y="18"/>
                          <a:pt x="16" y="23"/>
                        </a:cubicBezTo>
                        <a:cubicBezTo>
                          <a:pt x="24" y="28"/>
                          <a:pt x="31" y="32"/>
                          <a:pt x="37" y="35"/>
                        </a:cubicBezTo>
                        <a:cubicBezTo>
                          <a:pt x="44" y="38"/>
                          <a:pt x="51" y="38"/>
                          <a:pt x="55" y="39"/>
                        </a:cubicBezTo>
                        <a:cubicBezTo>
                          <a:pt x="59" y="39"/>
                          <a:pt x="62" y="32"/>
                          <a:pt x="61" y="30"/>
                        </a:cubicBezTo>
                        <a:cubicBezTo>
                          <a:pt x="58" y="26"/>
                          <a:pt x="33" y="15"/>
                          <a:pt x="28" y="11"/>
                        </a:cubicBezTo>
                        <a:cubicBezTo>
                          <a:pt x="23" y="8"/>
                          <a:pt x="8" y="0"/>
                          <a:pt x="4" y="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2" name="Freeform 111"/>
                  <p:cNvSpPr>
                    <a:spLocks/>
                  </p:cNvSpPr>
                  <p:nvPr/>
                </p:nvSpPr>
                <p:spPr bwMode="auto">
                  <a:xfrm>
                    <a:off x="4248150" y="4271963"/>
                    <a:ext cx="7938" cy="20638"/>
                  </a:xfrm>
                  <a:custGeom>
                    <a:avLst/>
                    <a:gdLst>
                      <a:gd name="T0" fmla="*/ 2 w 23"/>
                      <a:gd name="T1" fmla="*/ 0 h 52"/>
                      <a:gd name="T2" fmla="*/ 1 w 23"/>
                      <a:gd name="T3" fmla="*/ 26 h 52"/>
                      <a:gd name="T4" fmla="*/ 1 w 23"/>
                      <a:gd name="T5" fmla="*/ 50 h 52"/>
                      <a:gd name="T6" fmla="*/ 10 w 23"/>
                      <a:gd name="T7" fmla="*/ 52 h 52"/>
                      <a:gd name="T8" fmla="*/ 21 w 23"/>
                      <a:gd name="T9" fmla="*/ 51 h 52"/>
                      <a:gd name="T10" fmla="*/ 22 w 23"/>
                      <a:gd name="T11" fmla="*/ 19 h 52"/>
                      <a:gd name="T12" fmla="*/ 22 w 23"/>
                      <a:gd name="T13" fmla="*/ 4 h 52"/>
                      <a:gd name="T14" fmla="*/ 2 w 23"/>
                      <a:gd name="T15" fmla="*/ 0 h 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" h="52">
                        <a:moveTo>
                          <a:pt x="2" y="0"/>
                        </a:moveTo>
                        <a:cubicBezTo>
                          <a:pt x="2" y="0"/>
                          <a:pt x="1" y="14"/>
                          <a:pt x="1" y="26"/>
                        </a:cubicBezTo>
                        <a:cubicBezTo>
                          <a:pt x="0" y="39"/>
                          <a:pt x="0" y="49"/>
                          <a:pt x="1" y="50"/>
                        </a:cubicBezTo>
                        <a:cubicBezTo>
                          <a:pt x="2" y="51"/>
                          <a:pt x="5" y="52"/>
                          <a:pt x="10" y="52"/>
                        </a:cubicBezTo>
                        <a:cubicBezTo>
                          <a:pt x="15" y="52"/>
                          <a:pt x="20" y="52"/>
                          <a:pt x="21" y="51"/>
                        </a:cubicBezTo>
                        <a:cubicBezTo>
                          <a:pt x="21" y="49"/>
                          <a:pt x="22" y="30"/>
                          <a:pt x="22" y="19"/>
                        </a:cubicBezTo>
                        <a:cubicBezTo>
                          <a:pt x="23" y="8"/>
                          <a:pt x="22" y="4"/>
                          <a:pt x="22" y="4"/>
                        </a:cubicBez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3" name="Freeform 112"/>
                  <p:cNvSpPr>
                    <a:spLocks/>
                  </p:cNvSpPr>
                  <p:nvPr/>
                </p:nvSpPr>
                <p:spPr bwMode="auto">
                  <a:xfrm>
                    <a:off x="4292600" y="4310063"/>
                    <a:ext cx="12700" cy="6350"/>
                  </a:xfrm>
                  <a:custGeom>
                    <a:avLst/>
                    <a:gdLst>
                      <a:gd name="T0" fmla="*/ 4 w 29"/>
                      <a:gd name="T1" fmla="*/ 15 h 15"/>
                      <a:gd name="T2" fmla="*/ 15 w 29"/>
                      <a:gd name="T3" fmla="*/ 14 h 15"/>
                      <a:gd name="T4" fmla="*/ 27 w 29"/>
                      <a:gd name="T5" fmla="*/ 11 h 15"/>
                      <a:gd name="T6" fmla="*/ 29 w 29"/>
                      <a:gd name="T7" fmla="*/ 6 h 15"/>
                      <a:gd name="T8" fmla="*/ 25 w 29"/>
                      <a:gd name="T9" fmla="*/ 0 h 15"/>
                      <a:gd name="T10" fmla="*/ 13 w 29"/>
                      <a:gd name="T11" fmla="*/ 1 h 15"/>
                      <a:gd name="T12" fmla="*/ 1 w 29"/>
                      <a:gd name="T13" fmla="*/ 3 h 15"/>
                      <a:gd name="T14" fmla="*/ 4 w 29"/>
                      <a:gd name="T15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9" h="15">
                        <a:moveTo>
                          <a:pt x="4" y="15"/>
                        </a:moveTo>
                        <a:cubicBezTo>
                          <a:pt x="4" y="15"/>
                          <a:pt x="9" y="14"/>
                          <a:pt x="15" y="14"/>
                        </a:cubicBezTo>
                        <a:cubicBezTo>
                          <a:pt x="20" y="13"/>
                          <a:pt x="26" y="11"/>
                          <a:pt x="27" y="11"/>
                        </a:cubicBezTo>
                        <a:cubicBezTo>
                          <a:pt x="29" y="11"/>
                          <a:pt x="29" y="8"/>
                          <a:pt x="29" y="6"/>
                        </a:cubicBezTo>
                        <a:cubicBezTo>
                          <a:pt x="28" y="3"/>
                          <a:pt x="29" y="0"/>
                          <a:pt x="25" y="0"/>
                        </a:cubicBezTo>
                        <a:cubicBezTo>
                          <a:pt x="22" y="0"/>
                          <a:pt x="20" y="0"/>
                          <a:pt x="13" y="1"/>
                        </a:cubicBezTo>
                        <a:cubicBezTo>
                          <a:pt x="7" y="1"/>
                          <a:pt x="2" y="1"/>
                          <a:pt x="1" y="3"/>
                        </a:cubicBezTo>
                        <a:cubicBezTo>
                          <a:pt x="0" y="4"/>
                          <a:pt x="3" y="14"/>
                          <a:pt x="4" y="1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4" name="Freeform 113"/>
                  <p:cNvSpPr>
                    <a:spLocks noEditPoints="1"/>
                  </p:cNvSpPr>
                  <p:nvPr/>
                </p:nvSpPr>
                <p:spPr bwMode="auto">
                  <a:xfrm>
                    <a:off x="4283075" y="4298950"/>
                    <a:ext cx="30163" cy="30163"/>
                  </a:xfrm>
                  <a:custGeom>
                    <a:avLst/>
                    <a:gdLst>
                      <a:gd name="T0" fmla="*/ 72 w 75"/>
                      <a:gd name="T1" fmla="*/ 23 h 76"/>
                      <a:gd name="T2" fmla="*/ 58 w 75"/>
                      <a:gd name="T3" fmla="*/ 9 h 76"/>
                      <a:gd name="T4" fmla="*/ 25 w 75"/>
                      <a:gd name="T5" fmla="*/ 5 h 76"/>
                      <a:gd name="T6" fmla="*/ 2 w 75"/>
                      <a:gd name="T7" fmla="*/ 28 h 76"/>
                      <a:gd name="T8" fmla="*/ 7 w 75"/>
                      <a:gd name="T9" fmla="*/ 56 h 76"/>
                      <a:gd name="T10" fmla="*/ 39 w 75"/>
                      <a:gd name="T11" fmla="*/ 75 h 76"/>
                      <a:gd name="T12" fmla="*/ 72 w 75"/>
                      <a:gd name="T13" fmla="*/ 51 h 76"/>
                      <a:gd name="T14" fmla="*/ 72 w 75"/>
                      <a:gd name="T15" fmla="*/ 23 h 76"/>
                      <a:gd name="T16" fmla="*/ 39 w 75"/>
                      <a:gd name="T17" fmla="*/ 9 h 76"/>
                      <a:gd name="T18" fmla="*/ 46 w 75"/>
                      <a:gd name="T19" fmla="*/ 10 h 76"/>
                      <a:gd name="T20" fmla="*/ 54 w 75"/>
                      <a:gd name="T21" fmla="*/ 19 h 76"/>
                      <a:gd name="T22" fmla="*/ 46 w 75"/>
                      <a:gd name="T23" fmla="*/ 26 h 76"/>
                      <a:gd name="T24" fmla="*/ 40 w 75"/>
                      <a:gd name="T25" fmla="*/ 26 h 76"/>
                      <a:gd name="T26" fmla="*/ 37 w 75"/>
                      <a:gd name="T27" fmla="*/ 14 h 76"/>
                      <a:gd name="T28" fmla="*/ 39 w 75"/>
                      <a:gd name="T29" fmla="*/ 9 h 76"/>
                      <a:gd name="T30" fmla="*/ 30 w 75"/>
                      <a:gd name="T31" fmla="*/ 49 h 76"/>
                      <a:gd name="T32" fmla="*/ 26 w 75"/>
                      <a:gd name="T33" fmla="*/ 55 h 76"/>
                      <a:gd name="T34" fmla="*/ 18 w 75"/>
                      <a:gd name="T35" fmla="*/ 46 h 76"/>
                      <a:gd name="T36" fmla="*/ 16 w 75"/>
                      <a:gd name="T37" fmla="*/ 36 h 76"/>
                      <a:gd name="T38" fmla="*/ 31 w 75"/>
                      <a:gd name="T39" fmla="*/ 41 h 76"/>
                      <a:gd name="T40" fmla="*/ 30 w 75"/>
                      <a:gd name="T41" fmla="*/ 49 h 76"/>
                      <a:gd name="T42" fmla="*/ 47 w 75"/>
                      <a:gd name="T43" fmla="*/ 58 h 76"/>
                      <a:gd name="T44" fmla="*/ 39 w 75"/>
                      <a:gd name="T45" fmla="*/ 60 h 76"/>
                      <a:gd name="T46" fmla="*/ 34 w 75"/>
                      <a:gd name="T47" fmla="*/ 58 h 76"/>
                      <a:gd name="T48" fmla="*/ 37 w 75"/>
                      <a:gd name="T49" fmla="*/ 48 h 76"/>
                      <a:gd name="T50" fmla="*/ 41 w 75"/>
                      <a:gd name="T51" fmla="*/ 44 h 76"/>
                      <a:gd name="T52" fmla="*/ 47 w 75"/>
                      <a:gd name="T53" fmla="*/ 48 h 76"/>
                      <a:gd name="T54" fmla="*/ 51 w 75"/>
                      <a:gd name="T55" fmla="*/ 54 h 76"/>
                      <a:gd name="T56" fmla="*/ 47 w 75"/>
                      <a:gd name="T57" fmla="*/ 58 h 76"/>
                      <a:gd name="T58" fmla="*/ 60 w 75"/>
                      <a:gd name="T59" fmla="*/ 38 h 76"/>
                      <a:gd name="T60" fmla="*/ 56 w 75"/>
                      <a:gd name="T61" fmla="*/ 48 h 76"/>
                      <a:gd name="T62" fmla="*/ 48 w 75"/>
                      <a:gd name="T63" fmla="*/ 42 h 76"/>
                      <a:gd name="T64" fmla="*/ 47 w 75"/>
                      <a:gd name="T65" fmla="*/ 34 h 76"/>
                      <a:gd name="T66" fmla="*/ 51 w 75"/>
                      <a:gd name="T67" fmla="*/ 30 h 76"/>
                      <a:gd name="T68" fmla="*/ 57 w 75"/>
                      <a:gd name="T69" fmla="*/ 27 h 76"/>
                      <a:gd name="T70" fmla="*/ 60 w 75"/>
                      <a:gd name="T71" fmla="*/ 38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75" h="76">
                        <a:moveTo>
                          <a:pt x="72" y="23"/>
                        </a:moveTo>
                        <a:cubicBezTo>
                          <a:pt x="69" y="16"/>
                          <a:pt x="63" y="11"/>
                          <a:pt x="58" y="9"/>
                        </a:cubicBezTo>
                        <a:cubicBezTo>
                          <a:pt x="53" y="6"/>
                          <a:pt x="37" y="0"/>
                          <a:pt x="25" y="5"/>
                        </a:cubicBezTo>
                        <a:cubicBezTo>
                          <a:pt x="13" y="11"/>
                          <a:pt x="2" y="28"/>
                          <a:pt x="2" y="28"/>
                        </a:cubicBezTo>
                        <a:cubicBezTo>
                          <a:pt x="0" y="35"/>
                          <a:pt x="2" y="48"/>
                          <a:pt x="7" y="56"/>
                        </a:cubicBezTo>
                        <a:cubicBezTo>
                          <a:pt x="12" y="65"/>
                          <a:pt x="23" y="75"/>
                          <a:pt x="39" y="75"/>
                        </a:cubicBezTo>
                        <a:cubicBezTo>
                          <a:pt x="55" y="76"/>
                          <a:pt x="69" y="60"/>
                          <a:pt x="72" y="51"/>
                        </a:cubicBezTo>
                        <a:cubicBezTo>
                          <a:pt x="75" y="42"/>
                          <a:pt x="75" y="31"/>
                          <a:pt x="72" y="23"/>
                        </a:cubicBezTo>
                        <a:close/>
                        <a:moveTo>
                          <a:pt x="39" y="9"/>
                        </a:moveTo>
                        <a:cubicBezTo>
                          <a:pt x="39" y="9"/>
                          <a:pt x="44" y="8"/>
                          <a:pt x="46" y="10"/>
                        </a:cubicBezTo>
                        <a:cubicBezTo>
                          <a:pt x="48" y="12"/>
                          <a:pt x="54" y="18"/>
                          <a:pt x="54" y="19"/>
                        </a:cubicBezTo>
                        <a:cubicBezTo>
                          <a:pt x="54" y="21"/>
                          <a:pt x="49" y="24"/>
                          <a:pt x="46" y="26"/>
                        </a:cubicBezTo>
                        <a:cubicBezTo>
                          <a:pt x="43" y="27"/>
                          <a:pt x="41" y="27"/>
                          <a:pt x="40" y="26"/>
                        </a:cubicBezTo>
                        <a:cubicBezTo>
                          <a:pt x="38" y="25"/>
                          <a:pt x="37" y="17"/>
                          <a:pt x="37" y="14"/>
                        </a:cubicBezTo>
                        <a:cubicBezTo>
                          <a:pt x="36" y="11"/>
                          <a:pt x="36" y="9"/>
                          <a:pt x="39" y="9"/>
                        </a:cubicBezTo>
                        <a:close/>
                        <a:moveTo>
                          <a:pt x="30" y="49"/>
                        </a:moveTo>
                        <a:cubicBezTo>
                          <a:pt x="29" y="53"/>
                          <a:pt x="28" y="55"/>
                          <a:pt x="26" y="55"/>
                        </a:cubicBezTo>
                        <a:cubicBezTo>
                          <a:pt x="24" y="55"/>
                          <a:pt x="21" y="51"/>
                          <a:pt x="18" y="46"/>
                        </a:cubicBezTo>
                        <a:cubicBezTo>
                          <a:pt x="16" y="41"/>
                          <a:pt x="16" y="36"/>
                          <a:pt x="16" y="36"/>
                        </a:cubicBezTo>
                        <a:cubicBezTo>
                          <a:pt x="16" y="36"/>
                          <a:pt x="29" y="40"/>
                          <a:pt x="31" y="41"/>
                        </a:cubicBezTo>
                        <a:cubicBezTo>
                          <a:pt x="32" y="42"/>
                          <a:pt x="32" y="46"/>
                          <a:pt x="30" y="49"/>
                        </a:cubicBezTo>
                        <a:close/>
                        <a:moveTo>
                          <a:pt x="47" y="58"/>
                        </a:moveTo>
                        <a:cubicBezTo>
                          <a:pt x="46" y="59"/>
                          <a:pt x="41" y="60"/>
                          <a:pt x="39" y="60"/>
                        </a:cubicBezTo>
                        <a:cubicBezTo>
                          <a:pt x="36" y="61"/>
                          <a:pt x="34" y="60"/>
                          <a:pt x="34" y="58"/>
                        </a:cubicBezTo>
                        <a:cubicBezTo>
                          <a:pt x="33" y="56"/>
                          <a:pt x="35" y="50"/>
                          <a:pt x="37" y="48"/>
                        </a:cubicBezTo>
                        <a:cubicBezTo>
                          <a:pt x="38" y="45"/>
                          <a:pt x="39" y="44"/>
                          <a:pt x="41" y="44"/>
                        </a:cubicBezTo>
                        <a:cubicBezTo>
                          <a:pt x="42" y="44"/>
                          <a:pt x="45" y="46"/>
                          <a:pt x="47" y="48"/>
                        </a:cubicBezTo>
                        <a:cubicBezTo>
                          <a:pt x="48" y="49"/>
                          <a:pt x="51" y="52"/>
                          <a:pt x="51" y="54"/>
                        </a:cubicBezTo>
                        <a:cubicBezTo>
                          <a:pt x="51" y="56"/>
                          <a:pt x="49" y="57"/>
                          <a:pt x="47" y="58"/>
                        </a:cubicBezTo>
                        <a:close/>
                        <a:moveTo>
                          <a:pt x="60" y="38"/>
                        </a:moveTo>
                        <a:cubicBezTo>
                          <a:pt x="60" y="45"/>
                          <a:pt x="58" y="48"/>
                          <a:pt x="56" y="48"/>
                        </a:cubicBezTo>
                        <a:cubicBezTo>
                          <a:pt x="55" y="48"/>
                          <a:pt x="50" y="45"/>
                          <a:pt x="48" y="42"/>
                        </a:cubicBezTo>
                        <a:cubicBezTo>
                          <a:pt x="47" y="40"/>
                          <a:pt x="46" y="36"/>
                          <a:pt x="47" y="34"/>
                        </a:cubicBezTo>
                        <a:cubicBezTo>
                          <a:pt x="48" y="33"/>
                          <a:pt x="48" y="32"/>
                          <a:pt x="51" y="30"/>
                        </a:cubicBezTo>
                        <a:cubicBezTo>
                          <a:pt x="54" y="27"/>
                          <a:pt x="55" y="27"/>
                          <a:pt x="57" y="27"/>
                        </a:cubicBezTo>
                        <a:cubicBezTo>
                          <a:pt x="59" y="27"/>
                          <a:pt x="60" y="32"/>
                          <a:pt x="60" y="3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5" name="Freeform 114"/>
                  <p:cNvSpPr>
                    <a:spLocks/>
                  </p:cNvSpPr>
                  <p:nvPr/>
                </p:nvSpPr>
                <p:spPr bwMode="auto">
                  <a:xfrm>
                    <a:off x="4291013" y="4289425"/>
                    <a:ext cx="4763" cy="25400"/>
                  </a:xfrm>
                  <a:custGeom>
                    <a:avLst/>
                    <a:gdLst>
                      <a:gd name="T0" fmla="*/ 4 w 11"/>
                      <a:gd name="T1" fmla="*/ 1 h 64"/>
                      <a:gd name="T2" fmla="*/ 0 w 11"/>
                      <a:gd name="T3" fmla="*/ 7 h 64"/>
                      <a:gd name="T4" fmla="*/ 3 w 11"/>
                      <a:gd name="T5" fmla="*/ 26 h 64"/>
                      <a:gd name="T6" fmla="*/ 6 w 11"/>
                      <a:gd name="T7" fmla="*/ 53 h 64"/>
                      <a:gd name="T8" fmla="*/ 9 w 11"/>
                      <a:gd name="T9" fmla="*/ 62 h 64"/>
                      <a:gd name="T10" fmla="*/ 11 w 11"/>
                      <a:gd name="T11" fmla="*/ 51 h 64"/>
                      <a:gd name="T12" fmla="*/ 10 w 11"/>
                      <a:gd name="T13" fmla="*/ 34 h 64"/>
                      <a:gd name="T14" fmla="*/ 8 w 11"/>
                      <a:gd name="T15" fmla="*/ 14 h 64"/>
                      <a:gd name="T16" fmla="*/ 4 w 11"/>
                      <a:gd name="T17" fmla="*/ 1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" h="64">
                        <a:moveTo>
                          <a:pt x="4" y="1"/>
                        </a:moveTo>
                        <a:cubicBezTo>
                          <a:pt x="1" y="0"/>
                          <a:pt x="0" y="3"/>
                          <a:pt x="0" y="7"/>
                        </a:cubicBezTo>
                        <a:cubicBezTo>
                          <a:pt x="1" y="12"/>
                          <a:pt x="2" y="18"/>
                          <a:pt x="3" y="26"/>
                        </a:cubicBezTo>
                        <a:cubicBezTo>
                          <a:pt x="4" y="35"/>
                          <a:pt x="5" y="50"/>
                          <a:pt x="6" y="53"/>
                        </a:cubicBezTo>
                        <a:cubicBezTo>
                          <a:pt x="6" y="64"/>
                          <a:pt x="8" y="62"/>
                          <a:pt x="9" y="62"/>
                        </a:cubicBezTo>
                        <a:cubicBezTo>
                          <a:pt x="10" y="62"/>
                          <a:pt x="11" y="63"/>
                          <a:pt x="11" y="51"/>
                        </a:cubicBezTo>
                        <a:cubicBezTo>
                          <a:pt x="11" y="47"/>
                          <a:pt x="10" y="42"/>
                          <a:pt x="10" y="34"/>
                        </a:cubicBezTo>
                        <a:cubicBezTo>
                          <a:pt x="9" y="26"/>
                          <a:pt x="9" y="20"/>
                          <a:pt x="8" y="14"/>
                        </a:cubicBezTo>
                        <a:cubicBezTo>
                          <a:pt x="7" y="8"/>
                          <a:pt x="6" y="1"/>
                          <a:pt x="4" y="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6" name="Freeform 115"/>
                  <p:cNvSpPr>
                    <a:spLocks/>
                  </p:cNvSpPr>
                  <p:nvPr/>
                </p:nvSpPr>
                <p:spPr bwMode="auto">
                  <a:xfrm>
                    <a:off x="4302125" y="4243388"/>
                    <a:ext cx="47625" cy="36513"/>
                  </a:xfrm>
                  <a:custGeom>
                    <a:avLst/>
                    <a:gdLst>
                      <a:gd name="T0" fmla="*/ 115 w 120"/>
                      <a:gd name="T1" fmla="*/ 5 h 92"/>
                      <a:gd name="T2" fmla="*/ 107 w 120"/>
                      <a:gd name="T3" fmla="*/ 1 h 92"/>
                      <a:gd name="T4" fmla="*/ 75 w 120"/>
                      <a:gd name="T5" fmla="*/ 30 h 92"/>
                      <a:gd name="T6" fmla="*/ 42 w 120"/>
                      <a:gd name="T7" fmla="*/ 60 h 92"/>
                      <a:gd name="T8" fmla="*/ 26 w 120"/>
                      <a:gd name="T9" fmla="*/ 68 h 92"/>
                      <a:gd name="T10" fmla="*/ 9 w 120"/>
                      <a:gd name="T11" fmla="*/ 69 h 92"/>
                      <a:gd name="T12" fmla="*/ 2 w 120"/>
                      <a:gd name="T13" fmla="*/ 79 h 92"/>
                      <a:gd name="T14" fmla="*/ 2 w 120"/>
                      <a:gd name="T15" fmla="*/ 88 h 92"/>
                      <a:gd name="T16" fmla="*/ 30 w 120"/>
                      <a:gd name="T17" fmla="*/ 90 h 92"/>
                      <a:gd name="T18" fmla="*/ 55 w 120"/>
                      <a:gd name="T19" fmla="*/ 72 h 92"/>
                      <a:gd name="T20" fmla="*/ 95 w 120"/>
                      <a:gd name="T21" fmla="*/ 37 h 92"/>
                      <a:gd name="T22" fmla="*/ 120 w 120"/>
                      <a:gd name="T23" fmla="*/ 13 h 92"/>
                      <a:gd name="T24" fmla="*/ 115 w 120"/>
                      <a:gd name="T25" fmla="*/ 5 h 9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20" h="92">
                        <a:moveTo>
                          <a:pt x="115" y="5"/>
                        </a:moveTo>
                        <a:cubicBezTo>
                          <a:pt x="110" y="1"/>
                          <a:pt x="109" y="0"/>
                          <a:pt x="107" y="1"/>
                        </a:cubicBezTo>
                        <a:cubicBezTo>
                          <a:pt x="105" y="2"/>
                          <a:pt x="93" y="14"/>
                          <a:pt x="75" y="30"/>
                        </a:cubicBezTo>
                        <a:cubicBezTo>
                          <a:pt x="57" y="47"/>
                          <a:pt x="47" y="56"/>
                          <a:pt x="42" y="60"/>
                        </a:cubicBezTo>
                        <a:cubicBezTo>
                          <a:pt x="36" y="64"/>
                          <a:pt x="37" y="67"/>
                          <a:pt x="26" y="68"/>
                        </a:cubicBezTo>
                        <a:cubicBezTo>
                          <a:pt x="15" y="68"/>
                          <a:pt x="10" y="68"/>
                          <a:pt x="9" y="69"/>
                        </a:cubicBezTo>
                        <a:cubicBezTo>
                          <a:pt x="7" y="70"/>
                          <a:pt x="4" y="75"/>
                          <a:pt x="2" y="79"/>
                        </a:cubicBezTo>
                        <a:cubicBezTo>
                          <a:pt x="0" y="83"/>
                          <a:pt x="1" y="88"/>
                          <a:pt x="2" y="88"/>
                        </a:cubicBezTo>
                        <a:cubicBezTo>
                          <a:pt x="3" y="89"/>
                          <a:pt x="19" y="92"/>
                          <a:pt x="30" y="90"/>
                        </a:cubicBezTo>
                        <a:cubicBezTo>
                          <a:pt x="40" y="87"/>
                          <a:pt x="47" y="80"/>
                          <a:pt x="55" y="72"/>
                        </a:cubicBezTo>
                        <a:cubicBezTo>
                          <a:pt x="64" y="65"/>
                          <a:pt x="81" y="49"/>
                          <a:pt x="95" y="37"/>
                        </a:cubicBezTo>
                        <a:cubicBezTo>
                          <a:pt x="109" y="25"/>
                          <a:pt x="120" y="15"/>
                          <a:pt x="120" y="13"/>
                        </a:cubicBezTo>
                        <a:cubicBezTo>
                          <a:pt x="120" y="11"/>
                          <a:pt x="117" y="8"/>
                          <a:pt x="115" y="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7" name="Freeform 116"/>
                  <p:cNvSpPr>
                    <a:spLocks/>
                  </p:cNvSpPr>
                  <p:nvPr/>
                </p:nvSpPr>
                <p:spPr bwMode="auto">
                  <a:xfrm>
                    <a:off x="4271963" y="4235450"/>
                    <a:ext cx="93663" cy="69850"/>
                  </a:xfrm>
                  <a:custGeom>
                    <a:avLst/>
                    <a:gdLst>
                      <a:gd name="T0" fmla="*/ 0 w 235"/>
                      <a:gd name="T1" fmla="*/ 87 h 178"/>
                      <a:gd name="T2" fmla="*/ 15 w 235"/>
                      <a:gd name="T3" fmla="*/ 138 h 178"/>
                      <a:gd name="T4" fmla="*/ 69 w 235"/>
                      <a:gd name="T5" fmla="*/ 172 h 178"/>
                      <a:gd name="T6" fmla="*/ 156 w 235"/>
                      <a:gd name="T7" fmla="*/ 172 h 178"/>
                      <a:gd name="T8" fmla="*/ 215 w 235"/>
                      <a:gd name="T9" fmla="*/ 136 h 178"/>
                      <a:gd name="T10" fmla="*/ 232 w 235"/>
                      <a:gd name="T11" fmla="*/ 88 h 178"/>
                      <a:gd name="T12" fmla="*/ 198 w 235"/>
                      <a:gd name="T13" fmla="*/ 53 h 178"/>
                      <a:gd name="T14" fmla="*/ 146 w 235"/>
                      <a:gd name="T15" fmla="*/ 14 h 178"/>
                      <a:gd name="T16" fmla="*/ 90 w 235"/>
                      <a:gd name="T17" fmla="*/ 2 h 178"/>
                      <a:gd name="T18" fmla="*/ 0 w 235"/>
                      <a:gd name="T19" fmla="*/ 87 h 1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35" h="178">
                        <a:moveTo>
                          <a:pt x="0" y="87"/>
                        </a:moveTo>
                        <a:cubicBezTo>
                          <a:pt x="0" y="87"/>
                          <a:pt x="4" y="120"/>
                          <a:pt x="15" y="138"/>
                        </a:cubicBezTo>
                        <a:cubicBezTo>
                          <a:pt x="26" y="156"/>
                          <a:pt x="41" y="169"/>
                          <a:pt x="69" y="172"/>
                        </a:cubicBezTo>
                        <a:cubicBezTo>
                          <a:pt x="97" y="174"/>
                          <a:pt x="136" y="178"/>
                          <a:pt x="156" y="172"/>
                        </a:cubicBezTo>
                        <a:cubicBezTo>
                          <a:pt x="176" y="166"/>
                          <a:pt x="202" y="153"/>
                          <a:pt x="215" y="136"/>
                        </a:cubicBezTo>
                        <a:cubicBezTo>
                          <a:pt x="227" y="119"/>
                          <a:pt x="235" y="95"/>
                          <a:pt x="232" y="88"/>
                        </a:cubicBezTo>
                        <a:cubicBezTo>
                          <a:pt x="226" y="76"/>
                          <a:pt x="210" y="63"/>
                          <a:pt x="198" y="53"/>
                        </a:cubicBezTo>
                        <a:cubicBezTo>
                          <a:pt x="173" y="33"/>
                          <a:pt x="163" y="24"/>
                          <a:pt x="146" y="14"/>
                        </a:cubicBezTo>
                        <a:cubicBezTo>
                          <a:pt x="129" y="3"/>
                          <a:pt x="94" y="4"/>
                          <a:pt x="90" y="2"/>
                        </a:cubicBezTo>
                        <a:cubicBezTo>
                          <a:pt x="86" y="0"/>
                          <a:pt x="36" y="3"/>
                          <a:pt x="0" y="8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8" name="Freeform 117"/>
                  <p:cNvSpPr>
                    <a:spLocks/>
                  </p:cNvSpPr>
                  <p:nvPr/>
                </p:nvSpPr>
                <p:spPr bwMode="auto">
                  <a:xfrm>
                    <a:off x="4241800" y="4100513"/>
                    <a:ext cx="136525" cy="92075"/>
                  </a:xfrm>
                  <a:custGeom>
                    <a:avLst/>
                    <a:gdLst>
                      <a:gd name="T0" fmla="*/ 330 w 347"/>
                      <a:gd name="T1" fmla="*/ 44 h 232"/>
                      <a:gd name="T2" fmla="*/ 309 w 347"/>
                      <a:gd name="T3" fmla="*/ 42 h 232"/>
                      <a:gd name="T4" fmla="*/ 296 w 347"/>
                      <a:gd name="T5" fmla="*/ 40 h 232"/>
                      <a:gd name="T6" fmla="*/ 286 w 347"/>
                      <a:gd name="T7" fmla="*/ 37 h 232"/>
                      <a:gd name="T8" fmla="*/ 210 w 347"/>
                      <a:gd name="T9" fmla="*/ 11 h 232"/>
                      <a:gd name="T10" fmla="*/ 166 w 347"/>
                      <a:gd name="T11" fmla="*/ 1 h 232"/>
                      <a:gd name="T12" fmla="*/ 118 w 347"/>
                      <a:gd name="T13" fmla="*/ 22 h 232"/>
                      <a:gd name="T14" fmla="*/ 76 w 347"/>
                      <a:gd name="T15" fmla="*/ 61 h 232"/>
                      <a:gd name="T16" fmla="*/ 25 w 347"/>
                      <a:gd name="T17" fmla="*/ 105 h 232"/>
                      <a:gd name="T18" fmla="*/ 3 w 347"/>
                      <a:gd name="T19" fmla="*/ 122 h 232"/>
                      <a:gd name="T20" fmla="*/ 29 w 347"/>
                      <a:gd name="T21" fmla="*/ 164 h 232"/>
                      <a:gd name="T22" fmla="*/ 105 w 347"/>
                      <a:gd name="T23" fmla="*/ 214 h 232"/>
                      <a:gd name="T24" fmla="*/ 139 w 347"/>
                      <a:gd name="T25" fmla="*/ 231 h 232"/>
                      <a:gd name="T26" fmla="*/ 173 w 347"/>
                      <a:gd name="T27" fmla="*/ 197 h 232"/>
                      <a:gd name="T28" fmla="*/ 252 w 347"/>
                      <a:gd name="T29" fmla="*/ 107 h 232"/>
                      <a:gd name="T30" fmla="*/ 324 w 347"/>
                      <a:gd name="T31" fmla="*/ 57 h 232"/>
                      <a:gd name="T32" fmla="*/ 347 w 347"/>
                      <a:gd name="T33" fmla="*/ 52 h 232"/>
                      <a:gd name="T34" fmla="*/ 330 w 347"/>
                      <a:gd name="T35" fmla="*/ 44 h 2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47" h="232">
                        <a:moveTo>
                          <a:pt x="330" y="44"/>
                        </a:moveTo>
                        <a:cubicBezTo>
                          <a:pt x="322" y="43"/>
                          <a:pt x="316" y="43"/>
                          <a:pt x="309" y="42"/>
                        </a:cubicBezTo>
                        <a:cubicBezTo>
                          <a:pt x="305" y="44"/>
                          <a:pt x="295" y="42"/>
                          <a:pt x="296" y="40"/>
                        </a:cubicBezTo>
                        <a:cubicBezTo>
                          <a:pt x="293" y="39"/>
                          <a:pt x="289" y="38"/>
                          <a:pt x="286" y="37"/>
                        </a:cubicBezTo>
                        <a:cubicBezTo>
                          <a:pt x="264" y="30"/>
                          <a:pt x="225" y="17"/>
                          <a:pt x="210" y="11"/>
                        </a:cubicBezTo>
                        <a:cubicBezTo>
                          <a:pt x="196" y="5"/>
                          <a:pt x="181" y="0"/>
                          <a:pt x="166" y="1"/>
                        </a:cubicBezTo>
                        <a:cubicBezTo>
                          <a:pt x="151" y="3"/>
                          <a:pt x="129" y="8"/>
                          <a:pt x="118" y="22"/>
                        </a:cubicBezTo>
                        <a:cubicBezTo>
                          <a:pt x="106" y="35"/>
                          <a:pt x="96" y="44"/>
                          <a:pt x="76" y="61"/>
                        </a:cubicBezTo>
                        <a:cubicBezTo>
                          <a:pt x="59" y="76"/>
                          <a:pt x="30" y="101"/>
                          <a:pt x="25" y="105"/>
                        </a:cubicBezTo>
                        <a:cubicBezTo>
                          <a:pt x="20" y="108"/>
                          <a:pt x="6" y="110"/>
                          <a:pt x="3" y="122"/>
                        </a:cubicBezTo>
                        <a:cubicBezTo>
                          <a:pt x="0" y="134"/>
                          <a:pt x="9" y="148"/>
                          <a:pt x="29" y="164"/>
                        </a:cubicBezTo>
                        <a:cubicBezTo>
                          <a:pt x="50" y="179"/>
                          <a:pt x="94" y="206"/>
                          <a:pt x="105" y="214"/>
                        </a:cubicBezTo>
                        <a:cubicBezTo>
                          <a:pt x="105" y="214"/>
                          <a:pt x="133" y="232"/>
                          <a:pt x="139" y="231"/>
                        </a:cubicBezTo>
                        <a:cubicBezTo>
                          <a:pt x="146" y="230"/>
                          <a:pt x="163" y="211"/>
                          <a:pt x="173" y="197"/>
                        </a:cubicBezTo>
                        <a:cubicBezTo>
                          <a:pt x="183" y="183"/>
                          <a:pt x="231" y="128"/>
                          <a:pt x="252" y="107"/>
                        </a:cubicBezTo>
                        <a:cubicBezTo>
                          <a:pt x="272" y="85"/>
                          <a:pt x="313" y="61"/>
                          <a:pt x="324" y="57"/>
                        </a:cubicBezTo>
                        <a:cubicBezTo>
                          <a:pt x="336" y="53"/>
                          <a:pt x="347" y="52"/>
                          <a:pt x="347" y="52"/>
                        </a:cubicBezTo>
                        <a:cubicBezTo>
                          <a:pt x="347" y="52"/>
                          <a:pt x="344" y="46"/>
                          <a:pt x="330" y="44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9" name="Freeform 118"/>
                  <p:cNvSpPr>
                    <a:spLocks/>
                  </p:cNvSpPr>
                  <p:nvPr/>
                </p:nvSpPr>
                <p:spPr bwMode="auto">
                  <a:xfrm>
                    <a:off x="4259263" y="4130675"/>
                    <a:ext cx="30163" cy="42863"/>
                  </a:xfrm>
                  <a:custGeom>
                    <a:avLst/>
                    <a:gdLst>
                      <a:gd name="T0" fmla="*/ 56 w 79"/>
                      <a:gd name="T1" fmla="*/ 1 h 105"/>
                      <a:gd name="T2" fmla="*/ 27 w 79"/>
                      <a:gd name="T3" fmla="*/ 23 h 105"/>
                      <a:gd name="T4" fmla="*/ 1 w 79"/>
                      <a:gd name="T5" fmla="*/ 49 h 105"/>
                      <a:gd name="T6" fmla="*/ 29 w 79"/>
                      <a:gd name="T7" fmla="*/ 75 h 105"/>
                      <a:gd name="T8" fmla="*/ 75 w 79"/>
                      <a:gd name="T9" fmla="*/ 103 h 105"/>
                      <a:gd name="T10" fmla="*/ 73 w 79"/>
                      <a:gd name="T11" fmla="*/ 68 h 105"/>
                      <a:gd name="T12" fmla="*/ 62 w 79"/>
                      <a:gd name="T13" fmla="*/ 21 h 105"/>
                      <a:gd name="T14" fmla="*/ 56 w 79"/>
                      <a:gd name="T15" fmla="*/ 1 h 1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9" h="105">
                        <a:moveTo>
                          <a:pt x="56" y="1"/>
                        </a:moveTo>
                        <a:cubicBezTo>
                          <a:pt x="52" y="0"/>
                          <a:pt x="43" y="9"/>
                          <a:pt x="27" y="23"/>
                        </a:cubicBezTo>
                        <a:cubicBezTo>
                          <a:pt x="12" y="37"/>
                          <a:pt x="2" y="44"/>
                          <a:pt x="1" y="49"/>
                        </a:cubicBezTo>
                        <a:cubicBezTo>
                          <a:pt x="0" y="54"/>
                          <a:pt x="13" y="63"/>
                          <a:pt x="29" y="75"/>
                        </a:cubicBezTo>
                        <a:cubicBezTo>
                          <a:pt x="44" y="86"/>
                          <a:pt x="71" y="105"/>
                          <a:pt x="75" y="103"/>
                        </a:cubicBezTo>
                        <a:cubicBezTo>
                          <a:pt x="79" y="100"/>
                          <a:pt x="78" y="90"/>
                          <a:pt x="73" y="68"/>
                        </a:cubicBezTo>
                        <a:cubicBezTo>
                          <a:pt x="68" y="46"/>
                          <a:pt x="64" y="32"/>
                          <a:pt x="62" y="21"/>
                        </a:cubicBezTo>
                        <a:cubicBezTo>
                          <a:pt x="60" y="11"/>
                          <a:pt x="59" y="2"/>
                          <a:pt x="56" y="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0" name="Freeform 119"/>
                  <p:cNvSpPr>
                    <a:spLocks/>
                  </p:cNvSpPr>
                  <p:nvPr/>
                </p:nvSpPr>
                <p:spPr bwMode="auto">
                  <a:xfrm>
                    <a:off x="4298950" y="4116388"/>
                    <a:ext cx="65088" cy="41275"/>
                  </a:xfrm>
                  <a:custGeom>
                    <a:avLst/>
                    <a:gdLst>
                      <a:gd name="T0" fmla="*/ 59 w 162"/>
                      <a:gd name="T1" fmla="*/ 25 h 106"/>
                      <a:gd name="T2" fmla="*/ 17 w 162"/>
                      <a:gd name="T3" fmla="*/ 24 h 106"/>
                      <a:gd name="T4" fmla="*/ 3 w 162"/>
                      <a:gd name="T5" fmla="*/ 27 h 106"/>
                      <a:gd name="T6" fmla="*/ 11 w 162"/>
                      <a:gd name="T7" fmla="*/ 68 h 106"/>
                      <a:gd name="T8" fmla="*/ 21 w 162"/>
                      <a:gd name="T9" fmla="*/ 104 h 106"/>
                      <a:gd name="T10" fmla="*/ 50 w 162"/>
                      <a:gd name="T11" fmla="*/ 76 h 106"/>
                      <a:gd name="T12" fmla="*/ 92 w 162"/>
                      <a:gd name="T13" fmla="*/ 31 h 106"/>
                      <a:gd name="T14" fmla="*/ 141 w 162"/>
                      <a:gd name="T15" fmla="*/ 9 h 106"/>
                      <a:gd name="T16" fmla="*/ 162 w 162"/>
                      <a:gd name="T17" fmla="*/ 2 h 106"/>
                      <a:gd name="T18" fmla="*/ 149 w 162"/>
                      <a:gd name="T19" fmla="*/ 0 h 106"/>
                      <a:gd name="T20" fmla="*/ 119 w 162"/>
                      <a:gd name="T21" fmla="*/ 7 h 106"/>
                      <a:gd name="T22" fmla="*/ 59 w 162"/>
                      <a:gd name="T23" fmla="*/ 2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62" h="106">
                        <a:moveTo>
                          <a:pt x="59" y="25"/>
                        </a:moveTo>
                        <a:cubicBezTo>
                          <a:pt x="49" y="27"/>
                          <a:pt x="27" y="24"/>
                          <a:pt x="17" y="24"/>
                        </a:cubicBezTo>
                        <a:cubicBezTo>
                          <a:pt x="8" y="24"/>
                          <a:pt x="4" y="25"/>
                          <a:pt x="3" y="27"/>
                        </a:cubicBezTo>
                        <a:cubicBezTo>
                          <a:pt x="0" y="30"/>
                          <a:pt x="6" y="44"/>
                          <a:pt x="11" y="68"/>
                        </a:cubicBezTo>
                        <a:cubicBezTo>
                          <a:pt x="16" y="91"/>
                          <a:pt x="18" y="102"/>
                          <a:pt x="21" y="104"/>
                        </a:cubicBezTo>
                        <a:cubicBezTo>
                          <a:pt x="23" y="106"/>
                          <a:pt x="36" y="92"/>
                          <a:pt x="50" y="76"/>
                        </a:cubicBezTo>
                        <a:cubicBezTo>
                          <a:pt x="63" y="59"/>
                          <a:pt x="82" y="37"/>
                          <a:pt x="92" y="31"/>
                        </a:cubicBezTo>
                        <a:cubicBezTo>
                          <a:pt x="102" y="25"/>
                          <a:pt x="129" y="12"/>
                          <a:pt x="141" y="9"/>
                        </a:cubicBezTo>
                        <a:cubicBezTo>
                          <a:pt x="150" y="7"/>
                          <a:pt x="158" y="4"/>
                          <a:pt x="162" y="2"/>
                        </a:cubicBezTo>
                        <a:cubicBezTo>
                          <a:pt x="158" y="2"/>
                          <a:pt x="154" y="1"/>
                          <a:pt x="149" y="0"/>
                        </a:cubicBezTo>
                        <a:cubicBezTo>
                          <a:pt x="144" y="1"/>
                          <a:pt x="132" y="3"/>
                          <a:pt x="119" y="7"/>
                        </a:cubicBezTo>
                        <a:cubicBezTo>
                          <a:pt x="101" y="12"/>
                          <a:pt x="69" y="24"/>
                          <a:pt x="59" y="2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1" name="Freeform 120"/>
                  <p:cNvSpPr>
                    <a:spLocks/>
                  </p:cNvSpPr>
                  <p:nvPr/>
                </p:nvSpPr>
                <p:spPr bwMode="auto">
                  <a:xfrm>
                    <a:off x="4325938" y="4117975"/>
                    <a:ext cx="52388" cy="38100"/>
                  </a:xfrm>
                  <a:custGeom>
                    <a:avLst/>
                    <a:gdLst>
                      <a:gd name="T0" fmla="*/ 0 w 132"/>
                      <a:gd name="T1" fmla="*/ 92 h 93"/>
                      <a:gd name="T2" fmla="*/ 22 w 132"/>
                      <a:gd name="T3" fmla="*/ 89 h 93"/>
                      <a:gd name="T4" fmla="*/ 55 w 132"/>
                      <a:gd name="T5" fmla="*/ 65 h 93"/>
                      <a:gd name="T6" fmla="*/ 101 w 132"/>
                      <a:gd name="T7" fmla="*/ 41 h 93"/>
                      <a:gd name="T8" fmla="*/ 125 w 132"/>
                      <a:gd name="T9" fmla="*/ 38 h 93"/>
                      <a:gd name="T10" fmla="*/ 132 w 132"/>
                      <a:gd name="T11" fmla="*/ 5 h 93"/>
                      <a:gd name="T12" fmla="*/ 100 w 132"/>
                      <a:gd name="T13" fmla="*/ 5 h 93"/>
                      <a:gd name="T14" fmla="*/ 0 w 132"/>
                      <a:gd name="T15" fmla="*/ 92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32" h="93">
                        <a:moveTo>
                          <a:pt x="0" y="92"/>
                        </a:moveTo>
                        <a:cubicBezTo>
                          <a:pt x="0" y="92"/>
                          <a:pt x="13" y="93"/>
                          <a:pt x="22" y="89"/>
                        </a:cubicBezTo>
                        <a:cubicBezTo>
                          <a:pt x="30" y="85"/>
                          <a:pt x="46" y="73"/>
                          <a:pt x="55" y="65"/>
                        </a:cubicBezTo>
                        <a:cubicBezTo>
                          <a:pt x="64" y="57"/>
                          <a:pt x="87" y="45"/>
                          <a:pt x="101" y="41"/>
                        </a:cubicBezTo>
                        <a:cubicBezTo>
                          <a:pt x="116" y="36"/>
                          <a:pt x="125" y="38"/>
                          <a:pt x="125" y="38"/>
                        </a:cubicBezTo>
                        <a:cubicBezTo>
                          <a:pt x="132" y="5"/>
                          <a:pt x="132" y="5"/>
                          <a:pt x="132" y="5"/>
                        </a:cubicBezTo>
                        <a:cubicBezTo>
                          <a:pt x="132" y="5"/>
                          <a:pt x="122" y="0"/>
                          <a:pt x="100" y="5"/>
                        </a:cubicBezTo>
                        <a:cubicBezTo>
                          <a:pt x="78" y="10"/>
                          <a:pt x="25" y="49"/>
                          <a:pt x="0" y="9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2" name="Freeform 121"/>
                  <p:cNvSpPr>
                    <a:spLocks/>
                  </p:cNvSpPr>
                  <p:nvPr/>
                </p:nvSpPr>
                <p:spPr bwMode="auto">
                  <a:xfrm>
                    <a:off x="4244975" y="4200525"/>
                    <a:ext cx="65088" cy="76200"/>
                  </a:xfrm>
                  <a:custGeom>
                    <a:avLst/>
                    <a:gdLst>
                      <a:gd name="T0" fmla="*/ 0 w 165"/>
                      <a:gd name="T1" fmla="*/ 178 h 193"/>
                      <a:gd name="T2" fmla="*/ 17 w 165"/>
                      <a:gd name="T3" fmla="*/ 190 h 193"/>
                      <a:gd name="T4" fmla="*/ 72 w 165"/>
                      <a:gd name="T5" fmla="*/ 182 h 193"/>
                      <a:gd name="T6" fmla="*/ 141 w 165"/>
                      <a:gd name="T7" fmla="*/ 167 h 193"/>
                      <a:gd name="T8" fmla="*/ 162 w 165"/>
                      <a:gd name="T9" fmla="*/ 113 h 193"/>
                      <a:gd name="T10" fmla="*/ 153 w 165"/>
                      <a:gd name="T11" fmla="*/ 38 h 193"/>
                      <a:gd name="T12" fmla="*/ 137 w 165"/>
                      <a:gd name="T13" fmla="*/ 0 h 193"/>
                      <a:gd name="T14" fmla="*/ 0 w 165"/>
                      <a:gd name="T15" fmla="*/ 178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5" h="193">
                        <a:moveTo>
                          <a:pt x="0" y="178"/>
                        </a:moveTo>
                        <a:cubicBezTo>
                          <a:pt x="0" y="178"/>
                          <a:pt x="10" y="186"/>
                          <a:pt x="17" y="190"/>
                        </a:cubicBezTo>
                        <a:cubicBezTo>
                          <a:pt x="24" y="193"/>
                          <a:pt x="56" y="186"/>
                          <a:pt x="72" y="182"/>
                        </a:cubicBezTo>
                        <a:cubicBezTo>
                          <a:pt x="89" y="178"/>
                          <a:pt x="130" y="176"/>
                          <a:pt x="141" y="167"/>
                        </a:cubicBezTo>
                        <a:cubicBezTo>
                          <a:pt x="151" y="157"/>
                          <a:pt x="159" y="134"/>
                          <a:pt x="162" y="113"/>
                        </a:cubicBezTo>
                        <a:cubicBezTo>
                          <a:pt x="165" y="92"/>
                          <a:pt x="156" y="60"/>
                          <a:pt x="153" y="38"/>
                        </a:cubicBezTo>
                        <a:cubicBezTo>
                          <a:pt x="150" y="16"/>
                          <a:pt x="137" y="0"/>
                          <a:pt x="137" y="0"/>
                        </a:cubicBezTo>
                        <a:lnTo>
                          <a:pt x="0" y="178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3" name="Freeform 122"/>
                  <p:cNvSpPr>
                    <a:spLocks/>
                  </p:cNvSpPr>
                  <p:nvPr/>
                </p:nvSpPr>
                <p:spPr bwMode="auto">
                  <a:xfrm>
                    <a:off x="4260850" y="4294188"/>
                    <a:ext cx="4763" cy="23813"/>
                  </a:xfrm>
                  <a:custGeom>
                    <a:avLst/>
                    <a:gdLst>
                      <a:gd name="T0" fmla="*/ 0 w 14"/>
                      <a:gd name="T1" fmla="*/ 4 h 59"/>
                      <a:gd name="T2" fmla="*/ 4 w 14"/>
                      <a:gd name="T3" fmla="*/ 18 h 59"/>
                      <a:gd name="T4" fmla="*/ 7 w 14"/>
                      <a:gd name="T5" fmla="*/ 32 h 59"/>
                      <a:gd name="T6" fmla="*/ 8 w 14"/>
                      <a:gd name="T7" fmla="*/ 52 h 59"/>
                      <a:gd name="T8" fmla="*/ 8 w 14"/>
                      <a:gd name="T9" fmla="*/ 58 h 59"/>
                      <a:gd name="T10" fmla="*/ 14 w 14"/>
                      <a:gd name="T11" fmla="*/ 59 h 59"/>
                      <a:gd name="T12" fmla="*/ 14 w 14"/>
                      <a:gd name="T13" fmla="*/ 52 h 59"/>
                      <a:gd name="T14" fmla="*/ 12 w 14"/>
                      <a:gd name="T15" fmla="*/ 32 h 59"/>
                      <a:gd name="T16" fmla="*/ 8 w 14"/>
                      <a:gd name="T17" fmla="*/ 10 h 59"/>
                      <a:gd name="T18" fmla="*/ 5 w 14"/>
                      <a:gd name="T19" fmla="*/ 0 h 59"/>
                      <a:gd name="T20" fmla="*/ 0 w 14"/>
                      <a:gd name="T21" fmla="*/ 4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4" h="59">
                        <a:moveTo>
                          <a:pt x="0" y="4"/>
                        </a:moveTo>
                        <a:cubicBezTo>
                          <a:pt x="1" y="7"/>
                          <a:pt x="3" y="12"/>
                          <a:pt x="4" y="18"/>
                        </a:cubicBezTo>
                        <a:cubicBezTo>
                          <a:pt x="5" y="24"/>
                          <a:pt x="6" y="27"/>
                          <a:pt x="7" y="32"/>
                        </a:cubicBezTo>
                        <a:cubicBezTo>
                          <a:pt x="7" y="38"/>
                          <a:pt x="8" y="49"/>
                          <a:pt x="8" y="52"/>
                        </a:cubicBezTo>
                        <a:cubicBezTo>
                          <a:pt x="8" y="55"/>
                          <a:pt x="8" y="57"/>
                          <a:pt x="8" y="58"/>
                        </a:cubicBezTo>
                        <a:cubicBezTo>
                          <a:pt x="8" y="58"/>
                          <a:pt x="13" y="59"/>
                          <a:pt x="14" y="59"/>
                        </a:cubicBezTo>
                        <a:cubicBezTo>
                          <a:pt x="14" y="58"/>
                          <a:pt x="14" y="55"/>
                          <a:pt x="14" y="52"/>
                        </a:cubicBezTo>
                        <a:cubicBezTo>
                          <a:pt x="14" y="48"/>
                          <a:pt x="13" y="40"/>
                          <a:pt x="12" y="32"/>
                        </a:cubicBezTo>
                        <a:cubicBezTo>
                          <a:pt x="10" y="24"/>
                          <a:pt x="9" y="17"/>
                          <a:pt x="8" y="10"/>
                        </a:cubicBezTo>
                        <a:cubicBezTo>
                          <a:pt x="8" y="3"/>
                          <a:pt x="5" y="0"/>
                          <a:pt x="5" y="0"/>
                        </a:cubicBezTo>
                        <a:lnTo>
                          <a:pt x="0" y="4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4" name="Freeform 123"/>
                  <p:cNvSpPr>
                    <a:spLocks/>
                  </p:cNvSpPr>
                  <p:nvPr/>
                </p:nvSpPr>
                <p:spPr bwMode="auto">
                  <a:xfrm>
                    <a:off x="4311650" y="4259263"/>
                    <a:ext cx="39688" cy="46038"/>
                  </a:xfrm>
                  <a:custGeom>
                    <a:avLst/>
                    <a:gdLst>
                      <a:gd name="T0" fmla="*/ 0 w 103"/>
                      <a:gd name="T1" fmla="*/ 12 h 115"/>
                      <a:gd name="T2" fmla="*/ 20 w 103"/>
                      <a:gd name="T3" fmla="*/ 38 h 115"/>
                      <a:gd name="T4" fmla="*/ 97 w 103"/>
                      <a:gd name="T5" fmla="*/ 115 h 115"/>
                      <a:gd name="T6" fmla="*/ 103 w 103"/>
                      <a:gd name="T7" fmla="*/ 107 h 115"/>
                      <a:gd name="T8" fmla="*/ 34 w 103"/>
                      <a:gd name="T9" fmla="*/ 24 h 115"/>
                      <a:gd name="T10" fmla="*/ 13 w 103"/>
                      <a:gd name="T11" fmla="*/ 0 h 115"/>
                      <a:gd name="T12" fmla="*/ 6 w 103"/>
                      <a:gd name="T13" fmla="*/ 4 h 115"/>
                      <a:gd name="T14" fmla="*/ 0 w 103"/>
                      <a:gd name="T15" fmla="*/ 12 h 1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3" h="115">
                        <a:moveTo>
                          <a:pt x="0" y="12"/>
                        </a:moveTo>
                        <a:cubicBezTo>
                          <a:pt x="0" y="14"/>
                          <a:pt x="10" y="24"/>
                          <a:pt x="20" y="38"/>
                        </a:cubicBezTo>
                        <a:cubicBezTo>
                          <a:pt x="30" y="51"/>
                          <a:pt x="97" y="115"/>
                          <a:pt x="97" y="115"/>
                        </a:cubicBezTo>
                        <a:cubicBezTo>
                          <a:pt x="103" y="107"/>
                          <a:pt x="103" y="107"/>
                          <a:pt x="103" y="107"/>
                        </a:cubicBezTo>
                        <a:cubicBezTo>
                          <a:pt x="103" y="107"/>
                          <a:pt x="43" y="35"/>
                          <a:pt x="34" y="24"/>
                        </a:cubicBezTo>
                        <a:cubicBezTo>
                          <a:pt x="25" y="14"/>
                          <a:pt x="15" y="0"/>
                          <a:pt x="13" y="0"/>
                        </a:cubicBezTo>
                        <a:cubicBezTo>
                          <a:pt x="11" y="0"/>
                          <a:pt x="9" y="1"/>
                          <a:pt x="6" y="4"/>
                        </a:cubicBezTo>
                        <a:cubicBezTo>
                          <a:pt x="3" y="7"/>
                          <a:pt x="0" y="10"/>
                          <a:pt x="0" y="1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5" name="Freeform 124"/>
                  <p:cNvSpPr>
                    <a:spLocks/>
                  </p:cNvSpPr>
                  <p:nvPr/>
                </p:nvSpPr>
                <p:spPr bwMode="auto">
                  <a:xfrm>
                    <a:off x="4297363" y="4138613"/>
                    <a:ext cx="69850" cy="101600"/>
                  </a:xfrm>
                  <a:custGeom>
                    <a:avLst/>
                    <a:gdLst>
                      <a:gd name="T0" fmla="*/ 26 w 176"/>
                      <a:gd name="T1" fmla="*/ 250 h 257"/>
                      <a:gd name="T2" fmla="*/ 63 w 176"/>
                      <a:gd name="T3" fmla="*/ 257 h 257"/>
                      <a:gd name="T4" fmla="*/ 109 w 176"/>
                      <a:gd name="T5" fmla="*/ 248 h 257"/>
                      <a:gd name="T6" fmla="*/ 134 w 176"/>
                      <a:gd name="T7" fmla="*/ 168 h 257"/>
                      <a:gd name="T8" fmla="*/ 157 w 176"/>
                      <a:gd name="T9" fmla="*/ 57 h 257"/>
                      <a:gd name="T10" fmla="*/ 176 w 176"/>
                      <a:gd name="T11" fmla="*/ 0 h 257"/>
                      <a:gd name="T12" fmla="*/ 103 w 176"/>
                      <a:gd name="T13" fmla="*/ 40 h 257"/>
                      <a:gd name="T14" fmla="*/ 0 w 176"/>
                      <a:gd name="T15" fmla="*/ 164 h 257"/>
                      <a:gd name="T16" fmla="*/ 9 w 176"/>
                      <a:gd name="T17" fmla="*/ 216 h 257"/>
                      <a:gd name="T18" fmla="*/ 26 w 176"/>
                      <a:gd name="T19" fmla="*/ 250 h 2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76" h="257">
                        <a:moveTo>
                          <a:pt x="26" y="250"/>
                        </a:moveTo>
                        <a:cubicBezTo>
                          <a:pt x="26" y="250"/>
                          <a:pt x="51" y="257"/>
                          <a:pt x="63" y="257"/>
                        </a:cubicBezTo>
                        <a:cubicBezTo>
                          <a:pt x="75" y="257"/>
                          <a:pt x="103" y="252"/>
                          <a:pt x="109" y="248"/>
                        </a:cubicBezTo>
                        <a:cubicBezTo>
                          <a:pt x="114" y="245"/>
                          <a:pt x="128" y="196"/>
                          <a:pt x="134" y="168"/>
                        </a:cubicBezTo>
                        <a:cubicBezTo>
                          <a:pt x="140" y="139"/>
                          <a:pt x="154" y="73"/>
                          <a:pt x="157" y="57"/>
                        </a:cubicBezTo>
                        <a:cubicBezTo>
                          <a:pt x="160" y="42"/>
                          <a:pt x="176" y="0"/>
                          <a:pt x="176" y="0"/>
                        </a:cubicBezTo>
                        <a:cubicBezTo>
                          <a:pt x="176" y="0"/>
                          <a:pt x="132" y="18"/>
                          <a:pt x="103" y="40"/>
                        </a:cubicBezTo>
                        <a:cubicBezTo>
                          <a:pt x="74" y="61"/>
                          <a:pt x="0" y="164"/>
                          <a:pt x="0" y="164"/>
                        </a:cubicBezTo>
                        <a:cubicBezTo>
                          <a:pt x="0" y="164"/>
                          <a:pt x="5" y="195"/>
                          <a:pt x="9" y="216"/>
                        </a:cubicBezTo>
                        <a:cubicBezTo>
                          <a:pt x="14" y="236"/>
                          <a:pt x="26" y="250"/>
                          <a:pt x="26" y="25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6" name="Freeform 125"/>
                  <p:cNvSpPr>
                    <a:spLocks noEditPoints="1"/>
                  </p:cNvSpPr>
                  <p:nvPr/>
                </p:nvSpPr>
                <p:spPr bwMode="auto">
                  <a:xfrm>
                    <a:off x="4324350" y="4276725"/>
                    <a:ext cx="50800" cy="53975"/>
                  </a:xfrm>
                  <a:custGeom>
                    <a:avLst/>
                    <a:gdLst>
                      <a:gd name="T0" fmla="*/ 73 w 127"/>
                      <a:gd name="T1" fmla="*/ 3 h 138"/>
                      <a:gd name="T2" fmla="*/ 10 w 127"/>
                      <a:gd name="T3" fmla="*/ 36 h 138"/>
                      <a:gd name="T4" fmla="*/ 19 w 127"/>
                      <a:gd name="T5" fmla="*/ 114 h 138"/>
                      <a:gd name="T6" fmla="*/ 61 w 127"/>
                      <a:gd name="T7" fmla="*/ 137 h 138"/>
                      <a:gd name="T8" fmla="*/ 127 w 127"/>
                      <a:gd name="T9" fmla="*/ 73 h 138"/>
                      <a:gd name="T10" fmla="*/ 73 w 127"/>
                      <a:gd name="T11" fmla="*/ 3 h 138"/>
                      <a:gd name="T12" fmla="*/ 25 w 127"/>
                      <a:gd name="T13" fmla="*/ 74 h 138"/>
                      <a:gd name="T14" fmla="*/ 26 w 127"/>
                      <a:gd name="T15" fmla="*/ 49 h 138"/>
                      <a:gd name="T16" fmla="*/ 29 w 127"/>
                      <a:gd name="T17" fmla="*/ 41 h 138"/>
                      <a:gd name="T18" fmla="*/ 36 w 127"/>
                      <a:gd name="T19" fmla="*/ 32 h 138"/>
                      <a:gd name="T20" fmla="*/ 47 w 127"/>
                      <a:gd name="T21" fmla="*/ 45 h 138"/>
                      <a:gd name="T22" fmla="*/ 55 w 127"/>
                      <a:gd name="T23" fmla="*/ 57 h 138"/>
                      <a:gd name="T24" fmla="*/ 56 w 127"/>
                      <a:gd name="T25" fmla="*/ 64 h 138"/>
                      <a:gd name="T26" fmla="*/ 49 w 127"/>
                      <a:gd name="T27" fmla="*/ 69 h 138"/>
                      <a:gd name="T28" fmla="*/ 37 w 127"/>
                      <a:gd name="T29" fmla="*/ 74 h 138"/>
                      <a:gd name="T30" fmla="*/ 25 w 127"/>
                      <a:gd name="T31" fmla="*/ 74 h 138"/>
                      <a:gd name="T32" fmla="*/ 62 w 127"/>
                      <a:gd name="T33" fmla="*/ 114 h 138"/>
                      <a:gd name="T34" fmla="*/ 40 w 127"/>
                      <a:gd name="T35" fmla="*/ 105 h 138"/>
                      <a:gd name="T36" fmla="*/ 31 w 127"/>
                      <a:gd name="T37" fmla="*/ 87 h 138"/>
                      <a:gd name="T38" fmla="*/ 49 w 127"/>
                      <a:gd name="T39" fmla="*/ 79 h 138"/>
                      <a:gd name="T40" fmla="*/ 61 w 127"/>
                      <a:gd name="T41" fmla="*/ 75 h 138"/>
                      <a:gd name="T42" fmla="*/ 63 w 127"/>
                      <a:gd name="T43" fmla="*/ 97 h 138"/>
                      <a:gd name="T44" fmla="*/ 62 w 127"/>
                      <a:gd name="T45" fmla="*/ 114 h 138"/>
                      <a:gd name="T46" fmla="*/ 64 w 127"/>
                      <a:gd name="T47" fmla="*/ 56 h 138"/>
                      <a:gd name="T48" fmla="*/ 53 w 127"/>
                      <a:gd name="T49" fmla="*/ 39 h 138"/>
                      <a:gd name="T50" fmla="*/ 48 w 127"/>
                      <a:gd name="T51" fmla="*/ 25 h 138"/>
                      <a:gd name="T52" fmla="*/ 67 w 127"/>
                      <a:gd name="T53" fmla="*/ 21 h 138"/>
                      <a:gd name="T54" fmla="*/ 84 w 127"/>
                      <a:gd name="T55" fmla="*/ 29 h 138"/>
                      <a:gd name="T56" fmla="*/ 76 w 127"/>
                      <a:gd name="T57" fmla="*/ 44 h 138"/>
                      <a:gd name="T58" fmla="*/ 64 w 127"/>
                      <a:gd name="T59" fmla="*/ 56 h 138"/>
                      <a:gd name="T60" fmla="*/ 102 w 127"/>
                      <a:gd name="T61" fmla="*/ 98 h 138"/>
                      <a:gd name="T62" fmla="*/ 84 w 127"/>
                      <a:gd name="T63" fmla="*/ 112 h 138"/>
                      <a:gd name="T64" fmla="*/ 74 w 127"/>
                      <a:gd name="T65" fmla="*/ 115 h 138"/>
                      <a:gd name="T66" fmla="*/ 71 w 127"/>
                      <a:gd name="T67" fmla="*/ 110 h 138"/>
                      <a:gd name="T68" fmla="*/ 69 w 127"/>
                      <a:gd name="T69" fmla="*/ 86 h 138"/>
                      <a:gd name="T70" fmla="*/ 70 w 127"/>
                      <a:gd name="T71" fmla="*/ 75 h 138"/>
                      <a:gd name="T72" fmla="*/ 89 w 127"/>
                      <a:gd name="T73" fmla="*/ 80 h 138"/>
                      <a:gd name="T74" fmla="*/ 104 w 127"/>
                      <a:gd name="T75" fmla="*/ 90 h 138"/>
                      <a:gd name="T76" fmla="*/ 102 w 127"/>
                      <a:gd name="T77" fmla="*/ 98 h 138"/>
                      <a:gd name="T78" fmla="*/ 106 w 127"/>
                      <a:gd name="T79" fmla="*/ 78 h 138"/>
                      <a:gd name="T80" fmla="*/ 98 w 127"/>
                      <a:gd name="T81" fmla="*/ 76 h 138"/>
                      <a:gd name="T82" fmla="*/ 79 w 127"/>
                      <a:gd name="T83" fmla="*/ 69 h 138"/>
                      <a:gd name="T84" fmla="*/ 74 w 127"/>
                      <a:gd name="T85" fmla="*/ 65 h 138"/>
                      <a:gd name="T86" fmla="*/ 83 w 127"/>
                      <a:gd name="T87" fmla="*/ 50 h 138"/>
                      <a:gd name="T88" fmla="*/ 94 w 127"/>
                      <a:gd name="T89" fmla="*/ 34 h 138"/>
                      <a:gd name="T90" fmla="*/ 99 w 127"/>
                      <a:gd name="T91" fmla="*/ 38 h 138"/>
                      <a:gd name="T92" fmla="*/ 108 w 127"/>
                      <a:gd name="T93" fmla="*/ 59 h 138"/>
                      <a:gd name="T94" fmla="*/ 106 w 127"/>
                      <a:gd name="T95" fmla="*/ 78 h 1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27" h="138">
                        <a:moveTo>
                          <a:pt x="73" y="3"/>
                        </a:moveTo>
                        <a:cubicBezTo>
                          <a:pt x="39" y="0"/>
                          <a:pt x="20" y="9"/>
                          <a:pt x="10" y="36"/>
                        </a:cubicBezTo>
                        <a:cubicBezTo>
                          <a:pt x="0" y="63"/>
                          <a:pt x="1" y="95"/>
                          <a:pt x="19" y="114"/>
                        </a:cubicBezTo>
                        <a:cubicBezTo>
                          <a:pt x="36" y="133"/>
                          <a:pt x="61" y="137"/>
                          <a:pt x="61" y="137"/>
                        </a:cubicBezTo>
                        <a:cubicBezTo>
                          <a:pt x="87" y="138"/>
                          <a:pt x="127" y="116"/>
                          <a:pt x="127" y="73"/>
                        </a:cubicBezTo>
                        <a:cubicBezTo>
                          <a:pt x="126" y="31"/>
                          <a:pt x="106" y="6"/>
                          <a:pt x="73" y="3"/>
                        </a:cubicBezTo>
                        <a:close/>
                        <a:moveTo>
                          <a:pt x="25" y="74"/>
                        </a:moveTo>
                        <a:cubicBezTo>
                          <a:pt x="23" y="72"/>
                          <a:pt x="25" y="57"/>
                          <a:pt x="26" y="49"/>
                        </a:cubicBezTo>
                        <a:cubicBezTo>
                          <a:pt x="26" y="49"/>
                          <a:pt x="26" y="46"/>
                          <a:pt x="29" y="41"/>
                        </a:cubicBezTo>
                        <a:cubicBezTo>
                          <a:pt x="31" y="36"/>
                          <a:pt x="34" y="32"/>
                          <a:pt x="36" y="32"/>
                        </a:cubicBezTo>
                        <a:cubicBezTo>
                          <a:pt x="37" y="32"/>
                          <a:pt x="43" y="39"/>
                          <a:pt x="47" y="45"/>
                        </a:cubicBezTo>
                        <a:cubicBezTo>
                          <a:pt x="52" y="52"/>
                          <a:pt x="53" y="53"/>
                          <a:pt x="55" y="57"/>
                        </a:cubicBezTo>
                        <a:cubicBezTo>
                          <a:pt x="56" y="60"/>
                          <a:pt x="57" y="63"/>
                          <a:pt x="56" y="64"/>
                        </a:cubicBezTo>
                        <a:cubicBezTo>
                          <a:pt x="56" y="65"/>
                          <a:pt x="53" y="67"/>
                          <a:pt x="49" y="69"/>
                        </a:cubicBezTo>
                        <a:cubicBezTo>
                          <a:pt x="45" y="71"/>
                          <a:pt x="43" y="72"/>
                          <a:pt x="37" y="74"/>
                        </a:cubicBezTo>
                        <a:cubicBezTo>
                          <a:pt x="30" y="75"/>
                          <a:pt x="28" y="76"/>
                          <a:pt x="25" y="74"/>
                        </a:cubicBezTo>
                        <a:close/>
                        <a:moveTo>
                          <a:pt x="62" y="114"/>
                        </a:moveTo>
                        <a:cubicBezTo>
                          <a:pt x="60" y="116"/>
                          <a:pt x="52" y="115"/>
                          <a:pt x="40" y="105"/>
                        </a:cubicBezTo>
                        <a:cubicBezTo>
                          <a:pt x="28" y="95"/>
                          <a:pt x="29" y="90"/>
                          <a:pt x="31" y="87"/>
                        </a:cubicBezTo>
                        <a:cubicBezTo>
                          <a:pt x="33" y="84"/>
                          <a:pt x="42" y="82"/>
                          <a:pt x="49" y="79"/>
                        </a:cubicBezTo>
                        <a:cubicBezTo>
                          <a:pt x="54" y="76"/>
                          <a:pt x="60" y="73"/>
                          <a:pt x="61" y="75"/>
                        </a:cubicBezTo>
                        <a:cubicBezTo>
                          <a:pt x="62" y="76"/>
                          <a:pt x="63" y="87"/>
                          <a:pt x="63" y="97"/>
                        </a:cubicBezTo>
                        <a:cubicBezTo>
                          <a:pt x="63" y="106"/>
                          <a:pt x="63" y="113"/>
                          <a:pt x="62" y="114"/>
                        </a:cubicBezTo>
                        <a:close/>
                        <a:moveTo>
                          <a:pt x="64" y="56"/>
                        </a:moveTo>
                        <a:cubicBezTo>
                          <a:pt x="62" y="56"/>
                          <a:pt x="57" y="47"/>
                          <a:pt x="53" y="39"/>
                        </a:cubicBezTo>
                        <a:cubicBezTo>
                          <a:pt x="48" y="32"/>
                          <a:pt x="47" y="27"/>
                          <a:pt x="48" y="25"/>
                        </a:cubicBezTo>
                        <a:cubicBezTo>
                          <a:pt x="49" y="23"/>
                          <a:pt x="57" y="20"/>
                          <a:pt x="67" y="21"/>
                        </a:cubicBezTo>
                        <a:cubicBezTo>
                          <a:pt x="78" y="21"/>
                          <a:pt x="84" y="26"/>
                          <a:pt x="84" y="29"/>
                        </a:cubicBezTo>
                        <a:cubicBezTo>
                          <a:pt x="85" y="31"/>
                          <a:pt x="81" y="38"/>
                          <a:pt x="76" y="44"/>
                        </a:cubicBezTo>
                        <a:cubicBezTo>
                          <a:pt x="72" y="51"/>
                          <a:pt x="66" y="57"/>
                          <a:pt x="64" y="56"/>
                        </a:cubicBezTo>
                        <a:close/>
                        <a:moveTo>
                          <a:pt x="102" y="98"/>
                        </a:moveTo>
                        <a:cubicBezTo>
                          <a:pt x="99" y="103"/>
                          <a:pt x="89" y="110"/>
                          <a:pt x="84" y="112"/>
                        </a:cubicBezTo>
                        <a:cubicBezTo>
                          <a:pt x="80" y="114"/>
                          <a:pt x="75" y="115"/>
                          <a:pt x="74" y="115"/>
                        </a:cubicBezTo>
                        <a:cubicBezTo>
                          <a:pt x="73" y="114"/>
                          <a:pt x="72" y="113"/>
                          <a:pt x="71" y="110"/>
                        </a:cubicBezTo>
                        <a:cubicBezTo>
                          <a:pt x="70" y="108"/>
                          <a:pt x="70" y="92"/>
                          <a:pt x="69" y="86"/>
                        </a:cubicBezTo>
                        <a:cubicBezTo>
                          <a:pt x="69" y="79"/>
                          <a:pt x="69" y="76"/>
                          <a:pt x="70" y="75"/>
                        </a:cubicBezTo>
                        <a:cubicBezTo>
                          <a:pt x="73" y="73"/>
                          <a:pt x="80" y="77"/>
                          <a:pt x="89" y="80"/>
                        </a:cubicBezTo>
                        <a:cubicBezTo>
                          <a:pt x="98" y="84"/>
                          <a:pt x="103" y="87"/>
                          <a:pt x="104" y="90"/>
                        </a:cubicBezTo>
                        <a:cubicBezTo>
                          <a:pt x="105" y="92"/>
                          <a:pt x="104" y="94"/>
                          <a:pt x="102" y="98"/>
                        </a:cubicBezTo>
                        <a:close/>
                        <a:moveTo>
                          <a:pt x="106" y="78"/>
                        </a:moveTo>
                        <a:cubicBezTo>
                          <a:pt x="105" y="79"/>
                          <a:pt x="102" y="78"/>
                          <a:pt x="98" y="76"/>
                        </a:cubicBezTo>
                        <a:cubicBezTo>
                          <a:pt x="93" y="75"/>
                          <a:pt x="84" y="71"/>
                          <a:pt x="79" y="69"/>
                        </a:cubicBezTo>
                        <a:cubicBezTo>
                          <a:pt x="74" y="67"/>
                          <a:pt x="74" y="66"/>
                          <a:pt x="74" y="65"/>
                        </a:cubicBezTo>
                        <a:cubicBezTo>
                          <a:pt x="74" y="64"/>
                          <a:pt x="79" y="57"/>
                          <a:pt x="83" y="50"/>
                        </a:cubicBezTo>
                        <a:cubicBezTo>
                          <a:pt x="87" y="43"/>
                          <a:pt x="92" y="34"/>
                          <a:pt x="94" y="34"/>
                        </a:cubicBezTo>
                        <a:cubicBezTo>
                          <a:pt x="96" y="34"/>
                          <a:pt x="97" y="35"/>
                          <a:pt x="99" y="38"/>
                        </a:cubicBezTo>
                        <a:cubicBezTo>
                          <a:pt x="102" y="41"/>
                          <a:pt x="106" y="50"/>
                          <a:pt x="108" y="59"/>
                        </a:cubicBezTo>
                        <a:cubicBezTo>
                          <a:pt x="110" y="69"/>
                          <a:pt x="108" y="76"/>
                          <a:pt x="106" y="7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7" name="Freeform 126"/>
                  <p:cNvSpPr>
                    <a:spLocks/>
                  </p:cNvSpPr>
                  <p:nvPr/>
                </p:nvSpPr>
                <p:spPr bwMode="auto">
                  <a:xfrm>
                    <a:off x="4275138" y="4298950"/>
                    <a:ext cx="22225" cy="17463"/>
                  </a:xfrm>
                  <a:custGeom>
                    <a:avLst/>
                    <a:gdLst>
                      <a:gd name="T0" fmla="*/ 2 w 56"/>
                      <a:gd name="T1" fmla="*/ 6 h 42"/>
                      <a:gd name="T2" fmla="*/ 5 w 56"/>
                      <a:gd name="T3" fmla="*/ 19 h 42"/>
                      <a:gd name="T4" fmla="*/ 22 w 56"/>
                      <a:gd name="T5" fmla="*/ 28 h 42"/>
                      <a:gd name="T6" fmla="*/ 46 w 56"/>
                      <a:gd name="T7" fmla="*/ 41 h 42"/>
                      <a:gd name="T8" fmla="*/ 54 w 56"/>
                      <a:gd name="T9" fmla="*/ 38 h 42"/>
                      <a:gd name="T10" fmla="*/ 51 w 56"/>
                      <a:gd name="T11" fmla="*/ 29 h 42"/>
                      <a:gd name="T12" fmla="*/ 37 w 56"/>
                      <a:gd name="T13" fmla="*/ 21 h 42"/>
                      <a:gd name="T14" fmla="*/ 16 w 56"/>
                      <a:gd name="T15" fmla="*/ 4 h 42"/>
                      <a:gd name="T16" fmla="*/ 2 w 56"/>
                      <a:gd name="T17" fmla="*/ 6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6" h="42">
                        <a:moveTo>
                          <a:pt x="2" y="6"/>
                        </a:moveTo>
                        <a:cubicBezTo>
                          <a:pt x="0" y="10"/>
                          <a:pt x="2" y="17"/>
                          <a:pt x="5" y="19"/>
                        </a:cubicBezTo>
                        <a:cubicBezTo>
                          <a:pt x="7" y="20"/>
                          <a:pt x="12" y="23"/>
                          <a:pt x="22" y="28"/>
                        </a:cubicBezTo>
                        <a:cubicBezTo>
                          <a:pt x="33" y="34"/>
                          <a:pt x="44" y="40"/>
                          <a:pt x="46" y="41"/>
                        </a:cubicBezTo>
                        <a:cubicBezTo>
                          <a:pt x="48" y="42"/>
                          <a:pt x="53" y="42"/>
                          <a:pt x="54" y="38"/>
                        </a:cubicBezTo>
                        <a:cubicBezTo>
                          <a:pt x="56" y="34"/>
                          <a:pt x="54" y="31"/>
                          <a:pt x="51" y="29"/>
                        </a:cubicBezTo>
                        <a:cubicBezTo>
                          <a:pt x="48" y="27"/>
                          <a:pt x="43" y="25"/>
                          <a:pt x="37" y="21"/>
                        </a:cubicBezTo>
                        <a:cubicBezTo>
                          <a:pt x="32" y="18"/>
                          <a:pt x="21" y="8"/>
                          <a:pt x="16" y="4"/>
                        </a:cubicBezTo>
                        <a:cubicBezTo>
                          <a:pt x="10" y="1"/>
                          <a:pt x="5" y="0"/>
                          <a:pt x="2" y="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8" name="Freeform 127"/>
                  <p:cNvSpPr>
                    <a:spLocks noEditPoints="1"/>
                  </p:cNvSpPr>
                  <p:nvPr/>
                </p:nvSpPr>
                <p:spPr bwMode="auto">
                  <a:xfrm>
                    <a:off x="4316413" y="4268788"/>
                    <a:ext cx="66675" cy="69850"/>
                  </a:xfrm>
                  <a:custGeom>
                    <a:avLst/>
                    <a:gdLst>
                      <a:gd name="T0" fmla="*/ 119 w 171"/>
                      <a:gd name="T1" fmla="*/ 15 h 174"/>
                      <a:gd name="T2" fmla="*/ 36 w 171"/>
                      <a:gd name="T3" fmla="*/ 33 h 174"/>
                      <a:gd name="T4" fmla="*/ 50 w 171"/>
                      <a:gd name="T5" fmla="*/ 155 h 174"/>
                      <a:gd name="T6" fmla="*/ 156 w 171"/>
                      <a:gd name="T7" fmla="*/ 119 h 174"/>
                      <a:gd name="T8" fmla="*/ 119 w 171"/>
                      <a:gd name="T9" fmla="*/ 15 h 174"/>
                      <a:gd name="T10" fmla="*/ 81 w 171"/>
                      <a:gd name="T11" fmla="*/ 150 h 174"/>
                      <a:gd name="T12" fmla="*/ 34 w 171"/>
                      <a:gd name="T13" fmla="*/ 74 h 174"/>
                      <a:gd name="T14" fmla="*/ 83 w 171"/>
                      <a:gd name="T15" fmla="*/ 27 h 174"/>
                      <a:gd name="T16" fmla="*/ 140 w 171"/>
                      <a:gd name="T17" fmla="*/ 95 h 174"/>
                      <a:gd name="T18" fmla="*/ 81 w 171"/>
                      <a:gd name="T19" fmla="*/ 150 h 1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71" h="174">
                        <a:moveTo>
                          <a:pt x="119" y="15"/>
                        </a:moveTo>
                        <a:cubicBezTo>
                          <a:pt x="88" y="0"/>
                          <a:pt x="51" y="13"/>
                          <a:pt x="36" y="33"/>
                        </a:cubicBezTo>
                        <a:cubicBezTo>
                          <a:pt x="0" y="82"/>
                          <a:pt x="23" y="134"/>
                          <a:pt x="50" y="155"/>
                        </a:cubicBezTo>
                        <a:cubicBezTo>
                          <a:pt x="72" y="174"/>
                          <a:pt x="137" y="168"/>
                          <a:pt x="156" y="119"/>
                        </a:cubicBezTo>
                        <a:cubicBezTo>
                          <a:pt x="171" y="78"/>
                          <a:pt x="152" y="31"/>
                          <a:pt x="119" y="15"/>
                        </a:cubicBezTo>
                        <a:close/>
                        <a:moveTo>
                          <a:pt x="81" y="150"/>
                        </a:moveTo>
                        <a:cubicBezTo>
                          <a:pt x="42" y="146"/>
                          <a:pt x="30" y="106"/>
                          <a:pt x="34" y="74"/>
                        </a:cubicBezTo>
                        <a:cubicBezTo>
                          <a:pt x="38" y="43"/>
                          <a:pt x="59" y="26"/>
                          <a:pt x="83" y="27"/>
                        </a:cubicBezTo>
                        <a:cubicBezTo>
                          <a:pt x="132" y="28"/>
                          <a:pt x="141" y="71"/>
                          <a:pt x="140" y="95"/>
                        </a:cubicBezTo>
                        <a:cubicBezTo>
                          <a:pt x="140" y="119"/>
                          <a:pt x="120" y="154"/>
                          <a:pt x="81" y="15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69" name="Freeform 128"/>
                  <p:cNvSpPr>
                    <a:spLocks noEditPoints="1"/>
                  </p:cNvSpPr>
                  <p:nvPr/>
                </p:nvSpPr>
                <p:spPr bwMode="auto">
                  <a:xfrm>
                    <a:off x="4386263" y="4268788"/>
                    <a:ext cx="49213" cy="46038"/>
                  </a:xfrm>
                  <a:custGeom>
                    <a:avLst/>
                    <a:gdLst>
                      <a:gd name="T0" fmla="*/ 117 w 125"/>
                      <a:gd name="T1" fmla="*/ 75 h 116"/>
                      <a:gd name="T2" fmla="*/ 99 w 125"/>
                      <a:gd name="T3" fmla="*/ 16 h 116"/>
                      <a:gd name="T4" fmla="*/ 31 w 125"/>
                      <a:gd name="T5" fmla="*/ 12 h 116"/>
                      <a:gd name="T6" fmla="*/ 5 w 125"/>
                      <a:gd name="T7" fmla="*/ 44 h 116"/>
                      <a:gd name="T8" fmla="*/ 49 w 125"/>
                      <a:gd name="T9" fmla="*/ 110 h 116"/>
                      <a:gd name="T10" fmla="*/ 117 w 125"/>
                      <a:gd name="T11" fmla="*/ 75 h 116"/>
                      <a:gd name="T12" fmla="*/ 64 w 125"/>
                      <a:gd name="T13" fmla="*/ 23 h 116"/>
                      <a:gd name="T14" fmla="*/ 85 w 125"/>
                      <a:gd name="T15" fmla="*/ 28 h 116"/>
                      <a:gd name="T16" fmla="*/ 92 w 125"/>
                      <a:gd name="T17" fmla="*/ 31 h 116"/>
                      <a:gd name="T18" fmla="*/ 98 w 125"/>
                      <a:gd name="T19" fmla="*/ 39 h 116"/>
                      <a:gd name="T20" fmla="*/ 85 w 125"/>
                      <a:gd name="T21" fmla="*/ 46 h 116"/>
                      <a:gd name="T22" fmla="*/ 75 w 125"/>
                      <a:gd name="T23" fmla="*/ 51 h 116"/>
                      <a:gd name="T24" fmla="*/ 68 w 125"/>
                      <a:gd name="T25" fmla="*/ 51 h 116"/>
                      <a:gd name="T26" fmla="*/ 65 w 125"/>
                      <a:gd name="T27" fmla="*/ 44 h 116"/>
                      <a:gd name="T28" fmla="*/ 63 w 125"/>
                      <a:gd name="T29" fmla="*/ 33 h 116"/>
                      <a:gd name="T30" fmla="*/ 64 w 125"/>
                      <a:gd name="T31" fmla="*/ 23 h 116"/>
                      <a:gd name="T32" fmla="*/ 24 w 125"/>
                      <a:gd name="T33" fmla="*/ 48 h 116"/>
                      <a:gd name="T34" fmla="*/ 36 w 125"/>
                      <a:gd name="T35" fmla="*/ 31 h 116"/>
                      <a:gd name="T36" fmla="*/ 54 w 125"/>
                      <a:gd name="T37" fmla="*/ 27 h 116"/>
                      <a:gd name="T38" fmla="*/ 57 w 125"/>
                      <a:gd name="T39" fmla="*/ 43 h 116"/>
                      <a:gd name="T40" fmla="*/ 60 w 125"/>
                      <a:gd name="T41" fmla="*/ 53 h 116"/>
                      <a:gd name="T42" fmla="*/ 39 w 125"/>
                      <a:gd name="T43" fmla="*/ 52 h 116"/>
                      <a:gd name="T44" fmla="*/ 24 w 125"/>
                      <a:gd name="T45" fmla="*/ 48 h 116"/>
                      <a:gd name="T46" fmla="*/ 73 w 125"/>
                      <a:gd name="T47" fmla="*/ 59 h 116"/>
                      <a:gd name="T48" fmla="*/ 89 w 125"/>
                      <a:gd name="T49" fmla="*/ 52 h 116"/>
                      <a:gd name="T50" fmla="*/ 102 w 125"/>
                      <a:gd name="T51" fmla="*/ 50 h 116"/>
                      <a:gd name="T52" fmla="*/ 103 w 125"/>
                      <a:gd name="T53" fmla="*/ 67 h 116"/>
                      <a:gd name="T54" fmla="*/ 94 w 125"/>
                      <a:gd name="T55" fmla="*/ 80 h 116"/>
                      <a:gd name="T56" fmla="*/ 82 w 125"/>
                      <a:gd name="T57" fmla="*/ 71 h 116"/>
                      <a:gd name="T58" fmla="*/ 73 w 125"/>
                      <a:gd name="T59" fmla="*/ 59 h 116"/>
                      <a:gd name="T60" fmla="*/ 32 w 125"/>
                      <a:gd name="T61" fmla="*/ 85 h 116"/>
                      <a:gd name="T62" fmla="*/ 23 w 125"/>
                      <a:gd name="T63" fmla="*/ 68 h 116"/>
                      <a:gd name="T64" fmla="*/ 22 w 125"/>
                      <a:gd name="T65" fmla="*/ 59 h 116"/>
                      <a:gd name="T66" fmla="*/ 26 w 125"/>
                      <a:gd name="T67" fmla="*/ 57 h 116"/>
                      <a:gd name="T68" fmla="*/ 48 w 125"/>
                      <a:gd name="T69" fmla="*/ 59 h 116"/>
                      <a:gd name="T70" fmla="*/ 57 w 125"/>
                      <a:gd name="T71" fmla="*/ 62 h 116"/>
                      <a:gd name="T72" fmla="*/ 49 w 125"/>
                      <a:gd name="T73" fmla="*/ 77 h 116"/>
                      <a:gd name="T74" fmla="*/ 39 w 125"/>
                      <a:gd name="T75" fmla="*/ 88 h 116"/>
                      <a:gd name="T76" fmla="*/ 32 w 125"/>
                      <a:gd name="T77" fmla="*/ 85 h 116"/>
                      <a:gd name="T78" fmla="*/ 49 w 125"/>
                      <a:gd name="T79" fmla="*/ 92 h 116"/>
                      <a:gd name="T80" fmla="*/ 51 w 125"/>
                      <a:gd name="T81" fmla="*/ 85 h 116"/>
                      <a:gd name="T82" fmla="*/ 60 w 125"/>
                      <a:gd name="T83" fmla="*/ 70 h 116"/>
                      <a:gd name="T84" fmla="*/ 65 w 125"/>
                      <a:gd name="T85" fmla="*/ 66 h 116"/>
                      <a:gd name="T86" fmla="*/ 76 w 125"/>
                      <a:gd name="T87" fmla="*/ 76 h 116"/>
                      <a:gd name="T88" fmla="*/ 88 w 125"/>
                      <a:gd name="T89" fmla="*/ 88 h 116"/>
                      <a:gd name="T90" fmla="*/ 83 w 125"/>
                      <a:gd name="T91" fmla="*/ 92 h 116"/>
                      <a:gd name="T92" fmla="*/ 64 w 125"/>
                      <a:gd name="T93" fmla="*/ 96 h 116"/>
                      <a:gd name="T94" fmla="*/ 49 w 125"/>
                      <a:gd name="T95" fmla="*/ 92 h 1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25" h="116">
                        <a:moveTo>
                          <a:pt x="117" y="75"/>
                        </a:moveTo>
                        <a:cubicBezTo>
                          <a:pt x="125" y="46"/>
                          <a:pt x="120" y="29"/>
                          <a:pt x="99" y="16"/>
                        </a:cubicBezTo>
                        <a:cubicBezTo>
                          <a:pt x="77" y="3"/>
                          <a:pt x="50" y="0"/>
                          <a:pt x="31" y="12"/>
                        </a:cubicBezTo>
                        <a:cubicBezTo>
                          <a:pt x="12" y="24"/>
                          <a:pt x="5" y="44"/>
                          <a:pt x="5" y="44"/>
                        </a:cubicBezTo>
                        <a:cubicBezTo>
                          <a:pt x="0" y="66"/>
                          <a:pt x="13" y="104"/>
                          <a:pt x="49" y="110"/>
                        </a:cubicBezTo>
                        <a:cubicBezTo>
                          <a:pt x="86" y="116"/>
                          <a:pt x="110" y="103"/>
                          <a:pt x="117" y="75"/>
                        </a:cubicBezTo>
                        <a:close/>
                        <a:moveTo>
                          <a:pt x="64" y="23"/>
                        </a:moveTo>
                        <a:cubicBezTo>
                          <a:pt x="66" y="22"/>
                          <a:pt x="79" y="25"/>
                          <a:pt x="85" y="28"/>
                        </a:cubicBezTo>
                        <a:cubicBezTo>
                          <a:pt x="85" y="28"/>
                          <a:pt x="88" y="28"/>
                          <a:pt x="92" y="31"/>
                        </a:cubicBezTo>
                        <a:cubicBezTo>
                          <a:pt x="96" y="34"/>
                          <a:pt x="99" y="37"/>
                          <a:pt x="98" y="39"/>
                        </a:cubicBezTo>
                        <a:cubicBezTo>
                          <a:pt x="98" y="40"/>
                          <a:pt x="91" y="44"/>
                          <a:pt x="85" y="46"/>
                        </a:cubicBezTo>
                        <a:cubicBezTo>
                          <a:pt x="79" y="49"/>
                          <a:pt x="78" y="50"/>
                          <a:pt x="75" y="51"/>
                        </a:cubicBezTo>
                        <a:cubicBezTo>
                          <a:pt x="71" y="52"/>
                          <a:pt x="69" y="52"/>
                          <a:pt x="68" y="51"/>
                        </a:cubicBezTo>
                        <a:cubicBezTo>
                          <a:pt x="67" y="51"/>
                          <a:pt x="66" y="48"/>
                          <a:pt x="65" y="44"/>
                        </a:cubicBezTo>
                        <a:cubicBezTo>
                          <a:pt x="64" y="41"/>
                          <a:pt x="63" y="39"/>
                          <a:pt x="63" y="33"/>
                        </a:cubicBezTo>
                        <a:cubicBezTo>
                          <a:pt x="62" y="28"/>
                          <a:pt x="62" y="25"/>
                          <a:pt x="64" y="23"/>
                        </a:cubicBezTo>
                        <a:close/>
                        <a:moveTo>
                          <a:pt x="24" y="48"/>
                        </a:moveTo>
                        <a:cubicBezTo>
                          <a:pt x="23" y="47"/>
                          <a:pt x="25" y="40"/>
                          <a:pt x="36" y="31"/>
                        </a:cubicBezTo>
                        <a:cubicBezTo>
                          <a:pt x="46" y="22"/>
                          <a:pt x="52" y="24"/>
                          <a:pt x="54" y="27"/>
                        </a:cubicBezTo>
                        <a:cubicBezTo>
                          <a:pt x="56" y="29"/>
                          <a:pt x="56" y="38"/>
                          <a:pt x="57" y="43"/>
                        </a:cubicBezTo>
                        <a:cubicBezTo>
                          <a:pt x="59" y="47"/>
                          <a:pt x="61" y="52"/>
                          <a:pt x="60" y="53"/>
                        </a:cubicBezTo>
                        <a:cubicBezTo>
                          <a:pt x="58" y="54"/>
                          <a:pt x="47" y="53"/>
                          <a:pt x="39" y="52"/>
                        </a:cubicBezTo>
                        <a:cubicBezTo>
                          <a:pt x="31" y="50"/>
                          <a:pt x="25" y="50"/>
                          <a:pt x="24" y="48"/>
                        </a:cubicBezTo>
                        <a:close/>
                        <a:moveTo>
                          <a:pt x="73" y="59"/>
                        </a:moveTo>
                        <a:cubicBezTo>
                          <a:pt x="74" y="57"/>
                          <a:pt x="82" y="55"/>
                          <a:pt x="89" y="52"/>
                        </a:cubicBezTo>
                        <a:cubicBezTo>
                          <a:pt x="96" y="49"/>
                          <a:pt x="101" y="49"/>
                          <a:pt x="102" y="50"/>
                        </a:cubicBezTo>
                        <a:cubicBezTo>
                          <a:pt x="103" y="51"/>
                          <a:pt x="105" y="58"/>
                          <a:pt x="103" y="67"/>
                        </a:cubicBezTo>
                        <a:cubicBezTo>
                          <a:pt x="101" y="76"/>
                          <a:pt x="96" y="80"/>
                          <a:pt x="94" y="80"/>
                        </a:cubicBezTo>
                        <a:cubicBezTo>
                          <a:pt x="92" y="80"/>
                          <a:pt x="86" y="76"/>
                          <a:pt x="82" y="71"/>
                        </a:cubicBezTo>
                        <a:cubicBezTo>
                          <a:pt x="77" y="67"/>
                          <a:pt x="72" y="60"/>
                          <a:pt x="73" y="59"/>
                        </a:cubicBezTo>
                        <a:close/>
                        <a:moveTo>
                          <a:pt x="32" y="85"/>
                        </a:moveTo>
                        <a:cubicBezTo>
                          <a:pt x="29" y="82"/>
                          <a:pt x="24" y="72"/>
                          <a:pt x="23" y="68"/>
                        </a:cubicBezTo>
                        <a:cubicBezTo>
                          <a:pt x="22" y="64"/>
                          <a:pt x="21" y="60"/>
                          <a:pt x="22" y="59"/>
                        </a:cubicBezTo>
                        <a:cubicBezTo>
                          <a:pt x="23" y="58"/>
                          <a:pt x="24" y="57"/>
                          <a:pt x="26" y="57"/>
                        </a:cubicBezTo>
                        <a:cubicBezTo>
                          <a:pt x="29" y="56"/>
                          <a:pt x="42" y="58"/>
                          <a:pt x="48" y="59"/>
                        </a:cubicBezTo>
                        <a:cubicBezTo>
                          <a:pt x="53" y="60"/>
                          <a:pt x="56" y="60"/>
                          <a:pt x="57" y="62"/>
                        </a:cubicBezTo>
                        <a:cubicBezTo>
                          <a:pt x="58" y="64"/>
                          <a:pt x="53" y="70"/>
                          <a:pt x="49" y="77"/>
                        </a:cubicBezTo>
                        <a:cubicBezTo>
                          <a:pt x="45" y="84"/>
                          <a:pt x="42" y="88"/>
                          <a:pt x="39" y="88"/>
                        </a:cubicBezTo>
                        <a:cubicBezTo>
                          <a:pt x="37" y="89"/>
                          <a:pt x="35" y="88"/>
                          <a:pt x="32" y="85"/>
                        </a:cubicBezTo>
                        <a:close/>
                        <a:moveTo>
                          <a:pt x="49" y="92"/>
                        </a:moveTo>
                        <a:cubicBezTo>
                          <a:pt x="48" y="90"/>
                          <a:pt x="49" y="88"/>
                          <a:pt x="51" y="85"/>
                        </a:cubicBezTo>
                        <a:cubicBezTo>
                          <a:pt x="53" y="81"/>
                          <a:pt x="57" y="74"/>
                          <a:pt x="60" y="70"/>
                        </a:cubicBezTo>
                        <a:cubicBezTo>
                          <a:pt x="63" y="66"/>
                          <a:pt x="64" y="66"/>
                          <a:pt x="65" y="66"/>
                        </a:cubicBezTo>
                        <a:cubicBezTo>
                          <a:pt x="66" y="66"/>
                          <a:pt x="70" y="71"/>
                          <a:pt x="76" y="76"/>
                        </a:cubicBezTo>
                        <a:cubicBezTo>
                          <a:pt x="81" y="80"/>
                          <a:pt x="88" y="86"/>
                          <a:pt x="88" y="88"/>
                        </a:cubicBezTo>
                        <a:cubicBezTo>
                          <a:pt x="88" y="89"/>
                          <a:pt x="86" y="90"/>
                          <a:pt x="83" y="92"/>
                        </a:cubicBezTo>
                        <a:cubicBezTo>
                          <a:pt x="81" y="93"/>
                          <a:pt x="73" y="96"/>
                          <a:pt x="64" y="96"/>
                        </a:cubicBezTo>
                        <a:cubicBezTo>
                          <a:pt x="56" y="96"/>
                          <a:pt x="50" y="93"/>
                          <a:pt x="49" y="9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0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4379913" y="4262438"/>
                    <a:ext cx="57150" cy="58738"/>
                  </a:xfrm>
                  <a:custGeom>
                    <a:avLst/>
                    <a:gdLst>
                      <a:gd name="T0" fmla="*/ 130 w 145"/>
                      <a:gd name="T1" fmla="*/ 111 h 148"/>
                      <a:gd name="T2" fmla="*/ 130 w 145"/>
                      <a:gd name="T3" fmla="*/ 39 h 148"/>
                      <a:gd name="T4" fmla="*/ 27 w 145"/>
                      <a:gd name="T5" fmla="*/ 30 h 148"/>
                      <a:gd name="T6" fmla="*/ 38 w 145"/>
                      <a:gd name="T7" fmla="*/ 129 h 148"/>
                      <a:gd name="T8" fmla="*/ 130 w 145"/>
                      <a:gd name="T9" fmla="*/ 111 h 148"/>
                      <a:gd name="T10" fmla="*/ 26 w 145"/>
                      <a:gd name="T11" fmla="*/ 59 h 148"/>
                      <a:gd name="T12" fmla="*/ 95 w 145"/>
                      <a:gd name="T13" fmla="*/ 27 h 148"/>
                      <a:gd name="T14" fmla="*/ 129 w 145"/>
                      <a:gd name="T15" fmla="*/ 77 h 148"/>
                      <a:gd name="T16" fmla="*/ 62 w 145"/>
                      <a:gd name="T17" fmla="*/ 117 h 148"/>
                      <a:gd name="T18" fmla="*/ 26 w 145"/>
                      <a:gd name="T19" fmla="*/ 59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45" h="148">
                        <a:moveTo>
                          <a:pt x="130" y="111"/>
                        </a:moveTo>
                        <a:cubicBezTo>
                          <a:pt x="145" y="90"/>
                          <a:pt x="142" y="52"/>
                          <a:pt x="130" y="39"/>
                        </a:cubicBezTo>
                        <a:cubicBezTo>
                          <a:pt x="94" y="0"/>
                          <a:pt x="54" y="9"/>
                          <a:pt x="27" y="30"/>
                        </a:cubicBezTo>
                        <a:cubicBezTo>
                          <a:pt x="0" y="52"/>
                          <a:pt x="6" y="110"/>
                          <a:pt x="38" y="129"/>
                        </a:cubicBezTo>
                        <a:cubicBezTo>
                          <a:pt x="70" y="148"/>
                          <a:pt x="110" y="136"/>
                          <a:pt x="130" y="111"/>
                        </a:cubicBezTo>
                        <a:close/>
                        <a:moveTo>
                          <a:pt x="26" y="59"/>
                        </a:moveTo>
                        <a:cubicBezTo>
                          <a:pt x="35" y="27"/>
                          <a:pt x="69" y="19"/>
                          <a:pt x="95" y="27"/>
                        </a:cubicBezTo>
                        <a:cubicBezTo>
                          <a:pt x="121" y="35"/>
                          <a:pt x="133" y="57"/>
                          <a:pt x="129" y="77"/>
                        </a:cubicBezTo>
                        <a:cubicBezTo>
                          <a:pt x="121" y="118"/>
                          <a:pt x="82" y="121"/>
                          <a:pt x="62" y="117"/>
                        </a:cubicBezTo>
                        <a:cubicBezTo>
                          <a:pt x="41" y="114"/>
                          <a:pt x="16" y="91"/>
                          <a:pt x="26" y="59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1" name="Freeform 130"/>
                  <p:cNvSpPr>
                    <a:spLocks/>
                  </p:cNvSpPr>
                  <p:nvPr/>
                </p:nvSpPr>
                <p:spPr bwMode="auto">
                  <a:xfrm>
                    <a:off x="4351338" y="4289425"/>
                    <a:ext cx="58738" cy="15875"/>
                  </a:xfrm>
                  <a:custGeom>
                    <a:avLst/>
                    <a:gdLst>
                      <a:gd name="T0" fmla="*/ 6 w 152"/>
                      <a:gd name="T1" fmla="*/ 38 h 38"/>
                      <a:gd name="T2" fmla="*/ 48 w 152"/>
                      <a:gd name="T3" fmla="*/ 32 h 38"/>
                      <a:gd name="T4" fmla="*/ 101 w 152"/>
                      <a:gd name="T5" fmla="*/ 21 h 38"/>
                      <a:gd name="T6" fmla="*/ 136 w 152"/>
                      <a:gd name="T7" fmla="*/ 13 h 38"/>
                      <a:gd name="T8" fmla="*/ 152 w 152"/>
                      <a:gd name="T9" fmla="*/ 7 h 38"/>
                      <a:gd name="T10" fmla="*/ 149 w 152"/>
                      <a:gd name="T11" fmla="*/ 1 h 38"/>
                      <a:gd name="T12" fmla="*/ 112 w 152"/>
                      <a:gd name="T13" fmla="*/ 7 h 38"/>
                      <a:gd name="T14" fmla="*/ 67 w 152"/>
                      <a:gd name="T15" fmla="*/ 15 h 38"/>
                      <a:gd name="T16" fmla="*/ 10 w 152"/>
                      <a:gd name="T17" fmla="*/ 26 h 38"/>
                      <a:gd name="T18" fmla="*/ 6 w 152"/>
                      <a:gd name="T19" fmla="*/ 38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52" h="38">
                        <a:moveTo>
                          <a:pt x="6" y="38"/>
                        </a:moveTo>
                        <a:cubicBezTo>
                          <a:pt x="13" y="38"/>
                          <a:pt x="30" y="34"/>
                          <a:pt x="48" y="32"/>
                        </a:cubicBezTo>
                        <a:cubicBezTo>
                          <a:pt x="65" y="29"/>
                          <a:pt x="84" y="24"/>
                          <a:pt x="101" y="21"/>
                        </a:cubicBezTo>
                        <a:cubicBezTo>
                          <a:pt x="119" y="17"/>
                          <a:pt x="129" y="15"/>
                          <a:pt x="136" y="13"/>
                        </a:cubicBezTo>
                        <a:cubicBezTo>
                          <a:pt x="142" y="11"/>
                          <a:pt x="152" y="10"/>
                          <a:pt x="152" y="7"/>
                        </a:cubicBezTo>
                        <a:cubicBezTo>
                          <a:pt x="152" y="5"/>
                          <a:pt x="151" y="1"/>
                          <a:pt x="149" y="1"/>
                        </a:cubicBezTo>
                        <a:cubicBezTo>
                          <a:pt x="147" y="0"/>
                          <a:pt x="130" y="3"/>
                          <a:pt x="112" y="7"/>
                        </a:cubicBezTo>
                        <a:cubicBezTo>
                          <a:pt x="94" y="10"/>
                          <a:pt x="79" y="12"/>
                          <a:pt x="67" y="15"/>
                        </a:cubicBezTo>
                        <a:cubicBezTo>
                          <a:pt x="54" y="17"/>
                          <a:pt x="19" y="24"/>
                          <a:pt x="10" y="26"/>
                        </a:cubicBezTo>
                        <a:cubicBezTo>
                          <a:pt x="1" y="28"/>
                          <a:pt x="0" y="37"/>
                          <a:pt x="6" y="3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2" name="Freeform 131"/>
                  <p:cNvSpPr>
                    <a:spLocks/>
                  </p:cNvSpPr>
                  <p:nvPr/>
                </p:nvSpPr>
                <p:spPr bwMode="auto">
                  <a:xfrm>
                    <a:off x="4244975" y="4291013"/>
                    <a:ext cx="17463" cy="22225"/>
                  </a:xfrm>
                  <a:custGeom>
                    <a:avLst/>
                    <a:gdLst>
                      <a:gd name="T0" fmla="*/ 11 w 47"/>
                      <a:gd name="T1" fmla="*/ 1 h 58"/>
                      <a:gd name="T2" fmla="*/ 7 w 47"/>
                      <a:gd name="T3" fmla="*/ 7 h 58"/>
                      <a:gd name="T4" fmla="*/ 1 w 47"/>
                      <a:gd name="T5" fmla="*/ 14 h 58"/>
                      <a:gd name="T6" fmla="*/ 0 w 47"/>
                      <a:gd name="T7" fmla="*/ 35 h 58"/>
                      <a:gd name="T8" fmla="*/ 0 w 47"/>
                      <a:gd name="T9" fmla="*/ 52 h 58"/>
                      <a:gd name="T10" fmla="*/ 12 w 47"/>
                      <a:gd name="T11" fmla="*/ 57 h 58"/>
                      <a:gd name="T12" fmla="*/ 18 w 47"/>
                      <a:gd name="T13" fmla="*/ 45 h 58"/>
                      <a:gd name="T14" fmla="*/ 20 w 47"/>
                      <a:gd name="T15" fmla="*/ 27 h 58"/>
                      <a:gd name="T16" fmla="*/ 26 w 47"/>
                      <a:gd name="T17" fmla="*/ 19 h 58"/>
                      <a:gd name="T18" fmla="*/ 42 w 47"/>
                      <a:gd name="T19" fmla="*/ 17 h 58"/>
                      <a:gd name="T20" fmla="*/ 47 w 47"/>
                      <a:gd name="T21" fmla="*/ 12 h 58"/>
                      <a:gd name="T22" fmla="*/ 40 w 47"/>
                      <a:gd name="T23" fmla="*/ 8 h 58"/>
                      <a:gd name="T24" fmla="*/ 27 w 47"/>
                      <a:gd name="T25" fmla="*/ 6 h 58"/>
                      <a:gd name="T26" fmla="*/ 27 w 47"/>
                      <a:gd name="T27" fmla="*/ 0 h 58"/>
                      <a:gd name="T28" fmla="*/ 11 w 47"/>
                      <a:gd name="T29" fmla="*/ 1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7" h="58">
                        <a:moveTo>
                          <a:pt x="11" y="1"/>
                        </a:moveTo>
                        <a:cubicBezTo>
                          <a:pt x="10" y="4"/>
                          <a:pt x="10" y="6"/>
                          <a:pt x="7" y="7"/>
                        </a:cubicBezTo>
                        <a:cubicBezTo>
                          <a:pt x="4" y="7"/>
                          <a:pt x="1" y="7"/>
                          <a:pt x="1" y="14"/>
                        </a:cubicBezTo>
                        <a:cubicBezTo>
                          <a:pt x="0" y="20"/>
                          <a:pt x="1" y="28"/>
                          <a:pt x="0" y="35"/>
                        </a:cubicBezTo>
                        <a:cubicBezTo>
                          <a:pt x="0" y="42"/>
                          <a:pt x="0" y="52"/>
                          <a:pt x="0" y="52"/>
                        </a:cubicBezTo>
                        <a:cubicBezTo>
                          <a:pt x="0" y="52"/>
                          <a:pt x="7" y="58"/>
                          <a:pt x="12" y="57"/>
                        </a:cubicBezTo>
                        <a:cubicBezTo>
                          <a:pt x="17" y="55"/>
                          <a:pt x="18" y="49"/>
                          <a:pt x="18" y="45"/>
                        </a:cubicBezTo>
                        <a:cubicBezTo>
                          <a:pt x="18" y="41"/>
                          <a:pt x="19" y="32"/>
                          <a:pt x="20" y="27"/>
                        </a:cubicBezTo>
                        <a:cubicBezTo>
                          <a:pt x="20" y="22"/>
                          <a:pt x="22" y="19"/>
                          <a:pt x="26" y="19"/>
                        </a:cubicBezTo>
                        <a:cubicBezTo>
                          <a:pt x="31" y="18"/>
                          <a:pt x="39" y="17"/>
                          <a:pt x="42" y="17"/>
                        </a:cubicBezTo>
                        <a:cubicBezTo>
                          <a:pt x="45" y="17"/>
                          <a:pt x="47" y="15"/>
                          <a:pt x="47" y="12"/>
                        </a:cubicBezTo>
                        <a:cubicBezTo>
                          <a:pt x="46" y="10"/>
                          <a:pt x="45" y="8"/>
                          <a:pt x="40" y="8"/>
                        </a:cubicBezTo>
                        <a:cubicBezTo>
                          <a:pt x="34" y="8"/>
                          <a:pt x="27" y="8"/>
                          <a:pt x="27" y="6"/>
                        </a:cubicBezTo>
                        <a:cubicBezTo>
                          <a:pt x="27" y="4"/>
                          <a:pt x="27" y="0"/>
                          <a:pt x="27" y="0"/>
                        </a:cubicBezTo>
                        <a:lnTo>
                          <a:pt x="11" y="1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3" name="Freeform 132"/>
                  <p:cNvSpPr>
                    <a:spLocks/>
                  </p:cNvSpPr>
                  <p:nvPr/>
                </p:nvSpPr>
                <p:spPr bwMode="auto">
                  <a:xfrm>
                    <a:off x="4240213" y="4305300"/>
                    <a:ext cx="25400" cy="14288"/>
                  </a:xfrm>
                  <a:custGeom>
                    <a:avLst/>
                    <a:gdLst>
                      <a:gd name="T0" fmla="*/ 0 w 67"/>
                      <a:gd name="T1" fmla="*/ 11 h 39"/>
                      <a:gd name="T2" fmla="*/ 3 w 67"/>
                      <a:gd name="T3" fmla="*/ 5 h 39"/>
                      <a:gd name="T4" fmla="*/ 14 w 67"/>
                      <a:gd name="T5" fmla="*/ 2 h 39"/>
                      <a:gd name="T6" fmla="*/ 26 w 67"/>
                      <a:gd name="T7" fmla="*/ 2 h 39"/>
                      <a:gd name="T8" fmla="*/ 47 w 67"/>
                      <a:gd name="T9" fmla="*/ 17 h 39"/>
                      <a:gd name="T10" fmla="*/ 67 w 67"/>
                      <a:gd name="T11" fmla="*/ 32 h 39"/>
                      <a:gd name="T12" fmla="*/ 49 w 67"/>
                      <a:gd name="T13" fmla="*/ 37 h 39"/>
                      <a:gd name="T14" fmla="*/ 25 w 67"/>
                      <a:gd name="T15" fmla="*/ 23 h 39"/>
                      <a:gd name="T16" fmla="*/ 0 w 67"/>
                      <a:gd name="T17" fmla="*/ 11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67" h="39">
                        <a:moveTo>
                          <a:pt x="0" y="11"/>
                        </a:moveTo>
                        <a:cubicBezTo>
                          <a:pt x="0" y="11"/>
                          <a:pt x="1" y="7"/>
                          <a:pt x="3" y="5"/>
                        </a:cubicBezTo>
                        <a:cubicBezTo>
                          <a:pt x="5" y="4"/>
                          <a:pt x="10" y="3"/>
                          <a:pt x="14" y="2"/>
                        </a:cubicBezTo>
                        <a:cubicBezTo>
                          <a:pt x="18" y="2"/>
                          <a:pt x="19" y="0"/>
                          <a:pt x="26" y="2"/>
                        </a:cubicBezTo>
                        <a:cubicBezTo>
                          <a:pt x="33" y="4"/>
                          <a:pt x="40" y="12"/>
                          <a:pt x="47" y="17"/>
                        </a:cubicBezTo>
                        <a:cubicBezTo>
                          <a:pt x="55" y="23"/>
                          <a:pt x="66" y="29"/>
                          <a:pt x="67" y="32"/>
                        </a:cubicBezTo>
                        <a:cubicBezTo>
                          <a:pt x="67" y="35"/>
                          <a:pt x="56" y="39"/>
                          <a:pt x="49" y="37"/>
                        </a:cubicBezTo>
                        <a:cubicBezTo>
                          <a:pt x="43" y="35"/>
                          <a:pt x="38" y="30"/>
                          <a:pt x="25" y="23"/>
                        </a:cubicBezTo>
                        <a:cubicBezTo>
                          <a:pt x="12" y="16"/>
                          <a:pt x="0" y="11"/>
                          <a:pt x="0" y="1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4" name="Freeform 133"/>
                  <p:cNvSpPr>
                    <a:spLocks noEditPoints="1"/>
                  </p:cNvSpPr>
                  <p:nvPr/>
                </p:nvSpPr>
                <p:spPr bwMode="auto">
                  <a:xfrm>
                    <a:off x="4246563" y="4303713"/>
                    <a:ext cx="30163" cy="31750"/>
                  </a:xfrm>
                  <a:custGeom>
                    <a:avLst/>
                    <a:gdLst>
                      <a:gd name="T0" fmla="*/ 37 w 75"/>
                      <a:gd name="T1" fmla="*/ 1 h 83"/>
                      <a:gd name="T2" fmla="*/ 0 w 75"/>
                      <a:gd name="T3" fmla="*/ 36 h 83"/>
                      <a:gd name="T4" fmla="*/ 38 w 75"/>
                      <a:gd name="T5" fmla="*/ 82 h 83"/>
                      <a:gd name="T6" fmla="*/ 74 w 75"/>
                      <a:gd name="T7" fmla="*/ 38 h 83"/>
                      <a:gd name="T8" fmla="*/ 37 w 75"/>
                      <a:gd name="T9" fmla="*/ 1 h 83"/>
                      <a:gd name="T10" fmla="*/ 33 w 75"/>
                      <a:gd name="T11" fmla="*/ 65 h 83"/>
                      <a:gd name="T12" fmla="*/ 22 w 75"/>
                      <a:gd name="T13" fmla="*/ 60 h 83"/>
                      <a:gd name="T14" fmla="*/ 18 w 75"/>
                      <a:gd name="T15" fmla="*/ 51 h 83"/>
                      <a:gd name="T16" fmla="*/ 26 w 75"/>
                      <a:gd name="T17" fmla="*/ 46 h 83"/>
                      <a:gd name="T18" fmla="*/ 34 w 75"/>
                      <a:gd name="T19" fmla="*/ 46 h 83"/>
                      <a:gd name="T20" fmla="*/ 34 w 75"/>
                      <a:gd name="T21" fmla="*/ 56 h 83"/>
                      <a:gd name="T22" fmla="*/ 33 w 75"/>
                      <a:gd name="T23" fmla="*/ 65 h 83"/>
                      <a:gd name="T24" fmla="*/ 37 w 75"/>
                      <a:gd name="T25" fmla="*/ 32 h 83"/>
                      <a:gd name="T26" fmla="*/ 33 w 75"/>
                      <a:gd name="T27" fmla="*/ 26 h 83"/>
                      <a:gd name="T28" fmla="*/ 29 w 75"/>
                      <a:gd name="T29" fmla="*/ 18 h 83"/>
                      <a:gd name="T30" fmla="*/ 37 w 75"/>
                      <a:gd name="T31" fmla="*/ 15 h 83"/>
                      <a:gd name="T32" fmla="*/ 42 w 75"/>
                      <a:gd name="T33" fmla="*/ 16 h 83"/>
                      <a:gd name="T34" fmla="*/ 47 w 75"/>
                      <a:gd name="T35" fmla="*/ 20 h 83"/>
                      <a:gd name="T36" fmla="*/ 44 w 75"/>
                      <a:gd name="T37" fmla="*/ 27 h 83"/>
                      <a:gd name="T38" fmla="*/ 37 w 75"/>
                      <a:gd name="T39" fmla="*/ 32 h 83"/>
                      <a:gd name="T40" fmla="*/ 51 w 75"/>
                      <a:gd name="T41" fmla="*/ 62 h 83"/>
                      <a:gd name="T42" fmla="*/ 41 w 75"/>
                      <a:gd name="T43" fmla="*/ 66 h 83"/>
                      <a:gd name="T44" fmla="*/ 41 w 75"/>
                      <a:gd name="T45" fmla="*/ 57 h 83"/>
                      <a:gd name="T46" fmla="*/ 43 w 75"/>
                      <a:gd name="T47" fmla="*/ 48 h 83"/>
                      <a:gd name="T48" fmla="*/ 51 w 75"/>
                      <a:gd name="T49" fmla="*/ 50 h 83"/>
                      <a:gd name="T50" fmla="*/ 57 w 75"/>
                      <a:gd name="T51" fmla="*/ 55 h 83"/>
                      <a:gd name="T52" fmla="*/ 51 w 75"/>
                      <a:gd name="T53" fmla="*/ 62 h 83"/>
                      <a:gd name="T54" fmla="*/ 60 w 75"/>
                      <a:gd name="T55" fmla="*/ 45 h 83"/>
                      <a:gd name="T56" fmla="*/ 53 w 75"/>
                      <a:gd name="T57" fmla="*/ 45 h 83"/>
                      <a:gd name="T58" fmla="*/ 43 w 75"/>
                      <a:gd name="T59" fmla="*/ 37 h 83"/>
                      <a:gd name="T60" fmla="*/ 54 w 75"/>
                      <a:gd name="T61" fmla="*/ 25 h 83"/>
                      <a:gd name="T62" fmla="*/ 59 w 75"/>
                      <a:gd name="T63" fmla="*/ 35 h 83"/>
                      <a:gd name="T64" fmla="*/ 60 w 75"/>
                      <a:gd name="T65" fmla="*/ 45 h 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75" h="83">
                        <a:moveTo>
                          <a:pt x="37" y="1"/>
                        </a:moveTo>
                        <a:cubicBezTo>
                          <a:pt x="19" y="0"/>
                          <a:pt x="0" y="17"/>
                          <a:pt x="0" y="36"/>
                        </a:cubicBezTo>
                        <a:cubicBezTo>
                          <a:pt x="0" y="66"/>
                          <a:pt x="16" y="81"/>
                          <a:pt x="38" y="82"/>
                        </a:cubicBezTo>
                        <a:cubicBezTo>
                          <a:pt x="61" y="83"/>
                          <a:pt x="75" y="59"/>
                          <a:pt x="74" y="38"/>
                        </a:cubicBezTo>
                        <a:cubicBezTo>
                          <a:pt x="74" y="17"/>
                          <a:pt x="55" y="1"/>
                          <a:pt x="37" y="1"/>
                        </a:cubicBezTo>
                        <a:close/>
                        <a:moveTo>
                          <a:pt x="33" y="65"/>
                        </a:moveTo>
                        <a:cubicBezTo>
                          <a:pt x="32" y="66"/>
                          <a:pt x="26" y="63"/>
                          <a:pt x="22" y="60"/>
                        </a:cubicBezTo>
                        <a:cubicBezTo>
                          <a:pt x="19" y="58"/>
                          <a:pt x="18" y="54"/>
                          <a:pt x="18" y="51"/>
                        </a:cubicBezTo>
                        <a:cubicBezTo>
                          <a:pt x="19" y="49"/>
                          <a:pt x="26" y="46"/>
                          <a:pt x="26" y="46"/>
                        </a:cubicBezTo>
                        <a:cubicBezTo>
                          <a:pt x="34" y="46"/>
                          <a:pt x="34" y="46"/>
                          <a:pt x="34" y="46"/>
                        </a:cubicBezTo>
                        <a:cubicBezTo>
                          <a:pt x="34" y="46"/>
                          <a:pt x="34" y="51"/>
                          <a:pt x="34" y="56"/>
                        </a:cubicBezTo>
                        <a:cubicBezTo>
                          <a:pt x="35" y="61"/>
                          <a:pt x="34" y="64"/>
                          <a:pt x="33" y="65"/>
                        </a:cubicBezTo>
                        <a:close/>
                        <a:moveTo>
                          <a:pt x="37" y="32"/>
                        </a:moveTo>
                        <a:cubicBezTo>
                          <a:pt x="36" y="32"/>
                          <a:pt x="35" y="29"/>
                          <a:pt x="33" y="26"/>
                        </a:cubicBezTo>
                        <a:cubicBezTo>
                          <a:pt x="31" y="23"/>
                          <a:pt x="29" y="19"/>
                          <a:pt x="29" y="18"/>
                        </a:cubicBezTo>
                        <a:cubicBezTo>
                          <a:pt x="29" y="17"/>
                          <a:pt x="33" y="15"/>
                          <a:pt x="37" y="15"/>
                        </a:cubicBezTo>
                        <a:cubicBezTo>
                          <a:pt x="38" y="15"/>
                          <a:pt x="40" y="16"/>
                          <a:pt x="42" y="16"/>
                        </a:cubicBezTo>
                        <a:cubicBezTo>
                          <a:pt x="45" y="17"/>
                          <a:pt x="47" y="19"/>
                          <a:pt x="47" y="20"/>
                        </a:cubicBezTo>
                        <a:cubicBezTo>
                          <a:pt x="48" y="21"/>
                          <a:pt x="45" y="25"/>
                          <a:pt x="44" y="27"/>
                        </a:cubicBezTo>
                        <a:cubicBezTo>
                          <a:pt x="42" y="30"/>
                          <a:pt x="39" y="32"/>
                          <a:pt x="37" y="32"/>
                        </a:cubicBezTo>
                        <a:close/>
                        <a:moveTo>
                          <a:pt x="51" y="62"/>
                        </a:moveTo>
                        <a:cubicBezTo>
                          <a:pt x="48" y="65"/>
                          <a:pt x="43" y="67"/>
                          <a:pt x="41" y="66"/>
                        </a:cubicBezTo>
                        <a:cubicBezTo>
                          <a:pt x="40" y="65"/>
                          <a:pt x="40" y="62"/>
                          <a:pt x="41" y="57"/>
                        </a:cubicBezTo>
                        <a:cubicBezTo>
                          <a:pt x="41" y="52"/>
                          <a:pt x="41" y="49"/>
                          <a:pt x="43" y="48"/>
                        </a:cubicBezTo>
                        <a:cubicBezTo>
                          <a:pt x="45" y="47"/>
                          <a:pt x="47" y="48"/>
                          <a:pt x="51" y="50"/>
                        </a:cubicBezTo>
                        <a:cubicBezTo>
                          <a:pt x="55" y="51"/>
                          <a:pt x="56" y="53"/>
                          <a:pt x="57" y="55"/>
                        </a:cubicBezTo>
                        <a:cubicBezTo>
                          <a:pt x="57" y="56"/>
                          <a:pt x="55" y="59"/>
                          <a:pt x="51" y="62"/>
                        </a:cubicBezTo>
                        <a:close/>
                        <a:moveTo>
                          <a:pt x="60" y="45"/>
                        </a:moveTo>
                        <a:cubicBezTo>
                          <a:pt x="59" y="46"/>
                          <a:pt x="56" y="46"/>
                          <a:pt x="53" y="45"/>
                        </a:cubicBezTo>
                        <a:cubicBezTo>
                          <a:pt x="50" y="44"/>
                          <a:pt x="43" y="40"/>
                          <a:pt x="43" y="37"/>
                        </a:cubicBezTo>
                        <a:cubicBezTo>
                          <a:pt x="43" y="35"/>
                          <a:pt x="52" y="25"/>
                          <a:pt x="54" y="25"/>
                        </a:cubicBezTo>
                        <a:cubicBezTo>
                          <a:pt x="55" y="25"/>
                          <a:pt x="58" y="31"/>
                          <a:pt x="59" y="35"/>
                        </a:cubicBezTo>
                        <a:cubicBezTo>
                          <a:pt x="60" y="39"/>
                          <a:pt x="60" y="43"/>
                          <a:pt x="60" y="4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5" name="Freeform 134"/>
                  <p:cNvSpPr>
                    <a:spLocks/>
                  </p:cNvSpPr>
                  <p:nvPr/>
                </p:nvSpPr>
                <p:spPr bwMode="auto">
                  <a:xfrm>
                    <a:off x="4241800" y="4125913"/>
                    <a:ext cx="138113" cy="146050"/>
                  </a:xfrm>
                  <a:custGeom>
                    <a:avLst/>
                    <a:gdLst>
                      <a:gd name="T0" fmla="*/ 138 w 349"/>
                      <a:gd name="T1" fmla="*/ 163 h 370"/>
                      <a:gd name="T2" fmla="*/ 89 w 349"/>
                      <a:gd name="T3" fmla="*/ 230 h 370"/>
                      <a:gd name="T4" fmla="*/ 2 w 349"/>
                      <a:gd name="T5" fmla="*/ 356 h 370"/>
                      <a:gd name="T6" fmla="*/ 5 w 349"/>
                      <a:gd name="T7" fmla="*/ 366 h 370"/>
                      <a:gd name="T8" fmla="*/ 16 w 349"/>
                      <a:gd name="T9" fmla="*/ 367 h 370"/>
                      <a:gd name="T10" fmla="*/ 38 w 349"/>
                      <a:gd name="T11" fmla="*/ 343 h 370"/>
                      <a:gd name="T12" fmla="*/ 150 w 349"/>
                      <a:gd name="T13" fmla="*/ 192 h 370"/>
                      <a:gd name="T14" fmla="*/ 207 w 349"/>
                      <a:gd name="T15" fmla="*/ 120 h 370"/>
                      <a:gd name="T16" fmla="*/ 276 w 349"/>
                      <a:gd name="T17" fmla="*/ 57 h 370"/>
                      <a:gd name="T18" fmla="*/ 326 w 349"/>
                      <a:gd name="T19" fmla="*/ 33 h 370"/>
                      <a:gd name="T20" fmla="*/ 335 w 349"/>
                      <a:gd name="T21" fmla="*/ 0 h 370"/>
                      <a:gd name="T22" fmla="*/ 298 w 349"/>
                      <a:gd name="T23" fmla="*/ 10 h 370"/>
                      <a:gd name="T24" fmla="*/ 193 w 349"/>
                      <a:gd name="T25" fmla="*/ 95 h 370"/>
                      <a:gd name="T26" fmla="*/ 138 w 349"/>
                      <a:gd name="T27" fmla="*/ 163 h 3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49" h="370">
                        <a:moveTo>
                          <a:pt x="138" y="163"/>
                        </a:moveTo>
                        <a:cubicBezTo>
                          <a:pt x="133" y="171"/>
                          <a:pt x="114" y="194"/>
                          <a:pt x="89" y="230"/>
                        </a:cubicBezTo>
                        <a:cubicBezTo>
                          <a:pt x="64" y="265"/>
                          <a:pt x="3" y="353"/>
                          <a:pt x="2" y="356"/>
                        </a:cubicBezTo>
                        <a:cubicBezTo>
                          <a:pt x="0" y="358"/>
                          <a:pt x="2" y="362"/>
                          <a:pt x="5" y="366"/>
                        </a:cubicBezTo>
                        <a:cubicBezTo>
                          <a:pt x="9" y="370"/>
                          <a:pt x="12" y="369"/>
                          <a:pt x="16" y="367"/>
                        </a:cubicBezTo>
                        <a:cubicBezTo>
                          <a:pt x="19" y="365"/>
                          <a:pt x="31" y="351"/>
                          <a:pt x="38" y="343"/>
                        </a:cubicBezTo>
                        <a:cubicBezTo>
                          <a:pt x="46" y="334"/>
                          <a:pt x="125" y="224"/>
                          <a:pt x="150" y="192"/>
                        </a:cubicBezTo>
                        <a:cubicBezTo>
                          <a:pt x="175" y="161"/>
                          <a:pt x="186" y="143"/>
                          <a:pt x="207" y="120"/>
                        </a:cubicBezTo>
                        <a:cubicBezTo>
                          <a:pt x="227" y="97"/>
                          <a:pt x="262" y="64"/>
                          <a:pt x="276" y="57"/>
                        </a:cubicBezTo>
                        <a:cubicBezTo>
                          <a:pt x="294" y="46"/>
                          <a:pt x="307" y="37"/>
                          <a:pt x="326" y="33"/>
                        </a:cubicBezTo>
                        <a:cubicBezTo>
                          <a:pt x="349" y="27"/>
                          <a:pt x="335" y="0"/>
                          <a:pt x="335" y="0"/>
                        </a:cubicBezTo>
                        <a:cubicBezTo>
                          <a:pt x="335" y="0"/>
                          <a:pt x="313" y="4"/>
                          <a:pt x="298" y="10"/>
                        </a:cubicBezTo>
                        <a:cubicBezTo>
                          <a:pt x="281" y="17"/>
                          <a:pt x="224" y="59"/>
                          <a:pt x="193" y="95"/>
                        </a:cubicBezTo>
                        <a:cubicBezTo>
                          <a:pt x="160" y="132"/>
                          <a:pt x="138" y="163"/>
                          <a:pt x="138" y="163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6" name="Freeform 135"/>
                  <p:cNvSpPr>
                    <a:spLocks/>
                  </p:cNvSpPr>
                  <p:nvPr/>
                </p:nvSpPr>
                <p:spPr bwMode="auto">
                  <a:xfrm>
                    <a:off x="4262438" y="4316413"/>
                    <a:ext cx="4763" cy="4763"/>
                  </a:xfrm>
                  <a:custGeom>
                    <a:avLst/>
                    <a:gdLst>
                      <a:gd name="T0" fmla="*/ 2 w 12"/>
                      <a:gd name="T1" fmla="*/ 7 h 11"/>
                      <a:gd name="T2" fmla="*/ 9 w 12"/>
                      <a:gd name="T3" fmla="*/ 11 h 11"/>
                      <a:gd name="T4" fmla="*/ 12 w 12"/>
                      <a:gd name="T5" fmla="*/ 5 h 11"/>
                      <a:gd name="T6" fmla="*/ 9 w 12"/>
                      <a:gd name="T7" fmla="*/ 0 h 11"/>
                      <a:gd name="T8" fmla="*/ 1 w 12"/>
                      <a:gd name="T9" fmla="*/ 1 h 11"/>
                      <a:gd name="T10" fmla="*/ 2 w 12"/>
                      <a:gd name="T11" fmla="*/ 7 h 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2" h="11">
                        <a:moveTo>
                          <a:pt x="2" y="7"/>
                        </a:moveTo>
                        <a:cubicBezTo>
                          <a:pt x="5" y="11"/>
                          <a:pt x="9" y="11"/>
                          <a:pt x="9" y="11"/>
                        </a:cubicBezTo>
                        <a:cubicBezTo>
                          <a:pt x="11" y="11"/>
                          <a:pt x="12" y="8"/>
                          <a:pt x="12" y="5"/>
                        </a:cubicBezTo>
                        <a:cubicBezTo>
                          <a:pt x="12" y="2"/>
                          <a:pt x="11" y="0"/>
                          <a:pt x="9" y="0"/>
                        </a:cubicBezTo>
                        <a:cubicBezTo>
                          <a:pt x="8" y="0"/>
                          <a:pt x="1" y="1"/>
                          <a:pt x="1" y="1"/>
                        </a:cubicBezTo>
                        <a:cubicBezTo>
                          <a:pt x="1" y="1"/>
                          <a:pt x="0" y="3"/>
                          <a:pt x="2" y="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7" name="Freeform 136"/>
                  <p:cNvSpPr>
                    <a:spLocks/>
                  </p:cNvSpPr>
                  <p:nvPr/>
                </p:nvSpPr>
                <p:spPr bwMode="auto">
                  <a:xfrm>
                    <a:off x="4254500" y="4294188"/>
                    <a:ext cx="4763" cy="25400"/>
                  </a:xfrm>
                  <a:custGeom>
                    <a:avLst/>
                    <a:gdLst>
                      <a:gd name="T0" fmla="*/ 4 w 12"/>
                      <a:gd name="T1" fmla="*/ 1 h 64"/>
                      <a:gd name="T2" fmla="*/ 0 w 12"/>
                      <a:gd name="T3" fmla="*/ 7 h 64"/>
                      <a:gd name="T4" fmla="*/ 3 w 12"/>
                      <a:gd name="T5" fmla="*/ 26 h 64"/>
                      <a:gd name="T6" fmla="*/ 6 w 12"/>
                      <a:gd name="T7" fmla="*/ 53 h 64"/>
                      <a:gd name="T8" fmla="*/ 10 w 12"/>
                      <a:gd name="T9" fmla="*/ 62 h 64"/>
                      <a:gd name="T10" fmla="*/ 12 w 12"/>
                      <a:gd name="T11" fmla="*/ 50 h 64"/>
                      <a:gd name="T12" fmla="*/ 10 w 12"/>
                      <a:gd name="T13" fmla="*/ 34 h 64"/>
                      <a:gd name="T14" fmla="*/ 8 w 12"/>
                      <a:gd name="T15" fmla="*/ 14 h 64"/>
                      <a:gd name="T16" fmla="*/ 4 w 12"/>
                      <a:gd name="T17" fmla="*/ 1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" h="64">
                        <a:moveTo>
                          <a:pt x="4" y="1"/>
                        </a:moveTo>
                        <a:cubicBezTo>
                          <a:pt x="2" y="0"/>
                          <a:pt x="0" y="2"/>
                          <a:pt x="0" y="7"/>
                        </a:cubicBezTo>
                        <a:cubicBezTo>
                          <a:pt x="1" y="12"/>
                          <a:pt x="2" y="17"/>
                          <a:pt x="3" y="26"/>
                        </a:cubicBezTo>
                        <a:cubicBezTo>
                          <a:pt x="4" y="35"/>
                          <a:pt x="6" y="50"/>
                          <a:pt x="6" y="53"/>
                        </a:cubicBezTo>
                        <a:cubicBezTo>
                          <a:pt x="7" y="64"/>
                          <a:pt x="8" y="62"/>
                          <a:pt x="10" y="62"/>
                        </a:cubicBezTo>
                        <a:cubicBezTo>
                          <a:pt x="11" y="62"/>
                          <a:pt x="12" y="63"/>
                          <a:pt x="12" y="50"/>
                        </a:cubicBezTo>
                        <a:cubicBezTo>
                          <a:pt x="12" y="47"/>
                          <a:pt x="11" y="42"/>
                          <a:pt x="10" y="34"/>
                        </a:cubicBezTo>
                        <a:cubicBezTo>
                          <a:pt x="9" y="26"/>
                          <a:pt x="9" y="20"/>
                          <a:pt x="8" y="14"/>
                        </a:cubicBezTo>
                        <a:cubicBezTo>
                          <a:pt x="8" y="8"/>
                          <a:pt x="7" y="1"/>
                          <a:pt x="4" y="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8" name="Freeform 137"/>
                  <p:cNvSpPr>
                    <a:spLocks/>
                  </p:cNvSpPr>
                  <p:nvPr/>
                </p:nvSpPr>
                <p:spPr bwMode="auto">
                  <a:xfrm>
                    <a:off x="4306888" y="4129088"/>
                    <a:ext cx="69850" cy="111125"/>
                  </a:xfrm>
                  <a:custGeom>
                    <a:avLst/>
                    <a:gdLst>
                      <a:gd name="T0" fmla="*/ 74 w 179"/>
                      <a:gd name="T1" fmla="*/ 150 h 281"/>
                      <a:gd name="T2" fmla="*/ 14 w 179"/>
                      <a:gd name="T3" fmla="*/ 246 h 281"/>
                      <a:gd name="T4" fmla="*/ 0 w 179"/>
                      <a:gd name="T5" fmla="*/ 269 h 281"/>
                      <a:gd name="T6" fmla="*/ 6 w 179"/>
                      <a:gd name="T7" fmla="*/ 276 h 281"/>
                      <a:gd name="T8" fmla="*/ 15 w 179"/>
                      <a:gd name="T9" fmla="*/ 281 h 281"/>
                      <a:gd name="T10" fmla="*/ 46 w 179"/>
                      <a:gd name="T11" fmla="*/ 236 h 281"/>
                      <a:gd name="T12" fmla="*/ 122 w 179"/>
                      <a:gd name="T13" fmla="*/ 110 h 281"/>
                      <a:gd name="T14" fmla="*/ 168 w 179"/>
                      <a:gd name="T15" fmla="*/ 39 h 281"/>
                      <a:gd name="T16" fmla="*/ 171 w 179"/>
                      <a:gd name="T17" fmla="*/ 0 h 281"/>
                      <a:gd name="T18" fmla="*/ 127 w 179"/>
                      <a:gd name="T19" fmla="*/ 64 h 281"/>
                      <a:gd name="T20" fmla="*/ 74 w 179"/>
                      <a:gd name="T21" fmla="*/ 150 h 2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79" h="281">
                        <a:moveTo>
                          <a:pt x="74" y="150"/>
                        </a:moveTo>
                        <a:cubicBezTo>
                          <a:pt x="52" y="185"/>
                          <a:pt x="23" y="231"/>
                          <a:pt x="14" y="246"/>
                        </a:cubicBezTo>
                        <a:cubicBezTo>
                          <a:pt x="4" y="261"/>
                          <a:pt x="0" y="267"/>
                          <a:pt x="0" y="269"/>
                        </a:cubicBezTo>
                        <a:cubicBezTo>
                          <a:pt x="0" y="272"/>
                          <a:pt x="3" y="274"/>
                          <a:pt x="6" y="276"/>
                        </a:cubicBezTo>
                        <a:cubicBezTo>
                          <a:pt x="9" y="279"/>
                          <a:pt x="13" y="281"/>
                          <a:pt x="15" y="281"/>
                        </a:cubicBezTo>
                        <a:cubicBezTo>
                          <a:pt x="17" y="280"/>
                          <a:pt x="29" y="262"/>
                          <a:pt x="46" y="236"/>
                        </a:cubicBezTo>
                        <a:cubicBezTo>
                          <a:pt x="62" y="209"/>
                          <a:pt x="107" y="133"/>
                          <a:pt x="122" y="110"/>
                        </a:cubicBezTo>
                        <a:cubicBezTo>
                          <a:pt x="137" y="87"/>
                          <a:pt x="157" y="55"/>
                          <a:pt x="168" y="39"/>
                        </a:cubicBezTo>
                        <a:cubicBezTo>
                          <a:pt x="179" y="23"/>
                          <a:pt x="171" y="0"/>
                          <a:pt x="171" y="0"/>
                        </a:cubicBezTo>
                        <a:cubicBezTo>
                          <a:pt x="171" y="0"/>
                          <a:pt x="151" y="26"/>
                          <a:pt x="127" y="64"/>
                        </a:cubicBezTo>
                        <a:cubicBezTo>
                          <a:pt x="104" y="102"/>
                          <a:pt x="88" y="127"/>
                          <a:pt x="74" y="15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9" name="Freeform 138"/>
                  <p:cNvSpPr>
                    <a:spLocks/>
                  </p:cNvSpPr>
                  <p:nvPr/>
                </p:nvSpPr>
                <p:spPr bwMode="auto">
                  <a:xfrm>
                    <a:off x="4305300" y="4233863"/>
                    <a:ext cx="47625" cy="17463"/>
                  </a:xfrm>
                  <a:custGeom>
                    <a:avLst/>
                    <a:gdLst>
                      <a:gd name="T0" fmla="*/ 3 w 122"/>
                      <a:gd name="T1" fmla="*/ 44 h 44"/>
                      <a:gd name="T2" fmla="*/ 71 w 122"/>
                      <a:gd name="T3" fmla="*/ 27 h 44"/>
                      <a:gd name="T4" fmla="*/ 122 w 122"/>
                      <a:gd name="T5" fmla="*/ 9 h 44"/>
                      <a:gd name="T6" fmla="*/ 119 w 122"/>
                      <a:gd name="T7" fmla="*/ 1 h 44"/>
                      <a:gd name="T8" fmla="*/ 69 w 122"/>
                      <a:gd name="T9" fmla="*/ 17 h 44"/>
                      <a:gd name="T10" fmla="*/ 6 w 122"/>
                      <a:gd name="T11" fmla="*/ 32 h 44"/>
                      <a:gd name="T12" fmla="*/ 3 w 122"/>
                      <a:gd name="T13" fmla="*/ 44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22" h="44">
                        <a:moveTo>
                          <a:pt x="3" y="44"/>
                        </a:moveTo>
                        <a:cubicBezTo>
                          <a:pt x="10" y="44"/>
                          <a:pt x="46" y="34"/>
                          <a:pt x="71" y="27"/>
                        </a:cubicBezTo>
                        <a:cubicBezTo>
                          <a:pt x="95" y="21"/>
                          <a:pt x="122" y="11"/>
                          <a:pt x="122" y="9"/>
                        </a:cubicBezTo>
                        <a:cubicBezTo>
                          <a:pt x="122" y="6"/>
                          <a:pt x="121" y="1"/>
                          <a:pt x="119" y="1"/>
                        </a:cubicBezTo>
                        <a:cubicBezTo>
                          <a:pt x="118" y="0"/>
                          <a:pt x="81" y="13"/>
                          <a:pt x="69" y="17"/>
                        </a:cubicBezTo>
                        <a:cubicBezTo>
                          <a:pt x="58" y="21"/>
                          <a:pt x="6" y="32"/>
                          <a:pt x="6" y="32"/>
                        </a:cubicBezTo>
                        <a:cubicBezTo>
                          <a:pt x="6" y="32"/>
                          <a:pt x="0" y="44"/>
                          <a:pt x="3" y="44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0" name="Freeform 139"/>
                  <p:cNvSpPr>
                    <a:spLocks/>
                  </p:cNvSpPr>
                  <p:nvPr/>
                </p:nvSpPr>
                <p:spPr bwMode="auto">
                  <a:xfrm>
                    <a:off x="4357688" y="4168775"/>
                    <a:ext cx="33338" cy="58738"/>
                  </a:xfrm>
                  <a:custGeom>
                    <a:avLst/>
                    <a:gdLst>
                      <a:gd name="T0" fmla="*/ 82 w 86"/>
                      <a:gd name="T1" fmla="*/ 44 h 151"/>
                      <a:gd name="T2" fmla="*/ 48 w 86"/>
                      <a:gd name="T3" fmla="*/ 96 h 151"/>
                      <a:gd name="T4" fmla="*/ 13 w 86"/>
                      <a:gd name="T5" fmla="*/ 150 h 151"/>
                      <a:gd name="T6" fmla="*/ 0 w 86"/>
                      <a:gd name="T7" fmla="*/ 142 h 151"/>
                      <a:gd name="T8" fmla="*/ 9 w 86"/>
                      <a:gd name="T9" fmla="*/ 122 h 151"/>
                      <a:gd name="T10" fmla="*/ 79 w 86"/>
                      <a:gd name="T11" fmla="*/ 9 h 151"/>
                      <a:gd name="T12" fmla="*/ 82 w 86"/>
                      <a:gd name="T13" fmla="*/ 44 h 1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6" h="151">
                        <a:moveTo>
                          <a:pt x="82" y="44"/>
                        </a:moveTo>
                        <a:cubicBezTo>
                          <a:pt x="76" y="54"/>
                          <a:pt x="62" y="73"/>
                          <a:pt x="48" y="96"/>
                        </a:cubicBezTo>
                        <a:cubicBezTo>
                          <a:pt x="34" y="119"/>
                          <a:pt x="15" y="149"/>
                          <a:pt x="13" y="150"/>
                        </a:cubicBezTo>
                        <a:cubicBezTo>
                          <a:pt x="12" y="151"/>
                          <a:pt x="1" y="144"/>
                          <a:pt x="0" y="142"/>
                        </a:cubicBezTo>
                        <a:cubicBezTo>
                          <a:pt x="0" y="140"/>
                          <a:pt x="5" y="131"/>
                          <a:pt x="9" y="122"/>
                        </a:cubicBezTo>
                        <a:cubicBezTo>
                          <a:pt x="14" y="113"/>
                          <a:pt x="72" y="18"/>
                          <a:pt x="79" y="9"/>
                        </a:cubicBezTo>
                        <a:cubicBezTo>
                          <a:pt x="86" y="0"/>
                          <a:pt x="82" y="44"/>
                          <a:pt x="82" y="44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1" name="Freeform 140"/>
                  <p:cNvSpPr>
                    <a:spLocks/>
                  </p:cNvSpPr>
                  <p:nvPr/>
                </p:nvSpPr>
                <p:spPr bwMode="auto">
                  <a:xfrm>
                    <a:off x="4294188" y="4240213"/>
                    <a:ext cx="17463" cy="20638"/>
                  </a:xfrm>
                  <a:custGeom>
                    <a:avLst/>
                    <a:gdLst>
                      <a:gd name="T0" fmla="*/ 9 w 44"/>
                      <a:gd name="T1" fmla="*/ 7 h 50"/>
                      <a:gd name="T2" fmla="*/ 5 w 44"/>
                      <a:gd name="T3" fmla="*/ 36 h 50"/>
                      <a:gd name="T4" fmla="*/ 35 w 44"/>
                      <a:gd name="T5" fmla="*/ 39 h 50"/>
                      <a:gd name="T6" fmla="*/ 33 w 44"/>
                      <a:gd name="T7" fmla="*/ 6 h 50"/>
                      <a:gd name="T8" fmla="*/ 9 w 44"/>
                      <a:gd name="T9" fmla="*/ 7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4" h="50">
                        <a:moveTo>
                          <a:pt x="9" y="7"/>
                        </a:moveTo>
                        <a:cubicBezTo>
                          <a:pt x="1" y="14"/>
                          <a:pt x="0" y="29"/>
                          <a:pt x="5" y="36"/>
                        </a:cubicBezTo>
                        <a:cubicBezTo>
                          <a:pt x="10" y="44"/>
                          <a:pt x="27" y="50"/>
                          <a:pt x="35" y="39"/>
                        </a:cubicBezTo>
                        <a:cubicBezTo>
                          <a:pt x="44" y="27"/>
                          <a:pt x="41" y="12"/>
                          <a:pt x="33" y="6"/>
                        </a:cubicBezTo>
                        <a:cubicBezTo>
                          <a:pt x="25" y="0"/>
                          <a:pt x="15" y="2"/>
                          <a:pt x="9" y="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2" name="Freeform 141"/>
                  <p:cNvSpPr>
                    <a:spLocks/>
                  </p:cNvSpPr>
                  <p:nvPr/>
                </p:nvSpPr>
                <p:spPr bwMode="auto">
                  <a:xfrm>
                    <a:off x="4300538" y="4235450"/>
                    <a:ext cx="11113" cy="12700"/>
                  </a:xfrm>
                  <a:custGeom>
                    <a:avLst/>
                    <a:gdLst>
                      <a:gd name="T0" fmla="*/ 20 w 28"/>
                      <a:gd name="T1" fmla="*/ 29 h 29"/>
                      <a:gd name="T2" fmla="*/ 23 w 28"/>
                      <a:gd name="T3" fmla="*/ 15 h 29"/>
                      <a:gd name="T4" fmla="*/ 28 w 28"/>
                      <a:gd name="T5" fmla="*/ 4 h 29"/>
                      <a:gd name="T6" fmla="*/ 18 w 28"/>
                      <a:gd name="T7" fmla="*/ 0 h 29"/>
                      <a:gd name="T8" fmla="*/ 9 w 28"/>
                      <a:gd name="T9" fmla="*/ 10 h 29"/>
                      <a:gd name="T10" fmla="*/ 0 w 28"/>
                      <a:gd name="T11" fmla="*/ 18 h 29"/>
                      <a:gd name="T12" fmla="*/ 20 w 28"/>
                      <a:gd name="T13" fmla="*/ 2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" h="29">
                        <a:moveTo>
                          <a:pt x="20" y="29"/>
                        </a:moveTo>
                        <a:cubicBezTo>
                          <a:pt x="20" y="29"/>
                          <a:pt x="22" y="20"/>
                          <a:pt x="23" y="15"/>
                        </a:cubicBezTo>
                        <a:cubicBezTo>
                          <a:pt x="25" y="10"/>
                          <a:pt x="28" y="4"/>
                          <a:pt x="28" y="4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8" y="0"/>
                          <a:pt x="11" y="8"/>
                          <a:pt x="9" y="10"/>
                        </a:cubicBezTo>
                        <a:cubicBezTo>
                          <a:pt x="6" y="13"/>
                          <a:pt x="0" y="18"/>
                          <a:pt x="0" y="18"/>
                        </a:cubicBezTo>
                        <a:lnTo>
                          <a:pt x="20" y="29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3" name="Freeform 142"/>
                  <p:cNvSpPr>
                    <a:spLocks/>
                  </p:cNvSpPr>
                  <p:nvPr/>
                </p:nvSpPr>
                <p:spPr bwMode="auto">
                  <a:xfrm>
                    <a:off x="4305300" y="4249738"/>
                    <a:ext cx="11113" cy="15875"/>
                  </a:xfrm>
                  <a:custGeom>
                    <a:avLst/>
                    <a:gdLst>
                      <a:gd name="T0" fmla="*/ 0 w 29"/>
                      <a:gd name="T1" fmla="*/ 17 h 37"/>
                      <a:gd name="T2" fmla="*/ 9 w 29"/>
                      <a:gd name="T3" fmla="*/ 27 h 37"/>
                      <a:gd name="T4" fmla="*/ 19 w 29"/>
                      <a:gd name="T5" fmla="*/ 37 h 37"/>
                      <a:gd name="T6" fmla="*/ 29 w 29"/>
                      <a:gd name="T7" fmla="*/ 26 h 37"/>
                      <a:gd name="T8" fmla="*/ 22 w 29"/>
                      <a:gd name="T9" fmla="*/ 16 h 37"/>
                      <a:gd name="T10" fmla="*/ 13 w 29"/>
                      <a:gd name="T11" fmla="*/ 3 h 37"/>
                      <a:gd name="T12" fmla="*/ 0 w 29"/>
                      <a:gd name="T13" fmla="*/ 1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9" h="37">
                        <a:moveTo>
                          <a:pt x="0" y="17"/>
                        </a:moveTo>
                        <a:cubicBezTo>
                          <a:pt x="3" y="21"/>
                          <a:pt x="5" y="23"/>
                          <a:pt x="9" y="27"/>
                        </a:cubicBezTo>
                        <a:cubicBezTo>
                          <a:pt x="14" y="31"/>
                          <a:pt x="19" y="37"/>
                          <a:pt x="19" y="37"/>
                        </a:cubicBezTo>
                        <a:cubicBezTo>
                          <a:pt x="29" y="26"/>
                          <a:pt x="29" y="26"/>
                          <a:pt x="29" y="26"/>
                        </a:cubicBezTo>
                        <a:cubicBezTo>
                          <a:pt x="29" y="26"/>
                          <a:pt x="25" y="21"/>
                          <a:pt x="22" y="16"/>
                        </a:cubicBezTo>
                        <a:cubicBezTo>
                          <a:pt x="18" y="11"/>
                          <a:pt x="15" y="7"/>
                          <a:pt x="13" y="3"/>
                        </a:cubicBezTo>
                        <a:cubicBezTo>
                          <a:pt x="10" y="0"/>
                          <a:pt x="0" y="17"/>
                          <a:pt x="0" y="1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4" name="Freeform 143"/>
                  <p:cNvSpPr>
                    <a:spLocks/>
                  </p:cNvSpPr>
                  <p:nvPr/>
                </p:nvSpPr>
                <p:spPr bwMode="auto">
                  <a:xfrm>
                    <a:off x="4294188" y="4254500"/>
                    <a:ext cx="7938" cy="7938"/>
                  </a:xfrm>
                  <a:custGeom>
                    <a:avLst/>
                    <a:gdLst>
                      <a:gd name="T0" fmla="*/ 7 w 19"/>
                      <a:gd name="T1" fmla="*/ 2 h 20"/>
                      <a:gd name="T2" fmla="*/ 2 w 19"/>
                      <a:gd name="T3" fmla="*/ 9 h 20"/>
                      <a:gd name="T4" fmla="*/ 9 w 19"/>
                      <a:gd name="T5" fmla="*/ 20 h 20"/>
                      <a:gd name="T6" fmla="*/ 16 w 19"/>
                      <a:gd name="T7" fmla="*/ 8 h 20"/>
                      <a:gd name="T8" fmla="*/ 7 w 19"/>
                      <a:gd name="T9" fmla="*/ 2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" h="20">
                        <a:moveTo>
                          <a:pt x="7" y="2"/>
                        </a:moveTo>
                        <a:cubicBezTo>
                          <a:pt x="6" y="5"/>
                          <a:pt x="3" y="6"/>
                          <a:pt x="2" y="9"/>
                        </a:cubicBezTo>
                        <a:cubicBezTo>
                          <a:pt x="0" y="11"/>
                          <a:pt x="9" y="20"/>
                          <a:pt x="9" y="20"/>
                        </a:cubicBezTo>
                        <a:cubicBezTo>
                          <a:pt x="9" y="20"/>
                          <a:pt x="13" y="12"/>
                          <a:pt x="16" y="8"/>
                        </a:cubicBezTo>
                        <a:cubicBezTo>
                          <a:pt x="19" y="5"/>
                          <a:pt x="9" y="0"/>
                          <a:pt x="7" y="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5" name="Freeform 144"/>
                  <p:cNvSpPr>
                    <a:spLocks/>
                  </p:cNvSpPr>
                  <p:nvPr/>
                </p:nvSpPr>
                <p:spPr bwMode="auto">
                  <a:xfrm>
                    <a:off x="4251325" y="4256088"/>
                    <a:ext cx="47625" cy="36513"/>
                  </a:xfrm>
                  <a:custGeom>
                    <a:avLst/>
                    <a:gdLst>
                      <a:gd name="T0" fmla="*/ 114 w 119"/>
                      <a:gd name="T1" fmla="*/ 5 h 92"/>
                      <a:gd name="T2" fmla="*/ 107 w 119"/>
                      <a:gd name="T3" fmla="*/ 1 h 92"/>
                      <a:gd name="T4" fmla="*/ 75 w 119"/>
                      <a:gd name="T5" fmla="*/ 30 h 92"/>
                      <a:gd name="T6" fmla="*/ 41 w 119"/>
                      <a:gd name="T7" fmla="*/ 60 h 92"/>
                      <a:gd name="T8" fmla="*/ 26 w 119"/>
                      <a:gd name="T9" fmla="*/ 68 h 92"/>
                      <a:gd name="T10" fmla="*/ 8 w 119"/>
                      <a:gd name="T11" fmla="*/ 69 h 92"/>
                      <a:gd name="T12" fmla="*/ 2 w 119"/>
                      <a:gd name="T13" fmla="*/ 79 h 92"/>
                      <a:gd name="T14" fmla="*/ 2 w 119"/>
                      <a:gd name="T15" fmla="*/ 89 h 92"/>
                      <a:gd name="T16" fmla="*/ 29 w 119"/>
                      <a:gd name="T17" fmla="*/ 90 h 92"/>
                      <a:gd name="T18" fmla="*/ 55 w 119"/>
                      <a:gd name="T19" fmla="*/ 72 h 92"/>
                      <a:gd name="T20" fmla="*/ 95 w 119"/>
                      <a:gd name="T21" fmla="*/ 37 h 92"/>
                      <a:gd name="T22" fmla="*/ 119 w 119"/>
                      <a:gd name="T23" fmla="*/ 13 h 92"/>
                      <a:gd name="T24" fmla="*/ 114 w 119"/>
                      <a:gd name="T25" fmla="*/ 5 h 9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9" h="92">
                        <a:moveTo>
                          <a:pt x="114" y="5"/>
                        </a:moveTo>
                        <a:cubicBezTo>
                          <a:pt x="109" y="1"/>
                          <a:pt x="108" y="0"/>
                          <a:pt x="107" y="1"/>
                        </a:cubicBezTo>
                        <a:cubicBezTo>
                          <a:pt x="105" y="2"/>
                          <a:pt x="93" y="14"/>
                          <a:pt x="75" y="30"/>
                        </a:cubicBezTo>
                        <a:cubicBezTo>
                          <a:pt x="57" y="47"/>
                          <a:pt x="47" y="56"/>
                          <a:pt x="41" y="60"/>
                        </a:cubicBezTo>
                        <a:cubicBezTo>
                          <a:pt x="36" y="65"/>
                          <a:pt x="37" y="67"/>
                          <a:pt x="26" y="68"/>
                        </a:cubicBezTo>
                        <a:cubicBezTo>
                          <a:pt x="15" y="68"/>
                          <a:pt x="10" y="68"/>
                          <a:pt x="8" y="69"/>
                        </a:cubicBezTo>
                        <a:cubicBezTo>
                          <a:pt x="7" y="70"/>
                          <a:pt x="3" y="75"/>
                          <a:pt x="2" y="79"/>
                        </a:cubicBezTo>
                        <a:cubicBezTo>
                          <a:pt x="0" y="83"/>
                          <a:pt x="0" y="88"/>
                          <a:pt x="2" y="89"/>
                        </a:cubicBezTo>
                        <a:cubicBezTo>
                          <a:pt x="3" y="89"/>
                          <a:pt x="18" y="92"/>
                          <a:pt x="29" y="90"/>
                        </a:cubicBezTo>
                        <a:cubicBezTo>
                          <a:pt x="40" y="87"/>
                          <a:pt x="47" y="80"/>
                          <a:pt x="55" y="72"/>
                        </a:cubicBezTo>
                        <a:cubicBezTo>
                          <a:pt x="64" y="65"/>
                          <a:pt x="81" y="49"/>
                          <a:pt x="95" y="37"/>
                        </a:cubicBezTo>
                        <a:cubicBezTo>
                          <a:pt x="109" y="25"/>
                          <a:pt x="119" y="15"/>
                          <a:pt x="119" y="13"/>
                        </a:cubicBezTo>
                        <a:cubicBezTo>
                          <a:pt x="119" y="11"/>
                          <a:pt x="117" y="8"/>
                          <a:pt x="114" y="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6" name="Freeform 145"/>
                  <p:cNvSpPr>
                    <a:spLocks/>
                  </p:cNvSpPr>
                  <p:nvPr/>
                </p:nvSpPr>
                <p:spPr bwMode="auto">
                  <a:xfrm>
                    <a:off x="4344988" y="4225925"/>
                    <a:ext cx="17463" cy="20638"/>
                  </a:xfrm>
                  <a:custGeom>
                    <a:avLst/>
                    <a:gdLst>
                      <a:gd name="T0" fmla="*/ 10 w 45"/>
                      <a:gd name="T1" fmla="*/ 7 h 50"/>
                      <a:gd name="T2" fmla="*/ 5 w 45"/>
                      <a:gd name="T3" fmla="*/ 37 h 50"/>
                      <a:gd name="T4" fmla="*/ 36 w 45"/>
                      <a:gd name="T5" fmla="*/ 39 h 50"/>
                      <a:gd name="T6" fmla="*/ 33 w 45"/>
                      <a:gd name="T7" fmla="*/ 6 h 50"/>
                      <a:gd name="T8" fmla="*/ 10 w 45"/>
                      <a:gd name="T9" fmla="*/ 7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50">
                        <a:moveTo>
                          <a:pt x="10" y="7"/>
                        </a:moveTo>
                        <a:cubicBezTo>
                          <a:pt x="2" y="14"/>
                          <a:pt x="0" y="29"/>
                          <a:pt x="5" y="37"/>
                        </a:cubicBezTo>
                        <a:cubicBezTo>
                          <a:pt x="10" y="44"/>
                          <a:pt x="27" y="50"/>
                          <a:pt x="36" y="39"/>
                        </a:cubicBezTo>
                        <a:cubicBezTo>
                          <a:pt x="45" y="27"/>
                          <a:pt x="42" y="12"/>
                          <a:pt x="33" y="6"/>
                        </a:cubicBezTo>
                        <a:cubicBezTo>
                          <a:pt x="25" y="0"/>
                          <a:pt x="16" y="3"/>
                          <a:pt x="10" y="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7" name="Freeform 146"/>
                  <p:cNvSpPr>
                    <a:spLocks/>
                  </p:cNvSpPr>
                  <p:nvPr/>
                </p:nvSpPr>
                <p:spPr bwMode="auto">
                  <a:xfrm>
                    <a:off x="4356100" y="4237038"/>
                    <a:ext cx="11113" cy="14288"/>
                  </a:xfrm>
                  <a:custGeom>
                    <a:avLst/>
                    <a:gdLst>
                      <a:gd name="T0" fmla="*/ 0 w 28"/>
                      <a:gd name="T1" fmla="*/ 17 h 37"/>
                      <a:gd name="T2" fmla="*/ 9 w 28"/>
                      <a:gd name="T3" fmla="*/ 27 h 37"/>
                      <a:gd name="T4" fmla="*/ 19 w 28"/>
                      <a:gd name="T5" fmla="*/ 37 h 37"/>
                      <a:gd name="T6" fmla="*/ 28 w 28"/>
                      <a:gd name="T7" fmla="*/ 26 h 37"/>
                      <a:gd name="T8" fmla="*/ 21 w 28"/>
                      <a:gd name="T9" fmla="*/ 16 h 37"/>
                      <a:gd name="T10" fmla="*/ 12 w 28"/>
                      <a:gd name="T11" fmla="*/ 4 h 37"/>
                      <a:gd name="T12" fmla="*/ 0 w 28"/>
                      <a:gd name="T13" fmla="*/ 1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" h="37">
                        <a:moveTo>
                          <a:pt x="0" y="17"/>
                        </a:moveTo>
                        <a:cubicBezTo>
                          <a:pt x="2" y="21"/>
                          <a:pt x="4" y="23"/>
                          <a:pt x="9" y="27"/>
                        </a:cubicBezTo>
                        <a:cubicBezTo>
                          <a:pt x="13" y="31"/>
                          <a:pt x="19" y="37"/>
                          <a:pt x="19" y="37"/>
                        </a:cubicBezTo>
                        <a:cubicBezTo>
                          <a:pt x="28" y="26"/>
                          <a:pt x="28" y="26"/>
                          <a:pt x="28" y="26"/>
                        </a:cubicBezTo>
                        <a:cubicBezTo>
                          <a:pt x="28" y="26"/>
                          <a:pt x="25" y="21"/>
                          <a:pt x="21" y="16"/>
                        </a:cubicBezTo>
                        <a:cubicBezTo>
                          <a:pt x="18" y="11"/>
                          <a:pt x="15" y="7"/>
                          <a:pt x="12" y="4"/>
                        </a:cubicBezTo>
                        <a:cubicBezTo>
                          <a:pt x="9" y="0"/>
                          <a:pt x="0" y="17"/>
                          <a:pt x="0" y="1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8" name="Freeform 147"/>
                  <p:cNvSpPr>
                    <a:spLocks/>
                  </p:cNvSpPr>
                  <p:nvPr/>
                </p:nvSpPr>
                <p:spPr bwMode="auto">
                  <a:xfrm>
                    <a:off x="4238625" y="4305300"/>
                    <a:ext cx="22225" cy="17463"/>
                  </a:xfrm>
                  <a:custGeom>
                    <a:avLst/>
                    <a:gdLst>
                      <a:gd name="T0" fmla="*/ 3 w 58"/>
                      <a:gd name="T1" fmla="*/ 9 h 45"/>
                      <a:gd name="T2" fmla="*/ 11 w 58"/>
                      <a:gd name="T3" fmla="*/ 24 h 45"/>
                      <a:gd name="T4" fmla="*/ 46 w 58"/>
                      <a:gd name="T5" fmla="*/ 41 h 45"/>
                      <a:gd name="T6" fmla="*/ 56 w 58"/>
                      <a:gd name="T7" fmla="*/ 41 h 45"/>
                      <a:gd name="T8" fmla="*/ 47 w 58"/>
                      <a:gd name="T9" fmla="*/ 28 h 45"/>
                      <a:gd name="T10" fmla="*/ 19 w 58"/>
                      <a:gd name="T11" fmla="*/ 7 h 45"/>
                      <a:gd name="T12" fmla="*/ 3 w 58"/>
                      <a:gd name="T13" fmla="*/ 9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45">
                        <a:moveTo>
                          <a:pt x="3" y="9"/>
                        </a:moveTo>
                        <a:cubicBezTo>
                          <a:pt x="0" y="15"/>
                          <a:pt x="5" y="20"/>
                          <a:pt x="11" y="24"/>
                        </a:cubicBezTo>
                        <a:cubicBezTo>
                          <a:pt x="18" y="27"/>
                          <a:pt x="41" y="39"/>
                          <a:pt x="46" y="41"/>
                        </a:cubicBezTo>
                        <a:cubicBezTo>
                          <a:pt x="50" y="44"/>
                          <a:pt x="55" y="45"/>
                          <a:pt x="56" y="41"/>
                        </a:cubicBezTo>
                        <a:cubicBezTo>
                          <a:pt x="58" y="38"/>
                          <a:pt x="58" y="34"/>
                          <a:pt x="47" y="28"/>
                        </a:cubicBezTo>
                        <a:cubicBezTo>
                          <a:pt x="36" y="21"/>
                          <a:pt x="25" y="9"/>
                          <a:pt x="19" y="7"/>
                        </a:cubicBezTo>
                        <a:cubicBezTo>
                          <a:pt x="14" y="4"/>
                          <a:pt x="6" y="0"/>
                          <a:pt x="3" y="9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9" name="Freeform 148"/>
                  <p:cNvSpPr>
                    <a:spLocks/>
                  </p:cNvSpPr>
                  <p:nvPr/>
                </p:nvSpPr>
                <p:spPr bwMode="auto">
                  <a:xfrm>
                    <a:off x="4360863" y="4246563"/>
                    <a:ext cx="50800" cy="46038"/>
                  </a:xfrm>
                  <a:custGeom>
                    <a:avLst/>
                    <a:gdLst>
                      <a:gd name="T0" fmla="*/ 0 w 129"/>
                      <a:gd name="T1" fmla="*/ 12 h 118"/>
                      <a:gd name="T2" fmla="*/ 35 w 129"/>
                      <a:gd name="T3" fmla="*/ 46 h 118"/>
                      <a:gd name="T4" fmla="*/ 123 w 129"/>
                      <a:gd name="T5" fmla="*/ 117 h 118"/>
                      <a:gd name="T6" fmla="*/ 127 w 129"/>
                      <a:gd name="T7" fmla="*/ 112 h 118"/>
                      <a:gd name="T8" fmla="*/ 37 w 129"/>
                      <a:gd name="T9" fmla="*/ 26 h 118"/>
                      <a:gd name="T10" fmla="*/ 14 w 129"/>
                      <a:gd name="T11" fmla="*/ 0 h 118"/>
                      <a:gd name="T12" fmla="*/ 6 w 129"/>
                      <a:gd name="T13" fmla="*/ 4 h 118"/>
                      <a:gd name="T14" fmla="*/ 0 w 129"/>
                      <a:gd name="T15" fmla="*/ 12 h 1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9" h="118">
                        <a:moveTo>
                          <a:pt x="0" y="12"/>
                        </a:moveTo>
                        <a:cubicBezTo>
                          <a:pt x="0" y="14"/>
                          <a:pt x="23" y="34"/>
                          <a:pt x="35" y="46"/>
                        </a:cubicBezTo>
                        <a:cubicBezTo>
                          <a:pt x="47" y="57"/>
                          <a:pt x="121" y="115"/>
                          <a:pt x="123" y="117"/>
                        </a:cubicBezTo>
                        <a:cubicBezTo>
                          <a:pt x="125" y="118"/>
                          <a:pt x="129" y="115"/>
                          <a:pt x="127" y="112"/>
                        </a:cubicBezTo>
                        <a:cubicBezTo>
                          <a:pt x="125" y="109"/>
                          <a:pt x="47" y="36"/>
                          <a:pt x="37" y="26"/>
                        </a:cubicBezTo>
                        <a:cubicBezTo>
                          <a:pt x="28" y="16"/>
                          <a:pt x="16" y="0"/>
                          <a:pt x="14" y="0"/>
                        </a:cubicBezTo>
                        <a:cubicBezTo>
                          <a:pt x="12" y="0"/>
                          <a:pt x="10" y="1"/>
                          <a:pt x="6" y="4"/>
                        </a:cubicBezTo>
                        <a:cubicBezTo>
                          <a:pt x="3" y="7"/>
                          <a:pt x="0" y="10"/>
                          <a:pt x="0" y="1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0" name="Freeform 149"/>
                  <p:cNvSpPr>
                    <a:spLocks/>
                  </p:cNvSpPr>
                  <p:nvPr/>
                </p:nvSpPr>
                <p:spPr bwMode="auto">
                  <a:xfrm>
                    <a:off x="4351338" y="4224338"/>
                    <a:ext cx="11113" cy="11113"/>
                  </a:xfrm>
                  <a:custGeom>
                    <a:avLst/>
                    <a:gdLst>
                      <a:gd name="T0" fmla="*/ 19 w 28"/>
                      <a:gd name="T1" fmla="*/ 29 h 29"/>
                      <a:gd name="T2" fmla="*/ 23 w 28"/>
                      <a:gd name="T3" fmla="*/ 15 h 29"/>
                      <a:gd name="T4" fmla="*/ 28 w 28"/>
                      <a:gd name="T5" fmla="*/ 4 h 29"/>
                      <a:gd name="T6" fmla="*/ 18 w 28"/>
                      <a:gd name="T7" fmla="*/ 0 h 29"/>
                      <a:gd name="T8" fmla="*/ 10 w 28"/>
                      <a:gd name="T9" fmla="*/ 9 h 29"/>
                      <a:gd name="T10" fmla="*/ 0 w 28"/>
                      <a:gd name="T11" fmla="*/ 17 h 29"/>
                      <a:gd name="T12" fmla="*/ 19 w 28"/>
                      <a:gd name="T13" fmla="*/ 2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" h="29">
                        <a:moveTo>
                          <a:pt x="19" y="29"/>
                        </a:moveTo>
                        <a:cubicBezTo>
                          <a:pt x="19" y="29"/>
                          <a:pt x="21" y="20"/>
                          <a:pt x="23" y="15"/>
                        </a:cubicBezTo>
                        <a:cubicBezTo>
                          <a:pt x="25" y="10"/>
                          <a:pt x="28" y="4"/>
                          <a:pt x="28" y="4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8" y="0"/>
                          <a:pt x="13" y="7"/>
                          <a:pt x="10" y="9"/>
                        </a:cubicBezTo>
                        <a:cubicBezTo>
                          <a:pt x="7" y="12"/>
                          <a:pt x="0" y="17"/>
                          <a:pt x="0" y="17"/>
                        </a:cubicBezTo>
                        <a:lnTo>
                          <a:pt x="19" y="29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1" name="Freeform 150"/>
                  <p:cNvSpPr>
                    <a:spLocks/>
                  </p:cNvSpPr>
                  <p:nvPr/>
                </p:nvSpPr>
                <p:spPr bwMode="auto">
                  <a:xfrm>
                    <a:off x="4344988" y="4240213"/>
                    <a:ext cx="7938" cy="7938"/>
                  </a:xfrm>
                  <a:custGeom>
                    <a:avLst/>
                    <a:gdLst>
                      <a:gd name="T0" fmla="*/ 7 w 18"/>
                      <a:gd name="T1" fmla="*/ 2 h 20"/>
                      <a:gd name="T2" fmla="*/ 1 w 18"/>
                      <a:gd name="T3" fmla="*/ 9 h 20"/>
                      <a:gd name="T4" fmla="*/ 8 w 18"/>
                      <a:gd name="T5" fmla="*/ 20 h 20"/>
                      <a:gd name="T6" fmla="*/ 15 w 18"/>
                      <a:gd name="T7" fmla="*/ 8 h 20"/>
                      <a:gd name="T8" fmla="*/ 7 w 18"/>
                      <a:gd name="T9" fmla="*/ 2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" h="20">
                        <a:moveTo>
                          <a:pt x="7" y="2"/>
                        </a:moveTo>
                        <a:cubicBezTo>
                          <a:pt x="6" y="4"/>
                          <a:pt x="2" y="6"/>
                          <a:pt x="1" y="9"/>
                        </a:cubicBezTo>
                        <a:cubicBezTo>
                          <a:pt x="0" y="11"/>
                          <a:pt x="8" y="20"/>
                          <a:pt x="8" y="20"/>
                        </a:cubicBezTo>
                        <a:cubicBezTo>
                          <a:pt x="8" y="20"/>
                          <a:pt x="13" y="11"/>
                          <a:pt x="15" y="8"/>
                        </a:cubicBezTo>
                        <a:cubicBezTo>
                          <a:pt x="18" y="5"/>
                          <a:pt x="8" y="0"/>
                          <a:pt x="7" y="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2" name="Freeform 151"/>
                  <p:cNvSpPr>
                    <a:spLocks/>
                  </p:cNvSpPr>
                  <p:nvPr/>
                </p:nvSpPr>
                <p:spPr bwMode="auto">
                  <a:xfrm>
                    <a:off x="4459288" y="4048125"/>
                    <a:ext cx="34925" cy="41275"/>
                  </a:xfrm>
                  <a:custGeom>
                    <a:avLst/>
                    <a:gdLst>
                      <a:gd name="T0" fmla="*/ 7 w 88"/>
                      <a:gd name="T1" fmla="*/ 31 h 105"/>
                      <a:gd name="T2" fmla="*/ 12 w 88"/>
                      <a:gd name="T3" fmla="*/ 36 h 105"/>
                      <a:gd name="T4" fmla="*/ 15 w 88"/>
                      <a:gd name="T5" fmla="*/ 39 h 105"/>
                      <a:gd name="T6" fmla="*/ 10 w 88"/>
                      <a:gd name="T7" fmla="*/ 46 h 105"/>
                      <a:gd name="T8" fmla="*/ 3 w 88"/>
                      <a:gd name="T9" fmla="*/ 51 h 105"/>
                      <a:gd name="T10" fmla="*/ 0 w 88"/>
                      <a:gd name="T11" fmla="*/ 105 h 105"/>
                      <a:gd name="T12" fmla="*/ 19 w 88"/>
                      <a:gd name="T13" fmla="*/ 99 h 105"/>
                      <a:gd name="T14" fmla="*/ 60 w 88"/>
                      <a:gd name="T15" fmla="*/ 75 h 105"/>
                      <a:gd name="T16" fmla="*/ 87 w 88"/>
                      <a:gd name="T17" fmla="*/ 55 h 105"/>
                      <a:gd name="T18" fmla="*/ 79 w 88"/>
                      <a:gd name="T19" fmla="*/ 25 h 105"/>
                      <a:gd name="T20" fmla="*/ 65 w 88"/>
                      <a:gd name="T21" fmla="*/ 0 h 105"/>
                      <a:gd name="T22" fmla="*/ 7 w 88"/>
                      <a:gd name="T23" fmla="*/ 31 h 1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88" h="105">
                        <a:moveTo>
                          <a:pt x="7" y="31"/>
                        </a:moveTo>
                        <a:cubicBezTo>
                          <a:pt x="7" y="31"/>
                          <a:pt x="10" y="34"/>
                          <a:pt x="12" y="36"/>
                        </a:cubicBezTo>
                        <a:cubicBezTo>
                          <a:pt x="14" y="37"/>
                          <a:pt x="15" y="38"/>
                          <a:pt x="15" y="39"/>
                        </a:cubicBezTo>
                        <a:cubicBezTo>
                          <a:pt x="15" y="41"/>
                          <a:pt x="13" y="42"/>
                          <a:pt x="10" y="46"/>
                        </a:cubicBezTo>
                        <a:cubicBezTo>
                          <a:pt x="6" y="49"/>
                          <a:pt x="3" y="51"/>
                          <a:pt x="3" y="51"/>
                        </a:cubicBezTo>
                        <a:cubicBezTo>
                          <a:pt x="0" y="105"/>
                          <a:pt x="0" y="105"/>
                          <a:pt x="0" y="105"/>
                        </a:cubicBezTo>
                        <a:cubicBezTo>
                          <a:pt x="0" y="105"/>
                          <a:pt x="9" y="103"/>
                          <a:pt x="19" y="99"/>
                        </a:cubicBezTo>
                        <a:cubicBezTo>
                          <a:pt x="30" y="96"/>
                          <a:pt x="49" y="83"/>
                          <a:pt x="60" y="75"/>
                        </a:cubicBezTo>
                        <a:cubicBezTo>
                          <a:pt x="71" y="67"/>
                          <a:pt x="85" y="60"/>
                          <a:pt x="87" y="55"/>
                        </a:cubicBezTo>
                        <a:cubicBezTo>
                          <a:pt x="88" y="49"/>
                          <a:pt x="86" y="38"/>
                          <a:pt x="79" y="25"/>
                        </a:cubicBezTo>
                        <a:cubicBezTo>
                          <a:pt x="73" y="11"/>
                          <a:pt x="65" y="0"/>
                          <a:pt x="65" y="0"/>
                        </a:cubicBezTo>
                        <a:lnTo>
                          <a:pt x="7" y="31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3" name="Freeform 152"/>
                  <p:cNvSpPr>
                    <a:spLocks noEditPoints="1"/>
                  </p:cNvSpPr>
                  <p:nvPr/>
                </p:nvSpPr>
                <p:spPr bwMode="auto">
                  <a:xfrm>
                    <a:off x="4370388" y="3930650"/>
                    <a:ext cx="115888" cy="411163"/>
                  </a:xfrm>
                  <a:custGeom>
                    <a:avLst/>
                    <a:gdLst>
                      <a:gd name="T0" fmla="*/ 261 w 294"/>
                      <a:gd name="T1" fmla="*/ 320 h 1038"/>
                      <a:gd name="T2" fmla="*/ 269 w 294"/>
                      <a:gd name="T3" fmla="*/ 258 h 1038"/>
                      <a:gd name="T4" fmla="*/ 219 w 294"/>
                      <a:gd name="T5" fmla="*/ 191 h 1038"/>
                      <a:gd name="T6" fmla="*/ 147 w 294"/>
                      <a:gd name="T7" fmla="*/ 149 h 1038"/>
                      <a:gd name="T8" fmla="*/ 129 w 294"/>
                      <a:gd name="T9" fmla="*/ 131 h 1038"/>
                      <a:gd name="T10" fmla="*/ 135 w 294"/>
                      <a:gd name="T11" fmla="*/ 115 h 1038"/>
                      <a:gd name="T12" fmla="*/ 137 w 294"/>
                      <a:gd name="T13" fmla="*/ 31 h 1038"/>
                      <a:gd name="T14" fmla="*/ 71 w 294"/>
                      <a:gd name="T15" fmla="*/ 2 h 1038"/>
                      <a:gd name="T16" fmla="*/ 32 w 294"/>
                      <a:gd name="T17" fmla="*/ 19 h 1038"/>
                      <a:gd name="T18" fmla="*/ 23 w 294"/>
                      <a:gd name="T19" fmla="*/ 52 h 1038"/>
                      <a:gd name="T20" fmla="*/ 20 w 294"/>
                      <a:gd name="T21" fmla="*/ 90 h 1038"/>
                      <a:gd name="T22" fmla="*/ 20 w 294"/>
                      <a:gd name="T23" fmla="*/ 121 h 1038"/>
                      <a:gd name="T24" fmla="*/ 32 w 294"/>
                      <a:gd name="T25" fmla="*/ 150 h 1038"/>
                      <a:gd name="T26" fmla="*/ 57 w 294"/>
                      <a:gd name="T27" fmla="*/ 163 h 1038"/>
                      <a:gd name="T28" fmla="*/ 39 w 294"/>
                      <a:gd name="T29" fmla="*/ 188 h 1038"/>
                      <a:gd name="T30" fmla="*/ 13 w 294"/>
                      <a:gd name="T31" fmla="*/ 245 h 1038"/>
                      <a:gd name="T32" fmla="*/ 26 w 294"/>
                      <a:gd name="T33" fmla="*/ 345 h 1038"/>
                      <a:gd name="T34" fmla="*/ 45 w 294"/>
                      <a:gd name="T35" fmla="*/ 435 h 1038"/>
                      <a:gd name="T36" fmla="*/ 47 w 294"/>
                      <a:gd name="T37" fmla="*/ 502 h 1038"/>
                      <a:gd name="T38" fmla="*/ 56 w 294"/>
                      <a:gd name="T39" fmla="*/ 724 h 1038"/>
                      <a:gd name="T40" fmla="*/ 91 w 294"/>
                      <a:gd name="T41" fmla="*/ 786 h 1038"/>
                      <a:gd name="T42" fmla="*/ 119 w 294"/>
                      <a:gd name="T43" fmla="*/ 841 h 1038"/>
                      <a:gd name="T44" fmla="*/ 137 w 294"/>
                      <a:gd name="T45" fmla="*/ 973 h 1038"/>
                      <a:gd name="T46" fmla="*/ 62 w 294"/>
                      <a:gd name="T47" fmla="*/ 1014 h 1038"/>
                      <a:gd name="T48" fmla="*/ 56 w 294"/>
                      <a:gd name="T49" fmla="*/ 1029 h 1038"/>
                      <a:gd name="T50" fmla="*/ 153 w 294"/>
                      <a:gd name="T51" fmla="*/ 1037 h 1038"/>
                      <a:gd name="T52" fmla="*/ 209 w 294"/>
                      <a:gd name="T53" fmla="*/ 1022 h 1038"/>
                      <a:gd name="T54" fmla="*/ 268 w 294"/>
                      <a:gd name="T55" fmla="*/ 1018 h 1038"/>
                      <a:gd name="T56" fmla="*/ 270 w 294"/>
                      <a:gd name="T57" fmla="*/ 1006 h 1038"/>
                      <a:gd name="T58" fmla="*/ 254 w 294"/>
                      <a:gd name="T59" fmla="*/ 979 h 1038"/>
                      <a:gd name="T60" fmla="*/ 248 w 294"/>
                      <a:gd name="T61" fmla="*/ 888 h 1038"/>
                      <a:gd name="T62" fmla="*/ 239 w 294"/>
                      <a:gd name="T63" fmla="*/ 784 h 1038"/>
                      <a:gd name="T64" fmla="*/ 228 w 294"/>
                      <a:gd name="T65" fmla="*/ 752 h 1038"/>
                      <a:gd name="T66" fmla="*/ 218 w 294"/>
                      <a:gd name="T67" fmla="*/ 654 h 1038"/>
                      <a:gd name="T68" fmla="*/ 235 w 294"/>
                      <a:gd name="T69" fmla="*/ 558 h 1038"/>
                      <a:gd name="T70" fmla="*/ 243 w 294"/>
                      <a:gd name="T71" fmla="*/ 515 h 1038"/>
                      <a:gd name="T72" fmla="*/ 231 w 294"/>
                      <a:gd name="T73" fmla="*/ 363 h 1038"/>
                      <a:gd name="T74" fmla="*/ 205 w 294"/>
                      <a:gd name="T75" fmla="*/ 958 h 1038"/>
                      <a:gd name="T76" fmla="*/ 197 w 294"/>
                      <a:gd name="T77" fmla="*/ 965 h 1038"/>
                      <a:gd name="T78" fmla="*/ 187 w 294"/>
                      <a:gd name="T79" fmla="*/ 938 h 1038"/>
                      <a:gd name="T80" fmla="*/ 189 w 294"/>
                      <a:gd name="T81" fmla="*/ 867 h 1038"/>
                      <a:gd name="T82" fmla="*/ 200 w 294"/>
                      <a:gd name="T83" fmla="*/ 897 h 1038"/>
                      <a:gd name="T84" fmla="*/ 205 w 294"/>
                      <a:gd name="T85" fmla="*/ 958 h 10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294" h="1038">
                        <a:moveTo>
                          <a:pt x="233" y="328"/>
                        </a:moveTo>
                        <a:cubicBezTo>
                          <a:pt x="233" y="328"/>
                          <a:pt x="248" y="326"/>
                          <a:pt x="261" y="320"/>
                        </a:cubicBezTo>
                        <a:cubicBezTo>
                          <a:pt x="273" y="314"/>
                          <a:pt x="294" y="299"/>
                          <a:pt x="293" y="296"/>
                        </a:cubicBezTo>
                        <a:cubicBezTo>
                          <a:pt x="293" y="293"/>
                          <a:pt x="279" y="270"/>
                          <a:pt x="269" y="258"/>
                        </a:cubicBezTo>
                        <a:cubicBezTo>
                          <a:pt x="260" y="246"/>
                          <a:pt x="245" y="228"/>
                          <a:pt x="242" y="219"/>
                        </a:cubicBezTo>
                        <a:cubicBezTo>
                          <a:pt x="239" y="211"/>
                          <a:pt x="229" y="201"/>
                          <a:pt x="219" y="191"/>
                        </a:cubicBezTo>
                        <a:cubicBezTo>
                          <a:pt x="209" y="181"/>
                          <a:pt x="170" y="158"/>
                          <a:pt x="161" y="154"/>
                        </a:cubicBezTo>
                        <a:cubicBezTo>
                          <a:pt x="152" y="149"/>
                          <a:pt x="147" y="149"/>
                          <a:pt x="147" y="149"/>
                        </a:cubicBezTo>
                        <a:cubicBezTo>
                          <a:pt x="147" y="149"/>
                          <a:pt x="140" y="146"/>
                          <a:pt x="135" y="142"/>
                        </a:cubicBezTo>
                        <a:cubicBezTo>
                          <a:pt x="131" y="139"/>
                          <a:pt x="130" y="136"/>
                          <a:pt x="129" y="131"/>
                        </a:cubicBezTo>
                        <a:cubicBezTo>
                          <a:pt x="128" y="127"/>
                          <a:pt x="129" y="123"/>
                          <a:pt x="129" y="123"/>
                        </a:cubicBezTo>
                        <a:cubicBezTo>
                          <a:pt x="129" y="123"/>
                          <a:pt x="133" y="122"/>
                          <a:pt x="135" y="115"/>
                        </a:cubicBezTo>
                        <a:cubicBezTo>
                          <a:pt x="137" y="108"/>
                          <a:pt x="145" y="85"/>
                          <a:pt x="145" y="72"/>
                        </a:cubicBezTo>
                        <a:cubicBezTo>
                          <a:pt x="146" y="60"/>
                          <a:pt x="142" y="38"/>
                          <a:pt x="137" y="31"/>
                        </a:cubicBezTo>
                        <a:cubicBezTo>
                          <a:pt x="132" y="24"/>
                          <a:pt x="128" y="15"/>
                          <a:pt x="118" y="9"/>
                        </a:cubicBezTo>
                        <a:cubicBezTo>
                          <a:pt x="107" y="3"/>
                          <a:pt x="83" y="1"/>
                          <a:pt x="71" y="2"/>
                        </a:cubicBezTo>
                        <a:cubicBezTo>
                          <a:pt x="59" y="3"/>
                          <a:pt x="50" y="0"/>
                          <a:pt x="45" y="2"/>
                        </a:cubicBezTo>
                        <a:cubicBezTo>
                          <a:pt x="41" y="4"/>
                          <a:pt x="32" y="11"/>
                          <a:pt x="32" y="19"/>
                        </a:cubicBezTo>
                        <a:cubicBezTo>
                          <a:pt x="31" y="28"/>
                          <a:pt x="33" y="34"/>
                          <a:pt x="33" y="34"/>
                        </a:cubicBezTo>
                        <a:cubicBezTo>
                          <a:pt x="33" y="34"/>
                          <a:pt x="26" y="43"/>
                          <a:pt x="23" y="52"/>
                        </a:cubicBezTo>
                        <a:cubicBezTo>
                          <a:pt x="20" y="60"/>
                          <a:pt x="20" y="68"/>
                          <a:pt x="21" y="72"/>
                        </a:cubicBezTo>
                        <a:cubicBezTo>
                          <a:pt x="21" y="76"/>
                          <a:pt x="21" y="82"/>
                          <a:pt x="20" y="90"/>
                        </a:cubicBezTo>
                        <a:cubicBezTo>
                          <a:pt x="19" y="97"/>
                          <a:pt x="19" y="105"/>
                          <a:pt x="19" y="107"/>
                        </a:cubicBezTo>
                        <a:cubicBezTo>
                          <a:pt x="19" y="109"/>
                          <a:pt x="19" y="114"/>
                          <a:pt x="20" y="121"/>
                        </a:cubicBezTo>
                        <a:cubicBezTo>
                          <a:pt x="20" y="127"/>
                          <a:pt x="19" y="132"/>
                          <a:pt x="20" y="137"/>
                        </a:cubicBezTo>
                        <a:cubicBezTo>
                          <a:pt x="21" y="142"/>
                          <a:pt x="25" y="147"/>
                          <a:pt x="32" y="150"/>
                        </a:cubicBezTo>
                        <a:cubicBezTo>
                          <a:pt x="32" y="150"/>
                          <a:pt x="40" y="154"/>
                          <a:pt x="45" y="155"/>
                        </a:cubicBezTo>
                        <a:cubicBezTo>
                          <a:pt x="51" y="156"/>
                          <a:pt x="52" y="157"/>
                          <a:pt x="57" y="163"/>
                        </a:cubicBezTo>
                        <a:cubicBezTo>
                          <a:pt x="62" y="169"/>
                          <a:pt x="64" y="172"/>
                          <a:pt x="64" y="172"/>
                        </a:cubicBezTo>
                        <a:cubicBezTo>
                          <a:pt x="64" y="172"/>
                          <a:pt x="50" y="181"/>
                          <a:pt x="39" y="188"/>
                        </a:cubicBezTo>
                        <a:cubicBezTo>
                          <a:pt x="29" y="195"/>
                          <a:pt x="21" y="207"/>
                          <a:pt x="19" y="216"/>
                        </a:cubicBezTo>
                        <a:cubicBezTo>
                          <a:pt x="17" y="226"/>
                          <a:pt x="13" y="245"/>
                          <a:pt x="13" y="245"/>
                        </a:cubicBezTo>
                        <a:cubicBezTo>
                          <a:pt x="9" y="278"/>
                          <a:pt x="0" y="326"/>
                          <a:pt x="1" y="331"/>
                        </a:cubicBezTo>
                        <a:cubicBezTo>
                          <a:pt x="2" y="335"/>
                          <a:pt x="11" y="339"/>
                          <a:pt x="26" y="345"/>
                        </a:cubicBezTo>
                        <a:cubicBezTo>
                          <a:pt x="40" y="351"/>
                          <a:pt x="54" y="359"/>
                          <a:pt x="54" y="359"/>
                        </a:cubicBezTo>
                        <a:cubicBezTo>
                          <a:pt x="54" y="359"/>
                          <a:pt x="51" y="391"/>
                          <a:pt x="45" y="435"/>
                        </a:cubicBezTo>
                        <a:cubicBezTo>
                          <a:pt x="40" y="479"/>
                          <a:pt x="41" y="495"/>
                          <a:pt x="43" y="498"/>
                        </a:cubicBezTo>
                        <a:cubicBezTo>
                          <a:pt x="45" y="501"/>
                          <a:pt x="47" y="502"/>
                          <a:pt x="47" y="502"/>
                        </a:cubicBezTo>
                        <a:cubicBezTo>
                          <a:pt x="47" y="502"/>
                          <a:pt x="44" y="536"/>
                          <a:pt x="45" y="580"/>
                        </a:cubicBezTo>
                        <a:cubicBezTo>
                          <a:pt x="46" y="623"/>
                          <a:pt x="50" y="685"/>
                          <a:pt x="56" y="724"/>
                        </a:cubicBezTo>
                        <a:cubicBezTo>
                          <a:pt x="61" y="763"/>
                          <a:pt x="65" y="787"/>
                          <a:pt x="67" y="788"/>
                        </a:cubicBezTo>
                        <a:cubicBezTo>
                          <a:pt x="69" y="788"/>
                          <a:pt x="80" y="787"/>
                          <a:pt x="91" y="786"/>
                        </a:cubicBezTo>
                        <a:cubicBezTo>
                          <a:pt x="103" y="785"/>
                          <a:pt x="113" y="783"/>
                          <a:pt x="113" y="783"/>
                        </a:cubicBezTo>
                        <a:cubicBezTo>
                          <a:pt x="113" y="783"/>
                          <a:pt x="115" y="815"/>
                          <a:pt x="119" y="841"/>
                        </a:cubicBezTo>
                        <a:cubicBezTo>
                          <a:pt x="122" y="867"/>
                          <a:pt x="132" y="894"/>
                          <a:pt x="136" y="924"/>
                        </a:cubicBezTo>
                        <a:cubicBezTo>
                          <a:pt x="140" y="954"/>
                          <a:pt x="137" y="973"/>
                          <a:pt x="137" y="973"/>
                        </a:cubicBezTo>
                        <a:cubicBezTo>
                          <a:pt x="137" y="973"/>
                          <a:pt x="128" y="977"/>
                          <a:pt x="109" y="988"/>
                        </a:cubicBezTo>
                        <a:cubicBezTo>
                          <a:pt x="89" y="999"/>
                          <a:pt x="68" y="1008"/>
                          <a:pt x="62" y="1014"/>
                        </a:cubicBezTo>
                        <a:cubicBezTo>
                          <a:pt x="56" y="1020"/>
                          <a:pt x="57" y="1025"/>
                          <a:pt x="57" y="1025"/>
                        </a:cubicBezTo>
                        <a:cubicBezTo>
                          <a:pt x="57" y="1025"/>
                          <a:pt x="56" y="1025"/>
                          <a:pt x="56" y="1029"/>
                        </a:cubicBezTo>
                        <a:cubicBezTo>
                          <a:pt x="56" y="1032"/>
                          <a:pt x="60" y="1035"/>
                          <a:pt x="71" y="1035"/>
                        </a:cubicBezTo>
                        <a:cubicBezTo>
                          <a:pt x="82" y="1036"/>
                          <a:pt x="123" y="1038"/>
                          <a:pt x="153" y="1037"/>
                        </a:cubicBezTo>
                        <a:cubicBezTo>
                          <a:pt x="183" y="1035"/>
                          <a:pt x="207" y="1033"/>
                          <a:pt x="209" y="1029"/>
                        </a:cubicBezTo>
                        <a:cubicBezTo>
                          <a:pt x="210" y="1025"/>
                          <a:pt x="209" y="1022"/>
                          <a:pt x="209" y="1022"/>
                        </a:cubicBezTo>
                        <a:cubicBezTo>
                          <a:pt x="209" y="1022"/>
                          <a:pt x="219" y="1024"/>
                          <a:pt x="231" y="1024"/>
                        </a:cubicBezTo>
                        <a:cubicBezTo>
                          <a:pt x="242" y="1023"/>
                          <a:pt x="264" y="1019"/>
                          <a:pt x="268" y="1018"/>
                        </a:cubicBezTo>
                        <a:cubicBezTo>
                          <a:pt x="272" y="1016"/>
                          <a:pt x="274" y="1016"/>
                          <a:pt x="273" y="1012"/>
                        </a:cubicBezTo>
                        <a:cubicBezTo>
                          <a:pt x="273" y="1009"/>
                          <a:pt x="273" y="1008"/>
                          <a:pt x="270" y="1006"/>
                        </a:cubicBezTo>
                        <a:cubicBezTo>
                          <a:pt x="267" y="1003"/>
                          <a:pt x="266" y="1001"/>
                          <a:pt x="263" y="993"/>
                        </a:cubicBezTo>
                        <a:cubicBezTo>
                          <a:pt x="260" y="984"/>
                          <a:pt x="254" y="979"/>
                          <a:pt x="254" y="979"/>
                        </a:cubicBezTo>
                        <a:cubicBezTo>
                          <a:pt x="254" y="979"/>
                          <a:pt x="252" y="970"/>
                          <a:pt x="251" y="953"/>
                        </a:cubicBezTo>
                        <a:cubicBezTo>
                          <a:pt x="250" y="936"/>
                          <a:pt x="248" y="924"/>
                          <a:pt x="248" y="888"/>
                        </a:cubicBezTo>
                        <a:cubicBezTo>
                          <a:pt x="248" y="888"/>
                          <a:pt x="248" y="858"/>
                          <a:pt x="249" y="840"/>
                        </a:cubicBezTo>
                        <a:cubicBezTo>
                          <a:pt x="249" y="821"/>
                          <a:pt x="246" y="801"/>
                          <a:pt x="239" y="784"/>
                        </a:cubicBezTo>
                        <a:cubicBezTo>
                          <a:pt x="232" y="767"/>
                          <a:pt x="228" y="760"/>
                          <a:pt x="228" y="760"/>
                        </a:cubicBezTo>
                        <a:cubicBezTo>
                          <a:pt x="228" y="760"/>
                          <a:pt x="230" y="757"/>
                          <a:pt x="228" y="752"/>
                        </a:cubicBezTo>
                        <a:cubicBezTo>
                          <a:pt x="227" y="747"/>
                          <a:pt x="226" y="733"/>
                          <a:pt x="224" y="712"/>
                        </a:cubicBezTo>
                        <a:cubicBezTo>
                          <a:pt x="221" y="692"/>
                          <a:pt x="219" y="680"/>
                          <a:pt x="218" y="654"/>
                        </a:cubicBezTo>
                        <a:cubicBezTo>
                          <a:pt x="218" y="628"/>
                          <a:pt x="218" y="607"/>
                          <a:pt x="226" y="585"/>
                        </a:cubicBezTo>
                        <a:cubicBezTo>
                          <a:pt x="234" y="564"/>
                          <a:pt x="235" y="558"/>
                          <a:pt x="235" y="558"/>
                        </a:cubicBezTo>
                        <a:cubicBezTo>
                          <a:pt x="235" y="558"/>
                          <a:pt x="240" y="560"/>
                          <a:pt x="240" y="556"/>
                        </a:cubicBezTo>
                        <a:cubicBezTo>
                          <a:pt x="241" y="552"/>
                          <a:pt x="243" y="537"/>
                          <a:pt x="243" y="515"/>
                        </a:cubicBezTo>
                        <a:cubicBezTo>
                          <a:pt x="243" y="494"/>
                          <a:pt x="239" y="451"/>
                          <a:pt x="236" y="433"/>
                        </a:cubicBezTo>
                        <a:cubicBezTo>
                          <a:pt x="233" y="415"/>
                          <a:pt x="229" y="389"/>
                          <a:pt x="231" y="363"/>
                        </a:cubicBezTo>
                        <a:cubicBezTo>
                          <a:pt x="232" y="336"/>
                          <a:pt x="233" y="328"/>
                          <a:pt x="233" y="328"/>
                        </a:cubicBezTo>
                        <a:close/>
                        <a:moveTo>
                          <a:pt x="205" y="958"/>
                        </a:moveTo>
                        <a:cubicBezTo>
                          <a:pt x="205" y="958"/>
                          <a:pt x="202" y="957"/>
                          <a:pt x="201" y="958"/>
                        </a:cubicBezTo>
                        <a:cubicBezTo>
                          <a:pt x="200" y="959"/>
                          <a:pt x="199" y="962"/>
                          <a:pt x="197" y="965"/>
                        </a:cubicBezTo>
                        <a:cubicBezTo>
                          <a:pt x="195" y="969"/>
                          <a:pt x="192" y="971"/>
                          <a:pt x="192" y="971"/>
                        </a:cubicBezTo>
                        <a:cubicBezTo>
                          <a:pt x="192" y="971"/>
                          <a:pt x="188" y="956"/>
                          <a:pt x="187" y="938"/>
                        </a:cubicBezTo>
                        <a:cubicBezTo>
                          <a:pt x="186" y="920"/>
                          <a:pt x="186" y="898"/>
                          <a:pt x="187" y="886"/>
                        </a:cubicBezTo>
                        <a:cubicBezTo>
                          <a:pt x="188" y="874"/>
                          <a:pt x="189" y="867"/>
                          <a:pt x="189" y="867"/>
                        </a:cubicBezTo>
                        <a:cubicBezTo>
                          <a:pt x="189" y="867"/>
                          <a:pt x="192" y="872"/>
                          <a:pt x="194" y="878"/>
                        </a:cubicBezTo>
                        <a:cubicBezTo>
                          <a:pt x="196" y="883"/>
                          <a:pt x="197" y="888"/>
                          <a:pt x="200" y="897"/>
                        </a:cubicBezTo>
                        <a:cubicBezTo>
                          <a:pt x="204" y="906"/>
                          <a:pt x="207" y="921"/>
                          <a:pt x="208" y="929"/>
                        </a:cubicBezTo>
                        <a:cubicBezTo>
                          <a:pt x="208" y="938"/>
                          <a:pt x="205" y="958"/>
                          <a:pt x="205" y="95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4" name="Freeform 153"/>
                  <p:cNvSpPr>
                    <a:spLocks/>
                  </p:cNvSpPr>
                  <p:nvPr/>
                </p:nvSpPr>
                <p:spPr bwMode="auto">
                  <a:xfrm>
                    <a:off x="4364038" y="4059238"/>
                    <a:ext cx="39688" cy="115888"/>
                  </a:xfrm>
                  <a:custGeom>
                    <a:avLst/>
                    <a:gdLst>
                      <a:gd name="T0" fmla="*/ 41 w 101"/>
                      <a:gd name="T1" fmla="*/ 0 h 293"/>
                      <a:gd name="T2" fmla="*/ 41 w 101"/>
                      <a:gd name="T3" fmla="*/ 25 h 293"/>
                      <a:gd name="T4" fmla="*/ 37 w 101"/>
                      <a:gd name="T5" fmla="*/ 53 h 293"/>
                      <a:gd name="T6" fmla="*/ 30 w 101"/>
                      <a:gd name="T7" fmla="*/ 100 h 293"/>
                      <a:gd name="T8" fmla="*/ 23 w 101"/>
                      <a:gd name="T9" fmla="*/ 163 h 293"/>
                      <a:gd name="T10" fmla="*/ 17 w 101"/>
                      <a:gd name="T11" fmla="*/ 193 h 293"/>
                      <a:gd name="T12" fmla="*/ 9 w 101"/>
                      <a:gd name="T13" fmla="*/ 216 h 293"/>
                      <a:gd name="T14" fmla="*/ 0 w 101"/>
                      <a:gd name="T15" fmla="*/ 239 h 293"/>
                      <a:gd name="T16" fmla="*/ 0 w 101"/>
                      <a:gd name="T17" fmla="*/ 256 h 293"/>
                      <a:gd name="T18" fmla="*/ 3 w 101"/>
                      <a:gd name="T19" fmla="*/ 271 h 293"/>
                      <a:gd name="T20" fmla="*/ 15 w 101"/>
                      <a:gd name="T21" fmla="*/ 286 h 293"/>
                      <a:gd name="T22" fmla="*/ 25 w 101"/>
                      <a:gd name="T23" fmla="*/ 291 h 293"/>
                      <a:gd name="T24" fmla="*/ 26 w 101"/>
                      <a:gd name="T25" fmla="*/ 284 h 293"/>
                      <a:gd name="T26" fmla="*/ 30 w 101"/>
                      <a:gd name="T27" fmla="*/ 285 h 293"/>
                      <a:gd name="T28" fmla="*/ 32 w 101"/>
                      <a:gd name="T29" fmla="*/ 281 h 293"/>
                      <a:gd name="T30" fmla="*/ 30 w 101"/>
                      <a:gd name="T31" fmla="*/ 278 h 293"/>
                      <a:gd name="T32" fmla="*/ 31 w 101"/>
                      <a:gd name="T33" fmla="*/ 273 h 293"/>
                      <a:gd name="T34" fmla="*/ 26 w 101"/>
                      <a:gd name="T35" fmla="*/ 264 h 293"/>
                      <a:gd name="T36" fmla="*/ 24 w 101"/>
                      <a:gd name="T37" fmla="*/ 250 h 293"/>
                      <a:gd name="T38" fmla="*/ 26 w 101"/>
                      <a:gd name="T39" fmla="*/ 241 h 293"/>
                      <a:gd name="T40" fmla="*/ 27 w 101"/>
                      <a:gd name="T41" fmla="*/ 254 h 293"/>
                      <a:gd name="T42" fmla="*/ 33 w 101"/>
                      <a:gd name="T43" fmla="*/ 264 h 293"/>
                      <a:gd name="T44" fmla="*/ 39 w 101"/>
                      <a:gd name="T45" fmla="*/ 253 h 293"/>
                      <a:gd name="T46" fmla="*/ 40 w 101"/>
                      <a:gd name="T47" fmla="*/ 241 h 293"/>
                      <a:gd name="T48" fmla="*/ 41 w 101"/>
                      <a:gd name="T49" fmla="*/ 234 h 293"/>
                      <a:gd name="T50" fmla="*/ 46 w 101"/>
                      <a:gd name="T51" fmla="*/ 221 h 293"/>
                      <a:gd name="T52" fmla="*/ 45 w 101"/>
                      <a:gd name="T53" fmla="*/ 203 h 293"/>
                      <a:gd name="T54" fmla="*/ 54 w 101"/>
                      <a:gd name="T55" fmla="*/ 175 h 293"/>
                      <a:gd name="T56" fmla="*/ 81 w 101"/>
                      <a:gd name="T57" fmla="*/ 118 h 293"/>
                      <a:gd name="T58" fmla="*/ 93 w 101"/>
                      <a:gd name="T59" fmla="*/ 62 h 293"/>
                      <a:gd name="T60" fmla="*/ 97 w 101"/>
                      <a:gd name="T61" fmla="*/ 38 h 293"/>
                      <a:gd name="T62" fmla="*/ 101 w 101"/>
                      <a:gd name="T63" fmla="*/ 21 h 293"/>
                      <a:gd name="T64" fmla="*/ 79 w 101"/>
                      <a:gd name="T65" fmla="*/ 9 h 293"/>
                      <a:gd name="T66" fmla="*/ 41 w 101"/>
                      <a:gd name="T67" fmla="*/ 0 h 2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101" h="293">
                        <a:moveTo>
                          <a:pt x="41" y="0"/>
                        </a:moveTo>
                        <a:cubicBezTo>
                          <a:pt x="41" y="0"/>
                          <a:pt x="41" y="15"/>
                          <a:pt x="41" y="25"/>
                        </a:cubicBezTo>
                        <a:cubicBezTo>
                          <a:pt x="41" y="35"/>
                          <a:pt x="39" y="46"/>
                          <a:pt x="37" y="53"/>
                        </a:cubicBezTo>
                        <a:cubicBezTo>
                          <a:pt x="35" y="61"/>
                          <a:pt x="31" y="81"/>
                          <a:pt x="30" y="100"/>
                        </a:cubicBezTo>
                        <a:cubicBezTo>
                          <a:pt x="29" y="120"/>
                          <a:pt x="27" y="149"/>
                          <a:pt x="23" y="163"/>
                        </a:cubicBezTo>
                        <a:cubicBezTo>
                          <a:pt x="20" y="178"/>
                          <a:pt x="19" y="186"/>
                          <a:pt x="17" y="193"/>
                        </a:cubicBezTo>
                        <a:cubicBezTo>
                          <a:pt x="16" y="201"/>
                          <a:pt x="15" y="205"/>
                          <a:pt x="9" y="216"/>
                        </a:cubicBezTo>
                        <a:cubicBezTo>
                          <a:pt x="4" y="228"/>
                          <a:pt x="0" y="233"/>
                          <a:pt x="0" y="239"/>
                        </a:cubicBezTo>
                        <a:cubicBezTo>
                          <a:pt x="0" y="245"/>
                          <a:pt x="0" y="250"/>
                          <a:pt x="0" y="256"/>
                        </a:cubicBezTo>
                        <a:cubicBezTo>
                          <a:pt x="0" y="262"/>
                          <a:pt x="1" y="265"/>
                          <a:pt x="3" y="271"/>
                        </a:cubicBezTo>
                        <a:cubicBezTo>
                          <a:pt x="6" y="276"/>
                          <a:pt x="11" y="283"/>
                          <a:pt x="15" y="286"/>
                        </a:cubicBezTo>
                        <a:cubicBezTo>
                          <a:pt x="18" y="289"/>
                          <a:pt x="23" y="293"/>
                          <a:pt x="25" y="291"/>
                        </a:cubicBezTo>
                        <a:cubicBezTo>
                          <a:pt x="27" y="288"/>
                          <a:pt x="26" y="284"/>
                          <a:pt x="26" y="284"/>
                        </a:cubicBezTo>
                        <a:cubicBezTo>
                          <a:pt x="26" y="284"/>
                          <a:pt x="28" y="287"/>
                          <a:pt x="30" y="285"/>
                        </a:cubicBezTo>
                        <a:cubicBezTo>
                          <a:pt x="32" y="284"/>
                          <a:pt x="32" y="283"/>
                          <a:pt x="32" y="281"/>
                        </a:cubicBezTo>
                        <a:cubicBezTo>
                          <a:pt x="31" y="280"/>
                          <a:pt x="30" y="278"/>
                          <a:pt x="30" y="278"/>
                        </a:cubicBezTo>
                        <a:cubicBezTo>
                          <a:pt x="30" y="278"/>
                          <a:pt x="32" y="276"/>
                          <a:pt x="31" y="273"/>
                        </a:cubicBezTo>
                        <a:cubicBezTo>
                          <a:pt x="30" y="270"/>
                          <a:pt x="28" y="268"/>
                          <a:pt x="26" y="264"/>
                        </a:cubicBezTo>
                        <a:cubicBezTo>
                          <a:pt x="24" y="261"/>
                          <a:pt x="23" y="255"/>
                          <a:pt x="24" y="250"/>
                        </a:cubicBezTo>
                        <a:cubicBezTo>
                          <a:pt x="24" y="244"/>
                          <a:pt x="26" y="241"/>
                          <a:pt x="26" y="241"/>
                        </a:cubicBezTo>
                        <a:cubicBezTo>
                          <a:pt x="26" y="241"/>
                          <a:pt x="26" y="247"/>
                          <a:pt x="27" y="254"/>
                        </a:cubicBezTo>
                        <a:cubicBezTo>
                          <a:pt x="28" y="261"/>
                          <a:pt x="29" y="264"/>
                          <a:pt x="33" y="264"/>
                        </a:cubicBezTo>
                        <a:cubicBezTo>
                          <a:pt x="36" y="264"/>
                          <a:pt x="38" y="259"/>
                          <a:pt x="39" y="253"/>
                        </a:cubicBezTo>
                        <a:cubicBezTo>
                          <a:pt x="39" y="247"/>
                          <a:pt x="39" y="244"/>
                          <a:pt x="40" y="241"/>
                        </a:cubicBezTo>
                        <a:cubicBezTo>
                          <a:pt x="40" y="238"/>
                          <a:pt x="40" y="235"/>
                          <a:pt x="41" y="234"/>
                        </a:cubicBezTo>
                        <a:cubicBezTo>
                          <a:pt x="42" y="233"/>
                          <a:pt x="45" y="227"/>
                          <a:pt x="46" y="221"/>
                        </a:cubicBezTo>
                        <a:cubicBezTo>
                          <a:pt x="46" y="216"/>
                          <a:pt x="45" y="208"/>
                          <a:pt x="45" y="203"/>
                        </a:cubicBezTo>
                        <a:cubicBezTo>
                          <a:pt x="45" y="198"/>
                          <a:pt x="50" y="183"/>
                          <a:pt x="54" y="175"/>
                        </a:cubicBezTo>
                        <a:cubicBezTo>
                          <a:pt x="59" y="167"/>
                          <a:pt x="75" y="139"/>
                          <a:pt x="81" y="118"/>
                        </a:cubicBezTo>
                        <a:cubicBezTo>
                          <a:pt x="87" y="98"/>
                          <a:pt x="92" y="75"/>
                          <a:pt x="93" y="62"/>
                        </a:cubicBezTo>
                        <a:cubicBezTo>
                          <a:pt x="94" y="50"/>
                          <a:pt x="95" y="45"/>
                          <a:pt x="97" y="38"/>
                        </a:cubicBezTo>
                        <a:cubicBezTo>
                          <a:pt x="99" y="30"/>
                          <a:pt x="101" y="21"/>
                          <a:pt x="101" y="21"/>
                        </a:cubicBezTo>
                        <a:cubicBezTo>
                          <a:pt x="101" y="21"/>
                          <a:pt x="97" y="15"/>
                          <a:pt x="79" y="9"/>
                        </a:cubicBezTo>
                        <a:cubicBezTo>
                          <a:pt x="61" y="3"/>
                          <a:pt x="41" y="0"/>
                          <a:pt x="41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5" name="Freeform 154"/>
                  <p:cNvSpPr>
                    <a:spLocks/>
                  </p:cNvSpPr>
                  <p:nvPr/>
                </p:nvSpPr>
                <p:spPr bwMode="auto">
                  <a:xfrm>
                    <a:off x="3900488" y="4143375"/>
                    <a:ext cx="34925" cy="182563"/>
                  </a:xfrm>
                  <a:custGeom>
                    <a:avLst/>
                    <a:gdLst>
                      <a:gd name="T0" fmla="*/ 89 w 89"/>
                      <a:gd name="T1" fmla="*/ 0 h 465"/>
                      <a:gd name="T2" fmla="*/ 80 w 89"/>
                      <a:gd name="T3" fmla="*/ 55 h 465"/>
                      <a:gd name="T4" fmla="*/ 64 w 89"/>
                      <a:gd name="T5" fmla="*/ 153 h 465"/>
                      <a:gd name="T6" fmla="*/ 54 w 89"/>
                      <a:gd name="T7" fmla="*/ 208 h 465"/>
                      <a:gd name="T8" fmla="*/ 45 w 89"/>
                      <a:gd name="T9" fmla="*/ 269 h 465"/>
                      <a:gd name="T10" fmla="*/ 33 w 89"/>
                      <a:gd name="T11" fmla="*/ 344 h 465"/>
                      <a:gd name="T12" fmla="*/ 23 w 89"/>
                      <a:gd name="T13" fmla="*/ 402 h 465"/>
                      <a:gd name="T14" fmla="*/ 16 w 89"/>
                      <a:gd name="T15" fmla="*/ 443 h 465"/>
                      <a:gd name="T16" fmla="*/ 11 w 89"/>
                      <a:gd name="T17" fmla="*/ 465 h 465"/>
                      <a:gd name="T18" fmla="*/ 0 w 89"/>
                      <a:gd name="T19" fmla="*/ 462 h 465"/>
                      <a:gd name="T20" fmla="*/ 6 w 89"/>
                      <a:gd name="T21" fmla="*/ 423 h 465"/>
                      <a:gd name="T22" fmla="*/ 11 w 89"/>
                      <a:gd name="T23" fmla="*/ 392 h 465"/>
                      <a:gd name="T24" fmla="*/ 21 w 89"/>
                      <a:gd name="T25" fmla="*/ 329 h 465"/>
                      <a:gd name="T26" fmla="*/ 37 w 89"/>
                      <a:gd name="T27" fmla="*/ 234 h 465"/>
                      <a:gd name="T28" fmla="*/ 50 w 89"/>
                      <a:gd name="T29" fmla="*/ 140 h 465"/>
                      <a:gd name="T30" fmla="*/ 61 w 89"/>
                      <a:gd name="T31" fmla="*/ 80 h 465"/>
                      <a:gd name="T32" fmla="*/ 69 w 89"/>
                      <a:gd name="T33" fmla="*/ 25 h 465"/>
                      <a:gd name="T34" fmla="*/ 74 w 89"/>
                      <a:gd name="T35" fmla="*/ 0 h 465"/>
                      <a:gd name="T36" fmla="*/ 89 w 89"/>
                      <a:gd name="T37" fmla="*/ 0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89" h="465">
                        <a:moveTo>
                          <a:pt x="89" y="0"/>
                        </a:moveTo>
                        <a:cubicBezTo>
                          <a:pt x="89" y="0"/>
                          <a:pt x="84" y="41"/>
                          <a:pt x="80" y="55"/>
                        </a:cubicBezTo>
                        <a:cubicBezTo>
                          <a:pt x="76" y="70"/>
                          <a:pt x="66" y="141"/>
                          <a:pt x="64" y="153"/>
                        </a:cubicBezTo>
                        <a:cubicBezTo>
                          <a:pt x="62" y="165"/>
                          <a:pt x="56" y="196"/>
                          <a:pt x="54" y="208"/>
                        </a:cubicBezTo>
                        <a:cubicBezTo>
                          <a:pt x="52" y="220"/>
                          <a:pt x="47" y="256"/>
                          <a:pt x="45" y="269"/>
                        </a:cubicBezTo>
                        <a:cubicBezTo>
                          <a:pt x="42" y="281"/>
                          <a:pt x="36" y="331"/>
                          <a:pt x="33" y="344"/>
                        </a:cubicBezTo>
                        <a:cubicBezTo>
                          <a:pt x="30" y="358"/>
                          <a:pt x="26" y="390"/>
                          <a:pt x="23" y="402"/>
                        </a:cubicBezTo>
                        <a:cubicBezTo>
                          <a:pt x="20" y="414"/>
                          <a:pt x="18" y="431"/>
                          <a:pt x="16" y="443"/>
                        </a:cubicBezTo>
                        <a:cubicBezTo>
                          <a:pt x="14" y="453"/>
                          <a:pt x="11" y="465"/>
                          <a:pt x="11" y="465"/>
                        </a:cubicBezTo>
                        <a:cubicBezTo>
                          <a:pt x="0" y="462"/>
                          <a:pt x="0" y="462"/>
                          <a:pt x="0" y="462"/>
                        </a:cubicBezTo>
                        <a:cubicBezTo>
                          <a:pt x="0" y="462"/>
                          <a:pt x="3" y="436"/>
                          <a:pt x="6" y="423"/>
                        </a:cubicBezTo>
                        <a:cubicBezTo>
                          <a:pt x="8" y="413"/>
                          <a:pt x="10" y="404"/>
                          <a:pt x="11" y="392"/>
                        </a:cubicBezTo>
                        <a:cubicBezTo>
                          <a:pt x="12" y="380"/>
                          <a:pt x="18" y="353"/>
                          <a:pt x="21" y="329"/>
                        </a:cubicBezTo>
                        <a:cubicBezTo>
                          <a:pt x="24" y="306"/>
                          <a:pt x="35" y="247"/>
                          <a:pt x="37" y="234"/>
                        </a:cubicBezTo>
                        <a:cubicBezTo>
                          <a:pt x="39" y="221"/>
                          <a:pt x="47" y="151"/>
                          <a:pt x="50" y="140"/>
                        </a:cubicBezTo>
                        <a:cubicBezTo>
                          <a:pt x="54" y="129"/>
                          <a:pt x="61" y="88"/>
                          <a:pt x="61" y="80"/>
                        </a:cubicBezTo>
                        <a:cubicBezTo>
                          <a:pt x="61" y="71"/>
                          <a:pt x="69" y="25"/>
                          <a:pt x="69" y="25"/>
                        </a:cubicBezTo>
                        <a:cubicBezTo>
                          <a:pt x="74" y="0"/>
                          <a:pt x="74" y="0"/>
                          <a:pt x="74" y="0"/>
                        </a:cubicBezTo>
                        <a:lnTo>
                          <a:pt x="89" y="0"/>
                        </a:lnTo>
                        <a:close/>
                      </a:path>
                    </a:pathLst>
                  </a:custGeom>
                  <a:solidFill>
                    <a:srgbClr val="5F606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6" name="Freeform 155"/>
                  <p:cNvSpPr>
                    <a:spLocks/>
                  </p:cNvSpPr>
                  <p:nvPr/>
                </p:nvSpPr>
                <p:spPr bwMode="auto">
                  <a:xfrm>
                    <a:off x="4032250" y="3951288"/>
                    <a:ext cx="139700" cy="390525"/>
                  </a:xfrm>
                  <a:custGeom>
                    <a:avLst/>
                    <a:gdLst>
                      <a:gd name="T0" fmla="*/ 225 w 351"/>
                      <a:gd name="T1" fmla="*/ 102 h 987"/>
                      <a:gd name="T2" fmla="*/ 226 w 351"/>
                      <a:gd name="T3" fmla="*/ 63 h 987"/>
                      <a:gd name="T4" fmla="*/ 188 w 351"/>
                      <a:gd name="T5" fmla="*/ 4 h 987"/>
                      <a:gd name="T6" fmla="*/ 118 w 351"/>
                      <a:gd name="T7" fmla="*/ 27 h 987"/>
                      <a:gd name="T8" fmla="*/ 106 w 351"/>
                      <a:gd name="T9" fmla="*/ 63 h 987"/>
                      <a:gd name="T10" fmla="*/ 109 w 351"/>
                      <a:gd name="T11" fmla="*/ 94 h 987"/>
                      <a:gd name="T12" fmla="*/ 111 w 351"/>
                      <a:gd name="T13" fmla="*/ 116 h 987"/>
                      <a:gd name="T14" fmla="*/ 121 w 351"/>
                      <a:gd name="T15" fmla="*/ 125 h 987"/>
                      <a:gd name="T16" fmla="*/ 125 w 351"/>
                      <a:gd name="T17" fmla="*/ 129 h 987"/>
                      <a:gd name="T18" fmla="*/ 137 w 351"/>
                      <a:gd name="T19" fmla="*/ 145 h 987"/>
                      <a:gd name="T20" fmla="*/ 146 w 351"/>
                      <a:gd name="T21" fmla="*/ 160 h 987"/>
                      <a:gd name="T22" fmla="*/ 153 w 351"/>
                      <a:gd name="T23" fmla="*/ 165 h 987"/>
                      <a:gd name="T24" fmla="*/ 118 w 351"/>
                      <a:gd name="T25" fmla="*/ 215 h 987"/>
                      <a:gd name="T26" fmla="*/ 111 w 351"/>
                      <a:gd name="T27" fmla="*/ 302 h 987"/>
                      <a:gd name="T28" fmla="*/ 102 w 351"/>
                      <a:gd name="T29" fmla="*/ 326 h 987"/>
                      <a:gd name="T30" fmla="*/ 75 w 351"/>
                      <a:gd name="T31" fmla="*/ 382 h 987"/>
                      <a:gd name="T32" fmla="*/ 79 w 351"/>
                      <a:gd name="T33" fmla="*/ 470 h 987"/>
                      <a:gd name="T34" fmla="*/ 62 w 351"/>
                      <a:gd name="T35" fmla="*/ 570 h 987"/>
                      <a:gd name="T36" fmla="*/ 55 w 351"/>
                      <a:gd name="T37" fmla="*/ 617 h 987"/>
                      <a:gd name="T38" fmla="*/ 53 w 351"/>
                      <a:gd name="T39" fmla="*/ 700 h 987"/>
                      <a:gd name="T40" fmla="*/ 51 w 351"/>
                      <a:gd name="T41" fmla="*/ 862 h 987"/>
                      <a:gd name="T42" fmla="*/ 56 w 351"/>
                      <a:gd name="T43" fmla="*/ 921 h 987"/>
                      <a:gd name="T44" fmla="*/ 43 w 351"/>
                      <a:gd name="T45" fmla="*/ 936 h 987"/>
                      <a:gd name="T46" fmla="*/ 5 w 351"/>
                      <a:gd name="T47" fmla="*/ 943 h 987"/>
                      <a:gd name="T48" fmla="*/ 2 w 351"/>
                      <a:gd name="T49" fmla="*/ 962 h 987"/>
                      <a:gd name="T50" fmla="*/ 72 w 351"/>
                      <a:gd name="T51" fmla="*/ 971 h 987"/>
                      <a:gd name="T52" fmla="*/ 128 w 351"/>
                      <a:gd name="T53" fmla="*/ 978 h 987"/>
                      <a:gd name="T54" fmla="*/ 135 w 351"/>
                      <a:gd name="T55" fmla="*/ 965 h 987"/>
                      <a:gd name="T56" fmla="*/ 132 w 351"/>
                      <a:gd name="T57" fmla="*/ 867 h 987"/>
                      <a:gd name="T58" fmla="*/ 144 w 351"/>
                      <a:gd name="T59" fmla="*/ 761 h 987"/>
                      <a:gd name="T60" fmla="*/ 148 w 351"/>
                      <a:gd name="T61" fmla="*/ 674 h 987"/>
                      <a:gd name="T62" fmla="*/ 176 w 351"/>
                      <a:gd name="T63" fmla="*/ 659 h 987"/>
                      <a:gd name="T64" fmla="*/ 208 w 351"/>
                      <a:gd name="T65" fmla="*/ 814 h 987"/>
                      <a:gd name="T66" fmla="*/ 217 w 351"/>
                      <a:gd name="T67" fmla="*/ 903 h 987"/>
                      <a:gd name="T68" fmla="*/ 220 w 351"/>
                      <a:gd name="T69" fmla="*/ 952 h 987"/>
                      <a:gd name="T70" fmla="*/ 215 w 351"/>
                      <a:gd name="T71" fmla="*/ 969 h 987"/>
                      <a:gd name="T72" fmla="*/ 256 w 351"/>
                      <a:gd name="T73" fmla="*/ 984 h 987"/>
                      <a:gd name="T74" fmla="*/ 299 w 351"/>
                      <a:gd name="T75" fmla="*/ 971 h 987"/>
                      <a:gd name="T76" fmla="*/ 303 w 351"/>
                      <a:gd name="T77" fmla="*/ 914 h 987"/>
                      <a:gd name="T78" fmla="*/ 305 w 351"/>
                      <a:gd name="T79" fmla="*/ 781 h 987"/>
                      <a:gd name="T80" fmla="*/ 285 w 351"/>
                      <a:gd name="T81" fmla="*/ 643 h 987"/>
                      <a:gd name="T82" fmla="*/ 287 w 351"/>
                      <a:gd name="T83" fmla="*/ 600 h 987"/>
                      <a:gd name="T84" fmla="*/ 299 w 351"/>
                      <a:gd name="T85" fmla="*/ 561 h 987"/>
                      <a:gd name="T86" fmla="*/ 350 w 351"/>
                      <a:gd name="T87" fmla="*/ 551 h 987"/>
                      <a:gd name="T88" fmla="*/ 336 w 351"/>
                      <a:gd name="T89" fmla="*/ 398 h 987"/>
                      <a:gd name="T90" fmla="*/ 345 w 351"/>
                      <a:gd name="T91" fmla="*/ 242 h 987"/>
                      <a:gd name="T92" fmla="*/ 308 w 351"/>
                      <a:gd name="T93" fmla="*/ 158 h 987"/>
                      <a:gd name="T94" fmla="*/ 247 w 351"/>
                      <a:gd name="T95" fmla="*/ 133 h 987"/>
                      <a:gd name="T96" fmla="*/ 238 w 351"/>
                      <a:gd name="T97" fmla="*/ 119 h 9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351" h="987">
                        <a:moveTo>
                          <a:pt x="230" y="115"/>
                        </a:moveTo>
                        <a:cubicBezTo>
                          <a:pt x="230" y="115"/>
                          <a:pt x="226" y="108"/>
                          <a:pt x="225" y="102"/>
                        </a:cubicBezTo>
                        <a:cubicBezTo>
                          <a:pt x="224" y="96"/>
                          <a:pt x="223" y="87"/>
                          <a:pt x="223" y="85"/>
                        </a:cubicBezTo>
                        <a:cubicBezTo>
                          <a:pt x="223" y="83"/>
                          <a:pt x="227" y="73"/>
                          <a:pt x="226" y="63"/>
                        </a:cubicBezTo>
                        <a:cubicBezTo>
                          <a:pt x="224" y="53"/>
                          <a:pt x="224" y="35"/>
                          <a:pt x="216" y="28"/>
                        </a:cubicBezTo>
                        <a:cubicBezTo>
                          <a:pt x="207" y="21"/>
                          <a:pt x="199" y="8"/>
                          <a:pt x="188" y="4"/>
                        </a:cubicBezTo>
                        <a:cubicBezTo>
                          <a:pt x="178" y="0"/>
                          <a:pt x="161" y="2"/>
                          <a:pt x="152" y="4"/>
                        </a:cubicBezTo>
                        <a:cubicBezTo>
                          <a:pt x="143" y="7"/>
                          <a:pt x="124" y="17"/>
                          <a:pt x="118" y="27"/>
                        </a:cubicBezTo>
                        <a:cubicBezTo>
                          <a:pt x="112" y="38"/>
                          <a:pt x="102" y="48"/>
                          <a:pt x="103" y="55"/>
                        </a:cubicBezTo>
                        <a:cubicBezTo>
                          <a:pt x="105" y="62"/>
                          <a:pt x="106" y="63"/>
                          <a:pt x="106" y="63"/>
                        </a:cubicBezTo>
                        <a:cubicBezTo>
                          <a:pt x="106" y="63"/>
                          <a:pt x="106" y="76"/>
                          <a:pt x="105" y="80"/>
                        </a:cubicBezTo>
                        <a:cubicBezTo>
                          <a:pt x="105" y="84"/>
                          <a:pt x="107" y="93"/>
                          <a:pt x="109" y="94"/>
                        </a:cubicBezTo>
                        <a:cubicBezTo>
                          <a:pt x="111" y="95"/>
                          <a:pt x="113" y="97"/>
                          <a:pt x="114" y="100"/>
                        </a:cubicBezTo>
                        <a:cubicBezTo>
                          <a:pt x="114" y="102"/>
                          <a:pt x="111" y="111"/>
                          <a:pt x="111" y="116"/>
                        </a:cubicBezTo>
                        <a:cubicBezTo>
                          <a:pt x="111" y="120"/>
                          <a:pt x="112" y="126"/>
                          <a:pt x="114" y="126"/>
                        </a:cubicBezTo>
                        <a:cubicBezTo>
                          <a:pt x="116" y="127"/>
                          <a:pt x="118" y="127"/>
                          <a:pt x="121" y="125"/>
                        </a:cubicBezTo>
                        <a:cubicBezTo>
                          <a:pt x="123" y="124"/>
                          <a:pt x="124" y="122"/>
                          <a:pt x="124" y="123"/>
                        </a:cubicBezTo>
                        <a:cubicBezTo>
                          <a:pt x="124" y="124"/>
                          <a:pt x="125" y="127"/>
                          <a:pt x="125" y="129"/>
                        </a:cubicBezTo>
                        <a:cubicBezTo>
                          <a:pt x="125" y="131"/>
                          <a:pt x="127" y="134"/>
                          <a:pt x="129" y="135"/>
                        </a:cubicBezTo>
                        <a:cubicBezTo>
                          <a:pt x="132" y="135"/>
                          <a:pt x="134" y="141"/>
                          <a:pt x="137" y="145"/>
                        </a:cubicBezTo>
                        <a:cubicBezTo>
                          <a:pt x="139" y="149"/>
                          <a:pt x="135" y="155"/>
                          <a:pt x="139" y="158"/>
                        </a:cubicBezTo>
                        <a:cubicBezTo>
                          <a:pt x="143" y="160"/>
                          <a:pt x="146" y="160"/>
                          <a:pt x="146" y="160"/>
                        </a:cubicBezTo>
                        <a:cubicBezTo>
                          <a:pt x="146" y="160"/>
                          <a:pt x="149" y="164"/>
                          <a:pt x="151" y="165"/>
                        </a:cubicBezTo>
                        <a:cubicBezTo>
                          <a:pt x="153" y="165"/>
                          <a:pt x="153" y="165"/>
                          <a:pt x="153" y="165"/>
                        </a:cubicBezTo>
                        <a:cubicBezTo>
                          <a:pt x="153" y="165"/>
                          <a:pt x="137" y="175"/>
                          <a:pt x="131" y="181"/>
                        </a:cubicBezTo>
                        <a:cubicBezTo>
                          <a:pt x="124" y="188"/>
                          <a:pt x="119" y="200"/>
                          <a:pt x="118" y="215"/>
                        </a:cubicBezTo>
                        <a:cubicBezTo>
                          <a:pt x="118" y="230"/>
                          <a:pt x="120" y="259"/>
                          <a:pt x="118" y="269"/>
                        </a:cubicBezTo>
                        <a:cubicBezTo>
                          <a:pt x="116" y="278"/>
                          <a:pt x="111" y="292"/>
                          <a:pt x="111" y="302"/>
                        </a:cubicBezTo>
                        <a:cubicBezTo>
                          <a:pt x="111" y="311"/>
                          <a:pt x="111" y="317"/>
                          <a:pt x="110" y="318"/>
                        </a:cubicBezTo>
                        <a:cubicBezTo>
                          <a:pt x="110" y="318"/>
                          <a:pt x="106" y="322"/>
                          <a:pt x="102" y="326"/>
                        </a:cubicBezTo>
                        <a:cubicBezTo>
                          <a:pt x="99" y="330"/>
                          <a:pt x="91" y="335"/>
                          <a:pt x="82" y="338"/>
                        </a:cubicBezTo>
                        <a:cubicBezTo>
                          <a:pt x="73" y="340"/>
                          <a:pt x="76" y="378"/>
                          <a:pt x="75" y="382"/>
                        </a:cubicBezTo>
                        <a:cubicBezTo>
                          <a:pt x="75" y="387"/>
                          <a:pt x="88" y="405"/>
                          <a:pt x="88" y="405"/>
                        </a:cubicBezTo>
                        <a:cubicBezTo>
                          <a:pt x="88" y="405"/>
                          <a:pt x="82" y="453"/>
                          <a:pt x="79" y="470"/>
                        </a:cubicBezTo>
                        <a:cubicBezTo>
                          <a:pt x="75" y="488"/>
                          <a:pt x="69" y="533"/>
                          <a:pt x="66" y="543"/>
                        </a:cubicBezTo>
                        <a:cubicBezTo>
                          <a:pt x="63" y="553"/>
                          <a:pt x="61" y="569"/>
                          <a:pt x="62" y="570"/>
                        </a:cubicBezTo>
                        <a:cubicBezTo>
                          <a:pt x="62" y="571"/>
                          <a:pt x="64" y="572"/>
                          <a:pt x="64" y="572"/>
                        </a:cubicBezTo>
                        <a:cubicBezTo>
                          <a:pt x="64" y="572"/>
                          <a:pt x="56" y="606"/>
                          <a:pt x="55" y="617"/>
                        </a:cubicBezTo>
                        <a:cubicBezTo>
                          <a:pt x="54" y="627"/>
                          <a:pt x="58" y="628"/>
                          <a:pt x="55" y="639"/>
                        </a:cubicBezTo>
                        <a:cubicBezTo>
                          <a:pt x="51" y="650"/>
                          <a:pt x="53" y="685"/>
                          <a:pt x="53" y="700"/>
                        </a:cubicBezTo>
                        <a:cubicBezTo>
                          <a:pt x="52" y="715"/>
                          <a:pt x="53" y="763"/>
                          <a:pt x="52" y="780"/>
                        </a:cubicBezTo>
                        <a:cubicBezTo>
                          <a:pt x="51" y="797"/>
                          <a:pt x="54" y="850"/>
                          <a:pt x="51" y="862"/>
                        </a:cubicBezTo>
                        <a:cubicBezTo>
                          <a:pt x="49" y="873"/>
                          <a:pt x="47" y="904"/>
                          <a:pt x="49" y="908"/>
                        </a:cubicBezTo>
                        <a:cubicBezTo>
                          <a:pt x="52" y="912"/>
                          <a:pt x="58" y="917"/>
                          <a:pt x="56" y="921"/>
                        </a:cubicBezTo>
                        <a:cubicBezTo>
                          <a:pt x="54" y="924"/>
                          <a:pt x="46" y="928"/>
                          <a:pt x="44" y="930"/>
                        </a:cubicBezTo>
                        <a:cubicBezTo>
                          <a:pt x="43" y="932"/>
                          <a:pt x="44" y="935"/>
                          <a:pt x="43" y="936"/>
                        </a:cubicBezTo>
                        <a:cubicBezTo>
                          <a:pt x="42" y="936"/>
                          <a:pt x="35" y="940"/>
                          <a:pt x="28" y="941"/>
                        </a:cubicBezTo>
                        <a:cubicBezTo>
                          <a:pt x="21" y="942"/>
                          <a:pt x="8" y="939"/>
                          <a:pt x="5" y="943"/>
                        </a:cubicBezTo>
                        <a:cubicBezTo>
                          <a:pt x="2" y="947"/>
                          <a:pt x="1" y="957"/>
                          <a:pt x="1" y="957"/>
                        </a:cubicBezTo>
                        <a:cubicBezTo>
                          <a:pt x="1" y="957"/>
                          <a:pt x="0" y="961"/>
                          <a:pt x="2" y="962"/>
                        </a:cubicBezTo>
                        <a:cubicBezTo>
                          <a:pt x="4" y="963"/>
                          <a:pt x="28" y="971"/>
                          <a:pt x="41" y="970"/>
                        </a:cubicBezTo>
                        <a:cubicBezTo>
                          <a:pt x="55" y="970"/>
                          <a:pt x="68" y="970"/>
                          <a:pt x="72" y="971"/>
                        </a:cubicBezTo>
                        <a:cubicBezTo>
                          <a:pt x="76" y="971"/>
                          <a:pt x="80" y="977"/>
                          <a:pt x="86" y="977"/>
                        </a:cubicBezTo>
                        <a:cubicBezTo>
                          <a:pt x="92" y="977"/>
                          <a:pt x="126" y="980"/>
                          <a:pt x="128" y="978"/>
                        </a:cubicBezTo>
                        <a:cubicBezTo>
                          <a:pt x="131" y="976"/>
                          <a:pt x="131" y="969"/>
                          <a:pt x="131" y="969"/>
                        </a:cubicBezTo>
                        <a:cubicBezTo>
                          <a:pt x="131" y="969"/>
                          <a:pt x="135" y="967"/>
                          <a:pt x="135" y="965"/>
                        </a:cubicBezTo>
                        <a:cubicBezTo>
                          <a:pt x="135" y="962"/>
                          <a:pt x="137" y="948"/>
                          <a:pt x="137" y="938"/>
                        </a:cubicBezTo>
                        <a:cubicBezTo>
                          <a:pt x="137" y="929"/>
                          <a:pt x="133" y="882"/>
                          <a:pt x="132" y="867"/>
                        </a:cubicBezTo>
                        <a:cubicBezTo>
                          <a:pt x="132" y="852"/>
                          <a:pt x="130" y="843"/>
                          <a:pt x="131" y="834"/>
                        </a:cubicBezTo>
                        <a:cubicBezTo>
                          <a:pt x="132" y="824"/>
                          <a:pt x="145" y="775"/>
                          <a:pt x="144" y="761"/>
                        </a:cubicBezTo>
                        <a:cubicBezTo>
                          <a:pt x="143" y="747"/>
                          <a:pt x="136" y="733"/>
                          <a:pt x="136" y="720"/>
                        </a:cubicBezTo>
                        <a:cubicBezTo>
                          <a:pt x="136" y="708"/>
                          <a:pt x="145" y="681"/>
                          <a:pt x="148" y="674"/>
                        </a:cubicBezTo>
                        <a:cubicBezTo>
                          <a:pt x="151" y="667"/>
                          <a:pt x="164" y="630"/>
                          <a:pt x="164" y="630"/>
                        </a:cubicBezTo>
                        <a:cubicBezTo>
                          <a:pt x="164" y="630"/>
                          <a:pt x="173" y="653"/>
                          <a:pt x="176" y="659"/>
                        </a:cubicBezTo>
                        <a:cubicBezTo>
                          <a:pt x="179" y="665"/>
                          <a:pt x="186" y="694"/>
                          <a:pt x="188" y="708"/>
                        </a:cubicBezTo>
                        <a:cubicBezTo>
                          <a:pt x="190" y="722"/>
                          <a:pt x="203" y="790"/>
                          <a:pt x="208" y="814"/>
                        </a:cubicBezTo>
                        <a:cubicBezTo>
                          <a:pt x="213" y="838"/>
                          <a:pt x="227" y="869"/>
                          <a:pt x="223" y="878"/>
                        </a:cubicBezTo>
                        <a:cubicBezTo>
                          <a:pt x="220" y="886"/>
                          <a:pt x="218" y="895"/>
                          <a:pt x="217" y="903"/>
                        </a:cubicBezTo>
                        <a:cubicBezTo>
                          <a:pt x="215" y="911"/>
                          <a:pt x="212" y="929"/>
                          <a:pt x="214" y="935"/>
                        </a:cubicBezTo>
                        <a:cubicBezTo>
                          <a:pt x="216" y="940"/>
                          <a:pt x="221" y="951"/>
                          <a:pt x="220" y="952"/>
                        </a:cubicBezTo>
                        <a:cubicBezTo>
                          <a:pt x="219" y="953"/>
                          <a:pt x="213" y="957"/>
                          <a:pt x="212" y="960"/>
                        </a:cubicBezTo>
                        <a:cubicBezTo>
                          <a:pt x="212" y="963"/>
                          <a:pt x="215" y="969"/>
                          <a:pt x="215" y="969"/>
                        </a:cubicBezTo>
                        <a:cubicBezTo>
                          <a:pt x="215" y="969"/>
                          <a:pt x="212" y="976"/>
                          <a:pt x="215" y="980"/>
                        </a:cubicBezTo>
                        <a:cubicBezTo>
                          <a:pt x="217" y="983"/>
                          <a:pt x="243" y="984"/>
                          <a:pt x="256" y="984"/>
                        </a:cubicBezTo>
                        <a:cubicBezTo>
                          <a:pt x="269" y="985"/>
                          <a:pt x="293" y="987"/>
                          <a:pt x="297" y="984"/>
                        </a:cubicBezTo>
                        <a:cubicBezTo>
                          <a:pt x="301" y="982"/>
                          <a:pt x="298" y="972"/>
                          <a:pt x="299" y="971"/>
                        </a:cubicBezTo>
                        <a:cubicBezTo>
                          <a:pt x="299" y="970"/>
                          <a:pt x="309" y="957"/>
                          <a:pt x="309" y="950"/>
                        </a:cubicBezTo>
                        <a:cubicBezTo>
                          <a:pt x="309" y="942"/>
                          <a:pt x="303" y="925"/>
                          <a:pt x="303" y="914"/>
                        </a:cubicBezTo>
                        <a:cubicBezTo>
                          <a:pt x="303" y="903"/>
                          <a:pt x="303" y="876"/>
                          <a:pt x="302" y="866"/>
                        </a:cubicBezTo>
                        <a:cubicBezTo>
                          <a:pt x="301" y="855"/>
                          <a:pt x="308" y="798"/>
                          <a:pt x="305" y="781"/>
                        </a:cubicBezTo>
                        <a:cubicBezTo>
                          <a:pt x="302" y="764"/>
                          <a:pt x="301" y="706"/>
                          <a:pt x="297" y="689"/>
                        </a:cubicBezTo>
                        <a:cubicBezTo>
                          <a:pt x="294" y="672"/>
                          <a:pt x="286" y="645"/>
                          <a:pt x="285" y="643"/>
                        </a:cubicBezTo>
                        <a:cubicBezTo>
                          <a:pt x="285" y="641"/>
                          <a:pt x="287" y="621"/>
                          <a:pt x="288" y="615"/>
                        </a:cubicBezTo>
                        <a:cubicBezTo>
                          <a:pt x="288" y="609"/>
                          <a:pt x="285" y="606"/>
                          <a:pt x="287" y="600"/>
                        </a:cubicBezTo>
                        <a:cubicBezTo>
                          <a:pt x="289" y="594"/>
                          <a:pt x="293" y="588"/>
                          <a:pt x="292" y="582"/>
                        </a:cubicBezTo>
                        <a:cubicBezTo>
                          <a:pt x="291" y="577"/>
                          <a:pt x="298" y="565"/>
                          <a:pt x="299" y="561"/>
                        </a:cubicBezTo>
                        <a:cubicBezTo>
                          <a:pt x="299" y="557"/>
                          <a:pt x="299" y="557"/>
                          <a:pt x="299" y="557"/>
                        </a:cubicBezTo>
                        <a:cubicBezTo>
                          <a:pt x="299" y="557"/>
                          <a:pt x="349" y="554"/>
                          <a:pt x="350" y="551"/>
                        </a:cubicBezTo>
                        <a:cubicBezTo>
                          <a:pt x="350" y="549"/>
                          <a:pt x="345" y="470"/>
                          <a:pt x="342" y="451"/>
                        </a:cubicBezTo>
                        <a:cubicBezTo>
                          <a:pt x="339" y="431"/>
                          <a:pt x="336" y="398"/>
                          <a:pt x="336" y="398"/>
                        </a:cubicBezTo>
                        <a:cubicBezTo>
                          <a:pt x="336" y="398"/>
                          <a:pt x="348" y="371"/>
                          <a:pt x="349" y="346"/>
                        </a:cubicBezTo>
                        <a:cubicBezTo>
                          <a:pt x="349" y="321"/>
                          <a:pt x="351" y="264"/>
                          <a:pt x="345" y="242"/>
                        </a:cubicBezTo>
                        <a:cubicBezTo>
                          <a:pt x="340" y="220"/>
                          <a:pt x="341" y="207"/>
                          <a:pt x="338" y="191"/>
                        </a:cubicBezTo>
                        <a:cubicBezTo>
                          <a:pt x="334" y="176"/>
                          <a:pt x="323" y="164"/>
                          <a:pt x="308" y="158"/>
                        </a:cubicBezTo>
                        <a:cubicBezTo>
                          <a:pt x="294" y="152"/>
                          <a:pt x="267" y="143"/>
                          <a:pt x="260" y="140"/>
                        </a:cubicBezTo>
                        <a:cubicBezTo>
                          <a:pt x="254" y="137"/>
                          <a:pt x="247" y="133"/>
                          <a:pt x="247" y="133"/>
                        </a:cubicBezTo>
                        <a:cubicBezTo>
                          <a:pt x="247" y="133"/>
                          <a:pt x="248" y="130"/>
                          <a:pt x="246" y="128"/>
                        </a:cubicBezTo>
                        <a:cubicBezTo>
                          <a:pt x="244" y="125"/>
                          <a:pt x="240" y="122"/>
                          <a:pt x="238" y="119"/>
                        </a:cubicBezTo>
                        <a:cubicBezTo>
                          <a:pt x="235" y="116"/>
                          <a:pt x="230" y="115"/>
                          <a:pt x="230" y="11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7" name="Freeform 156"/>
                  <p:cNvSpPr>
                    <a:spLocks/>
                  </p:cNvSpPr>
                  <p:nvPr/>
                </p:nvSpPr>
                <p:spPr bwMode="auto">
                  <a:xfrm>
                    <a:off x="3924300" y="4137025"/>
                    <a:ext cx="11113" cy="17463"/>
                  </a:xfrm>
                  <a:custGeom>
                    <a:avLst/>
                    <a:gdLst>
                      <a:gd name="T0" fmla="*/ 27 w 27"/>
                      <a:gd name="T1" fmla="*/ 0 h 47"/>
                      <a:gd name="T2" fmla="*/ 17 w 27"/>
                      <a:gd name="T3" fmla="*/ 0 h 47"/>
                      <a:gd name="T4" fmla="*/ 8 w 27"/>
                      <a:gd name="T5" fmla="*/ 3 h 47"/>
                      <a:gd name="T6" fmla="*/ 1 w 27"/>
                      <a:gd name="T7" fmla="*/ 35 h 47"/>
                      <a:gd name="T8" fmla="*/ 5 w 27"/>
                      <a:gd name="T9" fmla="*/ 45 h 47"/>
                      <a:gd name="T10" fmla="*/ 17 w 27"/>
                      <a:gd name="T11" fmla="*/ 42 h 47"/>
                      <a:gd name="T12" fmla="*/ 23 w 27"/>
                      <a:gd name="T13" fmla="*/ 14 h 47"/>
                      <a:gd name="T14" fmla="*/ 27 w 27"/>
                      <a:gd name="T15" fmla="*/ 0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7" h="47">
                        <a:moveTo>
                          <a:pt x="27" y="0"/>
                        </a:moveTo>
                        <a:cubicBezTo>
                          <a:pt x="27" y="0"/>
                          <a:pt x="20" y="0"/>
                          <a:pt x="17" y="0"/>
                        </a:cubicBezTo>
                        <a:cubicBezTo>
                          <a:pt x="14" y="0"/>
                          <a:pt x="10" y="0"/>
                          <a:pt x="8" y="3"/>
                        </a:cubicBezTo>
                        <a:cubicBezTo>
                          <a:pt x="6" y="7"/>
                          <a:pt x="1" y="30"/>
                          <a:pt x="1" y="35"/>
                        </a:cubicBezTo>
                        <a:cubicBezTo>
                          <a:pt x="0" y="40"/>
                          <a:pt x="2" y="43"/>
                          <a:pt x="5" y="45"/>
                        </a:cubicBezTo>
                        <a:cubicBezTo>
                          <a:pt x="8" y="47"/>
                          <a:pt x="16" y="47"/>
                          <a:pt x="17" y="42"/>
                        </a:cubicBezTo>
                        <a:cubicBezTo>
                          <a:pt x="18" y="38"/>
                          <a:pt x="21" y="20"/>
                          <a:pt x="23" y="14"/>
                        </a:cubicBezTo>
                        <a:cubicBezTo>
                          <a:pt x="25" y="9"/>
                          <a:pt x="27" y="0"/>
                          <a:pt x="27" y="0"/>
                        </a:cubicBezTo>
                        <a:close/>
                      </a:path>
                    </a:pathLst>
                  </a:custGeom>
                  <a:solidFill>
                    <a:srgbClr val="73747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8" name="Freeform 157"/>
                  <p:cNvSpPr>
                    <a:spLocks/>
                  </p:cNvSpPr>
                  <p:nvPr/>
                </p:nvSpPr>
                <p:spPr bwMode="auto">
                  <a:xfrm>
                    <a:off x="3922713" y="4125913"/>
                    <a:ext cx="20638" cy="20638"/>
                  </a:xfrm>
                  <a:custGeom>
                    <a:avLst/>
                    <a:gdLst>
                      <a:gd name="T0" fmla="*/ 28 w 55"/>
                      <a:gd name="T1" fmla="*/ 0 h 53"/>
                      <a:gd name="T2" fmla="*/ 40 w 55"/>
                      <a:gd name="T3" fmla="*/ 13 h 53"/>
                      <a:gd name="T4" fmla="*/ 51 w 55"/>
                      <a:gd name="T5" fmla="*/ 16 h 53"/>
                      <a:gd name="T6" fmla="*/ 54 w 55"/>
                      <a:gd name="T7" fmla="*/ 15 h 53"/>
                      <a:gd name="T8" fmla="*/ 53 w 55"/>
                      <a:gd name="T9" fmla="*/ 27 h 53"/>
                      <a:gd name="T10" fmla="*/ 42 w 55"/>
                      <a:gd name="T11" fmla="*/ 42 h 53"/>
                      <a:gd name="T12" fmla="*/ 30 w 55"/>
                      <a:gd name="T13" fmla="*/ 51 h 53"/>
                      <a:gd name="T14" fmla="*/ 26 w 55"/>
                      <a:gd name="T15" fmla="*/ 53 h 53"/>
                      <a:gd name="T16" fmla="*/ 29 w 55"/>
                      <a:gd name="T17" fmla="*/ 40 h 53"/>
                      <a:gd name="T18" fmla="*/ 29 w 55"/>
                      <a:gd name="T19" fmla="*/ 29 h 53"/>
                      <a:gd name="T20" fmla="*/ 16 w 55"/>
                      <a:gd name="T21" fmla="*/ 26 h 53"/>
                      <a:gd name="T22" fmla="*/ 9 w 55"/>
                      <a:gd name="T23" fmla="*/ 42 h 53"/>
                      <a:gd name="T24" fmla="*/ 5 w 55"/>
                      <a:gd name="T25" fmla="*/ 37 h 53"/>
                      <a:gd name="T26" fmla="*/ 5 w 55"/>
                      <a:gd name="T27" fmla="*/ 29 h 53"/>
                      <a:gd name="T28" fmla="*/ 1 w 55"/>
                      <a:gd name="T29" fmla="*/ 24 h 53"/>
                      <a:gd name="T30" fmla="*/ 3 w 55"/>
                      <a:gd name="T31" fmla="*/ 13 h 53"/>
                      <a:gd name="T32" fmla="*/ 19 w 55"/>
                      <a:gd name="T33" fmla="*/ 6 h 53"/>
                      <a:gd name="T34" fmla="*/ 28 w 55"/>
                      <a:gd name="T35" fmla="*/ 0 h 5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55" h="53">
                        <a:moveTo>
                          <a:pt x="28" y="0"/>
                        </a:moveTo>
                        <a:cubicBezTo>
                          <a:pt x="28" y="0"/>
                          <a:pt x="35" y="10"/>
                          <a:pt x="40" y="13"/>
                        </a:cubicBezTo>
                        <a:cubicBezTo>
                          <a:pt x="44" y="17"/>
                          <a:pt x="47" y="17"/>
                          <a:pt x="51" y="16"/>
                        </a:cubicBezTo>
                        <a:cubicBezTo>
                          <a:pt x="54" y="15"/>
                          <a:pt x="54" y="15"/>
                          <a:pt x="54" y="15"/>
                        </a:cubicBezTo>
                        <a:cubicBezTo>
                          <a:pt x="54" y="15"/>
                          <a:pt x="55" y="24"/>
                          <a:pt x="53" y="27"/>
                        </a:cubicBezTo>
                        <a:cubicBezTo>
                          <a:pt x="51" y="31"/>
                          <a:pt x="46" y="40"/>
                          <a:pt x="42" y="42"/>
                        </a:cubicBezTo>
                        <a:cubicBezTo>
                          <a:pt x="38" y="44"/>
                          <a:pt x="34" y="49"/>
                          <a:pt x="30" y="51"/>
                        </a:cubicBezTo>
                        <a:cubicBezTo>
                          <a:pt x="26" y="53"/>
                          <a:pt x="26" y="53"/>
                          <a:pt x="26" y="53"/>
                        </a:cubicBezTo>
                        <a:cubicBezTo>
                          <a:pt x="29" y="40"/>
                          <a:pt x="29" y="40"/>
                          <a:pt x="29" y="40"/>
                        </a:cubicBezTo>
                        <a:cubicBezTo>
                          <a:pt x="29" y="40"/>
                          <a:pt x="31" y="31"/>
                          <a:pt x="29" y="29"/>
                        </a:cubicBezTo>
                        <a:cubicBezTo>
                          <a:pt x="27" y="26"/>
                          <a:pt x="20" y="24"/>
                          <a:pt x="16" y="26"/>
                        </a:cubicBezTo>
                        <a:cubicBezTo>
                          <a:pt x="13" y="29"/>
                          <a:pt x="9" y="42"/>
                          <a:pt x="9" y="42"/>
                        </a:cubicBezTo>
                        <a:cubicBezTo>
                          <a:pt x="9" y="42"/>
                          <a:pt x="7" y="40"/>
                          <a:pt x="5" y="37"/>
                        </a:cubicBezTo>
                        <a:cubicBezTo>
                          <a:pt x="4" y="33"/>
                          <a:pt x="5" y="29"/>
                          <a:pt x="5" y="29"/>
                        </a:cubicBezTo>
                        <a:cubicBezTo>
                          <a:pt x="5" y="29"/>
                          <a:pt x="2" y="28"/>
                          <a:pt x="1" y="24"/>
                        </a:cubicBezTo>
                        <a:cubicBezTo>
                          <a:pt x="0" y="19"/>
                          <a:pt x="0" y="13"/>
                          <a:pt x="3" y="13"/>
                        </a:cubicBezTo>
                        <a:cubicBezTo>
                          <a:pt x="5" y="12"/>
                          <a:pt x="14" y="7"/>
                          <a:pt x="19" y="6"/>
                        </a:cubicBezTo>
                        <a:cubicBezTo>
                          <a:pt x="23" y="4"/>
                          <a:pt x="28" y="0"/>
                          <a:pt x="28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9" name="Freeform 158"/>
                  <p:cNvSpPr>
                    <a:spLocks/>
                  </p:cNvSpPr>
                  <p:nvPr/>
                </p:nvSpPr>
                <p:spPr bwMode="auto">
                  <a:xfrm>
                    <a:off x="3897313" y="4321175"/>
                    <a:ext cx="9525" cy="12700"/>
                  </a:xfrm>
                  <a:custGeom>
                    <a:avLst/>
                    <a:gdLst>
                      <a:gd name="T0" fmla="*/ 21 w 23"/>
                      <a:gd name="T1" fmla="*/ 6 h 30"/>
                      <a:gd name="T2" fmla="*/ 22 w 23"/>
                      <a:gd name="T3" fmla="*/ 10 h 30"/>
                      <a:gd name="T4" fmla="*/ 20 w 23"/>
                      <a:gd name="T5" fmla="*/ 20 h 30"/>
                      <a:gd name="T6" fmla="*/ 19 w 23"/>
                      <a:gd name="T7" fmla="*/ 29 h 30"/>
                      <a:gd name="T8" fmla="*/ 1 w 23"/>
                      <a:gd name="T9" fmla="*/ 24 h 30"/>
                      <a:gd name="T10" fmla="*/ 2 w 23"/>
                      <a:gd name="T11" fmla="*/ 17 h 30"/>
                      <a:gd name="T12" fmla="*/ 7 w 23"/>
                      <a:gd name="T13" fmla="*/ 3 h 30"/>
                      <a:gd name="T14" fmla="*/ 21 w 23"/>
                      <a:gd name="T15" fmla="*/ 6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" h="30">
                        <a:moveTo>
                          <a:pt x="21" y="6"/>
                        </a:moveTo>
                        <a:cubicBezTo>
                          <a:pt x="22" y="6"/>
                          <a:pt x="23" y="7"/>
                          <a:pt x="22" y="10"/>
                        </a:cubicBezTo>
                        <a:cubicBezTo>
                          <a:pt x="21" y="12"/>
                          <a:pt x="20" y="20"/>
                          <a:pt x="20" y="20"/>
                        </a:cubicBezTo>
                        <a:cubicBezTo>
                          <a:pt x="20" y="20"/>
                          <a:pt x="21" y="28"/>
                          <a:pt x="19" y="29"/>
                        </a:cubicBezTo>
                        <a:cubicBezTo>
                          <a:pt x="16" y="30"/>
                          <a:pt x="2" y="28"/>
                          <a:pt x="1" y="24"/>
                        </a:cubicBezTo>
                        <a:cubicBezTo>
                          <a:pt x="0" y="22"/>
                          <a:pt x="2" y="17"/>
                          <a:pt x="2" y="17"/>
                        </a:cubicBezTo>
                        <a:cubicBezTo>
                          <a:pt x="2" y="17"/>
                          <a:pt x="5" y="8"/>
                          <a:pt x="7" y="3"/>
                        </a:cubicBezTo>
                        <a:cubicBezTo>
                          <a:pt x="9" y="0"/>
                          <a:pt x="19" y="5"/>
                          <a:pt x="21" y="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0" name="Freeform 159"/>
                  <p:cNvSpPr>
                    <a:spLocks noEditPoints="1"/>
                  </p:cNvSpPr>
                  <p:nvPr/>
                </p:nvSpPr>
                <p:spPr bwMode="auto">
                  <a:xfrm>
                    <a:off x="3932238" y="3986213"/>
                    <a:ext cx="150813" cy="360363"/>
                  </a:xfrm>
                  <a:custGeom>
                    <a:avLst/>
                    <a:gdLst>
                      <a:gd name="T0" fmla="*/ 30 w 379"/>
                      <a:gd name="T1" fmla="*/ 371 h 910"/>
                      <a:gd name="T2" fmla="*/ 40 w 379"/>
                      <a:gd name="T3" fmla="*/ 356 h 910"/>
                      <a:gd name="T4" fmla="*/ 69 w 379"/>
                      <a:gd name="T5" fmla="*/ 330 h 910"/>
                      <a:gd name="T6" fmla="*/ 76 w 379"/>
                      <a:gd name="T7" fmla="*/ 304 h 910"/>
                      <a:gd name="T8" fmla="*/ 100 w 379"/>
                      <a:gd name="T9" fmla="*/ 263 h 910"/>
                      <a:gd name="T10" fmla="*/ 108 w 379"/>
                      <a:gd name="T11" fmla="*/ 317 h 910"/>
                      <a:gd name="T12" fmla="*/ 100 w 379"/>
                      <a:gd name="T13" fmla="*/ 369 h 910"/>
                      <a:gd name="T14" fmla="*/ 96 w 379"/>
                      <a:gd name="T15" fmla="*/ 426 h 910"/>
                      <a:gd name="T16" fmla="*/ 98 w 379"/>
                      <a:gd name="T17" fmla="*/ 455 h 910"/>
                      <a:gd name="T18" fmla="*/ 90 w 379"/>
                      <a:gd name="T19" fmla="*/ 567 h 910"/>
                      <a:gd name="T20" fmla="*/ 97 w 379"/>
                      <a:gd name="T21" fmla="*/ 659 h 910"/>
                      <a:gd name="T22" fmla="*/ 119 w 379"/>
                      <a:gd name="T23" fmla="*/ 764 h 910"/>
                      <a:gd name="T24" fmla="*/ 153 w 379"/>
                      <a:gd name="T25" fmla="*/ 862 h 910"/>
                      <a:gd name="T26" fmla="*/ 161 w 379"/>
                      <a:gd name="T27" fmla="*/ 910 h 910"/>
                      <a:gd name="T28" fmla="*/ 206 w 379"/>
                      <a:gd name="T29" fmla="*/ 884 h 910"/>
                      <a:gd name="T30" fmla="*/ 248 w 379"/>
                      <a:gd name="T31" fmla="*/ 897 h 910"/>
                      <a:gd name="T32" fmla="*/ 258 w 379"/>
                      <a:gd name="T33" fmla="*/ 885 h 910"/>
                      <a:gd name="T34" fmla="*/ 257 w 379"/>
                      <a:gd name="T35" fmla="*/ 859 h 910"/>
                      <a:gd name="T36" fmla="*/ 276 w 379"/>
                      <a:gd name="T37" fmla="*/ 728 h 910"/>
                      <a:gd name="T38" fmla="*/ 304 w 379"/>
                      <a:gd name="T39" fmla="*/ 508 h 910"/>
                      <a:gd name="T40" fmla="*/ 316 w 379"/>
                      <a:gd name="T41" fmla="*/ 446 h 910"/>
                      <a:gd name="T42" fmla="*/ 323 w 379"/>
                      <a:gd name="T43" fmla="*/ 416 h 910"/>
                      <a:gd name="T44" fmla="*/ 304 w 379"/>
                      <a:gd name="T45" fmla="*/ 344 h 910"/>
                      <a:gd name="T46" fmla="*/ 300 w 379"/>
                      <a:gd name="T47" fmla="*/ 267 h 910"/>
                      <a:gd name="T48" fmla="*/ 315 w 379"/>
                      <a:gd name="T49" fmla="*/ 323 h 910"/>
                      <a:gd name="T50" fmla="*/ 327 w 379"/>
                      <a:gd name="T51" fmla="*/ 358 h 910"/>
                      <a:gd name="T52" fmla="*/ 364 w 379"/>
                      <a:gd name="T53" fmla="*/ 338 h 910"/>
                      <a:gd name="T54" fmla="*/ 376 w 379"/>
                      <a:gd name="T55" fmla="*/ 304 h 910"/>
                      <a:gd name="T56" fmla="*/ 362 w 379"/>
                      <a:gd name="T57" fmla="*/ 264 h 910"/>
                      <a:gd name="T58" fmla="*/ 347 w 379"/>
                      <a:gd name="T59" fmla="*/ 244 h 910"/>
                      <a:gd name="T60" fmla="*/ 316 w 379"/>
                      <a:gd name="T61" fmla="*/ 181 h 910"/>
                      <a:gd name="T62" fmla="*/ 290 w 379"/>
                      <a:gd name="T63" fmla="*/ 134 h 910"/>
                      <a:gd name="T64" fmla="*/ 244 w 379"/>
                      <a:gd name="T65" fmla="*/ 117 h 910"/>
                      <a:gd name="T66" fmla="*/ 226 w 379"/>
                      <a:gd name="T67" fmla="*/ 100 h 910"/>
                      <a:gd name="T68" fmla="*/ 230 w 379"/>
                      <a:gd name="T69" fmla="*/ 63 h 910"/>
                      <a:gd name="T70" fmla="*/ 220 w 379"/>
                      <a:gd name="T71" fmla="*/ 29 h 910"/>
                      <a:gd name="T72" fmla="*/ 205 w 379"/>
                      <a:gd name="T73" fmla="*/ 13 h 910"/>
                      <a:gd name="T74" fmla="*/ 182 w 379"/>
                      <a:gd name="T75" fmla="*/ 4 h 910"/>
                      <a:gd name="T76" fmla="*/ 156 w 379"/>
                      <a:gd name="T77" fmla="*/ 0 h 910"/>
                      <a:gd name="T78" fmla="*/ 139 w 379"/>
                      <a:gd name="T79" fmla="*/ 3 h 910"/>
                      <a:gd name="T80" fmla="*/ 127 w 379"/>
                      <a:gd name="T81" fmla="*/ 14 h 910"/>
                      <a:gd name="T82" fmla="*/ 114 w 379"/>
                      <a:gd name="T83" fmla="*/ 26 h 910"/>
                      <a:gd name="T84" fmla="*/ 100 w 379"/>
                      <a:gd name="T85" fmla="*/ 42 h 910"/>
                      <a:gd name="T86" fmla="*/ 94 w 379"/>
                      <a:gd name="T87" fmla="*/ 77 h 910"/>
                      <a:gd name="T88" fmla="*/ 101 w 379"/>
                      <a:gd name="T89" fmla="*/ 95 h 910"/>
                      <a:gd name="T90" fmla="*/ 111 w 379"/>
                      <a:gd name="T91" fmla="*/ 107 h 910"/>
                      <a:gd name="T92" fmla="*/ 122 w 379"/>
                      <a:gd name="T93" fmla="*/ 123 h 910"/>
                      <a:gd name="T94" fmla="*/ 102 w 379"/>
                      <a:gd name="T95" fmla="*/ 138 h 910"/>
                      <a:gd name="T96" fmla="*/ 67 w 379"/>
                      <a:gd name="T97" fmla="*/ 206 h 910"/>
                      <a:gd name="T98" fmla="*/ 37 w 379"/>
                      <a:gd name="T99" fmla="*/ 261 h 910"/>
                      <a:gd name="T100" fmla="*/ 16 w 379"/>
                      <a:gd name="T101" fmla="*/ 300 h 910"/>
                      <a:gd name="T102" fmla="*/ 5 w 379"/>
                      <a:gd name="T103" fmla="*/ 338 h 910"/>
                      <a:gd name="T104" fmla="*/ 13 w 379"/>
                      <a:gd name="T105" fmla="*/ 371 h 910"/>
                      <a:gd name="T106" fmla="*/ 194 w 379"/>
                      <a:gd name="T107" fmla="*/ 564 h 910"/>
                      <a:gd name="T108" fmla="*/ 192 w 379"/>
                      <a:gd name="T109" fmla="*/ 638 h 910"/>
                      <a:gd name="T110" fmla="*/ 186 w 379"/>
                      <a:gd name="T111" fmla="*/ 638 h 910"/>
                      <a:gd name="T112" fmla="*/ 181 w 379"/>
                      <a:gd name="T113" fmla="*/ 585 h 9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379" h="910">
                        <a:moveTo>
                          <a:pt x="13" y="371"/>
                        </a:moveTo>
                        <a:cubicBezTo>
                          <a:pt x="20" y="375"/>
                          <a:pt x="28" y="374"/>
                          <a:pt x="30" y="371"/>
                        </a:cubicBezTo>
                        <a:cubicBezTo>
                          <a:pt x="32" y="367"/>
                          <a:pt x="33" y="366"/>
                          <a:pt x="37" y="361"/>
                        </a:cubicBezTo>
                        <a:cubicBezTo>
                          <a:pt x="40" y="356"/>
                          <a:pt x="38" y="360"/>
                          <a:pt x="40" y="356"/>
                        </a:cubicBezTo>
                        <a:cubicBezTo>
                          <a:pt x="42" y="353"/>
                          <a:pt x="54" y="351"/>
                          <a:pt x="56" y="346"/>
                        </a:cubicBezTo>
                        <a:cubicBezTo>
                          <a:pt x="58" y="340"/>
                          <a:pt x="61" y="336"/>
                          <a:pt x="69" y="330"/>
                        </a:cubicBezTo>
                        <a:cubicBezTo>
                          <a:pt x="77" y="325"/>
                          <a:pt x="79" y="321"/>
                          <a:pt x="79" y="316"/>
                        </a:cubicBezTo>
                        <a:cubicBezTo>
                          <a:pt x="79" y="311"/>
                          <a:pt x="75" y="307"/>
                          <a:pt x="76" y="304"/>
                        </a:cubicBezTo>
                        <a:cubicBezTo>
                          <a:pt x="77" y="301"/>
                          <a:pt x="81" y="294"/>
                          <a:pt x="88" y="284"/>
                        </a:cubicBezTo>
                        <a:cubicBezTo>
                          <a:pt x="95" y="275"/>
                          <a:pt x="100" y="263"/>
                          <a:pt x="100" y="263"/>
                        </a:cubicBezTo>
                        <a:cubicBezTo>
                          <a:pt x="100" y="263"/>
                          <a:pt x="103" y="277"/>
                          <a:pt x="104" y="284"/>
                        </a:cubicBezTo>
                        <a:cubicBezTo>
                          <a:pt x="104" y="290"/>
                          <a:pt x="105" y="307"/>
                          <a:pt x="108" y="317"/>
                        </a:cubicBezTo>
                        <a:cubicBezTo>
                          <a:pt x="112" y="327"/>
                          <a:pt x="115" y="333"/>
                          <a:pt x="115" y="338"/>
                        </a:cubicBezTo>
                        <a:cubicBezTo>
                          <a:pt x="114" y="343"/>
                          <a:pt x="102" y="362"/>
                          <a:pt x="100" y="369"/>
                        </a:cubicBezTo>
                        <a:cubicBezTo>
                          <a:pt x="98" y="376"/>
                          <a:pt x="97" y="387"/>
                          <a:pt x="97" y="398"/>
                        </a:cubicBezTo>
                        <a:cubicBezTo>
                          <a:pt x="98" y="409"/>
                          <a:pt x="96" y="416"/>
                          <a:pt x="96" y="426"/>
                        </a:cubicBezTo>
                        <a:cubicBezTo>
                          <a:pt x="96" y="436"/>
                          <a:pt x="94" y="449"/>
                          <a:pt x="94" y="453"/>
                        </a:cubicBezTo>
                        <a:cubicBezTo>
                          <a:pt x="95" y="457"/>
                          <a:pt x="98" y="455"/>
                          <a:pt x="98" y="455"/>
                        </a:cubicBezTo>
                        <a:cubicBezTo>
                          <a:pt x="98" y="455"/>
                          <a:pt x="100" y="495"/>
                          <a:pt x="96" y="509"/>
                        </a:cubicBezTo>
                        <a:cubicBezTo>
                          <a:pt x="92" y="523"/>
                          <a:pt x="87" y="555"/>
                          <a:pt x="90" y="567"/>
                        </a:cubicBezTo>
                        <a:cubicBezTo>
                          <a:pt x="92" y="580"/>
                          <a:pt x="98" y="599"/>
                          <a:pt x="97" y="614"/>
                        </a:cubicBezTo>
                        <a:cubicBezTo>
                          <a:pt x="95" y="628"/>
                          <a:pt x="90" y="641"/>
                          <a:pt x="97" y="659"/>
                        </a:cubicBezTo>
                        <a:cubicBezTo>
                          <a:pt x="104" y="677"/>
                          <a:pt x="107" y="688"/>
                          <a:pt x="107" y="704"/>
                        </a:cubicBezTo>
                        <a:cubicBezTo>
                          <a:pt x="107" y="720"/>
                          <a:pt x="111" y="743"/>
                          <a:pt x="119" y="764"/>
                        </a:cubicBezTo>
                        <a:cubicBezTo>
                          <a:pt x="127" y="785"/>
                          <a:pt x="133" y="817"/>
                          <a:pt x="140" y="831"/>
                        </a:cubicBezTo>
                        <a:cubicBezTo>
                          <a:pt x="147" y="844"/>
                          <a:pt x="153" y="862"/>
                          <a:pt x="153" y="862"/>
                        </a:cubicBezTo>
                        <a:cubicBezTo>
                          <a:pt x="153" y="862"/>
                          <a:pt x="146" y="882"/>
                          <a:pt x="145" y="891"/>
                        </a:cubicBezTo>
                        <a:cubicBezTo>
                          <a:pt x="144" y="900"/>
                          <a:pt x="148" y="909"/>
                          <a:pt x="161" y="910"/>
                        </a:cubicBezTo>
                        <a:cubicBezTo>
                          <a:pt x="174" y="910"/>
                          <a:pt x="191" y="900"/>
                          <a:pt x="197" y="894"/>
                        </a:cubicBezTo>
                        <a:cubicBezTo>
                          <a:pt x="202" y="888"/>
                          <a:pt x="206" y="884"/>
                          <a:pt x="206" y="884"/>
                        </a:cubicBezTo>
                        <a:cubicBezTo>
                          <a:pt x="206" y="884"/>
                          <a:pt x="205" y="892"/>
                          <a:pt x="211" y="895"/>
                        </a:cubicBezTo>
                        <a:cubicBezTo>
                          <a:pt x="216" y="898"/>
                          <a:pt x="244" y="897"/>
                          <a:pt x="248" y="897"/>
                        </a:cubicBezTo>
                        <a:cubicBezTo>
                          <a:pt x="252" y="897"/>
                          <a:pt x="255" y="895"/>
                          <a:pt x="257" y="890"/>
                        </a:cubicBezTo>
                        <a:cubicBezTo>
                          <a:pt x="258" y="885"/>
                          <a:pt x="258" y="885"/>
                          <a:pt x="258" y="885"/>
                        </a:cubicBezTo>
                        <a:cubicBezTo>
                          <a:pt x="255" y="878"/>
                          <a:pt x="255" y="878"/>
                          <a:pt x="255" y="878"/>
                        </a:cubicBezTo>
                        <a:cubicBezTo>
                          <a:pt x="255" y="878"/>
                          <a:pt x="259" y="871"/>
                          <a:pt x="257" y="859"/>
                        </a:cubicBezTo>
                        <a:cubicBezTo>
                          <a:pt x="255" y="847"/>
                          <a:pt x="259" y="834"/>
                          <a:pt x="260" y="828"/>
                        </a:cubicBezTo>
                        <a:cubicBezTo>
                          <a:pt x="261" y="821"/>
                          <a:pt x="277" y="759"/>
                          <a:pt x="276" y="728"/>
                        </a:cubicBezTo>
                        <a:cubicBezTo>
                          <a:pt x="275" y="698"/>
                          <a:pt x="285" y="638"/>
                          <a:pt x="285" y="618"/>
                        </a:cubicBezTo>
                        <a:cubicBezTo>
                          <a:pt x="285" y="598"/>
                          <a:pt x="299" y="538"/>
                          <a:pt x="304" y="508"/>
                        </a:cubicBezTo>
                        <a:cubicBezTo>
                          <a:pt x="308" y="478"/>
                          <a:pt x="310" y="445"/>
                          <a:pt x="309" y="443"/>
                        </a:cubicBezTo>
                        <a:cubicBezTo>
                          <a:pt x="308" y="441"/>
                          <a:pt x="312" y="446"/>
                          <a:pt x="316" y="446"/>
                        </a:cubicBezTo>
                        <a:cubicBezTo>
                          <a:pt x="320" y="447"/>
                          <a:pt x="323" y="449"/>
                          <a:pt x="321" y="444"/>
                        </a:cubicBezTo>
                        <a:cubicBezTo>
                          <a:pt x="318" y="440"/>
                          <a:pt x="324" y="428"/>
                          <a:pt x="323" y="416"/>
                        </a:cubicBezTo>
                        <a:cubicBezTo>
                          <a:pt x="322" y="403"/>
                          <a:pt x="319" y="395"/>
                          <a:pt x="315" y="385"/>
                        </a:cubicBezTo>
                        <a:cubicBezTo>
                          <a:pt x="311" y="375"/>
                          <a:pt x="309" y="358"/>
                          <a:pt x="304" y="344"/>
                        </a:cubicBezTo>
                        <a:cubicBezTo>
                          <a:pt x="300" y="330"/>
                          <a:pt x="300" y="320"/>
                          <a:pt x="300" y="302"/>
                        </a:cubicBezTo>
                        <a:cubicBezTo>
                          <a:pt x="300" y="284"/>
                          <a:pt x="300" y="267"/>
                          <a:pt x="300" y="267"/>
                        </a:cubicBezTo>
                        <a:cubicBezTo>
                          <a:pt x="300" y="267"/>
                          <a:pt x="307" y="286"/>
                          <a:pt x="305" y="296"/>
                        </a:cubicBezTo>
                        <a:cubicBezTo>
                          <a:pt x="304" y="307"/>
                          <a:pt x="314" y="319"/>
                          <a:pt x="315" y="323"/>
                        </a:cubicBezTo>
                        <a:cubicBezTo>
                          <a:pt x="317" y="326"/>
                          <a:pt x="314" y="332"/>
                          <a:pt x="313" y="334"/>
                        </a:cubicBezTo>
                        <a:cubicBezTo>
                          <a:pt x="312" y="337"/>
                          <a:pt x="314" y="354"/>
                          <a:pt x="327" y="358"/>
                        </a:cubicBezTo>
                        <a:cubicBezTo>
                          <a:pt x="341" y="363"/>
                          <a:pt x="350" y="357"/>
                          <a:pt x="351" y="355"/>
                        </a:cubicBezTo>
                        <a:cubicBezTo>
                          <a:pt x="353" y="353"/>
                          <a:pt x="362" y="343"/>
                          <a:pt x="364" y="338"/>
                        </a:cubicBezTo>
                        <a:cubicBezTo>
                          <a:pt x="367" y="334"/>
                          <a:pt x="373" y="331"/>
                          <a:pt x="372" y="326"/>
                        </a:cubicBezTo>
                        <a:cubicBezTo>
                          <a:pt x="372" y="321"/>
                          <a:pt x="373" y="311"/>
                          <a:pt x="376" y="304"/>
                        </a:cubicBezTo>
                        <a:cubicBezTo>
                          <a:pt x="379" y="296"/>
                          <a:pt x="378" y="293"/>
                          <a:pt x="372" y="286"/>
                        </a:cubicBezTo>
                        <a:cubicBezTo>
                          <a:pt x="366" y="280"/>
                          <a:pt x="364" y="274"/>
                          <a:pt x="362" y="264"/>
                        </a:cubicBezTo>
                        <a:cubicBezTo>
                          <a:pt x="360" y="253"/>
                          <a:pt x="354" y="248"/>
                          <a:pt x="351" y="247"/>
                        </a:cubicBezTo>
                        <a:cubicBezTo>
                          <a:pt x="348" y="245"/>
                          <a:pt x="347" y="244"/>
                          <a:pt x="347" y="244"/>
                        </a:cubicBezTo>
                        <a:cubicBezTo>
                          <a:pt x="344" y="238"/>
                          <a:pt x="331" y="214"/>
                          <a:pt x="325" y="205"/>
                        </a:cubicBezTo>
                        <a:cubicBezTo>
                          <a:pt x="320" y="196"/>
                          <a:pt x="318" y="187"/>
                          <a:pt x="316" y="181"/>
                        </a:cubicBezTo>
                        <a:cubicBezTo>
                          <a:pt x="314" y="176"/>
                          <a:pt x="307" y="156"/>
                          <a:pt x="305" y="151"/>
                        </a:cubicBezTo>
                        <a:cubicBezTo>
                          <a:pt x="302" y="146"/>
                          <a:pt x="294" y="138"/>
                          <a:pt x="290" y="134"/>
                        </a:cubicBezTo>
                        <a:cubicBezTo>
                          <a:pt x="285" y="129"/>
                          <a:pt x="271" y="120"/>
                          <a:pt x="264" y="119"/>
                        </a:cubicBezTo>
                        <a:cubicBezTo>
                          <a:pt x="256" y="118"/>
                          <a:pt x="244" y="117"/>
                          <a:pt x="244" y="117"/>
                        </a:cubicBezTo>
                        <a:cubicBezTo>
                          <a:pt x="244" y="117"/>
                          <a:pt x="243" y="113"/>
                          <a:pt x="238" y="110"/>
                        </a:cubicBezTo>
                        <a:cubicBezTo>
                          <a:pt x="232" y="106"/>
                          <a:pt x="226" y="100"/>
                          <a:pt x="226" y="100"/>
                        </a:cubicBezTo>
                        <a:cubicBezTo>
                          <a:pt x="226" y="100"/>
                          <a:pt x="232" y="90"/>
                          <a:pt x="231" y="81"/>
                        </a:cubicBezTo>
                        <a:cubicBezTo>
                          <a:pt x="229" y="73"/>
                          <a:pt x="228" y="71"/>
                          <a:pt x="230" y="63"/>
                        </a:cubicBezTo>
                        <a:cubicBezTo>
                          <a:pt x="231" y="56"/>
                          <a:pt x="229" y="47"/>
                          <a:pt x="226" y="40"/>
                        </a:cubicBezTo>
                        <a:cubicBezTo>
                          <a:pt x="223" y="33"/>
                          <a:pt x="225" y="33"/>
                          <a:pt x="220" y="29"/>
                        </a:cubicBezTo>
                        <a:cubicBezTo>
                          <a:pt x="214" y="24"/>
                          <a:pt x="212" y="26"/>
                          <a:pt x="211" y="21"/>
                        </a:cubicBezTo>
                        <a:cubicBezTo>
                          <a:pt x="209" y="17"/>
                          <a:pt x="210" y="16"/>
                          <a:pt x="205" y="13"/>
                        </a:cubicBezTo>
                        <a:cubicBezTo>
                          <a:pt x="201" y="10"/>
                          <a:pt x="198" y="9"/>
                          <a:pt x="198" y="9"/>
                        </a:cubicBezTo>
                        <a:cubicBezTo>
                          <a:pt x="198" y="9"/>
                          <a:pt x="188" y="4"/>
                          <a:pt x="182" y="4"/>
                        </a:cubicBezTo>
                        <a:cubicBezTo>
                          <a:pt x="177" y="3"/>
                          <a:pt x="174" y="4"/>
                          <a:pt x="170" y="3"/>
                        </a:cubicBezTo>
                        <a:cubicBezTo>
                          <a:pt x="165" y="2"/>
                          <a:pt x="158" y="0"/>
                          <a:pt x="156" y="0"/>
                        </a:cubicBezTo>
                        <a:cubicBezTo>
                          <a:pt x="154" y="1"/>
                          <a:pt x="154" y="1"/>
                          <a:pt x="154" y="1"/>
                        </a:cubicBezTo>
                        <a:cubicBezTo>
                          <a:pt x="154" y="1"/>
                          <a:pt x="142" y="0"/>
                          <a:pt x="139" y="3"/>
                        </a:cubicBezTo>
                        <a:cubicBezTo>
                          <a:pt x="135" y="6"/>
                          <a:pt x="135" y="6"/>
                          <a:pt x="135" y="6"/>
                        </a:cubicBezTo>
                        <a:cubicBezTo>
                          <a:pt x="135" y="6"/>
                          <a:pt x="130" y="10"/>
                          <a:pt x="127" y="14"/>
                        </a:cubicBezTo>
                        <a:cubicBezTo>
                          <a:pt x="124" y="17"/>
                          <a:pt x="124" y="20"/>
                          <a:pt x="124" y="20"/>
                        </a:cubicBezTo>
                        <a:cubicBezTo>
                          <a:pt x="124" y="20"/>
                          <a:pt x="117" y="23"/>
                          <a:pt x="114" y="26"/>
                        </a:cubicBezTo>
                        <a:cubicBezTo>
                          <a:pt x="112" y="29"/>
                          <a:pt x="111" y="32"/>
                          <a:pt x="111" y="32"/>
                        </a:cubicBezTo>
                        <a:cubicBezTo>
                          <a:pt x="111" y="32"/>
                          <a:pt x="103" y="36"/>
                          <a:pt x="100" y="42"/>
                        </a:cubicBezTo>
                        <a:cubicBezTo>
                          <a:pt x="97" y="48"/>
                          <a:pt x="94" y="57"/>
                          <a:pt x="92" y="60"/>
                        </a:cubicBezTo>
                        <a:cubicBezTo>
                          <a:pt x="90" y="63"/>
                          <a:pt x="93" y="71"/>
                          <a:pt x="94" y="77"/>
                        </a:cubicBezTo>
                        <a:cubicBezTo>
                          <a:pt x="94" y="82"/>
                          <a:pt x="97" y="87"/>
                          <a:pt x="97" y="87"/>
                        </a:cubicBezTo>
                        <a:cubicBezTo>
                          <a:pt x="97" y="87"/>
                          <a:pt x="100" y="93"/>
                          <a:pt x="101" y="95"/>
                        </a:cubicBezTo>
                        <a:cubicBezTo>
                          <a:pt x="103" y="97"/>
                          <a:pt x="108" y="97"/>
                          <a:pt x="108" y="97"/>
                        </a:cubicBezTo>
                        <a:cubicBezTo>
                          <a:pt x="108" y="97"/>
                          <a:pt x="111" y="104"/>
                          <a:pt x="111" y="107"/>
                        </a:cubicBezTo>
                        <a:cubicBezTo>
                          <a:pt x="112" y="111"/>
                          <a:pt x="115" y="111"/>
                          <a:pt x="118" y="113"/>
                        </a:cubicBezTo>
                        <a:cubicBezTo>
                          <a:pt x="120" y="115"/>
                          <a:pt x="119" y="119"/>
                          <a:pt x="122" y="123"/>
                        </a:cubicBezTo>
                        <a:cubicBezTo>
                          <a:pt x="125" y="126"/>
                          <a:pt x="125" y="126"/>
                          <a:pt x="125" y="126"/>
                        </a:cubicBezTo>
                        <a:cubicBezTo>
                          <a:pt x="125" y="126"/>
                          <a:pt x="107" y="131"/>
                          <a:pt x="102" y="138"/>
                        </a:cubicBezTo>
                        <a:cubicBezTo>
                          <a:pt x="97" y="144"/>
                          <a:pt x="87" y="161"/>
                          <a:pt x="85" y="169"/>
                        </a:cubicBezTo>
                        <a:cubicBezTo>
                          <a:pt x="82" y="177"/>
                          <a:pt x="72" y="197"/>
                          <a:pt x="67" y="206"/>
                        </a:cubicBezTo>
                        <a:cubicBezTo>
                          <a:pt x="62" y="214"/>
                          <a:pt x="50" y="236"/>
                          <a:pt x="48" y="243"/>
                        </a:cubicBezTo>
                        <a:cubicBezTo>
                          <a:pt x="45" y="250"/>
                          <a:pt x="41" y="260"/>
                          <a:pt x="37" y="261"/>
                        </a:cubicBezTo>
                        <a:cubicBezTo>
                          <a:pt x="33" y="263"/>
                          <a:pt x="25" y="264"/>
                          <a:pt x="23" y="273"/>
                        </a:cubicBezTo>
                        <a:cubicBezTo>
                          <a:pt x="20" y="282"/>
                          <a:pt x="20" y="292"/>
                          <a:pt x="16" y="300"/>
                        </a:cubicBezTo>
                        <a:cubicBezTo>
                          <a:pt x="12" y="307"/>
                          <a:pt x="7" y="323"/>
                          <a:pt x="7" y="328"/>
                        </a:cubicBezTo>
                        <a:cubicBezTo>
                          <a:pt x="6" y="334"/>
                          <a:pt x="5" y="338"/>
                          <a:pt x="5" y="338"/>
                        </a:cubicBezTo>
                        <a:cubicBezTo>
                          <a:pt x="5" y="338"/>
                          <a:pt x="2" y="350"/>
                          <a:pt x="1" y="354"/>
                        </a:cubicBezTo>
                        <a:cubicBezTo>
                          <a:pt x="0" y="359"/>
                          <a:pt x="6" y="368"/>
                          <a:pt x="13" y="371"/>
                        </a:cubicBezTo>
                        <a:close/>
                        <a:moveTo>
                          <a:pt x="181" y="585"/>
                        </a:moveTo>
                        <a:cubicBezTo>
                          <a:pt x="182" y="575"/>
                          <a:pt x="194" y="564"/>
                          <a:pt x="194" y="564"/>
                        </a:cubicBezTo>
                        <a:cubicBezTo>
                          <a:pt x="194" y="564"/>
                          <a:pt x="196" y="599"/>
                          <a:pt x="194" y="610"/>
                        </a:cubicBezTo>
                        <a:cubicBezTo>
                          <a:pt x="191" y="621"/>
                          <a:pt x="192" y="631"/>
                          <a:pt x="192" y="638"/>
                        </a:cubicBezTo>
                        <a:cubicBezTo>
                          <a:pt x="192" y="645"/>
                          <a:pt x="192" y="655"/>
                          <a:pt x="192" y="655"/>
                        </a:cubicBezTo>
                        <a:cubicBezTo>
                          <a:pt x="192" y="655"/>
                          <a:pt x="189" y="641"/>
                          <a:pt x="186" y="638"/>
                        </a:cubicBezTo>
                        <a:cubicBezTo>
                          <a:pt x="183" y="636"/>
                          <a:pt x="181" y="634"/>
                          <a:pt x="182" y="623"/>
                        </a:cubicBezTo>
                        <a:cubicBezTo>
                          <a:pt x="183" y="613"/>
                          <a:pt x="181" y="595"/>
                          <a:pt x="181" y="58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1" name="Freeform 160"/>
                  <p:cNvSpPr>
                    <a:spLocks/>
                  </p:cNvSpPr>
                  <p:nvPr/>
                </p:nvSpPr>
                <p:spPr bwMode="auto">
                  <a:xfrm>
                    <a:off x="4054475" y="4119563"/>
                    <a:ext cx="15875" cy="12700"/>
                  </a:xfrm>
                  <a:custGeom>
                    <a:avLst/>
                    <a:gdLst>
                      <a:gd name="T0" fmla="*/ 8 w 41"/>
                      <a:gd name="T1" fmla="*/ 0 h 32"/>
                      <a:gd name="T2" fmla="*/ 2 w 41"/>
                      <a:gd name="T3" fmla="*/ 13 h 32"/>
                      <a:gd name="T4" fmla="*/ 3 w 41"/>
                      <a:gd name="T5" fmla="*/ 26 h 32"/>
                      <a:gd name="T6" fmla="*/ 10 w 41"/>
                      <a:gd name="T7" fmla="*/ 29 h 32"/>
                      <a:gd name="T8" fmla="*/ 18 w 41"/>
                      <a:gd name="T9" fmla="*/ 31 h 32"/>
                      <a:gd name="T10" fmla="*/ 28 w 41"/>
                      <a:gd name="T11" fmla="*/ 29 h 32"/>
                      <a:gd name="T12" fmla="*/ 41 w 41"/>
                      <a:gd name="T13" fmla="*/ 12 h 32"/>
                      <a:gd name="T14" fmla="*/ 8 w 41"/>
                      <a:gd name="T15" fmla="*/ 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1" h="32">
                        <a:moveTo>
                          <a:pt x="8" y="0"/>
                        </a:moveTo>
                        <a:cubicBezTo>
                          <a:pt x="8" y="0"/>
                          <a:pt x="4" y="9"/>
                          <a:pt x="2" y="13"/>
                        </a:cubicBezTo>
                        <a:cubicBezTo>
                          <a:pt x="0" y="17"/>
                          <a:pt x="3" y="24"/>
                          <a:pt x="3" y="26"/>
                        </a:cubicBezTo>
                        <a:cubicBezTo>
                          <a:pt x="3" y="28"/>
                          <a:pt x="8" y="28"/>
                          <a:pt x="10" y="29"/>
                        </a:cubicBezTo>
                        <a:cubicBezTo>
                          <a:pt x="13" y="29"/>
                          <a:pt x="14" y="30"/>
                          <a:pt x="18" y="31"/>
                        </a:cubicBezTo>
                        <a:cubicBezTo>
                          <a:pt x="22" y="31"/>
                          <a:pt x="24" y="32"/>
                          <a:pt x="28" y="29"/>
                        </a:cubicBezTo>
                        <a:cubicBezTo>
                          <a:pt x="31" y="25"/>
                          <a:pt x="41" y="12"/>
                          <a:pt x="41" y="12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2" name="Freeform 161"/>
                  <p:cNvSpPr>
                    <a:spLocks/>
                  </p:cNvSpPr>
                  <p:nvPr/>
                </p:nvSpPr>
                <p:spPr bwMode="auto">
                  <a:xfrm>
                    <a:off x="3973513" y="4024313"/>
                    <a:ext cx="9525" cy="11113"/>
                  </a:xfrm>
                  <a:custGeom>
                    <a:avLst/>
                    <a:gdLst>
                      <a:gd name="T0" fmla="*/ 7 w 24"/>
                      <a:gd name="T1" fmla="*/ 0 h 28"/>
                      <a:gd name="T2" fmla="*/ 3 w 24"/>
                      <a:gd name="T3" fmla="*/ 13 h 28"/>
                      <a:gd name="T4" fmla="*/ 6 w 24"/>
                      <a:gd name="T5" fmla="*/ 24 h 28"/>
                      <a:gd name="T6" fmla="*/ 18 w 24"/>
                      <a:gd name="T7" fmla="*/ 27 h 28"/>
                      <a:gd name="T8" fmla="*/ 24 w 24"/>
                      <a:gd name="T9" fmla="*/ 14 h 28"/>
                      <a:gd name="T10" fmla="*/ 7 w 24"/>
                      <a:gd name="T11" fmla="*/ 0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4" h="28">
                        <a:moveTo>
                          <a:pt x="7" y="0"/>
                        </a:moveTo>
                        <a:cubicBezTo>
                          <a:pt x="3" y="13"/>
                          <a:pt x="3" y="13"/>
                          <a:pt x="3" y="13"/>
                        </a:cubicBezTo>
                        <a:cubicBezTo>
                          <a:pt x="3" y="13"/>
                          <a:pt x="0" y="20"/>
                          <a:pt x="6" y="24"/>
                        </a:cubicBezTo>
                        <a:cubicBezTo>
                          <a:pt x="13" y="28"/>
                          <a:pt x="18" y="28"/>
                          <a:pt x="18" y="27"/>
                        </a:cubicBezTo>
                        <a:cubicBezTo>
                          <a:pt x="18" y="25"/>
                          <a:pt x="24" y="14"/>
                          <a:pt x="24" y="14"/>
                        </a:cubicBezTo>
                        <a:lnTo>
                          <a:pt x="7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3" name="Freeform 162"/>
                  <p:cNvSpPr>
                    <a:spLocks/>
                  </p:cNvSpPr>
                  <p:nvPr/>
                </p:nvSpPr>
                <p:spPr bwMode="auto">
                  <a:xfrm>
                    <a:off x="4097338" y="3994150"/>
                    <a:ext cx="28575" cy="190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5 w 70"/>
                      <a:gd name="T3" fmla="*/ 1 h 45"/>
                      <a:gd name="T4" fmla="*/ 15 w 70"/>
                      <a:gd name="T5" fmla="*/ 18 h 45"/>
                      <a:gd name="T6" fmla="*/ 0 w 70"/>
                      <a:gd name="T7" fmla="*/ 45 h 45"/>
                      <a:gd name="T8" fmla="*/ 10 w 70"/>
                      <a:gd name="T9" fmla="*/ 41 h 45"/>
                      <a:gd name="T10" fmla="*/ 37 w 70"/>
                      <a:gd name="T11" fmla="*/ 14 h 45"/>
                      <a:gd name="T12" fmla="*/ 62 w 70"/>
                      <a:gd name="T13" fmla="*/ 7 h 45"/>
                      <a:gd name="T14" fmla="*/ 70 w 70"/>
                      <a:gd name="T15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70" y="7"/>
                          <a:pt x="70" y="2"/>
                          <a:pt x="65" y="1"/>
                        </a:cubicBezTo>
                        <a:cubicBezTo>
                          <a:pt x="60" y="0"/>
                          <a:pt x="28" y="5"/>
                          <a:pt x="15" y="18"/>
                        </a:cubicBezTo>
                        <a:cubicBezTo>
                          <a:pt x="3" y="32"/>
                          <a:pt x="0" y="45"/>
                          <a:pt x="0" y="45"/>
                        </a:cubicBezTo>
                        <a:cubicBezTo>
                          <a:pt x="10" y="41"/>
                          <a:pt x="10" y="41"/>
                          <a:pt x="10" y="41"/>
                        </a:cubicBezTo>
                        <a:cubicBezTo>
                          <a:pt x="10" y="41"/>
                          <a:pt x="25" y="20"/>
                          <a:pt x="37" y="14"/>
                        </a:cubicBezTo>
                        <a:cubicBezTo>
                          <a:pt x="48" y="8"/>
                          <a:pt x="57" y="7"/>
                          <a:pt x="62" y="7"/>
                        </a:cubicBezTo>
                        <a:cubicBezTo>
                          <a:pt x="68" y="7"/>
                          <a:pt x="70" y="7"/>
                          <a:pt x="70" y="7"/>
                        </a:cubicBezTo>
                        <a:close/>
                      </a:path>
                    </a:pathLst>
                  </a:custGeom>
                  <a:solidFill>
                    <a:srgbClr val="F5F5F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4" name="Freeform 163"/>
                  <p:cNvSpPr>
                    <a:spLocks/>
                  </p:cNvSpPr>
                  <p:nvPr/>
                </p:nvSpPr>
                <p:spPr bwMode="auto">
                  <a:xfrm>
                    <a:off x="4071938" y="3986213"/>
                    <a:ext cx="7938" cy="11113"/>
                  </a:xfrm>
                  <a:custGeom>
                    <a:avLst/>
                    <a:gdLst>
                      <a:gd name="T0" fmla="*/ 15 w 21"/>
                      <a:gd name="T1" fmla="*/ 0 h 25"/>
                      <a:gd name="T2" fmla="*/ 2 w 21"/>
                      <a:gd name="T3" fmla="*/ 8 h 25"/>
                      <a:gd name="T4" fmla="*/ 1 w 21"/>
                      <a:gd name="T5" fmla="*/ 11 h 25"/>
                      <a:gd name="T6" fmla="*/ 10 w 21"/>
                      <a:gd name="T7" fmla="*/ 20 h 25"/>
                      <a:gd name="T8" fmla="*/ 20 w 21"/>
                      <a:gd name="T9" fmla="*/ 22 h 25"/>
                      <a:gd name="T10" fmla="*/ 15 w 21"/>
                      <a:gd name="T11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1" h="25">
                        <a:moveTo>
                          <a:pt x="15" y="0"/>
                        </a:moveTo>
                        <a:cubicBezTo>
                          <a:pt x="2" y="8"/>
                          <a:pt x="2" y="8"/>
                          <a:pt x="2" y="8"/>
                        </a:cubicBezTo>
                        <a:cubicBezTo>
                          <a:pt x="2" y="8"/>
                          <a:pt x="0" y="10"/>
                          <a:pt x="1" y="11"/>
                        </a:cubicBezTo>
                        <a:cubicBezTo>
                          <a:pt x="1" y="12"/>
                          <a:pt x="7" y="18"/>
                          <a:pt x="10" y="20"/>
                        </a:cubicBezTo>
                        <a:cubicBezTo>
                          <a:pt x="12" y="21"/>
                          <a:pt x="18" y="25"/>
                          <a:pt x="20" y="22"/>
                        </a:cubicBezTo>
                        <a:cubicBezTo>
                          <a:pt x="21" y="18"/>
                          <a:pt x="15" y="0"/>
                          <a:pt x="15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5" name="Freeform 164"/>
                  <p:cNvSpPr>
                    <a:spLocks/>
                  </p:cNvSpPr>
                  <p:nvPr/>
                </p:nvSpPr>
                <p:spPr bwMode="auto">
                  <a:xfrm>
                    <a:off x="3043238" y="4156075"/>
                    <a:ext cx="74613" cy="185738"/>
                  </a:xfrm>
                  <a:custGeom>
                    <a:avLst/>
                    <a:gdLst>
                      <a:gd name="T0" fmla="*/ 181 w 190"/>
                      <a:gd name="T1" fmla="*/ 76 h 467"/>
                      <a:gd name="T2" fmla="*/ 190 w 190"/>
                      <a:gd name="T3" fmla="*/ 14 h 467"/>
                      <a:gd name="T4" fmla="*/ 0 w 190"/>
                      <a:gd name="T5" fmla="*/ 18 h 467"/>
                      <a:gd name="T6" fmla="*/ 5 w 190"/>
                      <a:gd name="T7" fmla="*/ 45 h 467"/>
                      <a:gd name="T8" fmla="*/ 33 w 190"/>
                      <a:gd name="T9" fmla="*/ 133 h 467"/>
                      <a:gd name="T10" fmla="*/ 64 w 190"/>
                      <a:gd name="T11" fmla="*/ 275 h 467"/>
                      <a:gd name="T12" fmla="*/ 80 w 190"/>
                      <a:gd name="T13" fmla="*/ 380 h 467"/>
                      <a:gd name="T14" fmla="*/ 93 w 190"/>
                      <a:gd name="T15" fmla="*/ 441 h 467"/>
                      <a:gd name="T16" fmla="*/ 84 w 190"/>
                      <a:gd name="T17" fmla="*/ 446 h 467"/>
                      <a:gd name="T18" fmla="*/ 78 w 190"/>
                      <a:gd name="T19" fmla="*/ 456 h 467"/>
                      <a:gd name="T20" fmla="*/ 80 w 190"/>
                      <a:gd name="T21" fmla="*/ 464 h 467"/>
                      <a:gd name="T22" fmla="*/ 104 w 190"/>
                      <a:gd name="T23" fmla="*/ 467 h 467"/>
                      <a:gd name="T24" fmla="*/ 162 w 190"/>
                      <a:gd name="T25" fmla="*/ 464 h 467"/>
                      <a:gd name="T26" fmla="*/ 173 w 190"/>
                      <a:gd name="T27" fmla="*/ 460 h 467"/>
                      <a:gd name="T28" fmla="*/ 173 w 190"/>
                      <a:gd name="T29" fmla="*/ 453 h 467"/>
                      <a:gd name="T30" fmla="*/ 174 w 190"/>
                      <a:gd name="T31" fmla="*/ 449 h 467"/>
                      <a:gd name="T32" fmla="*/ 167 w 190"/>
                      <a:gd name="T33" fmla="*/ 420 h 467"/>
                      <a:gd name="T34" fmla="*/ 162 w 190"/>
                      <a:gd name="T35" fmla="*/ 403 h 467"/>
                      <a:gd name="T36" fmla="*/ 163 w 190"/>
                      <a:gd name="T37" fmla="*/ 331 h 467"/>
                      <a:gd name="T38" fmla="*/ 158 w 190"/>
                      <a:gd name="T39" fmla="*/ 244 h 467"/>
                      <a:gd name="T40" fmla="*/ 157 w 190"/>
                      <a:gd name="T41" fmla="*/ 170 h 467"/>
                      <a:gd name="T42" fmla="*/ 181 w 190"/>
                      <a:gd name="T43" fmla="*/ 76 h 4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190" h="467">
                        <a:moveTo>
                          <a:pt x="181" y="76"/>
                        </a:moveTo>
                        <a:cubicBezTo>
                          <a:pt x="186" y="62"/>
                          <a:pt x="189" y="36"/>
                          <a:pt x="190" y="14"/>
                        </a:cubicBezTo>
                        <a:cubicBezTo>
                          <a:pt x="128" y="0"/>
                          <a:pt x="58" y="0"/>
                          <a:pt x="0" y="18"/>
                        </a:cubicBezTo>
                        <a:cubicBezTo>
                          <a:pt x="1" y="26"/>
                          <a:pt x="3" y="37"/>
                          <a:pt x="5" y="45"/>
                        </a:cubicBezTo>
                        <a:cubicBezTo>
                          <a:pt x="8" y="62"/>
                          <a:pt x="21" y="93"/>
                          <a:pt x="33" y="133"/>
                        </a:cubicBezTo>
                        <a:cubicBezTo>
                          <a:pt x="45" y="173"/>
                          <a:pt x="59" y="244"/>
                          <a:pt x="64" y="275"/>
                        </a:cubicBezTo>
                        <a:cubicBezTo>
                          <a:pt x="70" y="307"/>
                          <a:pt x="75" y="347"/>
                          <a:pt x="80" y="380"/>
                        </a:cubicBezTo>
                        <a:cubicBezTo>
                          <a:pt x="85" y="413"/>
                          <a:pt x="93" y="441"/>
                          <a:pt x="93" y="441"/>
                        </a:cubicBezTo>
                        <a:cubicBezTo>
                          <a:pt x="93" y="441"/>
                          <a:pt x="88" y="443"/>
                          <a:pt x="84" y="446"/>
                        </a:cubicBezTo>
                        <a:cubicBezTo>
                          <a:pt x="80" y="449"/>
                          <a:pt x="78" y="456"/>
                          <a:pt x="78" y="456"/>
                        </a:cubicBezTo>
                        <a:cubicBezTo>
                          <a:pt x="78" y="456"/>
                          <a:pt x="76" y="463"/>
                          <a:pt x="80" y="464"/>
                        </a:cubicBezTo>
                        <a:cubicBezTo>
                          <a:pt x="85" y="465"/>
                          <a:pt x="93" y="466"/>
                          <a:pt x="104" y="467"/>
                        </a:cubicBezTo>
                        <a:cubicBezTo>
                          <a:pt x="116" y="467"/>
                          <a:pt x="152" y="465"/>
                          <a:pt x="162" y="464"/>
                        </a:cubicBezTo>
                        <a:cubicBezTo>
                          <a:pt x="171" y="463"/>
                          <a:pt x="173" y="462"/>
                          <a:pt x="173" y="460"/>
                        </a:cubicBezTo>
                        <a:cubicBezTo>
                          <a:pt x="174" y="458"/>
                          <a:pt x="173" y="453"/>
                          <a:pt x="173" y="453"/>
                        </a:cubicBezTo>
                        <a:cubicBezTo>
                          <a:pt x="173" y="453"/>
                          <a:pt x="175" y="452"/>
                          <a:pt x="174" y="449"/>
                        </a:cubicBezTo>
                        <a:cubicBezTo>
                          <a:pt x="174" y="446"/>
                          <a:pt x="169" y="427"/>
                          <a:pt x="167" y="420"/>
                        </a:cubicBezTo>
                        <a:cubicBezTo>
                          <a:pt x="165" y="412"/>
                          <a:pt x="163" y="408"/>
                          <a:pt x="162" y="403"/>
                        </a:cubicBezTo>
                        <a:cubicBezTo>
                          <a:pt x="162" y="397"/>
                          <a:pt x="164" y="356"/>
                          <a:pt x="163" y="331"/>
                        </a:cubicBezTo>
                        <a:cubicBezTo>
                          <a:pt x="163" y="306"/>
                          <a:pt x="161" y="267"/>
                          <a:pt x="158" y="244"/>
                        </a:cubicBezTo>
                        <a:cubicBezTo>
                          <a:pt x="156" y="221"/>
                          <a:pt x="156" y="183"/>
                          <a:pt x="157" y="170"/>
                        </a:cubicBezTo>
                        <a:cubicBezTo>
                          <a:pt x="158" y="154"/>
                          <a:pt x="175" y="95"/>
                          <a:pt x="181" y="7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6" name="Freeform 165"/>
                  <p:cNvSpPr>
                    <a:spLocks/>
                  </p:cNvSpPr>
                  <p:nvPr/>
                </p:nvSpPr>
                <p:spPr bwMode="auto">
                  <a:xfrm>
                    <a:off x="3100388" y="4052888"/>
                    <a:ext cx="71438" cy="112713"/>
                  </a:xfrm>
                  <a:custGeom>
                    <a:avLst/>
                    <a:gdLst>
                      <a:gd name="T0" fmla="*/ 0 w 180"/>
                      <a:gd name="T1" fmla="*/ 33 h 286"/>
                      <a:gd name="T2" fmla="*/ 17 w 180"/>
                      <a:gd name="T3" fmla="*/ 77 h 286"/>
                      <a:gd name="T4" fmla="*/ 49 w 180"/>
                      <a:gd name="T5" fmla="*/ 132 h 286"/>
                      <a:gd name="T6" fmla="*/ 105 w 180"/>
                      <a:gd name="T7" fmla="*/ 202 h 286"/>
                      <a:gd name="T8" fmla="*/ 128 w 180"/>
                      <a:gd name="T9" fmla="*/ 239 h 286"/>
                      <a:gd name="T10" fmla="*/ 131 w 180"/>
                      <a:gd name="T11" fmla="*/ 263 h 286"/>
                      <a:gd name="T12" fmla="*/ 138 w 180"/>
                      <a:gd name="T13" fmla="*/ 275 h 286"/>
                      <a:gd name="T14" fmla="*/ 147 w 180"/>
                      <a:gd name="T15" fmla="*/ 276 h 286"/>
                      <a:gd name="T16" fmla="*/ 156 w 180"/>
                      <a:gd name="T17" fmla="*/ 281 h 286"/>
                      <a:gd name="T18" fmla="*/ 168 w 180"/>
                      <a:gd name="T19" fmla="*/ 285 h 286"/>
                      <a:gd name="T20" fmla="*/ 173 w 180"/>
                      <a:gd name="T21" fmla="*/ 282 h 286"/>
                      <a:gd name="T22" fmla="*/ 178 w 180"/>
                      <a:gd name="T23" fmla="*/ 279 h 286"/>
                      <a:gd name="T24" fmla="*/ 180 w 180"/>
                      <a:gd name="T25" fmla="*/ 270 h 286"/>
                      <a:gd name="T26" fmla="*/ 178 w 180"/>
                      <a:gd name="T27" fmla="*/ 256 h 286"/>
                      <a:gd name="T28" fmla="*/ 166 w 180"/>
                      <a:gd name="T29" fmla="*/ 234 h 286"/>
                      <a:gd name="T30" fmla="*/ 149 w 180"/>
                      <a:gd name="T31" fmla="*/ 217 h 286"/>
                      <a:gd name="T32" fmla="*/ 119 w 180"/>
                      <a:gd name="T33" fmla="*/ 161 h 286"/>
                      <a:gd name="T34" fmla="*/ 90 w 180"/>
                      <a:gd name="T35" fmla="*/ 107 h 286"/>
                      <a:gd name="T36" fmla="*/ 65 w 180"/>
                      <a:gd name="T37" fmla="*/ 69 h 286"/>
                      <a:gd name="T38" fmla="*/ 36 w 180"/>
                      <a:gd name="T39" fmla="*/ 0 h 286"/>
                      <a:gd name="T40" fmla="*/ 0 w 180"/>
                      <a:gd name="T41" fmla="*/ 33 h 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80" h="286">
                        <a:moveTo>
                          <a:pt x="0" y="33"/>
                        </a:moveTo>
                        <a:cubicBezTo>
                          <a:pt x="0" y="33"/>
                          <a:pt x="5" y="54"/>
                          <a:pt x="17" y="77"/>
                        </a:cubicBezTo>
                        <a:cubicBezTo>
                          <a:pt x="30" y="102"/>
                          <a:pt x="42" y="119"/>
                          <a:pt x="49" y="132"/>
                        </a:cubicBezTo>
                        <a:cubicBezTo>
                          <a:pt x="56" y="144"/>
                          <a:pt x="90" y="185"/>
                          <a:pt x="105" y="202"/>
                        </a:cubicBezTo>
                        <a:cubicBezTo>
                          <a:pt x="119" y="219"/>
                          <a:pt x="126" y="232"/>
                          <a:pt x="128" y="239"/>
                        </a:cubicBezTo>
                        <a:cubicBezTo>
                          <a:pt x="129" y="246"/>
                          <a:pt x="129" y="255"/>
                          <a:pt x="131" y="263"/>
                        </a:cubicBezTo>
                        <a:cubicBezTo>
                          <a:pt x="133" y="271"/>
                          <a:pt x="134" y="274"/>
                          <a:pt x="138" y="275"/>
                        </a:cubicBezTo>
                        <a:cubicBezTo>
                          <a:pt x="141" y="276"/>
                          <a:pt x="147" y="276"/>
                          <a:pt x="147" y="276"/>
                        </a:cubicBezTo>
                        <a:cubicBezTo>
                          <a:pt x="147" y="276"/>
                          <a:pt x="151" y="278"/>
                          <a:pt x="156" y="281"/>
                        </a:cubicBezTo>
                        <a:cubicBezTo>
                          <a:pt x="161" y="284"/>
                          <a:pt x="165" y="286"/>
                          <a:pt x="168" y="285"/>
                        </a:cubicBezTo>
                        <a:cubicBezTo>
                          <a:pt x="171" y="284"/>
                          <a:pt x="173" y="282"/>
                          <a:pt x="173" y="282"/>
                        </a:cubicBezTo>
                        <a:cubicBezTo>
                          <a:pt x="173" y="282"/>
                          <a:pt x="176" y="281"/>
                          <a:pt x="178" y="279"/>
                        </a:cubicBezTo>
                        <a:cubicBezTo>
                          <a:pt x="179" y="277"/>
                          <a:pt x="180" y="273"/>
                          <a:pt x="180" y="270"/>
                        </a:cubicBezTo>
                        <a:cubicBezTo>
                          <a:pt x="179" y="266"/>
                          <a:pt x="179" y="262"/>
                          <a:pt x="178" y="256"/>
                        </a:cubicBezTo>
                        <a:cubicBezTo>
                          <a:pt x="177" y="250"/>
                          <a:pt x="173" y="241"/>
                          <a:pt x="166" y="234"/>
                        </a:cubicBezTo>
                        <a:cubicBezTo>
                          <a:pt x="158" y="228"/>
                          <a:pt x="151" y="221"/>
                          <a:pt x="149" y="217"/>
                        </a:cubicBezTo>
                        <a:cubicBezTo>
                          <a:pt x="146" y="212"/>
                          <a:pt x="128" y="180"/>
                          <a:pt x="119" y="161"/>
                        </a:cubicBezTo>
                        <a:cubicBezTo>
                          <a:pt x="110" y="143"/>
                          <a:pt x="98" y="116"/>
                          <a:pt x="90" y="107"/>
                        </a:cubicBezTo>
                        <a:cubicBezTo>
                          <a:pt x="82" y="97"/>
                          <a:pt x="70" y="80"/>
                          <a:pt x="65" y="69"/>
                        </a:cubicBezTo>
                        <a:cubicBezTo>
                          <a:pt x="60" y="59"/>
                          <a:pt x="36" y="0"/>
                          <a:pt x="36" y="0"/>
                        </a:cubicBezTo>
                        <a:lnTo>
                          <a:pt x="0" y="33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7" name="Freeform 166"/>
                  <p:cNvSpPr>
                    <a:spLocks/>
                  </p:cNvSpPr>
                  <p:nvPr/>
                </p:nvSpPr>
                <p:spPr bwMode="auto">
                  <a:xfrm>
                    <a:off x="3021013" y="3978275"/>
                    <a:ext cx="96838" cy="190500"/>
                  </a:xfrm>
                  <a:custGeom>
                    <a:avLst/>
                    <a:gdLst>
                      <a:gd name="T0" fmla="*/ 245 w 246"/>
                      <a:gd name="T1" fmla="*/ 447 h 481"/>
                      <a:gd name="T2" fmla="*/ 217 w 246"/>
                      <a:gd name="T3" fmla="*/ 314 h 481"/>
                      <a:gd name="T4" fmla="*/ 200 w 246"/>
                      <a:gd name="T5" fmla="*/ 223 h 481"/>
                      <a:gd name="T6" fmla="*/ 223 w 246"/>
                      <a:gd name="T7" fmla="*/ 209 h 481"/>
                      <a:gd name="T8" fmla="*/ 240 w 246"/>
                      <a:gd name="T9" fmla="*/ 187 h 481"/>
                      <a:gd name="T10" fmla="*/ 221 w 246"/>
                      <a:gd name="T11" fmla="*/ 164 h 481"/>
                      <a:gd name="T12" fmla="*/ 197 w 246"/>
                      <a:gd name="T13" fmla="*/ 151 h 481"/>
                      <a:gd name="T14" fmla="*/ 171 w 246"/>
                      <a:gd name="T15" fmla="*/ 148 h 481"/>
                      <a:gd name="T16" fmla="*/ 170 w 246"/>
                      <a:gd name="T17" fmla="*/ 138 h 481"/>
                      <a:gd name="T18" fmla="*/ 171 w 246"/>
                      <a:gd name="T19" fmla="*/ 119 h 481"/>
                      <a:gd name="T20" fmla="*/ 172 w 246"/>
                      <a:gd name="T21" fmla="*/ 76 h 481"/>
                      <a:gd name="T22" fmla="*/ 150 w 246"/>
                      <a:gd name="T23" fmla="*/ 24 h 481"/>
                      <a:gd name="T24" fmla="*/ 107 w 246"/>
                      <a:gd name="T25" fmla="*/ 0 h 481"/>
                      <a:gd name="T26" fmla="*/ 61 w 246"/>
                      <a:gd name="T27" fmla="*/ 27 h 481"/>
                      <a:gd name="T28" fmla="*/ 46 w 246"/>
                      <a:gd name="T29" fmla="*/ 73 h 481"/>
                      <a:gd name="T30" fmla="*/ 45 w 246"/>
                      <a:gd name="T31" fmla="*/ 110 h 481"/>
                      <a:gd name="T32" fmla="*/ 42 w 246"/>
                      <a:gd name="T33" fmla="*/ 130 h 481"/>
                      <a:gd name="T34" fmla="*/ 42 w 246"/>
                      <a:gd name="T35" fmla="*/ 148 h 481"/>
                      <a:gd name="T36" fmla="*/ 50 w 246"/>
                      <a:gd name="T37" fmla="*/ 160 h 481"/>
                      <a:gd name="T38" fmla="*/ 36 w 246"/>
                      <a:gd name="T39" fmla="*/ 168 h 481"/>
                      <a:gd name="T40" fmla="*/ 11 w 246"/>
                      <a:gd name="T41" fmla="*/ 188 h 481"/>
                      <a:gd name="T42" fmla="*/ 1 w 246"/>
                      <a:gd name="T43" fmla="*/ 230 h 481"/>
                      <a:gd name="T44" fmla="*/ 2 w 246"/>
                      <a:gd name="T45" fmla="*/ 248 h 481"/>
                      <a:gd name="T46" fmla="*/ 16 w 246"/>
                      <a:gd name="T47" fmla="*/ 255 h 481"/>
                      <a:gd name="T48" fmla="*/ 30 w 246"/>
                      <a:gd name="T49" fmla="*/ 258 h 481"/>
                      <a:gd name="T50" fmla="*/ 48 w 246"/>
                      <a:gd name="T51" fmla="*/ 316 h 481"/>
                      <a:gd name="T52" fmla="*/ 58 w 246"/>
                      <a:gd name="T53" fmla="*/ 378 h 481"/>
                      <a:gd name="T54" fmla="*/ 53 w 246"/>
                      <a:gd name="T55" fmla="*/ 417 h 481"/>
                      <a:gd name="T56" fmla="*/ 50 w 246"/>
                      <a:gd name="T57" fmla="*/ 451 h 481"/>
                      <a:gd name="T58" fmla="*/ 54 w 246"/>
                      <a:gd name="T59" fmla="*/ 458 h 481"/>
                      <a:gd name="T60" fmla="*/ 56 w 246"/>
                      <a:gd name="T61" fmla="*/ 468 h 481"/>
                      <a:gd name="T62" fmla="*/ 246 w 246"/>
                      <a:gd name="T63" fmla="*/ 464 h 481"/>
                      <a:gd name="T64" fmla="*/ 245 w 246"/>
                      <a:gd name="T65" fmla="*/ 447 h 4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246" h="481">
                        <a:moveTo>
                          <a:pt x="245" y="447"/>
                        </a:moveTo>
                        <a:cubicBezTo>
                          <a:pt x="244" y="423"/>
                          <a:pt x="228" y="360"/>
                          <a:pt x="217" y="314"/>
                        </a:cubicBezTo>
                        <a:cubicBezTo>
                          <a:pt x="206" y="268"/>
                          <a:pt x="200" y="223"/>
                          <a:pt x="200" y="223"/>
                        </a:cubicBezTo>
                        <a:cubicBezTo>
                          <a:pt x="200" y="223"/>
                          <a:pt x="215" y="215"/>
                          <a:pt x="223" y="209"/>
                        </a:cubicBezTo>
                        <a:cubicBezTo>
                          <a:pt x="232" y="201"/>
                          <a:pt x="240" y="190"/>
                          <a:pt x="240" y="187"/>
                        </a:cubicBezTo>
                        <a:cubicBezTo>
                          <a:pt x="239" y="184"/>
                          <a:pt x="230" y="174"/>
                          <a:pt x="221" y="164"/>
                        </a:cubicBezTo>
                        <a:cubicBezTo>
                          <a:pt x="214" y="156"/>
                          <a:pt x="205" y="152"/>
                          <a:pt x="197" y="151"/>
                        </a:cubicBezTo>
                        <a:cubicBezTo>
                          <a:pt x="191" y="150"/>
                          <a:pt x="171" y="148"/>
                          <a:pt x="171" y="148"/>
                        </a:cubicBezTo>
                        <a:cubicBezTo>
                          <a:pt x="171" y="148"/>
                          <a:pt x="171" y="144"/>
                          <a:pt x="170" y="138"/>
                        </a:cubicBezTo>
                        <a:cubicBezTo>
                          <a:pt x="169" y="133"/>
                          <a:pt x="170" y="127"/>
                          <a:pt x="171" y="119"/>
                        </a:cubicBezTo>
                        <a:cubicBezTo>
                          <a:pt x="172" y="111"/>
                          <a:pt x="173" y="88"/>
                          <a:pt x="172" y="76"/>
                        </a:cubicBezTo>
                        <a:cubicBezTo>
                          <a:pt x="170" y="65"/>
                          <a:pt x="160" y="37"/>
                          <a:pt x="150" y="24"/>
                        </a:cubicBezTo>
                        <a:cubicBezTo>
                          <a:pt x="140" y="10"/>
                          <a:pt x="125" y="0"/>
                          <a:pt x="107" y="0"/>
                        </a:cubicBezTo>
                        <a:cubicBezTo>
                          <a:pt x="89" y="0"/>
                          <a:pt x="69" y="4"/>
                          <a:pt x="61" y="27"/>
                        </a:cubicBezTo>
                        <a:cubicBezTo>
                          <a:pt x="53" y="50"/>
                          <a:pt x="49" y="55"/>
                          <a:pt x="46" y="73"/>
                        </a:cubicBezTo>
                        <a:cubicBezTo>
                          <a:pt x="43" y="92"/>
                          <a:pt x="44" y="102"/>
                          <a:pt x="45" y="110"/>
                        </a:cubicBezTo>
                        <a:cubicBezTo>
                          <a:pt x="45" y="118"/>
                          <a:pt x="43" y="124"/>
                          <a:pt x="42" y="130"/>
                        </a:cubicBezTo>
                        <a:cubicBezTo>
                          <a:pt x="40" y="137"/>
                          <a:pt x="40" y="142"/>
                          <a:pt x="42" y="148"/>
                        </a:cubicBezTo>
                        <a:cubicBezTo>
                          <a:pt x="44" y="154"/>
                          <a:pt x="50" y="160"/>
                          <a:pt x="50" y="160"/>
                        </a:cubicBezTo>
                        <a:cubicBezTo>
                          <a:pt x="50" y="160"/>
                          <a:pt x="44" y="163"/>
                          <a:pt x="36" y="168"/>
                        </a:cubicBezTo>
                        <a:cubicBezTo>
                          <a:pt x="28" y="174"/>
                          <a:pt x="18" y="178"/>
                          <a:pt x="11" y="188"/>
                        </a:cubicBezTo>
                        <a:cubicBezTo>
                          <a:pt x="4" y="198"/>
                          <a:pt x="1" y="218"/>
                          <a:pt x="1" y="230"/>
                        </a:cubicBezTo>
                        <a:cubicBezTo>
                          <a:pt x="1" y="242"/>
                          <a:pt x="0" y="246"/>
                          <a:pt x="2" y="248"/>
                        </a:cubicBezTo>
                        <a:cubicBezTo>
                          <a:pt x="5" y="250"/>
                          <a:pt x="8" y="253"/>
                          <a:pt x="16" y="255"/>
                        </a:cubicBezTo>
                        <a:cubicBezTo>
                          <a:pt x="23" y="257"/>
                          <a:pt x="30" y="258"/>
                          <a:pt x="30" y="258"/>
                        </a:cubicBezTo>
                        <a:cubicBezTo>
                          <a:pt x="30" y="258"/>
                          <a:pt x="42" y="295"/>
                          <a:pt x="48" y="316"/>
                        </a:cubicBezTo>
                        <a:cubicBezTo>
                          <a:pt x="56" y="344"/>
                          <a:pt x="58" y="362"/>
                          <a:pt x="58" y="378"/>
                        </a:cubicBezTo>
                        <a:cubicBezTo>
                          <a:pt x="57" y="393"/>
                          <a:pt x="55" y="406"/>
                          <a:pt x="53" y="417"/>
                        </a:cubicBezTo>
                        <a:cubicBezTo>
                          <a:pt x="52" y="427"/>
                          <a:pt x="49" y="445"/>
                          <a:pt x="50" y="451"/>
                        </a:cubicBezTo>
                        <a:cubicBezTo>
                          <a:pt x="52" y="458"/>
                          <a:pt x="54" y="458"/>
                          <a:pt x="54" y="458"/>
                        </a:cubicBezTo>
                        <a:cubicBezTo>
                          <a:pt x="54" y="458"/>
                          <a:pt x="55" y="462"/>
                          <a:pt x="56" y="468"/>
                        </a:cubicBezTo>
                        <a:cubicBezTo>
                          <a:pt x="117" y="481"/>
                          <a:pt x="180" y="481"/>
                          <a:pt x="246" y="464"/>
                        </a:cubicBezTo>
                        <a:cubicBezTo>
                          <a:pt x="246" y="458"/>
                          <a:pt x="246" y="452"/>
                          <a:pt x="245" y="44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8" name="Freeform 167"/>
                  <p:cNvSpPr>
                    <a:spLocks/>
                  </p:cNvSpPr>
                  <p:nvPr/>
                </p:nvSpPr>
                <p:spPr bwMode="auto">
                  <a:xfrm>
                    <a:off x="3019425" y="4076700"/>
                    <a:ext cx="22225" cy="85725"/>
                  </a:xfrm>
                  <a:custGeom>
                    <a:avLst/>
                    <a:gdLst>
                      <a:gd name="T0" fmla="*/ 8 w 54"/>
                      <a:gd name="T1" fmla="*/ 0 h 220"/>
                      <a:gd name="T2" fmla="*/ 5 w 54"/>
                      <a:gd name="T3" fmla="*/ 45 h 220"/>
                      <a:gd name="T4" fmla="*/ 0 w 54"/>
                      <a:gd name="T5" fmla="*/ 101 h 220"/>
                      <a:gd name="T6" fmla="*/ 4 w 54"/>
                      <a:gd name="T7" fmla="*/ 145 h 220"/>
                      <a:gd name="T8" fmla="*/ 5 w 54"/>
                      <a:gd name="T9" fmla="*/ 188 h 220"/>
                      <a:gd name="T10" fmla="*/ 12 w 54"/>
                      <a:gd name="T11" fmla="*/ 207 h 220"/>
                      <a:gd name="T12" fmla="*/ 32 w 54"/>
                      <a:gd name="T13" fmla="*/ 219 h 220"/>
                      <a:gd name="T14" fmla="*/ 35 w 54"/>
                      <a:gd name="T15" fmla="*/ 216 h 220"/>
                      <a:gd name="T16" fmla="*/ 39 w 54"/>
                      <a:gd name="T17" fmla="*/ 217 h 220"/>
                      <a:gd name="T18" fmla="*/ 45 w 54"/>
                      <a:gd name="T19" fmla="*/ 217 h 220"/>
                      <a:gd name="T20" fmla="*/ 47 w 54"/>
                      <a:gd name="T21" fmla="*/ 214 h 220"/>
                      <a:gd name="T22" fmla="*/ 50 w 54"/>
                      <a:gd name="T23" fmla="*/ 214 h 220"/>
                      <a:gd name="T24" fmla="*/ 48 w 54"/>
                      <a:gd name="T25" fmla="*/ 208 h 220"/>
                      <a:gd name="T26" fmla="*/ 40 w 54"/>
                      <a:gd name="T27" fmla="*/ 196 h 220"/>
                      <a:gd name="T28" fmla="*/ 33 w 54"/>
                      <a:gd name="T29" fmla="*/ 181 h 220"/>
                      <a:gd name="T30" fmla="*/ 41 w 54"/>
                      <a:gd name="T31" fmla="*/ 182 h 220"/>
                      <a:gd name="T32" fmla="*/ 51 w 54"/>
                      <a:gd name="T33" fmla="*/ 187 h 220"/>
                      <a:gd name="T34" fmla="*/ 46 w 54"/>
                      <a:gd name="T35" fmla="*/ 169 h 220"/>
                      <a:gd name="T36" fmla="*/ 34 w 54"/>
                      <a:gd name="T37" fmla="*/ 150 h 220"/>
                      <a:gd name="T38" fmla="*/ 43 w 54"/>
                      <a:gd name="T39" fmla="*/ 108 h 220"/>
                      <a:gd name="T40" fmla="*/ 48 w 54"/>
                      <a:gd name="T41" fmla="*/ 49 h 220"/>
                      <a:gd name="T42" fmla="*/ 37 w 54"/>
                      <a:gd name="T43" fmla="*/ 7 h 220"/>
                      <a:gd name="T44" fmla="*/ 8 w 54"/>
                      <a:gd name="T45" fmla="*/ 0 h 2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" h="220">
                        <a:moveTo>
                          <a:pt x="8" y="0"/>
                        </a:moveTo>
                        <a:cubicBezTo>
                          <a:pt x="8" y="0"/>
                          <a:pt x="7" y="27"/>
                          <a:pt x="5" y="45"/>
                        </a:cubicBezTo>
                        <a:cubicBezTo>
                          <a:pt x="4" y="63"/>
                          <a:pt x="0" y="84"/>
                          <a:pt x="0" y="101"/>
                        </a:cubicBezTo>
                        <a:cubicBezTo>
                          <a:pt x="0" y="118"/>
                          <a:pt x="1" y="126"/>
                          <a:pt x="4" y="145"/>
                        </a:cubicBezTo>
                        <a:cubicBezTo>
                          <a:pt x="6" y="164"/>
                          <a:pt x="4" y="180"/>
                          <a:pt x="5" y="188"/>
                        </a:cubicBezTo>
                        <a:cubicBezTo>
                          <a:pt x="7" y="196"/>
                          <a:pt x="9" y="203"/>
                          <a:pt x="12" y="207"/>
                        </a:cubicBezTo>
                        <a:cubicBezTo>
                          <a:pt x="16" y="211"/>
                          <a:pt x="30" y="220"/>
                          <a:pt x="32" y="219"/>
                        </a:cubicBezTo>
                        <a:cubicBezTo>
                          <a:pt x="35" y="218"/>
                          <a:pt x="35" y="216"/>
                          <a:pt x="35" y="216"/>
                        </a:cubicBezTo>
                        <a:cubicBezTo>
                          <a:pt x="35" y="216"/>
                          <a:pt x="36" y="216"/>
                          <a:pt x="39" y="217"/>
                        </a:cubicBezTo>
                        <a:cubicBezTo>
                          <a:pt x="41" y="217"/>
                          <a:pt x="44" y="218"/>
                          <a:pt x="45" y="217"/>
                        </a:cubicBezTo>
                        <a:cubicBezTo>
                          <a:pt x="47" y="215"/>
                          <a:pt x="47" y="214"/>
                          <a:pt x="47" y="214"/>
                        </a:cubicBezTo>
                        <a:cubicBezTo>
                          <a:pt x="47" y="214"/>
                          <a:pt x="48" y="216"/>
                          <a:pt x="50" y="214"/>
                        </a:cubicBezTo>
                        <a:cubicBezTo>
                          <a:pt x="52" y="213"/>
                          <a:pt x="51" y="211"/>
                          <a:pt x="48" y="208"/>
                        </a:cubicBezTo>
                        <a:cubicBezTo>
                          <a:pt x="46" y="206"/>
                          <a:pt x="44" y="203"/>
                          <a:pt x="40" y="196"/>
                        </a:cubicBezTo>
                        <a:cubicBezTo>
                          <a:pt x="36" y="190"/>
                          <a:pt x="31" y="184"/>
                          <a:pt x="33" y="181"/>
                        </a:cubicBezTo>
                        <a:cubicBezTo>
                          <a:pt x="34" y="177"/>
                          <a:pt x="38" y="179"/>
                          <a:pt x="41" y="182"/>
                        </a:cubicBezTo>
                        <a:cubicBezTo>
                          <a:pt x="44" y="184"/>
                          <a:pt x="48" y="189"/>
                          <a:pt x="51" y="187"/>
                        </a:cubicBezTo>
                        <a:cubicBezTo>
                          <a:pt x="54" y="184"/>
                          <a:pt x="51" y="177"/>
                          <a:pt x="46" y="169"/>
                        </a:cubicBezTo>
                        <a:cubicBezTo>
                          <a:pt x="42" y="161"/>
                          <a:pt x="35" y="153"/>
                          <a:pt x="34" y="150"/>
                        </a:cubicBezTo>
                        <a:cubicBezTo>
                          <a:pt x="32" y="147"/>
                          <a:pt x="39" y="122"/>
                          <a:pt x="43" y="108"/>
                        </a:cubicBezTo>
                        <a:cubicBezTo>
                          <a:pt x="46" y="93"/>
                          <a:pt x="49" y="60"/>
                          <a:pt x="48" y="49"/>
                        </a:cubicBezTo>
                        <a:cubicBezTo>
                          <a:pt x="48" y="37"/>
                          <a:pt x="44" y="14"/>
                          <a:pt x="37" y="7"/>
                        </a:cubicBezTo>
                        <a:cubicBezTo>
                          <a:pt x="30" y="1"/>
                          <a:pt x="8" y="0"/>
                          <a:pt x="8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9" name="Freeform 168"/>
                  <p:cNvSpPr>
                    <a:spLocks/>
                  </p:cNvSpPr>
                  <p:nvPr/>
                </p:nvSpPr>
                <p:spPr bwMode="auto">
                  <a:xfrm>
                    <a:off x="3094038" y="4037013"/>
                    <a:ext cx="7938" cy="38100"/>
                  </a:xfrm>
                  <a:custGeom>
                    <a:avLst/>
                    <a:gdLst>
                      <a:gd name="T0" fmla="*/ 2 w 17"/>
                      <a:gd name="T1" fmla="*/ 1 h 96"/>
                      <a:gd name="T2" fmla="*/ 3 w 17"/>
                      <a:gd name="T3" fmla="*/ 41 h 96"/>
                      <a:gd name="T4" fmla="*/ 9 w 17"/>
                      <a:gd name="T5" fmla="*/ 96 h 96"/>
                      <a:gd name="T6" fmla="*/ 17 w 17"/>
                      <a:gd name="T7" fmla="*/ 93 h 96"/>
                      <a:gd name="T8" fmla="*/ 13 w 17"/>
                      <a:gd name="T9" fmla="*/ 47 h 96"/>
                      <a:gd name="T10" fmla="*/ 11 w 17"/>
                      <a:gd name="T11" fmla="*/ 2 h 96"/>
                      <a:gd name="T12" fmla="*/ 2 w 17"/>
                      <a:gd name="T13" fmla="*/ 1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" h="96">
                        <a:moveTo>
                          <a:pt x="2" y="1"/>
                        </a:moveTo>
                        <a:cubicBezTo>
                          <a:pt x="0" y="1"/>
                          <a:pt x="2" y="16"/>
                          <a:pt x="3" y="41"/>
                        </a:cubicBezTo>
                        <a:cubicBezTo>
                          <a:pt x="5" y="66"/>
                          <a:pt x="9" y="96"/>
                          <a:pt x="9" y="96"/>
                        </a:cubicBezTo>
                        <a:cubicBezTo>
                          <a:pt x="17" y="93"/>
                          <a:pt x="17" y="93"/>
                          <a:pt x="17" y="93"/>
                        </a:cubicBezTo>
                        <a:cubicBezTo>
                          <a:pt x="17" y="93"/>
                          <a:pt x="14" y="67"/>
                          <a:pt x="13" y="47"/>
                        </a:cubicBezTo>
                        <a:cubicBezTo>
                          <a:pt x="12" y="27"/>
                          <a:pt x="13" y="3"/>
                          <a:pt x="11" y="2"/>
                        </a:cubicBezTo>
                        <a:cubicBezTo>
                          <a:pt x="9" y="1"/>
                          <a:pt x="3" y="0"/>
                          <a:pt x="2" y="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0" name="Freeform 169"/>
                  <p:cNvSpPr>
                    <a:spLocks/>
                  </p:cNvSpPr>
                  <p:nvPr/>
                </p:nvSpPr>
                <p:spPr bwMode="auto">
                  <a:xfrm>
                    <a:off x="3097213" y="4068763"/>
                    <a:ext cx="53975" cy="119063"/>
                  </a:xfrm>
                  <a:custGeom>
                    <a:avLst/>
                    <a:gdLst>
                      <a:gd name="T0" fmla="*/ 6 w 139"/>
                      <a:gd name="T1" fmla="*/ 4 h 303"/>
                      <a:gd name="T2" fmla="*/ 1 w 139"/>
                      <a:gd name="T3" fmla="*/ 12 h 303"/>
                      <a:gd name="T4" fmla="*/ 1 w 139"/>
                      <a:gd name="T5" fmla="*/ 103 h 303"/>
                      <a:gd name="T6" fmla="*/ 9 w 139"/>
                      <a:gd name="T7" fmla="*/ 220 h 303"/>
                      <a:gd name="T8" fmla="*/ 20 w 139"/>
                      <a:gd name="T9" fmla="*/ 285 h 303"/>
                      <a:gd name="T10" fmla="*/ 66 w 139"/>
                      <a:gd name="T11" fmla="*/ 297 h 303"/>
                      <a:gd name="T12" fmla="*/ 92 w 139"/>
                      <a:gd name="T13" fmla="*/ 302 h 303"/>
                      <a:gd name="T14" fmla="*/ 128 w 139"/>
                      <a:gd name="T15" fmla="*/ 286 h 303"/>
                      <a:gd name="T16" fmla="*/ 139 w 139"/>
                      <a:gd name="T17" fmla="*/ 278 h 303"/>
                      <a:gd name="T18" fmla="*/ 131 w 139"/>
                      <a:gd name="T19" fmla="*/ 244 h 303"/>
                      <a:gd name="T20" fmla="*/ 120 w 139"/>
                      <a:gd name="T21" fmla="*/ 183 h 303"/>
                      <a:gd name="T22" fmla="*/ 107 w 139"/>
                      <a:gd name="T23" fmla="*/ 144 h 303"/>
                      <a:gd name="T24" fmla="*/ 37 w 139"/>
                      <a:gd name="T25" fmla="*/ 21 h 303"/>
                      <a:gd name="T26" fmla="*/ 6 w 139"/>
                      <a:gd name="T27" fmla="*/ 4 h 3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39" h="303">
                        <a:moveTo>
                          <a:pt x="6" y="4"/>
                        </a:moveTo>
                        <a:cubicBezTo>
                          <a:pt x="3" y="5"/>
                          <a:pt x="1" y="8"/>
                          <a:pt x="1" y="12"/>
                        </a:cubicBezTo>
                        <a:cubicBezTo>
                          <a:pt x="1" y="16"/>
                          <a:pt x="0" y="68"/>
                          <a:pt x="1" y="103"/>
                        </a:cubicBezTo>
                        <a:cubicBezTo>
                          <a:pt x="1" y="137"/>
                          <a:pt x="7" y="194"/>
                          <a:pt x="9" y="220"/>
                        </a:cubicBezTo>
                        <a:cubicBezTo>
                          <a:pt x="11" y="245"/>
                          <a:pt x="16" y="282"/>
                          <a:pt x="20" y="285"/>
                        </a:cubicBezTo>
                        <a:cubicBezTo>
                          <a:pt x="24" y="290"/>
                          <a:pt x="53" y="294"/>
                          <a:pt x="66" y="297"/>
                        </a:cubicBezTo>
                        <a:cubicBezTo>
                          <a:pt x="78" y="300"/>
                          <a:pt x="88" y="303"/>
                          <a:pt x="92" y="302"/>
                        </a:cubicBezTo>
                        <a:cubicBezTo>
                          <a:pt x="96" y="301"/>
                          <a:pt x="119" y="290"/>
                          <a:pt x="128" y="286"/>
                        </a:cubicBezTo>
                        <a:cubicBezTo>
                          <a:pt x="136" y="282"/>
                          <a:pt x="139" y="280"/>
                          <a:pt x="139" y="278"/>
                        </a:cubicBezTo>
                        <a:cubicBezTo>
                          <a:pt x="138" y="275"/>
                          <a:pt x="135" y="260"/>
                          <a:pt x="131" y="244"/>
                        </a:cubicBezTo>
                        <a:cubicBezTo>
                          <a:pt x="127" y="228"/>
                          <a:pt x="125" y="201"/>
                          <a:pt x="120" y="183"/>
                        </a:cubicBezTo>
                        <a:cubicBezTo>
                          <a:pt x="114" y="164"/>
                          <a:pt x="107" y="144"/>
                          <a:pt x="107" y="144"/>
                        </a:cubicBezTo>
                        <a:cubicBezTo>
                          <a:pt x="107" y="144"/>
                          <a:pt x="52" y="38"/>
                          <a:pt x="37" y="21"/>
                        </a:cubicBezTo>
                        <a:cubicBezTo>
                          <a:pt x="22" y="4"/>
                          <a:pt x="17" y="0"/>
                          <a:pt x="6" y="4"/>
                        </a:cubicBezTo>
                        <a:close/>
                      </a:path>
                    </a:pathLst>
                  </a:custGeom>
                  <a:solidFill>
                    <a:srgbClr val="1E1E1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1" name="Freeform 170"/>
                  <p:cNvSpPr>
                    <a:spLocks/>
                  </p:cNvSpPr>
                  <p:nvPr/>
                </p:nvSpPr>
                <p:spPr bwMode="auto">
                  <a:xfrm>
                    <a:off x="3154363" y="4141788"/>
                    <a:ext cx="46038" cy="19050"/>
                  </a:xfrm>
                  <a:custGeom>
                    <a:avLst/>
                    <a:gdLst>
                      <a:gd name="T0" fmla="*/ 62 w 117"/>
                      <a:gd name="T1" fmla="*/ 10 h 49"/>
                      <a:gd name="T2" fmla="*/ 29 w 117"/>
                      <a:gd name="T3" fmla="*/ 23 h 49"/>
                      <a:gd name="T4" fmla="*/ 11 w 117"/>
                      <a:gd name="T5" fmla="*/ 22 h 49"/>
                      <a:gd name="T6" fmla="*/ 4 w 117"/>
                      <a:gd name="T7" fmla="*/ 22 h 49"/>
                      <a:gd name="T8" fmla="*/ 1 w 117"/>
                      <a:gd name="T9" fmla="*/ 26 h 49"/>
                      <a:gd name="T10" fmla="*/ 1 w 117"/>
                      <a:gd name="T11" fmla="*/ 31 h 49"/>
                      <a:gd name="T12" fmla="*/ 1 w 117"/>
                      <a:gd name="T13" fmla="*/ 36 h 49"/>
                      <a:gd name="T14" fmla="*/ 4 w 117"/>
                      <a:gd name="T15" fmla="*/ 43 h 49"/>
                      <a:gd name="T16" fmla="*/ 9 w 117"/>
                      <a:gd name="T17" fmla="*/ 48 h 49"/>
                      <a:gd name="T18" fmla="*/ 24 w 117"/>
                      <a:gd name="T19" fmla="*/ 48 h 49"/>
                      <a:gd name="T20" fmla="*/ 66 w 117"/>
                      <a:gd name="T21" fmla="*/ 41 h 49"/>
                      <a:gd name="T22" fmla="*/ 104 w 117"/>
                      <a:gd name="T23" fmla="*/ 30 h 49"/>
                      <a:gd name="T24" fmla="*/ 117 w 117"/>
                      <a:gd name="T25" fmla="*/ 20 h 49"/>
                      <a:gd name="T26" fmla="*/ 96 w 117"/>
                      <a:gd name="T27" fmla="*/ 0 h 49"/>
                      <a:gd name="T28" fmla="*/ 80 w 117"/>
                      <a:gd name="T29" fmla="*/ 4 h 49"/>
                      <a:gd name="T30" fmla="*/ 62 w 117"/>
                      <a:gd name="T31" fmla="*/ 10 h 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17" h="49">
                        <a:moveTo>
                          <a:pt x="62" y="10"/>
                        </a:moveTo>
                        <a:cubicBezTo>
                          <a:pt x="49" y="16"/>
                          <a:pt x="34" y="22"/>
                          <a:pt x="29" y="23"/>
                        </a:cubicBezTo>
                        <a:cubicBezTo>
                          <a:pt x="24" y="24"/>
                          <a:pt x="15" y="22"/>
                          <a:pt x="11" y="22"/>
                        </a:cubicBezTo>
                        <a:cubicBezTo>
                          <a:pt x="10" y="21"/>
                          <a:pt x="7" y="21"/>
                          <a:pt x="4" y="22"/>
                        </a:cubicBezTo>
                        <a:cubicBezTo>
                          <a:pt x="3" y="22"/>
                          <a:pt x="1" y="24"/>
                          <a:pt x="1" y="26"/>
                        </a:cubicBezTo>
                        <a:cubicBezTo>
                          <a:pt x="0" y="28"/>
                          <a:pt x="1" y="30"/>
                          <a:pt x="1" y="31"/>
                        </a:cubicBezTo>
                        <a:cubicBezTo>
                          <a:pt x="1" y="31"/>
                          <a:pt x="1" y="34"/>
                          <a:pt x="1" y="36"/>
                        </a:cubicBezTo>
                        <a:cubicBezTo>
                          <a:pt x="2" y="39"/>
                          <a:pt x="4" y="41"/>
                          <a:pt x="4" y="43"/>
                        </a:cubicBezTo>
                        <a:cubicBezTo>
                          <a:pt x="5" y="45"/>
                          <a:pt x="7" y="47"/>
                          <a:pt x="9" y="48"/>
                        </a:cubicBezTo>
                        <a:cubicBezTo>
                          <a:pt x="11" y="48"/>
                          <a:pt x="19" y="49"/>
                          <a:pt x="24" y="48"/>
                        </a:cubicBezTo>
                        <a:cubicBezTo>
                          <a:pt x="28" y="47"/>
                          <a:pt x="49" y="45"/>
                          <a:pt x="66" y="41"/>
                        </a:cubicBezTo>
                        <a:cubicBezTo>
                          <a:pt x="82" y="38"/>
                          <a:pt x="97" y="33"/>
                          <a:pt x="104" y="30"/>
                        </a:cubicBezTo>
                        <a:cubicBezTo>
                          <a:pt x="111" y="26"/>
                          <a:pt x="117" y="20"/>
                          <a:pt x="117" y="20"/>
                        </a:cubicBezTo>
                        <a:cubicBezTo>
                          <a:pt x="96" y="0"/>
                          <a:pt x="96" y="0"/>
                          <a:pt x="96" y="0"/>
                        </a:cubicBezTo>
                        <a:cubicBezTo>
                          <a:pt x="96" y="0"/>
                          <a:pt x="88" y="1"/>
                          <a:pt x="80" y="4"/>
                        </a:cubicBezTo>
                        <a:cubicBezTo>
                          <a:pt x="71" y="7"/>
                          <a:pt x="62" y="10"/>
                          <a:pt x="62" y="1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2" name="Freeform 171"/>
                  <p:cNvSpPr>
                    <a:spLocks/>
                  </p:cNvSpPr>
                  <p:nvPr/>
                </p:nvSpPr>
                <p:spPr bwMode="auto">
                  <a:xfrm>
                    <a:off x="3190875" y="4057650"/>
                    <a:ext cx="98425" cy="274638"/>
                  </a:xfrm>
                  <a:custGeom>
                    <a:avLst/>
                    <a:gdLst>
                      <a:gd name="T0" fmla="*/ 31 w 248"/>
                      <a:gd name="T1" fmla="*/ 179 h 698"/>
                      <a:gd name="T2" fmla="*/ 11 w 248"/>
                      <a:gd name="T3" fmla="*/ 230 h 698"/>
                      <a:gd name="T4" fmla="*/ 44 w 248"/>
                      <a:gd name="T5" fmla="*/ 255 h 698"/>
                      <a:gd name="T6" fmla="*/ 76 w 248"/>
                      <a:gd name="T7" fmla="*/ 237 h 698"/>
                      <a:gd name="T8" fmla="*/ 82 w 248"/>
                      <a:gd name="T9" fmla="*/ 358 h 698"/>
                      <a:gd name="T10" fmla="*/ 87 w 248"/>
                      <a:gd name="T11" fmla="*/ 395 h 698"/>
                      <a:gd name="T12" fmla="*/ 75 w 248"/>
                      <a:gd name="T13" fmla="*/ 531 h 698"/>
                      <a:gd name="T14" fmla="*/ 82 w 248"/>
                      <a:gd name="T15" fmla="*/ 626 h 698"/>
                      <a:gd name="T16" fmla="*/ 86 w 248"/>
                      <a:gd name="T17" fmla="*/ 656 h 698"/>
                      <a:gd name="T18" fmla="*/ 64 w 248"/>
                      <a:gd name="T19" fmla="*/ 677 h 698"/>
                      <a:gd name="T20" fmla="*/ 62 w 248"/>
                      <a:gd name="T21" fmla="*/ 686 h 698"/>
                      <a:gd name="T22" fmla="*/ 88 w 248"/>
                      <a:gd name="T23" fmla="*/ 693 h 698"/>
                      <a:gd name="T24" fmla="*/ 130 w 248"/>
                      <a:gd name="T25" fmla="*/ 679 h 698"/>
                      <a:gd name="T26" fmla="*/ 136 w 248"/>
                      <a:gd name="T27" fmla="*/ 664 h 698"/>
                      <a:gd name="T28" fmla="*/ 132 w 248"/>
                      <a:gd name="T29" fmla="*/ 657 h 698"/>
                      <a:gd name="T30" fmla="*/ 137 w 248"/>
                      <a:gd name="T31" fmla="*/ 654 h 698"/>
                      <a:gd name="T32" fmla="*/ 138 w 248"/>
                      <a:gd name="T33" fmla="*/ 636 h 698"/>
                      <a:gd name="T34" fmla="*/ 133 w 248"/>
                      <a:gd name="T35" fmla="*/ 531 h 698"/>
                      <a:gd name="T36" fmla="*/ 159 w 248"/>
                      <a:gd name="T37" fmla="*/ 443 h 698"/>
                      <a:gd name="T38" fmla="*/ 176 w 248"/>
                      <a:gd name="T39" fmla="*/ 530 h 698"/>
                      <a:gd name="T40" fmla="*/ 180 w 248"/>
                      <a:gd name="T41" fmla="*/ 601 h 698"/>
                      <a:gd name="T42" fmla="*/ 181 w 248"/>
                      <a:gd name="T43" fmla="*/ 655 h 698"/>
                      <a:gd name="T44" fmla="*/ 172 w 248"/>
                      <a:gd name="T45" fmla="*/ 671 h 698"/>
                      <a:gd name="T46" fmla="*/ 154 w 248"/>
                      <a:gd name="T47" fmla="*/ 685 h 698"/>
                      <a:gd name="T48" fmla="*/ 174 w 248"/>
                      <a:gd name="T49" fmla="*/ 697 h 698"/>
                      <a:gd name="T50" fmla="*/ 238 w 248"/>
                      <a:gd name="T51" fmla="*/ 686 h 698"/>
                      <a:gd name="T52" fmla="*/ 237 w 248"/>
                      <a:gd name="T53" fmla="*/ 673 h 698"/>
                      <a:gd name="T54" fmla="*/ 235 w 248"/>
                      <a:gd name="T55" fmla="*/ 658 h 698"/>
                      <a:gd name="T56" fmla="*/ 234 w 248"/>
                      <a:gd name="T57" fmla="*/ 637 h 698"/>
                      <a:gd name="T58" fmla="*/ 229 w 248"/>
                      <a:gd name="T59" fmla="*/ 523 h 698"/>
                      <a:gd name="T60" fmla="*/ 233 w 248"/>
                      <a:gd name="T61" fmla="*/ 406 h 698"/>
                      <a:gd name="T62" fmla="*/ 236 w 248"/>
                      <a:gd name="T63" fmla="*/ 380 h 698"/>
                      <a:gd name="T64" fmla="*/ 244 w 248"/>
                      <a:gd name="T65" fmla="*/ 331 h 698"/>
                      <a:gd name="T66" fmla="*/ 241 w 248"/>
                      <a:gd name="T67" fmla="*/ 230 h 698"/>
                      <a:gd name="T68" fmla="*/ 244 w 248"/>
                      <a:gd name="T69" fmla="*/ 197 h 698"/>
                      <a:gd name="T70" fmla="*/ 219 w 248"/>
                      <a:gd name="T71" fmla="*/ 123 h 698"/>
                      <a:gd name="T72" fmla="*/ 186 w 248"/>
                      <a:gd name="T73" fmla="*/ 115 h 698"/>
                      <a:gd name="T74" fmla="*/ 199 w 248"/>
                      <a:gd name="T75" fmla="*/ 84 h 698"/>
                      <a:gd name="T76" fmla="*/ 202 w 248"/>
                      <a:gd name="T77" fmla="*/ 69 h 698"/>
                      <a:gd name="T78" fmla="*/ 206 w 248"/>
                      <a:gd name="T79" fmla="*/ 54 h 698"/>
                      <a:gd name="T80" fmla="*/ 175 w 248"/>
                      <a:gd name="T81" fmla="*/ 6 h 698"/>
                      <a:gd name="T82" fmla="*/ 109 w 248"/>
                      <a:gd name="T83" fmla="*/ 23 h 698"/>
                      <a:gd name="T84" fmla="*/ 110 w 248"/>
                      <a:gd name="T85" fmla="*/ 88 h 698"/>
                      <a:gd name="T86" fmla="*/ 117 w 248"/>
                      <a:gd name="T87" fmla="*/ 104 h 698"/>
                      <a:gd name="T88" fmla="*/ 100 w 248"/>
                      <a:gd name="T89" fmla="*/ 122 h 698"/>
                      <a:gd name="T90" fmla="*/ 65 w 248"/>
                      <a:gd name="T91" fmla="*/ 141 h 69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</a:cxnLst>
                    <a:rect l="0" t="0" r="r" b="b"/>
                    <a:pathLst>
                      <a:path w="248" h="698">
                        <a:moveTo>
                          <a:pt x="65" y="141"/>
                        </a:moveTo>
                        <a:cubicBezTo>
                          <a:pt x="53" y="148"/>
                          <a:pt x="42" y="165"/>
                          <a:pt x="31" y="179"/>
                        </a:cubicBezTo>
                        <a:cubicBezTo>
                          <a:pt x="19" y="193"/>
                          <a:pt x="0" y="210"/>
                          <a:pt x="0" y="212"/>
                        </a:cubicBezTo>
                        <a:cubicBezTo>
                          <a:pt x="0" y="214"/>
                          <a:pt x="1" y="219"/>
                          <a:pt x="11" y="230"/>
                        </a:cubicBezTo>
                        <a:cubicBezTo>
                          <a:pt x="22" y="242"/>
                          <a:pt x="28" y="249"/>
                          <a:pt x="33" y="252"/>
                        </a:cubicBezTo>
                        <a:cubicBezTo>
                          <a:pt x="38" y="256"/>
                          <a:pt x="43" y="257"/>
                          <a:pt x="44" y="255"/>
                        </a:cubicBezTo>
                        <a:cubicBezTo>
                          <a:pt x="45" y="253"/>
                          <a:pt x="49" y="250"/>
                          <a:pt x="58" y="245"/>
                        </a:cubicBezTo>
                        <a:cubicBezTo>
                          <a:pt x="66" y="239"/>
                          <a:pt x="76" y="237"/>
                          <a:pt x="76" y="237"/>
                        </a:cubicBezTo>
                        <a:cubicBezTo>
                          <a:pt x="76" y="237"/>
                          <a:pt x="80" y="266"/>
                          <a:pt x="83" y="287"/>
                        </a:cubicBezTo>
                        <a:cubicBezTo>
                          <a:pt x="85" y="309"/>
                          <a:pt x="81" y="339"/>
                          <a:pt x="82" y="358"/>
                        </a:cubicBezTo>
                        <a:cubicBezTo>
                          <a:pt x="82" y="378"/>
                          <a:pt x="82" y="392"/>
                          <a:pt x="84" y="393"/>
                        </a:cubicBezTo>
                        <a:cubicBezTo>
                          <a:pt x="85" y="395"/>
                          <a:pt x="87" y="395"/>
                          <a:pt x="87" y="395"/>
                        </a:cubicBezTo>
                        <a:cubicBezTo>
                          <a:pt x="87" y="395"/>
                          <a:pt x="80" y="420"/>
                          <a:pt x="77" y="445"/>
                        </a:cubicBezTo>
                        <a:cubicBezTo>
                          <a:pt x="74" y="470"/>
                          <a:pt x="72" y="511"/>
                          <a:pt x="75" y="531"/>
                        </a:cubicBezTo>
                        <a:cubicBezTo>
                          <a:pt x="78" y="551"/>
                          <a:pt x="78" y="568"/>
                          <a:pt x="81" y="587"/>
                        </a:cubicBezTo>
                        <a:cubicBezTo>
                          <a:pt x="84" y="606"/>
                          <a:pt x="83" y="616"/>
                          <a:pt x="82" y="626"/>
                        </a:cubicBezTo>
                        <a:cubicBezTo>
                          <a:pt x="81" y="635"/>
                          <a:pt x="82" y="654"/>
                          <a:pt x="83" y="655"/>
                        </a:cubicBezTo>
                        <a:cubicBezTo>
                          <a:pt x="84" y="656"/>
                          <a:pt x="86" y="656"/>
                          <a:pt x="86" y="656"/>
                        </a:cubicBezTo>
                        <a:cubicBezTo>
                          <a:pt x="86" y="656"/>
                          <a:pt x="83" y="661"/>
                          <a:pt x="78" y="666"/>
                        </a:cubicBezTo>
                        <a:cubicBezTo>
                          <a:pt x="75" y="671"/>
                          <a:pt x="66" y="675"/>
                          <a:pt x="64" y="677"/>
                        </a:cubicBezTo>
                        <a:cubicBezTo>
                          <a:pt x="61" y="679"/>
                          <a:pt x="62" y="682"/>
                          <a:pt x="62" y="682"/>
                        </a:cubicBezTo>
                        <a:cubicBezTo>
                          <a:pt x="62" y="682"/>
                          <a:pt x="61" y="684"/>
                          <a:pt x="62" y="686"/>
                        </a:cubicBezTo>
                        <a:cubicBezTo>
                          <a:pt x="63" y="687"/>
                          <a:pt x="65" y="688"/>
                          <a:pt x="67" y="689"/>
                        </a:cubicBezTo>
                        <a:cubicBezTo>
                          <a:pt x="71" y="690"/>
                          <a:pt x="82" y="693"/>
                          <a:pt x="88" y="693"/>
                        </a:cubicBezTo>
                        <a:cubicBezTo>
                          <a:pt x="94" y="693"/>
                          <a:pt x="101" y="692"/>
                          <a:pt x="110" y="688"/>
                        </a:cubicBezTo>
                        <a:cubicBezTo>
                          <a:pt x="120" y="685"/>
                          <a:pt x="124" y="682"/>
                          <a:pt x="130" y="679"/>
                        </a:cubicBezTo>
                        <a:cubicBezTo>
                          <a:pt x="135" y="675"/>
                          <a:pt x="137" y="674"/>
                          <a:pt x="137" y="671"/>
                        </a:cubicBezTo>
                        <a:cubicBezTo>
                          <a:pt x="137" y="669"/>
                          <a:pt x="137" y="666"/>
                          <a:pt x="136" y="664"/>
                        </a:cubicBezTo>
                        <a:cubicBezTo>
                          <a:pt x="135" y="661"/>
                          <a:pt x="133" y="659"/>
                          <a:pt x="133" y="659"/>
                        </a:cubicBezTo>
                        <a:cubicBezTo>
                          <a:pt x="133" y="659"/>
                          <a:pt x="133" y="658"/>
                          <a:pt x="132" y="657"/>
                        </a:cubicBezTo>
                        <a:cubicBezTo>
                          <a:pt x="132" y="656"/>
                          <a:pt x="132" y="655"/>
                          <a:pt x="132" y="655"/>
                        </a:cubicBezTo>
                        <a:cubicBezTo>
                          <a:pt x="132" y="655"/>
                          <a:pt x="136" y="654"/>
                          <a:pt x="137" y="654"/>
                        </a:cubicBezTo>
                        <a:cubicBezTo>
                          <a:pt x="139" y="654"/>
                          <a:pt x="139" y="653"/>
                          <a:pt x="139" y="650"/>
                        </a:cubicBezTo>
                        <a:cubicBezTo>
                          <a:pt x="139" y="647"/>
                          <a:pt x="139" y="639"/>
                          <a:pt x="138" y="636"/>
                        </a:cubicBezTo>
                        <a:cubicBezTo>
                          <a:pt x="138" y="632"/>
                          <a:pt x="137" y="609"/>
                          <a:pt x="135" y="597"/>
                        </a:cubicBezTo>
                        <a:cubicBezTo>
                          <a:pt x="134" y="585"/>
                          <a:pt x="132" y="548"/>
                          <a:pt x="133" y="531"/>
                        </a:cubicBezTo>
                        <a:cubicBezTo>
                          <a:pt x="134" y="513"/>
                          <a:pt x="140" y="488"/>
                          <a:pt x="147" y="470"/>
                        </a:cubicBezTo>
                        <a:cubicBezTo>
                          <a:pt x="154" y="453"/>
                          <a:pt x="159" y="443"/>
                          <a:pt x="159" y="443"/>
                        </a:cubicBezTo>
                        <a:cubicBezTo>
                          <a:pt x="159" y="443"/>
                          <a:pt x="161" y="457"/>
                          <a:pt x="165" y="477"/>
                        </a:cubicBezTo>
                        <a:cubicBezTo>
                          <a:pt x="170" y="498"/>
                          <a:pt x="173" y="516"/>
                          <a:pt x="176" y="530"/>
                        </a:cubicBezTo>
                        <a:cubicBezTo>
                          <a:pt x="178" y="545"/>
                          <a:pt x="179" y="565"/>
                          <a:pt x="180" y="571"/>
                        </a:cubicBezTo>
                        <a:cubicBezTo>
                          <a:pt x="180" y="577"/>
                          <a:pt x="180" y="591"/>
                          <a:pt x="180" y="601"/>
                        </a:cubicBezTo>
                        <a:cubicBezTo>
                          <a:pt x="180" y="610"/>
                          <a:pt x="180" y="631"/>
                          <a:pt x="180" y="637"/>
                        </a:cubicBezTo>
                        <a:cubicBezTo>
                          <a:pt x="181" y="644"/>
                          <a:pt x="181" y="652"/>
                          <a:pt x="181" y="655"/>
                        </a:cubicBezTo>
                        <a:cubicBezTo>
                          <a:pt x="182" y="658"/>
                          <a:pt x="183" y="663"/>
                          <a:pt x="183" y="663"/>
                        </a:cubicBezTo>
                        <a:cubicBezTo>
                          <a:pt x="183" y="663"/>
                          <a:pt x="178" y="668"/>
                          <a:pt x="172" y="671"/>
                        </a:cubicBezTo>
                        <a:cubicBezTo>
                          <a:pt x="167" y="675"/>
                          <a:pt x="157" y="676"/>
                          <a:pt x="155" y="678"/>
                        </a:cubicBezTo>
                        <a:cubicBezTo>
                          <a:pt x="153" y="681"/>
                          <a:pt x="154" y="685"/>
                          <a:pt x="154" y="685"/>
                        </a:cubicBezTo>
                        <a:cubicBezTo>
                          <a:pt x="154" y="685"/>
                          <a:pt x="153" y="688"/>
                          <a:pt x="154" y="691"/>
                        </a:cubicBezTo>
                        <a:cubicBezTo>
                          <a:pt x="156" y="694"/>
                          <a:pt x="163" y="698"/>
                          <a:pt x="174" y="697"/>
                        </a:cubicBezTo>
                        <a:cubicBezTo>
                          <a:pt x="186" y="696"/>
                          <a:pt x="199" y="694"/>
                          <a:pt x="213" y="692"/>
                        </a:cubicBezTo>
                        <a:cubicBezTo>
                          <a:pt x="227" y="690"/>
                          <a:pt x="238" y="687"/>
                          <a:pt x="238" y="686"/>
                        </a:cubicBezTo>
                        <a:cubicBezTo>
                          <a:pt x="239" y="684"/>
                          <a:pt x="238" y="682"/>
                          <a:pt x="238" y="679"/>
                        </a:cubicBezTo>
                        <a:cubicBezTo>
                          <a:pt x="238" y="676"/>
                          <a:pt x="237" y="673"/>
                          <a:pt x="237" y="673"/>
                        </a:cubicBezTo>
                        <a:cubicBezTo>
                          <a:pt x="237" y="673"/>
                          <a:pt x="237" y="669"/>
                          <a:pt x="237" y="666"/>
                        </a:cubicBezTo>
                        <a:cubicBezTo>
                          <a:pt x="236" y="662"/>
                          <a:pt x="235" y="658"/>
                          <a:pt x="235" y="658"/>
                        </a:cubicBezTo>
                        <a:cubicBezTo>
                          <a:pt x="235" y="658"/>
                          <a:pt x="237" y="656"/>
                          <a:pt x="236" y="654"/>
                        </a:cubicBezTo>
                        <a:cubicBezTo>
                          <a:pt x="236" y="651"/>
                          <a:pt x="235" y="642"/>
                          <a:pt x="234" y="637"/>
                        </a:cubicBezTo>
                        <a:cubicBezTo>
                          <a:pt x="233" y="632"/>
                          <a:pt x="232" y="611"/>
                          <a:pt x="231" y="597"/>
                        </a:cubicBezTo>
                        <a:cubicBezTo>
                          <a:pt x="230" y="583"/>
                          <a:pt x="229" y="539"/>
                          <a:pt x="229" y="523"/>
                        </a:cubicBezTo>
                        <a:cubicBezTo>
                          <a:pt x="229" y="507"/>
                          <a:pt x="231" y="471"/>
                          <a:pt x="232" y="454"/>
                        </a:cubicBezTo>
                        <a:cubicBezTo>
                          <a:pt x="232" y="437"/>
                          <a:pt x="232" y="419"/>
                          <a:pt x="233" y="406"/>
                        </a:cubicBezTo>
                        <a:cubicBezTo>
                          <a:pt x="233" y="392"/>
                          <a:pt x="234" y="384"/>
                          <a:pt x="234" y="384"/>
                        </a:cubicBezTo>
                        <a:cubicBezTo>
                          <a:pt x="234" y="384"/>
                          <a:pt x="236" y="383"/>
                          <a:pt x="236" y="380"/>
                        </a:cubicBezTo>
                        <a:cubicBezTo>
                          <a:pt x="236" y="376"/>
                          <a:pt x="238" y="356"/>
                          <a:pt x="238" y="356"/>
                        </a:cubicBezTo>
                        <a:cubicBezTo>
                          <a:pt x="238" y="356"/>
                          <a:pt x="240" y="340"/>
                          <a:pt x="244" y="331"/>
                        </a:cubicBezTo>
                        <a:cubicBezTo>
                          <a:pt x="247" y="321"/>
                          <a:pt x="246" y="303"/>
                          <a:pt x="244" y="283"/>
                        </a:cubicBezTo>
                        <a:cubicBezTo>
                          <a:pt x="242" y="264"/>
                          <a:pt x="241" y="230"/>
                          <a:pt x="241" y="230"/>
                        </a:cubicBezTo>
                        <a:cubicBezTo>
                          <a:pt x="241" y="230"/>
                          <a:pt x="248" y="227"/>
                          <a:pt x="248" y="225"/>
                        </a:cubicBezTo>
                        <a:cubicBezTo>
                          <a:pt x="248" y="223"/>
                          <a:pt x="245" y="211"/>
                          <a:pt x="244" y="197"/>
                        </a:cubicBezTo>
                        <a:cubicBezTo>
                          <a:pt x="242" y="183"/>
                          <a:pt x="240" y="172"/>
                          <a:pt x="237" y="156"/>
                        </a:cubicBezTo>
                        <a:cubicBezTo>
                          <a:pt x="233" y="140"/>
                          <a:pt x="225" y="129"/>
                          <a:pt x="219" y="123"/>
                        </a:cubicBezTo>
                        <a:cubicBezTo>
                          <a:pt x="213" y="118"/>
                          <a:pt x="207" y="118"/>
                          <a:pt x="199" y="117"/>
                        </a:cubicBezTo>
                        <a:cubicBezTo>
                          <a:pt x="192" y="116"/>
                          <a:pt x="186" y="115"/>
                          <a:pt x="186" y="115"/>
                        </a:cubicBezTo>
                        <a:cubicBezTo>
                          <a:pt x="186" y="115"/>
                          <a:pt x="192" y="111"/>
                          <a:pt x="195" y="103"/>
                        </a:cubicBezTo>
                        <a:cubicBezTo>
                          <a:pt x="197" y="96"/>
                          <a:pt x="199" y="89"/>
                          <a:pt x="199" y="84"/>
                        </a:cubicBezTo>
                        <a:cubicBezTo>
                          <a:pt x="199" y="79"/>
                          <a:pt x="199" y="76"/>
                          <a:pt x="199" y="74"/>
                        </a:cubicBezTo>
                        <a:cubicBezTo>
                          <a:pt x="200" y="72"/>
                          <a:pt x="201" y="70"/>
                          <a:pt x="202" y="69"/>
                        </a:cubicBezTo>
                        <a:cubicBezTo>
                          <a:pt x="203" y="67"/>
                          <a:pt x="203" y="60"/>
                          <a:pt x="203" y="60"/>
                        </a:cubicBezTo>
                        <a:cubicBezTo>
                          <a:pt x="203" y="60"/>
                          <a:pt x="205" y="58"/>
                          <a:pt x="206" y="54"/>
                        </a:cubicBezTo>
                        <a:cubicBezTo>
                          <a:pt x="207" y="50"/>
                          <a:pt x="207" y="38"/>
                          <a:pt x="203" y="30"/>
                        </a:cubicBezTo>
                        <a:cubicBezTo>
                          <a:pt x="199" y="22"/>
                          <a:pt x="185" y="12"/>
                          <a:pt x="175" y="6"/>
                        </a:cubicBezTo>
                        <a:cubicBezTo>
                          <a:pt x="165" y="0"/>
                          <a:pt x="152" y="1"/>
                          <a:pt x="141" y="3"/>
                        </a:cubicBezTo>
                        <a:cubicBezTo>
                          <a:pt x="131" y="5"/>
                          <a:pt x="116" y="11"/>
                          <a:pt x="109" y="23"/>
                        </a:cubicBezTo>
                        <a:cubicBezTo>
                          <a:pt x="102" y="35"/>
                          <a:pt x="101" y="53"/>
                          <a:pt x="103" y="64"/>
                        </a:cubicBezTo>
                        <a:cubicBezTo>
                          <a:pt x="104" y="76"/>
                          <a:pt x="106" y="82"/>
                          <a:pt x="110" y="88"/>
                        </a:cubicBezTo>
                        <a:cubicBezTo>
                          <a:pt x="113" y="92"/>
                          <a:pt x="117" y="93"/>
                          <a:pt x="117" y="93"/>
                        </a:cubicBezTo>
                        <a:cubicBezTo>
                          <a:pt x="117" y="93"/>
                          <a:pt x="117" y="96"/>
                          <a:pt x="117" y="104"/>
                        </a:cubicBezTo>
                        <a:cubicBezTo>
                          <a:pt x="116" y="113"/>
                          <a:pt x="115" y="118"/>
                          <a:pt x="115" y="118"/>
                        </a:cubicBezTo>
                        <a:cubicBezTo>
                          <a:pt x="115" y="118"/>
                          <a:pt x="107" y="119"/>
                          <a:pt x="100" y="122"/>
                        </a:cubicBezTo>
                        <a:cubicBezTo>
                          <a:pt x="94" y="125"/>
                          <a:pt x="89" y="127"/>
                          <a:pt x="80" y="132"/>
                        </a:cubicBezTo>
                        <a:cubicBezTo>
                          <a:pt x="71" y="137"/>
                          <a:pt x="65" y="141"/>
                          <a:pt x="65" y="14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3" name="Freeform 172"/>
                  <p:cNvSpPr>
                    <a:spLocks/>
                  </p:cNvSpPr>
                  <p:nvPr/>
                </p:nvSpPr>
                <p:spPr bwMode="auto">
                  <a:xfrm>
                    <a:off x="3276600" y="4146550"/>
                    <a:ext cx="20638" cy="60325"/>
                  </a:xfrm>
                  <a:custGeom>
                    <a:avLst/>
                    <a:gdLst>
                      <a:gd name="T0" fmla="*/ 49 w 52"/>
                      <a:gd name="T1" fmla="*/ 148 h 152"/>
                      <a:gd name="T2" fmla="*/ 51 w 52"/>
                      <a:gd name="T3" fmla="*/ 129 h 152"/>
                      <a:gd name="T4" fmla="*/ 47 w 52"/>
                      <a:gd name="T5" fmla="*/ 104 h 152"/>
                      <a:gd name="T6" fmla="*/ 44 w 52"/>
                      <a:gd name="T7" fmla="*/ 61 h 152"/>
                      <a:gd name="T8" fmla="*/ 36 w 52"/>
                      <a:gd name="T9" fmla="*/ 12 h 152"/>
                      <a:gd name="T10" fmla="*/ 31 w 52"/>
                      <a:gd name="T11" fmla="*/ 0 h 152"/>
                      <a:gd name="T12" fmla="*/ 14 w 52"/>
                      <a:gd name="T13" fmla="*/ 4 h 152"/>
                      <a:gd name="T14" fmla="*/ 0 w 52"/>
                      <a:gd name="T15" fmla="*/ 12 h 152"/>
                      <a:gd name="T16" fmla="*/ 9 w 52"/>
                      <a:gd name="T17" fmla="*/ 41 h 152"/>
                      <a:gd name="T18" fmla="*/ 21 w 52"/>
                      <a:gd name="T19" fmla="*/ 84 h 152"/>
                      <a:gd name="T20" fmla="*/ 21 w 52"/>
                      <a:gd name="T21" fmla="*/ 103 h 152"/>
                      <a:gd name="T22" fmla="*/ 20 w 52"/>
                      <a:gd name="T23" fmla="*/ 130 h 152"/>
                      <a:gd name="T24" fmla="*/ 23 w 52"/>
                      <a:gd name="T25" fmla="*/ 141 h 152"/>
                      <a:gd name="T26" fmla="*/ 29 w 52"/>
                      <a:gd name="T27" fmla="*/ 142 h 152"/>
                      <a:gd name="T28" fmla="*/ 24 w 52"/>
                      <a:gd name="T29" fmla="*/ 143 h 152"/>
                      <a:gd name="T30" fmla="*/ 24 w 52"/>
                      <a:gd name="T31" fmla="*/ 143 h 152"/>
                      <a:gd name="T32" fmla="*/ 46 w 52"/>
                      <a:gd name="T33" fmla="*/ 150 h 152"/>
                      <a:gd name="T34" fmla="*/ 49 w 52"/>
                      <a:gd name="T35" fmla="*/ 148 h 1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52" h="152">
                        <a:moveTo>
                          <a:pt x="49" y="148"/>
                        </a:moveTo>
                        <a:cubicBezTo>
                          <a:pt x="51" y="145"/>
                          <a:pt x="52" y="137"/>
                          <a:pt x="51" y="129"/>
                        </a:cubicBezTo>
                        <a:cubicBezTo>
                          <a:pt x="50" y="122"/>
                          <a:pt x="48" y="108"/>
                          <a:pt x="47" y="104"/>
                        </a:cubicBezTo>
                        <a:cubicBezTo>
                          <a:pt x="47" y="99"/>
                          <a:pt x="45" y="75"/>
                          <a:pt x="44" y="61"/>
                        </a:cubicBezTo>
                        <a:cubicBezTo>
                          <a:pt x="43" y="47"/>
                          <a:pt x="38" y="19"/>
                          <a:pt x="36" y="12"/>
                        </a:cubicBezTo>
                        <a:cubicBezTo>
                          <a:pt x="34" y="5"/>
                          <a:pt x="31" y="0"/>
                          <a:pt x="31" y="0"/>
                        </a:cubicBezTo>
                        <a:cubicBezTo>
                          <a:pt x="31" y="0"/>
                          <a:pt x="22" y="0"/>
                          <a:pt x="14" y="4"/>
                        </a:cubicBezTo>
                        <a:cubicBezTo>
                          <a:pt x="7" y="7"/>
                          <a:pt x="0" y="12"/>
                          <a:pt x="0" y="12"/>
                        </a:cubicBezTo>
                        <a:cubicBezTo>
                          <a:pt x="0" y="12"/>
                          <a:pt x="5" y="27"/>
                          <a:pt x="9" y="41"/>
                        </a:cubicBezTo>
                        <a:cubicBezTo>
                          <a:pt x="14" y="56"/>
                          <a:pt x="20" y="76"/>
                          <a:pt x="21" y="84"/>
                        </a:cubicBezTo>
                        <a:cubicBezTo>
                          <a:pt x="21" y="91"/>
                          <a:pt x="22" y="98"/>
                          <a:pt x="21" y="103"/>
                        </a:cubicBezTo>
                        <a:cubicBezTo>
                          <a:pt x="20" y="109"/>
                          <a:pt x="19" y="125"/>
                          <a:pt x="20" y="130"/>
                        </a:cubicBezTo>
                        <a:cubicBezTo>
                          <a:pt x="20" y="136"/>
                          <a:pt x="20" y="140"/>
                          <a:pt x="23" y="141"/>
                        </a:cubicBezTo>
                        <a:cubicBezTo>
                          <a:pt x="25" y="142"/>
                          <a:pt x="29" y="142"/>
                          <a:pt x="29" y="142"/>
                        </a:cubicBezTo>
                        <a:cubicBezTo>
                          <a:pt x="29" y="142"/>
                          <a:pt x="26" y="143"/>
                          <a:pt x="24" y="143"/>
                        </a:cubicBezTo>
                        <a:cubicBezTo>
                          <a:pt x="24" y="143"/>
                          <a:pt x="24" y="143"/>
                          <a:pt x="24" y="143"/>
                        </a:cubicBezTo>
                        <a:cubicBezTo>
                          <a:pt x="28" y="149"/>
                          <a:pt x="35" y="152"/>
                          <a:pt x="46" y="150"/>
                        </a:cubicBezTo>
                        <a:cubicBezTo>
                          <a:pt x="47" y="149"/>
                          <a:pt x="48" y="148"/>
                          <a:pt x="49" y="14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4" name="Freeform 173"/>
                  <p:cNvSpPr>
                    <a:spLocks/>
                  </p:cNvSpPr>
                  <p:nvPr/>
                </p:nvSpPr>
                <p:spPr bwMode="auto">
                  <a:xfrm>
                    <a:off x="2841625" y="4022725"/>
                    <a:ext cx="152400" cy="209550"/>
                  </a:xfrm>
                  <a:custGeom>
                    <a:avLst/>
                    <a:gdLst>
                      <a:gd name="T0" fmla="*/ 151 w 384"/>
                      <a:gd name="T1" fmla="*/ 139 h 529"/>
                      <a:gd name="T2" fmla="*/ 152 w 384"/>
                      <a:gd name="T3" fmla="*/ 125 h 529"/>
                      <a:gd name="T4" fmla="*/ 127 w 384"/>
                      <a:gd name="T5" fmla="*/ 41 h 529"/>
                      <a:gd name="T6" fmla="*/ 200 w 384"/>
                      <a:gd name="T7" fmla="*/ 0 h 529"/>
                      <a:gd name="T8" fmla="*/ 217 w 384"/>
                      <a:gd name="T9" fmla="*/ 12 h 529"/>
                      <a:gd name="T10" fmla="*/ 242 w 384"/>
                      <a:gd name="T11" fmla="*/ 51 h 529"/>
                      <a:gd name="T12" fmla="*/ 250 w 384"/>
                      <a:gd name="T13" fmla="*/ 80 h 529"/>
                      <a:gd name="T14" fmla="*/ 247 w 384"/>
                      <a:gd name="T15" fmla="*/ 92 h 529"/>
                      <a:gd name="T16" fmla="*/ 248 w 384"/>
                      <a:gd name="T17" fmla="*/ 120 h 529"/>
                      <a:gd name="T18" fmla="*/ 233 w 384"/>
                      <a:gd name="T19" fmla="*/ 138 h 529"/>
                      <a:gd name="T20" fmla="*/ 232 w 384"/>
                      <a:gd name="T21" fmla="*/ 149 h 529"/>
                      <a:gd name="T22" fmla="*/ 256 w 384"/>
                      <a:gd name="T23" fmla="*/ 160 h 529"/>
                      <a:gd name="T24" fmla="*/ 316 w 384"/>
                      <a:gd name="T25" fmla="*/ 193 h 529"/>
                      <a:gd name="T26" fmla="*/ 363 w 384"/>
                      <a:gd name="T27" fmla="*/ 258 h 529"/>
                      <a:gd name="T28" fmla="*/ 361 w 384"/>
                      <a:gd name="T29" fmla="*/ 306 h 529"/>
                      <a:gd name="T30" fmla="*/ 315 w 384"/>
                      <a:gd name="T31" fmla="*/ 316 h 529"/>
                      <a:gd name="T32" fmla="*/ 311 w 384"/>
                      <a:gd name="T33" fmla="*/ 323 h 529"/>
                      <a:gd name="T34" fmla="*/ 334 w 384"/>
                      <a:gd name="T35" fmla="*/ 343 h 529"/>
                      <a:gd name="T36" fmla="*/ 358 w 384"/>
                      <a:gd name="T37" fmla="*/ 355 h 529"/>
                      <a:gd name="T38" fmla="*/ 351 w 384"/>
                      <a:gd name="T39" fmla="*/ 383 h 529"/>
                      <a:gd name="T40" fmla="*/ 356 w 384"/>
                      <a:gd name="T41" fmla="*/ 413 h 529"/>
                      <a:gd name="T42" fmla="*/ 351 w 384"/>
                      <a:gd name="T43" fmla="*/ 435 h 529"/>
                      <a:gd name="T44" fmla="*/ 356 w 384"/>
                      <a:gd name="T45" fmla="*/ 462 h 529"/>
                      <a:gd name="T46" fmla="*/ 183 w 384"/>
                      <a:gd name="T47" fmla="*/ 519 h 529"/>
                      <a:gd name="T48" fmla="*/ 88 w 384"/>
                      <a:gd name="T49" fmla="*/ 446 h 529"/>
                      <a:gd name="T50" fmla="*/ 105 w 384"/>
                      <a:gd name="T51" fmla="*/ 422 h 529"/>
                      <a:gd name="T52" fmla="*/ 110 w 384"/>
                      <a:gd name="T53" fmla="*/ 390 h 529"/>
                      <a:gd name="T54" fmla="*/ 107 w 384"/>
                      <a:gd name="T55" fmla="*/ 361 h 529"/>
                      <a:gd name="T56" fmla="*/ 89 w 384"/>
                      <a:gd name="T57" fmla="*/ 319 h 529"/>
                      <a:gd name="T58" fmla="*/ 88 w 384"/>
                      <a:gd name="T59" fmla="*/ 277 h 529"/>
                      <a:gd name="T60" fmla="*/ 70 w 384"/>
                      <a:gd name="T61" fmla="*/ 300 h 529"/>
                      <a:gd name="T62" fmla="*/ 3 w 384"/>
                      <a:gd name="T63" fmla="*/ 275 h 529"/>
                      <a:gd name="T64" fmla="*/ 23 w 384"/>
                      <a:gd name="T65" fmla="*/ 238 h 529"/>
                      <a:gd name="T66" fmla="*/ 57 w 384"/>
                      <a:gd name="T67" fmla="*/ 188 h 529"/>
                      <a:gd name="T68" fmla="*/ 122 w 384"/>
                      <a:gd name="T69" fmla="*/ 156 h 5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</a:cxnLst>
                    <a:rect l="0" t="0" r="r" b="b"/>
                    <a:pathLst>
                      <a:path w="384" h="529">
                        <a:moveTo>
                          <a:pt x="147" y="147"/>
                        </a:moveTo>
                        <a:cubicBezTo>
                          <a:pt x="147" y="147"/>
                          <a:pt x="149" y="144"/>
                          <a:pt x="151" y="139"/>
                        </a:cubicBezTo>
                        <a:cubicBezTo>
                          <a:pt x="153" y="134"/>
                          <a:pt x="155" y="131"/>
                          <a:pt x="155" y="131"/>
                        </a:cubicBezTo>
                        <a:cubicBezTo>
                          <a:pt x="155" y="131"/>
                          <a:pt x="153" y="128"/>
                          <a:pt x="152" y="125"/>
                        </a:cubicBezTo>
                        <a:cubicBezTo>
                          <a:pt x="152" y="121"/>
                          <a:pt x="132" y="98"/>
                          <a:pt x="130" y="91"/>
                        </a:cubicBezTo>
                        <a:cubicBezTo>
                          <a:pt x="128" y="83"/>
                          <a:pt x="121" y="60"/>
                          <a:pt x="127" y="41"/>
                        </a:cubicBezTo>
                        <a:cubicBezTo>
                          <a:pt x="134" y="21"/>
                          <a:pt x="157" y="12"/>
                          <a:pt x="166" y="7"/>
                        </a:cubicBezTo>
                        <a:cubicBezTo>
                          <a:pt x="175" y="1"/>
                          <a:pt x="195" y="0"/>
                          <a:pt x="200" y="0"/>
                        </a:cubicBezTo>
                        <a:cubicBezTo>
                          <a:pt x="204" y="0"/>
                          <a:pt x="208" y="2"/>
                          <a:pt x="213" y="4"/>
                        </a:cubicBezTo>
                        <a:cubicBezTo>
                          <a:pt x="218" y="5"/>
                          <a:pt x="217" y="12"/>
                          <a:pt x="217" y="12"/>
                        </a:cubicBezTo>
                        <a:cubicBezTo>
                          <a:pt x="217" y="12"/>
                          <a:pt x="232" y="22"/>
                          <a:pt x="234" y="29"/>
                        </a:cubicBezTo>
                        <a:cubicBezTo>
                          <a:pt x="237" y="37"/>
                          <a:pt x="241" y="48"/>
                          <a:pt x="242" y="51"/>
                        </a:cubicBezTo>
                        <a:cubicBezTo>
                          <a:pt x="244" y="55"/>
                          <a:pt x="242" y="60"/>
                          <a:pt x="242" y="64"/>
                        </a:cubicBezTo>
                        <a:cubicBezTo>
                          <a:pt x="242" y="67"/>
                          <a:pt x="247" y="76"/>
                          <a:pt x="250" y="80"/>
                        </a:cubicBezTo>
                        <a:cubicBezTo>
                          <a:pt x="254" y="84"/>
                          <a:pt x="254" y="86"/>
                          <a:pt x="252" y="88"/>
                        </a:cubicBezTo>
                        <a:cubicBezTo>
                          <a:pt x="250" y="91"/>
                          <a:pt x="247" y="92"/>
                          <a:pt x="247" y="92"/>
                        </a:cubicBezTo>
                        <a:cubicBezTo>
                          <a:pt x="247" y="92"/>
                          <a:pt x="250" y="102"/>
                          <a:pt x="248" y="108"/>
                        </a:cubicBezTo>
                        <a:cubicBezTo>
                          <a:pt x="246" y="113"/>
                          <a:pt x="247" y="115"/>
                          <a:pt x="248" y="120"/>
                        </a:cubicBezTo>
                        <a:cubicBezTo>
                          <a:pt x="249" y="125"/>
                          <a:pt x="250" y="131"/>
                          <a:pt x="244" y="133"/>
                        </a:cubicBezTo>
                        <a:cubicBezTo>
                          <a:pt x="237" y="135"/>
                          <a:pt x="233" y="134"/>
                          <a:pt x="233" y="138"/>
                        </a:cubicBezTo>
                        <a:cubicBezTo>
                          <a:pt x="232" y="142"/>
                          <a:pt x="232" y="142"/>
                          <a:pt x="232" y="142"/>
                        </a:cubicBezTo>
                        <a:cubicBezTo>
                          <a:pt x="232" y="142"/>
                          <a:pt x="232" y="147"/>
                          <a:pt x="232" y="149"/>
                        </a:cubicBezTo>
                        <a:cubicBezTo>
                          <a:pt x="232" y="151"/>
                          <a:pt x="232" y="151"/>
                          <a:pt x="232" y="151"/>
                        </a:cubicBezTo>
                        <a:cubicBezTo>
                          <a:pt x="232" y="151"/>
                          <a:pt x="251" y="158"/>
                          <a:pt x="256" y="160"/>
                        </a:cubicBezTo>
                        <a:cubicBezTo>
                          <a:pt x="260" y="163"/>
                          <a:pt x="280" y="173"/>
                          <a:pt x="287" y="175"/>
                        </a:cubicBezTo>
                        <a:cubicBezTo>
                          <a:pt x="293" y="178"/>
                          <a:pt x="309" y="183"/>
                          <a:pt x="316" y="193"/>
                        </a:cubicBezTo>
                        <a:cubicBezTo>
                          <a:pt x="324" y="202"/>
                          <a:pt x="336" y="218"/>
                          <a:pt x="344" y="229"/>
                        </a:cubicBezTo>
                        <a:cubicBezTo>
                          <a:pt x="351" y="241"/>
                          <a:pt x="356" y="248"/>
                          <a:pt x="363" y="258"/>
                        </a:cubicBezTo>
                        <a:cubicBezTo>
                          <a:pt x="371" y="269"/>
                          <a:pt x="379" y="279"/>
                          <a:pt x="382" y="283"/>
                        </a:cubicBezTo>
                        <a:cubicBezTo>
                          <a:pt x="384" y="287"/>
                          <a:pt x="378" y="299"/>
                          <a:pt x="361" y="306"/>
                        </a:cubicBezTo>
                        <a:cubicBezTo>
                          <a:pt x="344" y="314"/>
                          <a:pt x="327" y="319"/>
                          <a:pt x="323" y="320"/>
                        </a:cubicBezTo>
                        <a:cubicBezTo>
                          <a:pt x="318" y="320"/>
                          <a:pt x="318" y="321"/>
                          <a:pt x="315" y="316"/>
                        </a:cubicBezTo>
                        <a:cubicBezTo>
                          <a:pt x="312" y="312"/>
                          <a:pt x="310" y="311"/>
                          <a:pt x="310" y="311"/>
                        </a:cubicBezTo>
                        <a:cubicBezTo>
                          <a:pt x="311" y="323"/>
                          <a:pt x="311" y="323"/>
                          <a:pt x="311" y="323"/>
                        </a:cubicBezTo>
                        <a:cubicBezTo>
                          <a:pt x="311" y="323"/>
                          <a:pt x="327" y="330"/>
                          <a:pt x="331" y="337"/>
                        </a:cubicBezTo>
                        <a:cubicBezTo>
                          <a:pt x="334" y="343"/>
                          <a:pt x="334" y="343"/>
                          <a:pt x="334" y="343"/>
                        </a:cubicBezTo>
                        <a:cubicBezTo>
                          <a:pt x="334" y="343"/>
                          <a:pt x="341" y="335"/>
                          <a:pt x="350" y="338"/>
                        </a:cubicBezTo>
                        <a:cubicBezTo>
                          <a:pt x="358" y="340"/>
                          <a:pt x="360" y="351"/>
                          <a:pt x="358" y="355"/>
                        </a:cubicBezTo>
                        <a:cubicBezTo>
                          <a:pt x="357" y="359"/>
                          <a:pt x="349" y="359"/>
                          <a:pt x="349" y="359"/>
                        </a:cubicBezTo>
                        <a:cubicBezTo>
                          <a:pt x="351" y="383"/>
                          <a:pt x="351" y="383"/>
                          <a:pt x="351" y="383"/>
                        </a:cubicBezTo>
                        <a:cubicBezTo>
                          <a:pt x="351" y="383"/>
                          <a:pt x="355" y="385"/>
                          <a:pt x="355" y="388"/>
                        </a:cubicBezTo>
                        <a:cubicBezTo>
                          <a:pt x="355" y="390"/>
                          <a:pt x="357" y="410"/>
                          <a:pt x="356" y="413"/>
                        </a:cubicBezTo>
                        <a:cubicBezTo>
                          <a:pt x="355" y="415"/>
                          <a:pt x="350" y="415"/>
                          <a:pt x="350" y="415"/>
                        </a:cubicBezTo>
                        <a:cubicBezTo>
                          <a:pt x="351" y="435"/>
                          <a:pt x="351" y="435"/>
                          <a:pt x="351" y="435"/>
                        </a:cubicBezTo>
                        <a:cubicBezTo>
                          <a:pt x="351" y="435"/>
                          <a:pt x="355" y="440"/>
                          <a:pt x="356" y="444"/>
                        </a:cubicBezTo>
                        <a:cubicBezTo>
                          <a:pt x="357" y="448"/>
                          <a:pt x="357" y="456"/>
                          <a:pt x="356" y="462"/>
                        </a:cubicBezTo>
                        <a:cubicBezTo>
                          <a:pt x="355" y="467"/>
                          <a:pt x="349" y="498"/>
                          <a:pt x="308" y="510"/>
                        </a:cubicBezTo>
                        <a:cubicBezTo>
                          <a:pt x="267" y="522"/>
                          <a:pt x="227" y="529"/>
                          <a:pt x="183" y="519"/>
                        </a:cubicBezTo>
                        <a:cubicBezTo>
                          <a:pt x="138" y="508"/>
                          <a:pt x="128" y="499"/>
                          <a:pt x="125" y="481"/>
                        </a:cubicBezTo>
                        <a:cubicBezTo>
                          <a:pt x="123" y="463"/>
                          <a:pt x="88" y="453"/>
                          <a:pt x="88" y="446"/>
                        </a:cubicBezTo>
                        <a:cubicBezTo>
                          <a:pt x="87" y="439"/>
                          <a:pt x="87" y="432"/>
                          <a:pt x="89" y="429"/>
                        </a:cubicBezTo>
                        <a:cubicBezTo>
                          <a:pt x="91" y="426"/>
                          <a:pt x="105" y="422"/>
                          <a:pt x="105" y="422"/>
                        </a:cubicBezTo>
                        <a:cubicBezTo>
                          <a:pt x="105" y="422"/>
                          <a:pt x="105" y="398"/>
                          <a:pt x="107" y="394"/>
                        </a:cubicBezTo>
                        <a:cubicBezTo>
                          <a:pt x="108" y="391"/>
                          <a:pt x="110" y="390"/>
                          <a:pt x="110" y="390"/>
                        </a:cubicBezTo>
                        <a:cubicBezTo>
                          <a:pt x="110" y="390"/>
                          <a:pt x="107" y="382"/>
                          <a:pt x="108" y="376"/>
                        </a:cubicBezTo>
                        <a:cubicBezTo>
                          <a:pt x="108" y="370"/>
                          <a:pt x="109" y="365"/>
                          <a:pt x="107" y="361"/>
                        </a:cubicBezTo>
                        <a:cubicBezTo>
                          <a:pt x="106" y="357"/>
                          <a:pt x="106" y="342"/>
                          <a:pt x="106" y="342"/>
                        </a:cubicBezTo>
                        <a:cubicBezTo>
                          <a:pt x="106" y="342"/>
                          <a:pt x="92" y="331"/>
                          <a:pt x="89" y="319"/>
                        </a:cubicBezTo>
                        <a:cubicBezTo>
                          <a:pt x="87" y="307"/>
                          <a:pt x="88" y="286"/>
                          <a:pt x="88" y="282"/>
                        </a:cubicBezTo>
                        <a:cubicBezTo>
                          <a:pt x="88" y="277"/>
                          <a:pt x="88" y="277"/>
                          <a:pt x="88" y="277"/>
                        </a:cubicBezTo>
                        <a:cubicBezTo>
                          <a:pt x="88" y="277"/>
                          <a:pt x="83" y="282"/>
                          <a:pt x="77" y="287"/>
                        </a:cubicBezTo>
                        <a:cubicBezTo>
                          <a:pt x="72" y="291"/>
                          <a:pt x="73" y="294"/>
                          <a:pt x="70" y="300"/>
                        </a:cubicBezTo>
                        <a:cubicBezTo>
                          <a:pt x="67" y="307"/>
                          <a:pt x="62" y="307"/>
                          <a:pt x="50" y="305"/>
                        </a:cubicBezTo>
                        <a:cubicBezTo>
                          <a:pt x="39" y="303"/>
                          <a:pt x="6" y="281"/>
                          <a:pt x="3" y="275"/>
                        </a:cubicBezTo>
                        <a:cubicBezTo>
                          <a:pt x="0" y="270"/>
                          <a:pt x="1" y="269"/>
                          <a:pt x="5" y="264"/>
                        </a:cubicBezTo>
                        <a:cubicBezTo>
                          <a:pt x="8" y="259"/>
                          <a:pt x="17" y="244"/>
                          <a:pt x="23" y="238"/>
                        </a:cubicBezTo>
                        <a:cubicBezTo>
                          <a:pt x="28" y="232"/>
                          <a:pt x="36" y="223"/>
                          <a:pt x="38" y="217"/>
                        </a:cubicBezTo>
                        <a:cubicBezTo>
                          <a:pt x="39" y="211"/>
                          <a:pt x="47" y="199"/>
                          <a:pt x="57" y="188"/>
                        </a:cubicBezTo>
                        <a:cubicBezTo>
                          <a:pt x="67" y="178"/>
                          <a:pt x="76" y="175"/>
                          <a:pt x="86" y="172"/>
                        </a:cubicBezTo>
                        <a:cubicBezTo>
                          <a:pt x="96" y="168"/>
                          <a:pt x="108" y="164"/>
                          <a:pt x="122" y="156"/>
                        </a:cubicBezTo>
                        <a:cubicBezTo>
                          <a:pt x="135" y="147"/>
                          <a:pt x="147" y="147"/>
                          <a:pt x="147" y="14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5" name="Freeform 174"/>
                  <p:cNvSpPr>
                    <a:spLocks/>
                  </p:cNvSpPr>
                  <p:nvPr/>
                </p:nvSpPr>
                <p:spPr bwMode="auto">
                  <a:xfrm>
                    <a:off x="2835275" y="4132263"/>
                    <a:ext cx="34925" cy="98425"/>
                  </a:xfrm>
                  <a:custGeom>
                    <a:avLst/>
                    <a:gdLst>
                      <a:gd name="T0" fmla="*/ 30 w 86"/>
                      <a:gd name="T1" fmla="*/ 0 h 247"/>
                      <a:gd name="T2" fmla="*/ 17 w 86"/>
                      <a:gd name="T3" fmla="*/ 20 h 247"/>
                      <a:gd name="T4" fmla="*/ 0 w 86"/>
                      <a:gd name="T5" fmla="*/ 58 h 247"/>
                      <a:gd name="T6" fmla="*/ 9 w 86"/>
                      <a:gd name="T7" fmla="*/ 129 h 247"/>
                      <a:gd name="T8" fmla="*/ 24 w 86"/>
                      <a:gd name="T9" fmla="*/ 174 h 247"/>
                      <a:gd name="T10" fmla="*/ 28 w 86"/>
                      <a:gd name="T11" fmla="*/ 195 h 247"/>
                      <a:gd name="T12" fmla="*/ 30 w 86"/>
                      <a:gd name="T13" fmla="*/ 213 h 247"/>
                      <a:gd name="T14" fmla="*/ 40 w 86"/>
                      <a:gd name="T15" fmla="*/ 238 h 247"/>
                      <a:gd name="T16" fmla="*/ 55 w 86"/>
                      <a:gd name="T17" fmla="*/ 246 h 247"/>
                      <a:gd name="T18" fmla="*/ 62 w 86"/>
                      <a:gd name="T19" fmla="*/ 241 h 247"/>
                      <a:gd name="T20" fmla="*/ 73 w 86"/>
                      <a:gd name="T21" fmla="*/ 242 h 247"/>
                      <a:gd name="T22" fmla="*/ 72 w 86"/>
                      <a:gd name="T23" fmla="*/ 232 h 247"/>
                      <a:gd name="T24" fmla="*/ 59 w 86"/>
                      <a:gd name="T25" fmla="*/ 229 h 247"/>
                      <a:gd name="T26" fmla="*/ 56 w 86"/>
                      <a:gd name="T27" fmla="*/ 225 h 247"/>
                      <a:gd name="T28" fmla="*/ 69 w 86"/>
                      <a:gd name="T29" fmla="*/ 228 h 247"/>
                      <a:gd name="T30" fmla="*/ 77 w 86"/>
                      <a:gd name="T31" fmla="*/ 224 h 247"/>
                      <a:gd name="T32" fmla="*/ 77 w 86"/>
                      <a:gd name="T33" fmla="*/ 212 h 247"/>
                      <a:gd name="T34" fmla="*/ 67 w 86"/>
                      <a:gd name="T35" fmla="*/ 204 h 247"/>
                      <a:gd name="T36" fmla="*/ 66 w 86"/>
                      <a:gd name="T37" fmla="*/ 196 h 247"/>
                      <a:gd name="T38" fmla="*/ 79 w 86"/>
                      <a:gd name="T39" fmla="*/ 194 h 247"/>
                      <a:gd name="T40" fmla="*/ 83 w 86"/>
                      <a:gd name="T41" fmla="*/ 182 h 247"/>
                      <a:gd name="T42" fmla="*/ 66 w 86"/>
                      <a:gd name="T43" fmla="*/ 170 h 247"/>
                      <a:gd name="T44" fmla="*/ 49 w 86"/>
                      <a:gd name="T45" fmla="*/ 125 h 247"/>
                      <a:gd name="T46" fmla="*/ 53 w 86"/>
                      <a:gd name="T47" fmla="*/ 61 h 247"/>
                      <a:gd name="T48" fmla="*/ 61 w 86"/>
                      <a:gd name="T49" fmla="*/ 40 h 247"/>
                      <a:gd name="T50" fmla="*/ 78 w 86"/>
                      <a:gd name="T51" fmla="*/ 21 h 247"/>
                      <a:gd name="T52" fmla="*/ 46 w 86"/>
                      <a:gd name="T53" fmla="*/ 6 h 247"/>
                      <a:gd name="T54" fmla="*/ 30 w 86"/>
                      <a:gd name="T55" fmla="*/ 0 h 2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86" h="247">
                        <a:moveTo>
                          <a:pt x="30" y="0"/>
                        </a:moveTo>
                        <a:cubicBezTo>
                          <a:pt x="30" y="0"/>
                          <a:pt x="25" y="11"/>
                          <a:pt x="17" y="20"/>
                        </a:cubicBezTo>
                        <a:cubicBezTo>
                          <a:pt x="9" y="30"/>
                          <a:pt x="0" y="48"/>
                          <a:pt x="0" y="58"/>
                        </a:cubicBezTo>
                        <a:cubicBezTo>
                          <a:pt x="1" y="69"/>
                          <a:pt x="3" y="108"/>
                          <a:pt x="9" y="129"/>
                        </a:cubicBezTo>
                        <a:cubicBezTo>
                          <a:pt x="16" y="149"/>
                          <a:pt x="23" y="165"/>
                          <a:pt x="24" y="174"/>
                        </a:cubicBezTo>
                        <a:cubicBezTo>
                          <a:pt x="25" y="184"/>
                          <a:pt x="26" y="190"/>
                          <a:pt x="28" y="195"/>
                        </a:cubicBezTo>
                        <a:cubicBezTo>
                          <a:pt x="31" y="199"/>
                          <a:pt x="29" y="204"/>
                          <a:pt x="30" y="213"/>
                        </a:cubicBezTo>
                        <a:cubicBezTo>
                          <a:pt x="31" y="222"/>
                          <a:pt x="34" y="232"/>
                          <a:pt x="40" y="238"/>
                        </a:cubicBezTo>
                        <a:cubicBezTo>
                          <a:pt x="46" y="243"/>
                          <a:pt x="50" y="247"/>
                          <a:pt x="55" y="246"/>
                        </a:cubicBezTo>
                        <a:cubicBezTo>
                          <a:pt x="61" y="246"/>
                          <a:pt x="62" y="241"/>
                          <a:pt x="62" y="241"/>
                        </a:cubicBezTo>
                        <a:cubicBezTo>
                          <a:pt x="62" y="241"/>
                          <a:pt x="69" y="244"/>
                          <a:pt x="73" y="242"/>
                        </a:cubicBezTo>
                        <a:cubicBezTo>
                          <a:pt x="76" y="239"/>
                          <a:pt x="77" y="234"/>
                          <a:pt x="72" y="232"/>
                        </a:cubicBezTo>
                        <a:cubicBezTo>
                          <a:pt x="67" y="230"/>
                          <a:pt x="62" y="232"/>
                          <a:pt x="59" y="229"/>
                        </a:cubicBezTo>
                        <a:cubicBezTo>
                          <a:pt x="56" y="225"/>
                          <a:pt x="56" y="225"/>
                          <a:pt x="56" y="225"/>
                        </a:cubicBezTo>
                        <a:cubicBezTo>
                          <a:pt x="56" y="225"/>
                          <a:pt x="66" y="228"/>
                          <a:pt x="69" y="228"/>
                        </a:cubicBezTo>
                        <a:cubicBezTo>
                          <a:pt x="72" y="228"/>
                          <a:pt x="77" y="226"/>
                          <a:pt x="77" y="224"/>
                        </a:cubicBezTo>
                        <a:cubicBezTo>
                          <a:pt x="77" y="222"/>
                          <a:pt x="80" y="215"/>
                          <a:pt x="77" y="212"/>
                        </a:cubicBezTo>
                        <a:cubicBezTo>
                          <a:pt x="74" y="209"/>
                          <a:pt x="67" y="206"/>
                          <a:pt x="67" y="204"/>
                        </a:cubicBezTo>
                        <a:cubicBezTo>
                          <a:pt x="66" y="201"/>
                          <a:pt x="64" y="195"/>
                          <a:pt x="66" y="196"/>
                        </a:cubicBezTo>
                        <a:cubicBezTo>
                          <a:pt x="69" y="196"/>
                          <a:pt x="75" y="196"/>
                          <a:pt x="79" y="194"/>
                        </a:cubicBezTo>
                        <a:cubicBezTo>
                          <a:pt x="83" y="192"/>
                          <a:pt x="86" y="184"/>
                          <a:pt x="83" y="182"/>
                        </a:cubicBezTo>
                        <a:cubicBezTo>
                          <a:pt x="80" y="181"/>
                          <a:pt x="70" y="178"/>
                          <a:pt x="66" y="170"/>
                        </a:cubicBezTo>
                        <a:cubicBezTo>
                          <a:pt x="61" y="162"/>
                          <a:pt x="50" y="154"/>
                          <a:pt x="49" y="125"/>
                        </a:cubicBezTo>
                        <a:cubicBezTo>
                          <a:pt x="48" y="97"/>
                          <a:pt x="53" y="72"/>
                          <a:pt x="53" y="61"/>
                        </a:cubicBezTo>
                        <a:cubicBezTo>
                          <a:pt x="53" y="51"/>
                          <a:pt x="54" y="46"/>
                          <a:pt x="61" y="40"/>
                        </a:cubicBezTo>
                        <a:cubicBezTo>
                          <a:pt x="68" y="34"/>
                          <a:pt x="78" y="21"/>
                          <a:pt x="78" y="21"/>
                        </a:cubicBezTo>
                        <a:cubicBezTo>
                          <a:pt x="78" y="21"/>
                          <a:pt x="62" y="11"/>
                          <a:pt x="46" y="6"/>
                        </a:cubicBezTo>
                        <a:cubicBezTo>
                          <a:pt x="30" y="1"/>
                          <a:pt x="30" y="0"/>
                          <a:pt x="30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6" name="Freeform 175"/>
                  <p:cNvSpPr>
                    <a:spLocks/>
                  </p:cNvSpPr>
                  <p:nvPr/>
                </p:nvSpPr>
                <p:spPr bwMode="auto">
                  <a:xfrm>
                    <a:off x="2973388" y="4138613"/>
                    <a:ext cx="42863" cy="84138"/>
                  </a:xfrm>
                  <a:custGeom>
                    <a:avLst/>
                    <a:gdLst>
                      <a:gd name="T0" fmla="*/ 0 w 108"/>
                      <a:gd name="T1" fmla="*/ 26 h 216"/>
                      <a:gd name="T2" fmla="*/ 19 w 108"/>
                      <a:gd name="T3" fmla="*/ 49 h 216"/>
                      <a:gd name="T4" fmla="*/ 38 w 108"/>
                      <a:gd name="T5" fmla="*/ 78 h 216"/>
                      <a:gd name="T6" fmla="*/ 57 w 108"/>
                      <a:gd name="T7" fmla="*/ 107 h 216"/>
                      <a:gd name="T8" fmla="*/ 67 w 108"/>
                      <a:gd name="T9" fmla="*/ 126 h 216"/>
                      <a:gd name="T10" fmla="*/ 58 w 108"/>
                      <a:gd name="T11" fmla="*/ 149 h 216"/>
                      <a:gd name="T12" fmla="*/ 53 w 108"/>
                      <a:gd name="T13" fmla="*/ 166 h 216"/>
                      <a:gd name="T14" fmla="*/ 65 w 108"/>
                      <a:gd name="T15" fmla="*/ 162 h 216"/>
                      <a:gd name="T16" fmla="*/ 78 w 108"/>
                      <a:gd name="T17" fmla="*/ 160 h 216"/>
                      <a:gd name="T18" fmla="*/ 78 w 108"/>
                      <a:gd name="T19" fmla="*/ 174 h 216"/>
                      <a:gd name="T20" fmla="*/ 67 w 108"/>
                      <a:gd name="T21" fmla="*/ 184 h 216"/>
                      <a:gd name="T22" fmla="*/ 62 w 108"/>
                      <a:gd name="T23" fmla="*/ 189 h 216"/>
                      <a:gd name="T24" fmla="*/ 74 w 108"/>
                      <a:gd name="T25" fmla="*/ 190 h 216"/>
                      <a:gd name="T26" fmla="*/ 84 w 108"/>
                      <a:gd name="T27" fmla="*/ 183 h 216"/>
                      <a:gd name="T28" fmla="*/ 77 w 108"/>
                      <a:gd name="T29" fmla="*/ 192 h 216"/>
                      <a:gd name="T30" fmla="*/ 67 w 108"/>
                      <a:gd name="T31" fmla="*/ 204 h 216"/>
                      <a:gd name="T32" fmla="*/ 79 w 108"/>
                      <a:gd name="T33" fmla="*/ 202 h 216"/>
                      <a:gd name="T34" fmla="*/ 83 w 108"/>
                      <a:gd name="T35" fmla="*/ 200 h 216"/>
                      <a:gd name="T36" fmla="*/ 74 w 108"/>
                      <a:gd name="T37" fmla="*/ 208 h 216"/>
                      <a:gd name="T38" fmla="*/ 73 w 108"/>
                      <a:gd name="T39" fmla="*/ 215 h 216"/>
                      <a:gd name="T40" fmla="*/ 88 w 108"/>
                      <a:gd name="T41" fmla="*/ 212 h 216"/>
                      <a:gd name="T42" fmla="*/ 100 w 108"/>
                      <a:gd name="T43" fmla="*/ 204 h 216"/>
                      <a:gd name="T44" fmla="*/ 107 w 108"/>
                      <a:gd name="T45" fmla="*/ 191 h 216"/>
                      <a:gd name="T46" fmla="*/ 103 w 108"/>
                      <a:gd name="T47" fmla="*/ 162 h 216"/>
                      <a:gd name="T48" fmla="*/ 99 w 108"/>
                      <a:gd name="T49" fmla="*/ 129 h 216"/>
                      <a:gd name="T50" fmla="*/ 91 w 108"/>
                      <a:gd name="T51" fmla="*/ 83 h 216"/>
                      <a:gd name="T52" fmla="*/ 80 w 108"/>
                      <a:gd name="T53" fmla="*/ 47 h 216"/>
                      <a:gd name="T54" fmla="*/ 44 w 108"/>
                      <a:gd name="T55" fmla="*/ 5 h 216"/>
                      <a:gd name="T56" fmla="*/ 0 w 108"/>
                      <a:gd name="T57" fmla="*/ 26 h 2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108" h="216">
                        <a:moveTo>
                          <a:pt x="0" y="26"/>
                        </a:moveTo>
                        <a:cubicBezTo>
                          <a:pt x="0" y="26"/>
                          <a:pt x="10" y="41"/>
                          <a:pt x="19" y="49"/>
                        </a:cubicBezTo>
                        <a:cubicBezTo>
                          <a:pt x="27" y="58"/>
                          <a:pt x="36" y="72"/>
                          <a:pt x="38" y="78"/>
                        </a:cubicBezTo>
                        <a:cubicBezTo>
                          <a:pt x="41" y="84"/>
                          <a:pt x="54" y="102"/>
                          <a:pt x="57" y="107"/>
                        </a:cubicBezTo>
                        <a:cubicBezTo>
                          <a:pt x="60" y="113"/>
                          <a:pt x="69" y="120"/>
                          <a:pt x="67" y="126"/>
                        </a:cubicBezTo>
                        <a:cubicBezTo>
                          <a:pt x="65" y="132"/>
                          <a:pt x="59" y="142"/>
                          <a:pt x="58" y="149"/>
                        </a:cubicBezTo>
                        <a:cubicBezTo>
                          <a:pt x="57" y="156"/>
                          <a:pt x="52" y="162"/>
                          <a:pt x="53" y="166"/>
                        </a:cubicBezTo>
                        <a:cubicBezTo>
                          <a:pt x="55" y="171"/>
                          <a:pt x="62" y="168"/>
                          <a:pt x="65" y="162"/>
                        </a:cubicBezTo>
                        <a:cubicBezTo>
                          <a:pt x="69" y="156"/>
                          <a:pt x="76" y="158"/>
                          <a:pt x="78" y="160"/>
                        </a:cubicBezTo>
                        <a:cubicBezTo>
                          <a:pt x="80" y="162"/>
                          <a:pt x="82" y="168"/>
                          <a:pt x="78" y="174"/>
                        </a:cubicBezTo>
                        <a:cubicBezTo>
                          <a:pt x="74" y="179"/>
                          <a:pt x="70" y="183"/>
                          <a:pt x="67" y="184"/>
                        </a:cubicBezTo>
                        <a:cubicBezTo>
                          <a:pt x="63" y="184"/>
                          <a:pt x="62" y="185"/>
                          <a:pt x="62" y="189"/>
                        </a:cubicBezTo>
                        <a:cubicBezTo>
                          <a:pt x="63" y="192"/>
                          <a:pt x="69" y="193"/>
                          <a:pt x="74" y="190"/>
                        </a:cubicBezTo>
                        <a:cubicBezTo>
                          <a:pt x="79" y="188"/>
                          <a:pt x="84" y="183"/>
                          <a:pt x="84" y="183"/>
                        </a:cubicBezTo>
                        <a:cubicBezTo>
                          <a:pt x="84" y="183"/>
                          <a:pt x="82" y="189"/>
                          <a:pt x="77" y="192"/>
                        </a:cubicBezTo>
                        <a:cubicBezTo>
                          <a:pt x="72" y="196"/>
                          <a:pt x="65" y="200"/>
                          <a:pt x="67" y="204"/>
                        </a:cubicBezTo>
                        <a:cubicBezTo>
                          <a:pt x="68" y="208"/>
                          <a:pt x="76" y="204"/>
                          <a:pt x="79" y="202"/>
                        </a:cubicBezTo>
                        <a:cubicBezTo>
                          <a:pt x="83" y="200"/>
                          <a:pt x="83" y="200"/>
                          <a:pt x="83" y="200"/>
                        </a:cubicBezTo>
                        <a:cubicBezTo>
                          <a:pt x="83" y="200"/>
                          <a:pt x="78" y="206"/>
                          <a:pt x="74" y="208"/>
                        </a:cubicBezTo>
                        <a:cubicBezTo>
                          <a:pt x="71" y="210"/>
                          <a:pt x="70" y="214"/>
                          <a:pt x="73" y="215"/>
                        </a:cubicBezTo>
                        <a:cubicBezTo>
                          <a:pt x="76" y="216"/>
                          <a:pt x="82" y="216"/>
                          <a:pt x="88" y="212"/>
                        </a:cubicBezTo>
                        <a:cubicBezTo>
                          <a:pt x="93" y="208"/>
                          <a:pt x="97" y="207"/>
                          <a:pt x="100" y="204"/>
                        </a:cubicBezTo>
                        <a:cubicBezTo>
                          <a:pt x="102" y="202"/>
                          <a:pt x="108" y="195"/>
                          <a:pt x="107" y="191"/>
                        </a:cubicBezTo>
                        <a:cubicBezTo>
                          <a:pt x="106" y="187"/>
                          <a:pt x="107" y="172"/>
                          <a:pt x="103" y="162"/>
                        </a:cubicBezTo>
                        <a:cubicBezTo>
                          <a:pt x="100" y="151"/>
                          <a:pt x="104" y="139"/>
                          <a:pt x="99" y="129"/>
                        </a:cubicBezTo>
                        <a:cubicBezTo>
                          <a:pt x="95" y="120"/>
                          <a:pt x="92" y="95"/>
                          <a:pt x="91" y="83"/>
                        </a:cubicBezTo>
                        <a:cubicBezTo>
                          <a:pt x="90" y="72"/>
                          <a:pt x="89" y="56"/>
                          <a:pt x="80" y="47"/>
                        </a:cubicBezTo>
                        <a:cubicBezTo>
                          <a:pt x="72" y="38"/>
                          <a:pt x="48" y="10"/>
                          <a:pt x="44" y="5"/>
                        </a:cubicBezTo>
                        <a:cubicBezTo>
                          <a:pt x="40" y="0"/>
                          <a:pt x="0" y="26"/>
                          <a:pt x="0" y="2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7" name="Freeform 176"/>
                  <p:cNvSpPr>
                    <a:spLocks noEditPoints="1"/>
                  </p:cNvSpPr>
                  <p:nvPr/>
                </p:nvSpPr>
                <p:spPr bwMode="auto">
                  <a:xfrm>
                    <a:off x="2859088" y="4197350"/>
                    <a:ext cx="23813" cy="149225"/>
                  </a:xfrm>
                  <a:custGeom>
                    <a:avLst/>
                    <a:gdLst>
                      <a:gd name="T0" fmla="*/ 56 w 59"/>
                      <a:gd name="T1" fmla="*/ 35 h 377"/>
                      <a:gd name="T2" fmla="*/ 53 w 59"/>
                      <a:gd name="T3" fmla="*/ 2 h 377"/>
                      <a:gd name="T4" fmla="*/ 45 w 59"/>
                      <a:gd name="T5" fmla="*/ 0 h 377"/>
                      <a:gd name="T6" fmla="*/ 29 w 59"/>
                      <a:gd name="T7" fmla="*/ 13 h 377"/>
                      <a:gd name="T8" fmla="*/ 27 w 59"/>
                      <a:gd name="T9" fmla="*/ 23 h 377"/>
                      <a:gd name="T10" fmla="*/ 10 w 59"/>
                      <a:gd name="T11" fmla="*/ 38 h 377"/>
                      <a:gd name="T12" fmla="*/ 0 w 59"/>
                      <a:gd name="T13" fmla="*/ 210 h 377"/>
                      <a:gd name="T14" fmla="*/ 8 w 59"/>
                      <a:gd name="T15" fmla="*/ 352 h 377"/>
                      <a:gd name="T16" fmla="*/ 13 w 59"/>
                      <a:gd name="T17" fmla="*/ 357 h 377"/>
                      <a:gd name="T18" fmla="*/ 25 w 59"/>
                      <a:gd name="T19" fmla="*/ 376 h 377"/>
                      <a:gd name="T20" fmla="*/ 46 w 59"/>
                      <a:gd name="T21" fmla="*/ 348 h 377"/>
                      <a:gd name="T22" fmla="*/ 48 w 59"/>
                      <a:gd name="T23" fmla="*/ 330 h 377"/>
                      <a:gd name="T24" fmla="*/ 55 w 59"/>
                      <a:gd name="T25" fmla="*/ 229 h 377"/>
                      <a:gd name="T26" fmla="*/ 57 w 59"/>
                      <a:gd name="T27" fmla="*/ 187 h 377"/>
                      <a:gd name="T28" fmla="*/ 56 w 59"/>
                      <a:gd name="T29" fmla="*/ 35 h 377"/>
                      <a:gd name="T30" fmla="*/ 16 w 59"/>
                      <a:gd name="T31" fmla="*/ 252 h 377"/>
                      <a:gd name="T32" fmla="*/ 15 w 59"/>
                      <a:gd name="T33" fmla="*/ 290 h 377"/>
                      <a:gd name="T34" fmla="*/ 13 w 59"/>
                      <a:gd name="T35" fmla="*/ 273 h 377"/>
                      <a:gd name="T36" fmla="*/ 12 w 59"/>
                      <a:gd name="T37" fmla="*/ 238 h 377"/>
                      <a:gd name="T38" fmla="*/ 17 w 59"/>
                      <a:gd name="T39" fmla="*/ 238 h 377"/>
                      <a:gd name="T40" fmla="*/ 16 w 59"/>
                      <a:gd name="T41" fmla="*/ 252 h 377"/>
                      <a:gd name="T42" fmla="*/ 18 w 59"/>
                      <a:gd name="T43" fmla="*/ 221 h 377"/>
                      <a:gd name="T44" fmla="*/ 13 w 59"/>
                      <a:gd name="T45" fmla="*/ 221 h 377"/>
                      <a:gd name="T46" fmla="*/ 13 w 59"/>
                      <a:gd name="T47" fmla="*/ 202 h 377"/>
                      <a:gd name="T48" fmla="*/ 15 w 59"/>
                      <a:gd name="T49" fmla="*/ 149 h 377"/>
                      <a:gd name="T50" fmla="*/ 19 w 59"/>
                      <a:gd name="T51" fmla="*/ 149 h 377"/>
                      <a:gd name="T52" fmla="*/ 18 w 59"/>
                      <a:gd name="T53" fmla="*/ 221 h 377"/>
                      <a:gd name="T54" fmla="*/ 20 w 59"/>
                      <a:gd name="T55" fmla="*/ 140 h 377"/>
                      <a:gd name="T56" fmla="*/ 16 w 59"/>
                      <a:gd name="T57" fmla="*/ 140 h 377"/>
                      <a:gd name="T58" fmla="*/ 18 w 59"/>
                      <a:gd name="T59" fmla="*/ 104 h 377"/>
                      <a:gd name="T60" fmla="*/ 19 w 59"/>
                      <a:gd name="T61" fmla="*/ 88 h 377"/>
                      <a:gd name="T62" fmla="*/ 20 w 59"/>
                      <a:gd name="T63" fmla="*/ 119 h 377"/>
                      <a:gd name="T64" fmla="*/ 20 w 59"/>
                      <a:gd name="T65" fmla="*/ 140 h 3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59" h="377">
                        <a:moveTo>
                          <a:pt x="56" y="35"/>
                        </a:moveTo>
                        <a:cubicBezTo>
                          <a:pt x="53" y="8"/>
                          <a:pt x="53" y="2"/>
                          <a:pt x="53" y="2"/>
                        </a:cubicBezTo>
                        <a:cubicBezTo>
                          <a:pt x="45" y="0"/>
                          <a:pt x="45" y="0"/>
                          <a:pt x="45" y="0"/>
                        </a:cubicBezTo>
                        <a:cubicBezTo>
                          <a:pt x="34" y="1"/>
                          <a:pt x="31" y="4"/>
                          <a:pt x="29" y="13"/>
                        </a:cubicBezTo>
                        <a:cubicBezTo>
                          <a:pt x="27" y="21"/>
                          <a:pt x="27" y="23"/>
                          <a:pt x="27" y="23"/>
                        </a:cubicBezTo>
                        <a:cubicBezTo>
                          <a:pt x="27" y="23"/>
                          <a:pt x="14" y="22"/>
                          <a:pt x="10" y="38"/>
                        </a:cubicBezTo>
                        <a:cubicBezTo>
                          <a:pt x="7" y="54"/>
                          <a:pt x="0" y="162"/>
                          <a:pt x="0" y="210"/>
                        </a:cubicBezTo>
                        <a:cubicBezTo>
                          <a:pt x="0" y="257"/>
                          <a:pt x="2" y="347"/>
                          <a:pt x="8" y="352"/>
                        </a:cubicBezTo>
                        <a:cubicBezTo>
                          <a:pt x="13" y="357"/>
                          <a:pt x="13" y="357"/>
                          <a:pt x="13" y="357"/>
                        </a:cubicBezTo>
                        <a:cubicBezTo>
                          <a:pt x="13" y="357"/>
                          <a:pt x="13" y="374"/>
                          <a:pt x="25" y="376"/>
                        </a:cubicBezTo>
                        <a:cubicBezTo>
                          <a:pt x="38" y="377"/>
                          <a:pt x="44" y="365"/>
                          <a:pt x="46" y="348"/>
                        </a:cubicBezTo>
                        <a:cubicBezTo>
                          <a:pt x="49" y="331"/>
                          <a:pt x="48" y="330"/>
                          <a:pt x="48" y="330"/>
                        </a:cubicBezTo>
                        <a:cubicBezTo>
                          <a:pt x="48" y="330"/>
                          <a:pt x="54" y="253"/>
                          <a:pt x="55" y="229"/>
                        </a:cubicBezTo>
                        <a:cubicBezTo>
                          <a:pt x="56" y="205"/>
                          <a:pt x="57" y="187"/>
                          <a:pt x="57" y="187"/>
                        </a:cubicBezTo>
                        <a:cubicBezTo>
                          <a:pt x="57" y="187"/>
                          <a:pt x="59" y="63"/>
                          <a:pt x="56" y="35"/>
                        </a:cubicBezTo>
                        <a:close/>
                        <a:moveTo>
                          <a:pt x="16" y="252"/>
                        </a:moveTo>
                        <a:cubicBezTo>
                          <a:pt x="16" y="262"/>
                          <a:pt x="15" y="290"/>
                          <a:pt x="15" y="290"/>
                        </a:cubicBezTo>
                        <a:cubicBezTo>
                          <a:pt x="15" y="290"/>
                          <a:pt x="13" y="286"/>
                          <a:pt x="13" y="273"/>
                        </a:cubicBezTo>
                        <a:cubicBezTo>
                          <a:pt x="13" y="261"/>
                          <a:pt x="12" y="238"/>
                          <a:pt x="12" y="238"/>
                        </a:cubicBezTo>
                        <a:cubicBezTo>
                          <a:pt x="17" y="238"/>
                          <a:pt x="17" y="238"/>
                          <a:pt x="17" y="238"/>
                        </a:cubicBezTo>
                        <a:cubicBezTo>
                          <a:pt x="17" y="238"/>
                          <a:pt x="16" y="241"/>
                          <a:pt x="16" y="252"/>
                        </a:cubicBezTo>
                        <a:close/>
                        <a:moveTo>
                          <a:pt x="18" y="221"/>
                        </a:moveTo>
                        <a:cubicBezTo>
                          <a:pt x="13" y="221"/>
                          <a:pt x="13" y="221"/>
                          <a:pt x="13" y="221"/>
                        </a:cubicBezTo>
                        <a:cubicBezTo>
                          <a:pt x="13" y="221"/>
                          <a:pt x="13" y="215"/>
                          <a:pt x="13" y="202"/>
                        </a:cubicBezTo>
                        <a:cubicBezTo>
                          <a:pt x="13" y="190"/>
                          <a:pt x="15" y="149"/>
                          <a:pt x="15" y="149"/>
                        </a:cubicBezTo>
                        <a:cubicBezTo>
                          <a:pt x="19" y="149"/>
                          <a:pt x="19" y="149"/>
                          <a:pt x="19" y="149"/>
                        </a:cubicBezTo>
                        <a:lnTo>
                          <a:pt x="18" y="221"/>
                        </a:lnTo>
                        <a:close/>
                        <a:moveTo>
                          <a:pt x="20" y="140"/>
                        </a:moveTo>
                        <a:cubicBezTo>
                          <a:pt x="16" y="140"/>
                          <a:pt x="16" y="140"/>
                          <a:pt x="16" y="140"/>
                        </a:cubicBezTo>
                        <a:cubicBezTo>
                          <a:pt x="16" y="138"/>
                          <a:pt x="17" y="115"/>
                          <a:pt x="18" y="104"/>
                        </a:cubicBezTo>
                        <a:cubicBezTo>
                          <a:pt x="19" y="94"/>
                          <a:pt x="19" y="88"/>
                          <a:pt x="19" y="88"/>
                        </a:cubicBezTo>
                        <a:cubicBezTo>
                          <a:pt x="19" y="88"/>
                          <a:pt x="20" y="107"/>
                          <a:pt x="20" y="119"/>
                        </a:cubicBezTo>
                        <a:cubicBezTo>
                          <a:pt x="21" y="132"/>
                          <a:pt x="20" y="140"/>
                          <a:pt x="20" y="14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8" name="Freeform 177"/>
                  <p:cNvSpPr>
                    <a:spLocks noEditPoints="1"/>
                  </p:cNvSpPr>
                  <p:nvPr/>
                </p:nvSpPr>
                <p:spPr bwMode="auto">
                  <a:xfrm>
                    <a:off x="2876550" y="4200525"/>
                    <a:ext cx="95250" cy="134938"/>
                  </a:xfrm>
                  <a:custGeom>
                    <a:avLst/>
                    <a:gdLst>
                      <a:gd name="T0" fmla="*/ 221 w 242"/>
                      <a:gd name="T1" fmla="*/ 183 h 342"/>
                      <a:gd name="T2" fmla="*/ 226 w 242"/>
                      <a:gd name="T3" fmla="*/ 258 h 342"/>
                      <a:gd name="T4" fmla="*/ 217 w 242"/>
                      <a:gd name="T5" fmla="*/ 301 h 342"/>
                      <a:gd name="T6" fmla="*/ 211 w 242"/>
                      <a:gd name="T7" fmla="*/ 267 h 342"/>
                      <a:gd name="T8" fmla="*/ 210 w 242"/>
                      <a:gd name="T9" fmla="*/ 237 h 342"/>
                      <a:gd name="T10" fmla="*/ 210 w 242"/>
                      <a:gd name="T11" fmla="*/ 204 h 342"/>
                      <a:gd name="T12" fmla="*/ 63 w 242"/>
                      <a:gd name="T13" fmla="*/ 186 h 342"/>
                      <a:gd name="T14" fmla="*/ 69 w 242"/>
                      <a:gd name="T15" fmla="*/ 217 h 342"/>
                      <a:gd name="T16" fmla="*/ 64 w 242"/>
                      <a:gd name="T17" fmla="*/ 210 h 342"/>
                      <a:gd name="T18" fmla="*/ 60 w 242"/>
                      <a:gd name="T19" fmla="*/ 184 h 342"/>
                      <a:gd name="T20" fmla="*/ 37 w 242"/>
                      <a:gd name="T21" fmla="*/ 181 h 342"/>
                      <a:gd name="T22" fmla="*/ 41 w 242"/>
                      <a:gd name="T23" fmla="*/ 201 h 342"/>
                      <a:gd name="T24" fmla="*/ 40 w 242"/>
                      <a:gd name="T25" fmla="*/ 214 h 342"/>
                      <a:gd name="T26" fmla="*/ 35 w 242"/>
                      <a:gd name="T27" fmla="*/ 176 h 342"/>
                      <a:gd name="T28" fmla="*/ 22 w 242"/>
                      <a:gd name="T29" fmla="*/ 192 h 342"/>
                      <a:gd name="T30" fmla="*/ 16 w 242"/>
                      <a:gd name="T31" fmla="*/ 183 h 342"/>
                      <a:gd name="T32" fmla="*/ 22 w 242"/>
                      <a:gd name="T33" fmla="*/ 0 h 342"/>
                      <a:gd name="T34" fmla="*/ 9 w 242"/>
                      <a:gd name="T35" fmla="*/ 193 h 342"/>
                      <a:gd name="T36" fmla="*/ 16 w 242"/>
                      <a:gd name="T37" fmla="*/ 207 h 342"/>
                      <a:gd name="T38" fmla="*/ 12 w 242"/>
                      <a:gd name="T39" fmla="*/ 223 h 342"/>
                      <a:gd name="T40" fmla="*/ 18 w 242"/>
                      <a:gd name="T41" fmla="*/ 260 h 342"/>
                      <a:gd name="T42" fmla="*/ 23 w 242"/>
                      <a:gd name="T43" fmla="*/ 310 h 342"/>
                      <a:gd name="T44" fmla="*/ 46 w 242"/>
                      <a:gd name="T45" fmla="*/ 324 h 342"/>
                      <a:gd name="T46" fmla="*/ 60 w 242"/>
                      <a:gd name="T47" fmla="*/ 333 h 342"/>
                      <a:gd name="T48" fmla="*/ 67 w 242"/>
                      <a:gd name="T49" fmla="*/ 335 h 342"/>
                      <a:gd name="T50" fmla="*/ 80 w 242"/>
                      <a:gd name="T51" fmla="*/ 333 h 342"/>
                      <a:gd name="T52" fmla="*/ 87 w 242"/>
                      <a:gd name="T53" fmla="*/ 329 h 342"/>
                      <a:gd name="T54" fmla="*/ 99 w 242"/>
                      <a:gd name="T55" fmla="*/ 325 h 342"/>
                      <a:gd name="T56" fmla="*/ 169 w 242"/>
                      <a:gd name="T57" fmla="*/ 322 h 342"/>
                      <a:gd name="T58" fmla="*/ 236 w 242"/>
                      <a:gd name="T59" fmla="*/ 283 h 342"/>
                      <a:gd name="T60" fmla="*/ 239 w 242"/>
                      <a:gd name="T61" fmla="*/ 255 h 342"/>
                      <a:gd name="T62" fmla="*/ 239 w 242"/>
                      <a:gd name="T63" fmla="*/ 182 h 342"/>
                      <a:gd name="T64" fmla="*/ 97 w 242"/>
                      <a:gd name="T65" fmla="*/ 289 h 342"/>
                      <a:gd name="T66" fmla="*/ 96 w 242"/>
                      <a:gd name="T67" fmla="*/ 248 h 342"/>
                      <a:gd name="T68" fmla="*/ 153 w 242"/>
                      <a:gd name="T69" fmla="*/ 248 h 342"/>
                      <a:gd name="T70" fmla="*/ 155 w 242"/>
                      <a:gd name="T71" fmla="*/ 285 h 342"/>
                      <a:gd name="T72" fmla="*/ 97 w 242"/>
                      <a:gd name="T73" fmla="*/ 301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242" h="342">
                        <a:moveTo>
                          <a:pt x="239" y="182"/>
                        </a:moveTo>
                        <a:cubicBezTo>
                          <a:pt x="221" y="183"/>
                          <a:pt x="221" y="183"/>
                          <a:pt x="221" y="183"/>
                        </a:cubicBezTo>
                        <a:cubicBezTo>
                          <a:pt x="221" y="183"/>
                          <a:pt x="221" y="248"/>
                          <a:pt x="222" y="252"/>
                        </a:cubicBezTo>
                        <a:cubicBezTo>
                          <a:pt x="223" y="257"/>
                          <a:pt x="226" y="258"/>
                          <a:pt x="226" y="258"/>
                        </a:cubicBezTo>
                        <a:cubicBezTo>
                          <a:pt x="226" y="258"/>
                          <a:pt x="227" y="279"/>
                          <a:pt x="224" y="289"/>
                        </a:cubicBezTo>
                        <a:cubicBezTo>
                          <a:pt x="222" y="298"/>
                          <a:pt x="217" y="301"/>
                          <a:pt x="217" y="301"/>
                        </a:cubicBezTo>
                        <a:cubicBezTo>
                          <a:pt x="217" y="301"/>
                          <a:pt x="219" y="289"/>
                          <a:pt x="217" y="281"/>
                        </a:cubicBezTo>
                        <a:cubicBezTo>
                          <a:pt x="215" y="273"/>
                          <a:pt x="212" y="271"/>
                          <a:pt x="211" y="267"/>
                        </a:cubicBezTo>
                        <a:cubicBezTo>
                          <a:pt x="210" y="264"/>
                          <a:pt x="211" y="254"/>
                          <a:pt x="211" y="251"/>
                        </a:cubicBezTo>
                        <a:cubicBezTo>
                          <a:pt x="211" y="248"/>
                          <a:pt x="212" y="240"/>
                          <a:pt x="210" y="237"/>
                        </a:cubicBezTo>
                        <a:cubicBezTo>
                          <a:pt x="208" y="234"/>
                          <a:pt x="205" y="232"/>
                          <a:pt x="205" y="232"/>
                        </a:cubicBezTo>
                        <a:cubicBezTo>
                          <a:pt x="205" y="232"/>
                          <a:pt x="209" y="215"/>
                          <a:pt x="210" y="204"/>
                        </a:cubicBezTo>
                        <a:cubicBezTo>
                          <a:pt x="210" y="194"/>
                          <a:pt x="214" y="184"/>
                          <a:pt x="214" y="184"/>
                        </a:cubicBezTo>
                        <a:cubicBezTo>
                          <a:pt x="63" y="186"/>
                          <a:pt x="63" y="186"/>
                          <a:pt x="63" y="186"/>
                        </a:cubicBezTo>
                        <a:cubicBezTo>
                          <a:pt x="63" y="186"/>
                          <a:pt x="65" y="200"/>
                          <a:pt x="66" y="204"/>
                        </a:cubicBezTo>
                        <a:cubicBezTo>
                          <a:pt x="68" y="209"/>
                          <a:pt x="68" y="212"/>
                          <a:pt x="69" y="217"/>
                        </a:cubicBezTo>
                        <a:cubicBezTo>
                          <a:pt x="71" y="222"/>
                          <a:pt x="74" y="224"/>
                          <a:pt x="71" y="222"/>
                        </a:cubicBezTo>
                        <a:cubicBezTo>
                          <a:pt x="67" y="220"/>
                          <a:pt x="66" y="215"/>
                          <a:pt x="64" y="210"/>
                        </a:cubicBezTo>
                        <a:cubicBezTo>
                          <a:pt x="62" y="206"/>
                          <a:pt x="60" y="201"/>
                          <a:pt x="60" y="196"/>
                        </a:cubicBezTo>
                        <a:cubicBezTo>
                          <a:pt x="60" y="192"/>
                          <a:pt x="59" y="186"/>
                          <a:pt x="60" y="184"/>
                        </a:cubicBezTo>
                        <a:cubicBezTo>
                          <a:pt x="60" y="181"/>
                          <a:pt x="58" y="178"/>
                          <a:pt x="58" y="178"/>
                        </a:cubicBezTo>
                        <a:cubicBezTo>
                          <a:pt x="37" y="181"/>
                          <a:pt x="37" y="181"/>
                          <a:pt x="37" y="181"/>
                        </a:cubicBezTo>
                        <a:cubicBezTo>
                          <a:pt x="37" y="181"/>
                          <a:pt x="34" y="196"/>
                          <a:pt x="37" y="197"/>
                        </a:cubicBezTo>
                        <a:cubicBezTo>
                          <a:pt x="40" y="199"/>
                          <a:pt x="41" y="199"/>
                          <a:pt x="41" y="201"/>
                        </a:cubicBezTo>
                        <a:cubicBezTo>
                          <a:pt x="41" y="202"/>
                          <a:pt x="42" y="203"/>
                          <a:pt x="42" y="207"/>
                        </a:cubicBezTo>
                        <a:cubicBezTo>
                          <a:pt x="42" y="210"/>
                          <a:pt x="42" y="212"/>
                          <a:pt x="40" y="214"/>
                        </a:cubicBezTo>
                        <a:cubicBezTo>
                          <a:pt x="38" y="217"/>
                          <a:pt x="35" y="219"/>
                          <a:pt x="34" y="218"/>
                        </a:cubicBezTo>
                        <a:cubicBezTo>
                          <a:pt x="33" y="216"/>
                          <a:pt x="35" y="176"/>
                          <a:pt x="35" y="176"/>
                        </a:cubicBezTo>
                        <a:cubicBezTo>
                          <a:pt x="22" y="175"/>
                          <a:pt x="22" y="175"/>
                          <a:pt x="22" y="175"/>
                        </a:cubicBezTo>
                        <a:cubicBezTo>
                          <a:pt x="22" y="175"/>
                          <a:pt x="23" y="190"/>
                          <a:pt x="22" y="192"/>
                        </a:cubicBezTo>
                        <a:cubicBezTo>
                          <a:pt x="20" y="193"/>
                          <a:pt x="18" y="190"/>
                          <a:pt x="18" y="190"/>
                        </a:cubicBezTo>
                        <a:cubicBezTo>
                          <a:pt x="18" y="190"/>
                          <a:pt x="15" y="187"/>
                          <a:pt x="16" y="183"/>
                        </a:cubicBezTo>
                        <a:cubicBezTo>
                          <a:pt x="17" y="179"/>
                          <a:pt x="18" y="160"/>
                          <a:pt x="18" y="160"/>
                        </a:cubicBezTo>
                        <a:cubicBezTo>
                          <a:pt x="22" y="0"/>
                          <a:pt x="22" y="0"/>
                          <a:pt x="22" y="0"/>
                        </a:cubicBezTo>
                        <a:cubicBezTo>
                          <a:pt x="22" y="0"/>
                          <a:pt x="4" y="0"/>
                          <a:pt x="2" y="8"/>
                        </a:cubicBezTo>
                        <a:cubicBezTo>
                          <a:pt x="0" y="16"/>
                          <a:pt x="6" y="193"/>
                          <a:pt x="9" y="193"/>
                        </a:cubicBezTo>
                        <a:cubicBezTo>
                          <a:pt x="12" y="193"/>
                          <a:pt x="16" y="195"/>
                          <a:pt x="16" y="195"/>
                        </a:cubicBezTo>
                        <a:cubicBezTo>
                          <a:pt x="16" y="207"/>
                          <a:pt x="16" y="207"/>
                          <a:pt x="16" y="207"/>
                        </a:cubicBezTo>
                        <a:cubicBezTo>
                          <a:pt x="13" y="208"/>
                          <a:pt x="13" y="208"/>
                          <a:pt x="13" y="208"/>
                        </a:cubicBezTo>
                        <a:cubicBezTo>
                          <a:pt x="12" y="223"/>
                          <a:pt x="12" y="223"/>
                          <a:pt x="12" y="223"/>
                        </a:cubicBezTo>
                        <a:cubicBezTo>
                          <a:pt x="15" y="223"/>
                          <a:pt x="15" y="223"/>
                          <a:pt x="15" y="223"/>
                        </a:cubicBezTo>
                        <a:cubicBezTo>
                          <a:pt x="15" y="223"/>
                          <a:pt x="16" y="258"/>
                          <a:pt x="18" y="260"/>
                        </a:cubicBezTo>
                        <a:cubicBezTo>
                          <a:pt x="20" y="262"/>
                          <a:pt x="23" y="262"/>
                          <a:pt x="23" y="262"/>
                        </a:cubicBezTo>
                        <a:cubicBezTo>
                          <a:pt x="23" y="262"/>
                          <a:pt x="23" y="307"/>
                          <a:pt x="23" y="310"/>
                        </a:cubicBezTo>
                        <a:cubicBezTo>
                          <a:pt x="24" y="314"/>
                          <a:pt x="30" y="312"/>
                          <a:pt x="30" y="312"/>
                        </a:cubicBezTo>
                        <a:cubicBezTo>
                          <a:pt x="30" y="312"/>
                          <a:pt x="39" y="322"/>
                          <a:pt x="46" y="324"/>
                        </a:cubicBezTo>
                        <a:cubicBezTo>
                          <a:pt x="53" y="325"/>
                          <a:pt x="58" y="327"/>
                          <a:pt x="58" y="327"/>
                        </a:cubicBezTo>
                        <a:cubicBezTo>
                          <a:pt x="60" y="333"/>
                          <a:pt x="60" y="333"/>
                          <a:pt x="60" y="333"/>
                        </a:cubicBezTo>
                        <a:cubicBezTo>
                          <a:pt x="60" y="333"/>
                          <a:pt x="59" y="342"/>
                          <a:pt x="64" y="342"/>
                        </a:cubicBezTo>
                        <a:cubicBezTo>
                          <a:pt x="68" y="342"/>
                          <a:pt x="67" y="335"/>
                          <a:pt x="67" y="335"/>
                        </a:cubicBezTo>
                        <a:cubicBezTo>
                          <a:pt x="67" y="335"/>
                          <a:pt x="73" y="335"/>
                          <a:pt x="77" y="334"/>
                        </a:cubicBezTo>
                        <a:cubicBezTo>
                          <a:pt x="80" y="333"/>
                          <a:pt x="80" y="333"/>
                          <a:pt x="80" y="333"/>
                        </a:cubicBezTo>
                        <a:cubicBezTo>
                          <a:pt x="80" y="333"/>
                          <a:pt x="81" y="340"/>
                          <a:pt x="83" y="340"/>
                        </a:cubicBezTo>
                        <a:cubicBezTo>
                          <a:pt x="85" y="340"/>
                          <a:pt x="87" y="333"/>
                          <a:pt x="87" y="329"/>
                        </a:cubicBezTo>
                        <a:cubicBezTo>
                          <a:pt x="88" y="326"/>
                          <a:pt x="88" y="323"/>
                          <a:pt x="88" y="323"/>
                        </a:cubicBezTo>
                        <a:cubicBezTo>
                          <a:pt x="88" y="323"/>
                          <a:pt x="96" y="324"/>
                          <a:pt x="99" y="325"/>
                        </a:cubicBezTo>
                        <a:cubicBezTo>
                          <a:pt x="102" y="327"/>
                          <a:pt x="160" y="327"/>
                          <a:pt x="162" y="325"/>
                        </a:cubicBezTo>
                        <a:cubicBezTo>
                          <a:pt x="164" y="323"/>
                          <a:pt x="165" y="322"/>
                          <a:pt x="169" y="322"/>
                        </a:cubicBezTo>
                        <a:cubicBezTo>
                          <a:pt x="173" y="322"/>
                          <a:pt x="209" y="323"/>
                          <a:pt x="222" y="314"/>
                        </a:cubicBezTo>
                        <a:cubicBezTo>
                          <a:pt x="234" y="306"/>
                          <a:pt x="235" y="298"/>
                          <a:pt x="236" y="283"/>
                        </a:cubicBezTo>
                        <a:cubicBezTo>
                          <a:pt x="237" y="267"/>
                          <a:pt x="237" y="259"/>
                          <a:pt x="237" y="259"/>
                        </a:cubicBezTo>
                        <a:cubicBezTo>
                          <a:pt x="237" y="259"/>
                          <a:pt x="238" y="260"/>
                          <a:pt x="239" y="255"/>
                        </a:cubicBezTo>
                        <a:cubicBezTo>
                          <a:pt x="240" y="249"/>
                          <a:pt x="242" y="209"/>
                          <a:pt x="242" y="199"/>
                        </a:cubicBezTo>
                        <a:cubicBezTo>
                          <a:pt x="242" y="188"/>
                          <a:pt x="239" y="182"/>
                          <a:pt x="239" y="182"/>
                        </a:cubicBezTo>
                        <a:close/>
                        <a:moveTo>
                          <a:pt x="97" y="301"/>
                        </a:moveTo>
                        <a:cubicBezTo>
                          <a:pt x="97" y="301"/>
                          <a:pt x="98" y="293"/>
                          <a:pt x="97" y="289"/>
                        </a:cubicBezTo>
                        <a:cubicBezTo>
                          <a:pt x="97" y="284"/>
                          <a:pt x="97" y="276"/>
                          <a:pt x="96" y="272"/>
                        </a:cubicBezTo>
                        <a:cubicBezTo>
                          <a:pt x="94" y="268"/>
                          <a:pt x="96" y="250"/>
                          <a:pt x="96" y="248"/>
                        </a:cubicBezTo>
                        <a:cubicBezTo>
                          <a:pt x="96" y="248"/>
                          <a:pt x="97" y="249"/>
                          <a:pt x="119" y="250"/>
                        </a:cubicBezTo>
                        <a:cubicBezTo>
                          <a:pt x="141" y="251"/>
                          <a:pt x="153" y="248"/>
                          <a:pt x="153" y="248"/>
                        </a:cubicBezTo>
                        <a:cubicBezTo>
                          <a:pt x="153" y="248"/>
                          <a:pt x="155" y="261"/>
                          <a:pt x="155" y="267"/>
                        </a:cubicBezTo>
                        <a:cubicBezTo>
                          <a:pt x="155" y="274"/>
                          <a:pt x="157" y="281"/>
                          <a:pt x="155" y="285"/>
                        </a:cubicBezTo>
                        <a:cubicBezTo>
                          <a:pt x="154" y="290"/>
                          <a:pt x="156" y="301"/>
                          <a:pt x="156" y="301"/>
                        </a:cubicBezTo>
                        <a:lnTo>
                          <a:pt x="97" y="301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9" name="Freeform 178"/>
                  <p:cNvSpPr>
                    <a:spLocks/>
                  </p:cNvSpPr>
                  <p:nvPr/>
                </p:nvSpPr>
                <p:spPr bwMode="auto">
                  <a:xfrm>
                    <a:off x="2970213" y="4283075"/>
                    <a:ext cx="23813" cy="42863"/>
                  </a:xfrm>
                  <a:custGeom>
                    <a:avLst/>
                    <a:gdLst>
                      <a:gd name="T0" fmla="*/ 4 w 62"/>
                      <a:gd name="T1" fmla="*/ 0 h 112"/>
                      <a:gd name="T2" fmla="*/ 22 w 62"/>
                      <a:gd name="T3" fmla="*/ 5 h 112"/>
                      <a:gd name="T4" fmla="*/ 35 w 62"/>
                      <a:gd name="T5" fmla="*/ 17 h 112"/>
                      <a:gd name="T6" fmla="*/ 44 w 62"/>
                      <a:gd name="T7" fmla="*/ 21 h 112"/>
                      <a:gd name="T8" fmla="*/ 46 w 62"/>
                      <a:gd name="T9" fmla="*/ 50 h 112"/>
                      <a:gd name="T10" fmla="*/ 56 w 62"/>
                      <a:gd name="T11" fmla="*/ 62 h 112"/>
                      <a:gd name="T12" fmla="*/ 56 w 62"/>
                      <a:gd name="T13" fmla="*/ 104 h 112"/>
                      <a:gd name="T14" fmla="*/ 61 w 62"/>
                      <a:gd name="T15" fmla="*/ 105 h 112"/>
                      <a:gd name="T16" fmla="*/ 60 w 62"/>
                      <a:gd name="T17" fmla="*/ 109 h 112"/>
                      <a:gd name="T18" fmla="*/ 56 w 62"/>
                      <a:gd name="T19" fmla="*/ 109 h 112"/>
                      <a:gd name="T20" fmla="*/ 54 w 62"/>
                      <a:gd name="T21" fmla="*/ 111 h 112"/>
                      <a:gd name="T22" fmla="*/ 46 w 62"/>
                      <a:gd name="T23" fmla="*/ 110 h 112"/>
                      <a:gd name="T24" fmla="*/ 46 w 62"/>
                      <a:gd name="T25" fmla="*/ 105 h 112"/>
                      <a:gd name="T26" fmla="*/ 52 w 62"/>
                      <a:gd name="T27" fmla="*/ 103 h 112"/>
                      <a:gd name="T28" fmla="*/ 50 w 62"/>
                      <a:gd name="T29" fmla="*/ 63 h 112"/>
                      <a:gd name="T30" fmla="*/ 42 w 62"/>
                      <a:gd name="T31" fmla="*/ 56 h 112"/>
                      <a:gd name="T32" fmla="*/ 36 w 62"/>
                      <a:gd name="T33" fmla="*/ 59 h 112"/>
                      <a:gd name="T34" fmla="*/ 31 w 62"/>
                      <a:gd name="T35" fmla="*/ 55 h 112"/>
                      <a:gd name="T36" fmla="*/ 24 w 62"/>
                      <a:gd name="T37" fmla="*/ 70 h 112"/>
                      <a:gd name="T38" fmla="*/ 24 w 62"/>
                      <a:gd name="T39" fmla="*/ 101 h 112"/>
                      <a:gd name="T40" fmla="*/ 20 w 62"/>
                      <a:gd name="T41" fmla="*/ 101 h 112"/>
                      <a:gd name="T42" fmla="*/ 20 w 62"/>
                      <a:gd name="T43" fmla="*/ 63 h 112"/>
                      <a:gd name="T44" fmla="*/ 26 w 62"/>
                      <a:gd name="T45" fmla="*/ 52 h 112"/>
                      <a:gd name="T46" fmla="*/ 26 w 62"/>
                      <a:gd name="T47" fmla="*/ 42 h 112"/>
                      <a:gd name="T48" fmla="*/ 20 w 62"/>
                      <a:gd name="T49" fmla="*/ 38 h 112"/>
                      <a:gd name="T50" fmla="*/ 20 w 62"/>
                      <a:gd name="T51" fmla="*/ 19 h 112"/>
                      <a:gd name="T52" fmla="*/ 13 w 62"/>
                      <a:gd name="T53" fmla="*/ 17 h 112"/>
                      <a:gd name="T54" fmla="*/ 0 w 62"/>
                      <a:gd name="T55" fmla="*/ 6 h 112"/>
                      <a:gd name="T56" fmla="*/ 4 w 62"/>
                      <a:gd name="T57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62" h="112">
                        <a:moveTo>
                          <a:pt x="4" y="0"/>
                        </a:moveTo>
                        <a:cubicBezTo>
                          <a:pt x="4" y="0"/>
                          <a:pt x="18" y="3"/>
                          <a:pt x="22" y="5"/>
                        </a:cubicBezTo>
                        <a:cubicBezTo>
                          <a:pt x="26" y="7"/>
                          <a:pt x="35" y="17"/>
                          <a:pt x="35" y="17"/>
                        </a:cubicBezTo>
                        <a:cubicBezTo>
                          <a:pt x="35" y="17"/>
                          <a:pt x="42" y="17"/>
                          <a:pt x="44" y="21"/>
                        </a:cubicBezTo>
                        <a:cubicBezTo>
                          <a:pt x="47" y="24"/>
                          <a:pt x="46" y="50"/>
                          <a:pt x="46" y="50"/>
                        </a:cubicBezTo>
                        <a:cubicBezTo>
                          <a:pt x="46" y="50"/>
                          <a:pt x="56" y="55"/>
                          <a:pt x="56" y="62"/>
                        </a:cubicBezTo>
                        <a:cubicBezTo>
                          <a:pt x="56" y="69"/>
                          <a:pt x="54" y="104"/>
                          <a:pt x="56" y="104"/>
                        </a:cubicBezTo>
                        <a:cubicBezTo>
                          <a:pt x="57" y="104"/>
                          <a:pt x="61" y="104"/>
                          <a:pt x="61" y="105"/>
                        </a:cubicBezTo>
                        <a:cubicBezTo>
                          <a:pt x="61" y="107"/>
                          <a:pt x="62" y="109"/>
                          <a:pt x="60" y="109"/>
                        </a:cubicBezTo>
                        <a:cubicBezTo>
                          <a:pt x="59" y="109"/>
                          <a:pt x="56" y="109"/>
                          <a:pt x="56" y="109"/>
                        </a:cubicBezTo>
                        <a:cubicBezTo>
                          <a:pt x="56" y="109"/>
                          <a:pt x="58" y="112"/>
                          <a:pt x="54" y="111"/>
                        </a:cubicBezTo>
                        <a:cubicBezTo>
                          <a:pt x="51" y="111"/>
                          <a:pt x="46" y="110"/>
                          <a:pt x="46" y="110"/>
                        </a:cubicBezTo>
                        <a:cubicBezTo>
                          <a:pt x="46" y="105"/>
                          <a:pt x="46" y="105"/>
                          <a:pt x="46" y="105"/>
                        </a:cubicBezTo>
                        <a:cubicBezTo>
                          <a:pt x="52" y="103"/>
                          <a:pt x="52" y="103"/>
                          <a:pt x="52" y="103"/>
                        </a:cubicBezTo>
                        <a:cubicBezTo>
                          <a:pt x="52" y="103"/>
                          <a:pt x="52" y="67"/>
                          <a:pt x="50" y="63"/>
                        </a:cubicBezTo>
                        <a:cubicBezTo>
                          <a:pt x="47" y="58"/>
                          <a:pt x="42" y="56"/>
                          <a:pt x="42" y="56"/>
                        </a:cubicBezTo>
                        <a:cubicBezTo>
                          <a:pt x="42" y="56"/>
                          <a:pt x="39" y="59"/>
                          <a:pt x="36" y="59"/>
                        </a:cubicBezTo>
                        <a:cubicBezTo>
                          <a:pt x="33" y="59"/>
                          <a:pt x="31" y="55"/>
                          <a:pt x="31" y="55"/>
                        </a:cubicBezTo>
                        <a:cubicBezTo>
                          <a:pt x="31" y="55"/>
                          <a:pt x="23" y="58"/>
                          <a:pt x="24" y="70"/>
                        </a:cubicBezTo>
                        <a:cubicBezTo>
                          <a:pt x="24" y="82"/>
                          <a:pt x="24" y="101"/>
                          <a:pt x="24" y="101"/>
                        </a:cubicBezTo>
                        <a:cubicBezTo>
                          <a:pt x="20" y="101"/>
                          <a:pt x="20" y="101"/>
                          <a:pt x="20" y="101"/>
                        </a:cubicBezTo>
                        <a:cubicBezTo>
                          <a:pt x="20" y="101"/>
                          <a:pt x="19" y="70"/>
                          <a:pt x="20" y="63"/>
                        </a:cubicBezTo>
                        <a:cubicBezTo>
                          <a:pt x="21" y="55"/>
                          <a:pt x="26" y="52"/>
                          <a:pt x="26" y="52"/>
                        </a:cubicBezTo>
                        <a:cubicBezTo>
                          <a:pt x="26" y="42"/>
                          <a:pt x="26" y="42"/>
                          <a:pt x="26" y="42"/>
                        </a:cubicBezTo>
                        <a:cubicBezTo>
                          <a:pt x="26" y="42"/>
                          <a:pt x="20" y="41"/>
                          <a:pt x="20" y="38"/>
                        </a:cubicBezTo>
                        <a:cubicBezTo>
                          <a:pt x="20" y="34"/>
                          <a:pt x="20" y="19"/>
                          <a:pt x="20" y="19"/>
                        </a:cubicBezTo>
                        <a:cubicBezTo>
                          <a:pt x="20" y="19"/>
                          <a:pt x="16" y="20"/>
                          <a:pt x="13" y="17"/>
                        </a:cubicBezTo>
                        <a:cubicBezTo>
                          <a:pt x="11" y="14"/>
                          <a:pt x="0" y="6"/>
                          <a:pt x="0" y="6"/>
                        </a:cubicBez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0" name="Freeform 179"/>
                  <p:cNvSpPr>
                    <a:spLocks/>
                  </p:cNvSpPr>
                  <p:nvPr/>
                </p:nvSpPr>
                <p:spPr bwMode="auto">
                  <a:xfrm>
                    <a:off x="2970213" y="4279900"/>
                    <a:ext cx="19050" cy="60325"/>
                  </a:xfrm>
                  <a:custGeom>
                    <a:avLst/>
                    <a:gdLst>
                      <a:gd name="T0" fmla="*/ 1 w 46"/>
                      <a:gd name="T1" fmla="*/ 0 h 154"/>
                      <a:gd name="T2" fmla="*/ 15 w 46"/>
                      <a:gd name="T3" fmla="*/ 45 h 154"/>
                      <a:gd name="T4" fmla="*/ 21 w 46"/>
                      <a:gd name="T5" fmla="*/ 103 h 154"/>
                      <a:gd name="T6" fmla="*/ 26 w 46"/>
                      <a:gd name="T7" fmla="*/ 105 h 154"/>
                      <a:gd name="T8" fmla="*/ 27 w 46"/>
                      <a:gd name="T9" fmla="*/ 108 h 154"/>
                      <a:gd name="T10" fmla="*/ 31 w 46"/>
                      <a:gd name="T11" fmla="*/ 81 h 154"/>
                      <a:gd name="T12" fmla="*/ 42 w 46"/>
                      <a:gd name="T13" fmla="*/ 82 h 154"/>
                      <a:gd name="T14" fmla="*/ 46 w 46"/>
                      <a:gd name="T15" fmla="*/ 126 h 154"/>
                      <a:gd name="T16" fmla="*/ 42 w 46"/>
                      <a:gd name="T17" fmla="*/ 152 h 154"/>
                      <a:gd name="T18" fmla="*/ 33 w 46"/>
                      <a:gd name="T19" fmla="*/ 152 h 154"/>
                      <a:gd name="T20" fmla="*/ 30 w 46"/>
                      <a:gd name="T21" fmla="*/ 131 h 154"/>
                      <a:gd name="T22" fmla="*/ 24 w 46"/>
                      <a:gd name="T23" fmla="*/ 129 h 154"/>
                      <a:gd name="T24" fmla="*/ 23 w 46"/>
                      <a:gd name="T25" fmla="*/ 127 h 154"/>
                      <a:gd name="T26" fmla="*/ 15 w 46"/>
                      <a:gd name="T27" fmla="*/ 126 h 154"/>
                      <a:gd name="T28" fmla="*/ 11 w 46"/>
                      <a:gd name="T29" fmla="*/ 126 h 154"/>
                      <a:gd name="T30" fmla="*/ 8 w 46"/>
                      <a:gd name="T31" fmla="*/ 132 h 154"/>
                      <a:gd name="T32" fmla="*/ 3 w 46"/>
                      <a:gd name="T33" fmla="*/ 132 h 154"/>
                      <a:gd name="T34" fmla="*/ 2 w 46"/>
                      <a:gd name="T35" fmla="*/ 122 h 154"/>
                      <a:gd name="T36" fmla="*/ 0 w 46"/>
                      <a:gd name="T37" fmla="*/ 117 h 154"/>
                      <a:gd name="T38" fmla="*/ 2 w 46"/>
                      <a:gd name="T39" fmla="*/ 114 h 154"/>
                      <a:gd name="T40" fmla="*/ 3 w 46"/>
                      <a:gd name="T41" fmla="*/ 107 h 154"/>
                      <a:gd name="T42" fmla="*/ 7 w 46"/>
                      <a:gd name="T43" fmla="*/ 105 h 154"/>
                      <a:gd name="T44" fmla="*/ 6 w 46"/>
                      <a:gd name="T45" fmla="*/ 73 h 154"/>
                      <a:gd name="T46" fmla="*/ 0 w 46"/>
                      <a:gd name="T47" fmla="*/ 33 h 154"/>
                      <a:gd name="T48" fmla="*/ 1 w 46"/>
                      <a:gd name="T49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46" h="154">
                        <a:moveTo>
                          <a:pt x="1" y="0"/>
                        </a:moveTo>
                        <a:cubicBezTo>
                          <a:pt x="1" y="0"/>
                          <a:pt x="11" y="21"/>
                          <a:pt x="15" y="45"/>
                        </a:cubicBezTo>
                        <a:cubicBezTo>
                          <a:pt x="19" y="69"/>
                          <a:pt x="19" y="103"/>
                          <a:pt x="21" y="103"/>
                        </a:cubicBezTo>
                        <a:cubicBezTo>
                          <a:pt x="22" y="103"/>
                          <a:pt x="26" y="105"/>
                          <a:pt x="26" y="105"/>
                        </a:cubicBezTo>
                        <a:cubicBezTo>
                          <a:pt x="27" y="108"/>
                          <a:pt x="27" y="108"/>
                          <a:pt x="27" y="108"/>
                        </a:cubicBezTo>
                        <a:cubicBezTo>
                          <a:pt x="27" y="108"/>
                          <a:pt x="27" y="85"/>
                          <a:pt x="31" y="81"/>
                        </a:cubicBezTo>
                        <a:cubicBezTo>
                          <a:pt x="34" y="76"/>
                          <a:pt x="41" y="79"/>
                          <a:pt x="42" y="82"/>
                        </a:cubicBezTo>
                        <a:cubicBezTo>
                          <a:pt x="43" y="85"/>
                          <a:pt x="46" y="109"/>
                          <a:pt x="46" y="126"/>
                        </a:cubicBezTo>
                        <a:cubicBezTo>
                          <a:pt x="46" y="144"/>
                          <a:pt x="44" y="149"/>
                          <a:pt x="42" y="152"/>
                        </a:cubicBezTo>
                        <a:cubicBezTo>
                          <a:pt x="39" y="154"/>
                          <a:pt x="34" y="154"/>
                          <a:pt x="33" y="152"/>
                        </a:cubicBezTo>
                        <a:cubicBezTo>
                          <a:pt x="32" y="149"/>
                          <a:pt x="30" y="131"/>
                          <a:pt x="30" y="131"/>
                        </a:cubicBezTo>
                        <a:cubicBezTo>
                          <a:pt x="30" y="131"/>
                          <a:pt x="25" y="132"/>
                          <a:pt x="24" y="129"/>
                        </a:cubicBezTo>
                        <a:cubicBezTo>
                          <a:pt x="23" y="127"/>
                          <a:pt x="23" y="127"/>
                          <a:pt x="23" y="127"/>
                        </a:cubicBezTo>
                        <a:cubicBezTo>
                          <a:pt x="23" y="127"/>
                          <a:pt x="19" y="126"/>
                          <a:pt x="15" y="126"/>
                        </a:cubicBezTo>
                        <a:cubicBezTo>
                          <a:pt x="11" y="126"/>
                          <a:pt x="11" y="126"/>
                          <a:pt x="11" y="126"/>
                        </a:cubicBezTo>
                        <a:cubicBezTo>
                          <a:pt x="11" y="126"/>
                          <a:pt x="10" y="132"/>
                          <a:pt x="8" y="132"/>
                        </a:cubicBezTo>
                        <a:cubicBezTo>
                          <a:pt x="6" y="133"/>
                          <a:pt x="4" y="134"/>
                          <a:pt x="3" y="132"/>
                        </a:cubicBezTo>
                        <a:cubicBezTo>
                          <a:pt x="2" y="130"/>
                          <a:pt x="2" y="122"/>
                          <a:pt x="2" y="122"/>
                        </a:cubicBezTo>
                        <a:cubicBezTo>
                          <a:pt x="2" y="122"/>
                          <a:pt x="0" y="119"/>
                          <a:pt x="0" y="117"/>
                        </a:cubicBezTo>
                        <a:cubicBezTo>
                          <a:pt x="0" y="115"/>
                          <a:pt x="2" y="114"/>
                          <a:pt x="2" y="114"/>
                        </a:cubicBezTo>
                        <a:cubicBezTo>
                          <a:pt x="2" y="114"/>
                          <a:pt x="2" y="108"/>
                          <a:pt x="3" y="107"/>
                        </a:cubicBezTo>
                        <a:cubicBezTo>
                          <a:pt x="4" y="105"/>
                          <a:pt x="7" y="105"/>
                          <a:pt x="7" y="105"/>
                        </a:cubicBezTo>
                        <a:cubicBezTo>
                          <a:pt x="7" y="105"/>
                          <a:pt x="6" y="84"/>
                          <a:pt x="6" y="73"/>
                        </a:cubicBezTo>
                        <a:cubicBezTo>
                          <a:pt x="6" y="61"/>
                          <a:pt x="0" y="33"/>
                          <a:pt x="0" y="33"/>
                        </a:cubicBez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21" name="Freeform 180"/>
                  <p:cNvSpPr>
                    <a:spLocks noEditPoints="1"/>
                  </p:cNvSpPr>
                  <p:nvPr/>
                </p:nvSpPr>
                <p:spPr bwMode="auto">
                  <a:xfrm>
                    <a:off x="2879725" y="4194175"/>
                    <a:ext cx="133350" cy="150813"/>
                  </a:xfrm>
                  <a:custGeom>
                    <a:avLst/>
                    <a:gdLst>
                      <a:gd name="T0" fmla="*/ 328 w 335"/>
                      <a:gd name="T1" fmla="*/ 196 h 382"/>
                      <a:gd name="T2" fmla="*/ 303 w 335"/>
                      <a:gd name="T3" fmla="*/ 26 h 382"/>
                      <a:gd name="T4" fmla="*/ 294 w 335"/>
                      <a:gd name="T5" fmla="*/ 23 h 382"/>
                      <a:gd name="T6" fmla="*/ 279 w 335"/>
                      <a:gd name="T7" fmla="*/ 2 h 382"/>
                      <a:gd name="T8" fmla="*/ 266 w 335"/>
                      <a:gd name="T9" fmla="*/ 15 h 382"/>
                      <a:gd name="T10" fmla="*/ 261 w 335"/>
                      <a:gd name="T11" fmla="*/ 16 h 382"/>
                      <a:gd name="T12" fmla="*/ 212 w 335"/>
                      <a:gd name="T13" fmla="*/ 32 h 382"/>
                      <a:gd name="T14" fmla="*/ 78 w 335"/>
                      <a:gd name="T15" fmla="*/ 32 h 382"/>
                      <a:gd name="T16" fmla="*/ 6 w 335"/>
                      <a:gd name="T17" fmla="*/ 18 h 382"/>
                      <a:gd name="T18" fmla="*/ 0 w 335"/>
                      <a:gd name="T19" fmla="*/ 188 h 382"/>
                      <a:gd name="T20" fmla="*/ 16 w 335"/>
                      <a:gd name="T21" fmla="*/ 192 h 382"/>
                      <a:gd name="T22" fmla="*/ 36 w 335"/>
                      <a:gd name="T23" fmla="*/ 202 h 382"/>
                      <a:gd name="T24" fmla="*/ 56 w 335"/>
                      <a:gd name="T25" fmla="*/ 204 h 382"/>
                      <a:gd name="T26" fmla="*/ 189 w 335"/>
                      <a:gd name="T27" fmla="*/ 202 h 382"/>
                      <a:gd name="T28" fmla="*/ 214 w 335"/>
                      <a:gd name="T29" fmla="*/ 203 h 382"/>
                      <a:gd name="T30" fmla="*/ 218 w 335"/>
                      <a:gd name="T31" fmla="*/ 208 h 382"/>
                      <a:gd name="T32" fmla="*/ 246 w 335"/>
                      <a:gd name="T33" fmla="*/ 206 h 382"/>
                      <a:gd name="T34" fmla="*/ 248 w 335"/>
                      <a:gd name="T35" fmla="*/ 201 h 382"/>
                      <a:gd name="T36" fmla="*/ 270 w 335"/>
                      <a:gd name="T37" fmla="*/ 201 h 382"/>
                      <a:gd name="T38" fmla="*/ 271 w 335"/>
                      <a:gd name="T39" fmla="*/ 216 h 382"/>
                      <a:gd name="T40" fmla="*/ 281 w 335"/>
                      <a:gd name="T41" fmla="*/ 312 h 382"/>
                      <a:gd name="T42" fmla="*/ 294 w 335"/>
                      <a:gd name="T43" fmla="*/ 374 h 382"/>
                      <a:gd name="T44" fmla="*/ 313 w 335"/>
                      <a:gd name="T45" fmla="*/ 377 h 382"/>
                      <a:gd name="T46" fmla="*/ 319 w 335"/>
                      <a:gd name="T47" fmla="*/ 351 h 382"/>
                      <a:gd name="T48" fmla="*/ 328 w 335"/>
                      <a:gd name="T49" fmla="*/ 349 h 382"/>
                      <a:gd name="T50" fmla="*/ 328 w 335"/>
                      <a:gd name="T51" fmla="*/ 196 h 382"/>
                      <a:gd name="T52" fmla="*/ 158 w 335"/>
                      <a:gd name="T53" fmla="*/ 166 h 382"/>
                      <a:gd name="T54" fmla="*/ 129 w 335"/>
                      <a:gd name="T55" fmla="*/ 175 h 382"/>
                      <a:gd name="T56" fmla="*/ 104 w 335"/>
                      <a:gd name="T57" fmla="*/ 177 h 382"/>
                      <a:gd name="T58" fmla="*/ 86 w 335"/>
                      <a:gd name="T59" fmla="*/ 172 h 382"/>
                      <a:gd name="T60" fmla="*/ 71 w 335"/>
                      <a:gd name="T61" fmla="*/ 157 h 382"/>
                      <a:gd name="T62" fmla="*/ 109 w 335"/>
                      <a:gd name="T63" fmla="*/ 159 h 382"/>
                      <a:gd name="T64" fmla="*/ 163 w 335"/>
                      <a:gd name="T65" fmla="*/ 159 h 382"/>
                      <a:gd name="T66" fmla="*/ 158 w 335"/>
                      <a:gd name="T67" fmla="*/ 166 h 382"/>
                      <a:gd name="T68" fmla="*/ 269 w 335"/>
                      <a:gd name="T69" fmla="*/ 182 h 382"/>
                      <a:gd name="T70" fmla="*/ 254 w 335"/>
                      <a:gd name="T71" fmla="*/ 181 h 382"/>
                      <a:gd name="T72" fmla="*/ 243 w 335"/>
                      <a:gd name="T73" fmla="*/ 181 h 382"/>
                      <a:gd name="T74" fmla="*/ 244 w 335"/>
                      <a:gd name="T75" fmla="*/ 165 h 382"/>
                      <a:gd name="T76" fmla="*/ 242 w 335"/>
                      <a:gd name="T77" fmla="*/ 161 h 382"/>
                      <a:gd name="T78" fmla="*/ 244 w 335"/>
                      <a:gd name="T79" fmla="*/ 156 h 382"/>
                      <a:gd name="T80" fmla="*/ 245 w 335"/>
                      <a:gd name="T81" fmla="*/ 156 h 382"/>
                      <a:gd name="T82" fmla="*/ 248 w 335"/>
                      <a:gd name="T83" fmla="*/ 161 h 382"/>
                      <a:gd name="T84" fmla="*/ 254 w 335"/>
                      <a:gd name="T85" fmla="*/ 164 h 382"/>
                      <a:gd name="T86" fmla="*/ 257 w 335"/>
                      <a:gd name="T87" fmla="*/ 163 h 382"/>
                      <a:gd name="T88" fmla="*/ 264 w 335"/>
                      <a:gd name="T89" fmla="*/ 163 h 382"/>
                      <a:gd name="T90" fmla="*/ 266 w 335"/>
                      <a:gd name="T91" fmla="*/ 169 h 382"/>
                      <a:gd name="T92" fmla="*/ 270 w 335"/>
                      <a:gd name="T93" fmla="*/ 173 h 382"/>
                      <a:gd name="T94" fmla="*/ 269 w 335"/>
                      <a:gd name="T95" fmla="*/ 182 h 382"/>
                      <a:gd name="T96" fmla="*/ 285 w 335"/>
                      <a:gd name="T97" fmla="*/ 136 h 382"/>
                      <a:gd name="T98" fmla="*/ 283 w 335"/>
                      <a:gd name="T99" fmla="*/ 109 h 382"/>
                      <a:gd name="T100" fmla="*/ 290 w 335"/>
                      <a:gd name="T101" fmla="*/ 156 h 382"/>
                      <a:gd name="T102" fmla="*/ 292 w 335"/>
                      <a:gd name="T103" fmla="*/ 178 h 382"/>
                      <a:gd name="T104" fmla="*/ 286 w 335"/>
                      <a:gd name="T105" fmla="*/ 176 h 382"/>
                      <a:gd name="T106" fmla="*/ 285 w 335"/>
                      <a:gd name="T107" fmla="*/ 136 h 382"/>
                      <a:gd name="T108" fmla="*/ 299 w 335"/>
                      <a:gd name="T109" fmla="*/ 313 h 382"/>
                      <a:gd name="T110" fmla="*/ 293 w 335"/>
                      <a:gd name="T111" fmla="*/ 294 h 382"/>
                      <a:gd name="T112" fmla="*/ 293 w 335"/>
                      <a:gd name="T113" fmla="*/ 277 h 382"/>
                      <a:gd name="T114" fmla="*/ 293 w 335"/>
                      <a:gd name="T115" fmla="*/ 253 h 382"/>
                      <a:gd name="T116" fmla="*/ 289 w 335"/>
                      <a:gd name="T117" fmla="*/ 200 h 382"/>
                      <a:gd name="T118" fmla="*/ 295 w 335"/>
                      <a:gd name="T119" fmla="*/ 200 h 382"/>
                      <a:gd name="T120" fmla="*/ 299 w 335"/>
                      <a:gd name="T121" fmla="*/ 229 h 382"/>
                      <a:gd name="T122" fmla="*/ 299 w 335"/>
                      <a:gd name="T123" fmla="*/ 313 h 3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335" h="382">
                        <a:moveTo>
                          <a:pt x="328" y="196"/>
                        </a:moveTo>
                        <a:cubicBezTo>
                          <a:pt x="322" y="112"/>
                          <a:pt x="307" y="29"/>
                          <a:pt x="303" y="26"/>
                        </a:cubicBezTo>
                        <a:cubicBezTo>
                          <a:pt x="300" y="23"/>
                          <a:pt x="294" y="23"/>
                          <a:pt x="294" y="23"/>
                        </a:cubicBezTo>
                        <a:cubicBezTo>
                          <a:pt x="294" y="23"/>
                          <a:pt x="290" y="4"/>
                          <a:pt x="279" y="2"/>
                        </a:cubicBezTo>
                        <a:cubicBezTo>
                          <a:pt x="269" y="0"/>
                          <a:pt x="266" y="15"/>
                          <a:pt x="266" y="15"/>
                        </a:cubicBezTo>
                        <a:cubicBezTo>
                          <a:pt x="266" y="15"/>
                          <a:pt x="263" y="16"/>
                          <a:pt x="261" y="16"/>
                        </a:cubicBezTo>
                        <a:cubicBezTo>
                          <a:pt x="258" y="16"/>
                          <a:pt x="223" y="30"/>
                          <a:pt x="212" y="32"/>
                        </a:cubicBezTo>
                        <a:cubicBezTo>
                          <a:pt x="200" y="35"/>
                          <a:pt x="95" y="37"/>
                          <a:pt x="78" y="32"/>
                        </a:cubicBezTo>
                        <a:cubicBezTo>
                          <a:pt x="61" y="27"/>
                          <a:pt x="6" y="18"/>
                          <a:pt x="6" y="18"/>
                        </a:cubicBezTo>
                        <a:cubicBezTo>
                          <a:pt x="0" y="188"/>
                          <a:pt x="0" y="188"/>
                          <a:pt x="0" y="188"/>
                        </a:cubicBezTo>
                        <a:cubicBezTo>
                          <a:pt x="0" y="188"/>
                          <a:pt x="13" y="190"/>
                          <a:pt x="16" y="192"/>
                        </a:cubicBezTo>
                        <a:cubicBezTo>
                          <a:pt x="19" y="193"/>
                          <a:pt x="33" y="199"/>
                          <a:pt x="36" y="202"/>
                        </a:cubicBezTo>
                        <a:cubicBezTo>
                          <a:pt x="39" y="205"/>
                          <a:pt x="56" y="204"/>
                          <a:pt x="56" y="204"/>
                        </a:cubicBezTo>
                        <a:cubicBezTo>
                          <a:pt x="56" y="204"/>
                          <a:pt x="181" y="202"/>
                          <a:pt x="189" y="202"/>
                        </a:cubicBezTo>
                        <a:cubicBezTo>
                          <a:pt x="197" y="202"/>
                          <a:pt x="214" y="203"/>
                          <a:pt x="214" y="203"/>
                        </a:cubicBezTo>
                        <a:cubicBezTo>
                          <a:pt x="218" y="208"/>
                          <a:pt x="218" y="208"/>
                          <a:pt x="218" y="208"/>
                        </a:cubicBezTo>
                        <a:cubicBezTo>
                          <a:pt x="218" y="208"/>
                          <a:pt x="244" y="206"/>
                          <a:pt x="246" y="206"/>
                        </a:cubicBezTo>
                        <a:cubicBezTo>
                          <a:pt x="248" y="206"/>
                          <a:pt x="248" y="201"/>
                          <a:pt x="248" y="201"/>
                        </a:cubicBezTo>
                        <a:cubicBezTo>
                          <a:pt x="270" y="201"/>
                          <a:pt x="270" y="201"/>
                          <a:pt x="270" y="201"/>
                        </a:cubicBezTo>
                        <a:cubicBezTo>
                          <a:pt x="270" y="201"/>
                          <a:pt x="270" y="205"/>
                          <a:pt x="271" y="216"/>
                        </a:cubicBezTo>
                        <a:cubicBezTo>
                          <a:pt x="273" y="228"/>
                          <a:pt x="276" y="281"/>
                          <a:pt x="281" y="312"/>
                        </a:cubicBezTo>
                        <a:cubicBezTo>
                          <a:pt x="286" y="343"/>
                          <a:pt x="290" y="366"/>
                          <a:pt x="294" y="374"/>
                        </a:cubicBezTo>
                        <a:cubicBezTo>
                          <a:pt x="297" y="382"/>
                          <a:pt x="308" y="381"/>
                          <a:pt x="313" y="377"/>
                        </a:cubicBezTo>
                        <a:cubicBezTo>
                          <a:pt x="319" y="373"/>
                          <a:pt x="319" y="351"/>
                          <a:pt x="319" y="351"/>
                        </a:cubicBezTo>
                        <a:cubicBezTo>
                          <a:pt x="319" y="351"/>
                          <a:pt x="325" y="353"/>
                          <a:pt x="328" y="349"/>
                        </a:cubicBezTo>
                        <a:cubicBezTo>
                          <a:pt x="331" y="345"/>
                          <a:pt x="335" y="280"/>
                          <a:pt x="328" y="196"/>
                        </a:cubicBezTo>
                        <a:close/>
                        <a:moveTo>
                          <a:pt x="158" y="166"/>
                        </a:moveTo>
                        <a:cubicBezTo>
                          <a:pt x="155" y="168"/>
                          <a:pt x="140" y="173"/>
                          <a:pt x="129" y="175"/>
                        </a:cubicBezTo>
                        <a:cubicBezTo>
                          <a:pt x="118" y="176"/>
                          <a:pt x="110" y="176"/>
                          <a:pt x="104" y="177"/>
                        </a:cubicBezTo>
                        <a:cubicBezTo>
                          <a:pt x="97" y="177"/>
                          <a:pt x="91" y="173"/>
                          <a:pt x="86" y="172"/>
                        </a:cubicBezTo>
                        <a:cubicBezTo>
                          <a:pt x="80" y="171"/>
                          <a:pt x="71" y="157"/>
                          <a:pt x="71" y="157"/>
                        </a:cubicBezTo>
                        <a:cubicBezTo>
                          <a:pt x="71" y="157"/>
                          <a:pt x="84" y="158"/>
                          <a:pt x="109" y="159"/>
                        </a:cubicBezTo>
                        <a:cubicBezTo>
                          <a:pt x="134" y="159"/>
                          <a:pt x="163" y="159"/>
                          <a:pt x="163" y="159"/>
                        </a:cubicBezTo>
                        <a:cubicBezTo>
                          <a:pt x="163" y="159"/>
                          <a:pt x="161" y="164"/>
                          <a:pt x="158" y="166"/>
                        </a:cubicBezTo>
                        <a:close/>
                        <a:moveTo>
                          <a:pt x="269" y="182"/>
                        </a:moveTo>
                        <a:cubicBezTo>
                          <a:pt x="269" y="182"/>
                          <a:pt x="258" y="181"/>
                          <a:pt x="254" y="181"/>
                        </a:cubicBezTo>
                        <a:cubicBezTo>
                          <a:pt x="250" y="181"/>
                          <a:pt x="243" y="181"/>
                          <a:pt x="243" y="181"/>
                        </a:cubicBezTo>
                        <a:cubicBezTo>
                          <a:pt x="243" y="181"/>
                          <a:pt x="245" y="167"/>
                          <a:pt x="244" y="165"/>
                        </a:cubicBezTo>
                        <a:cubicBezTo>
                          <a:pt x="242" y="163"/>
                          <a:pt x="242" y="163"/>
                          <a:pt x="242" y="161"/>
                        </a:cubicBezTo>
                        <a:cubicBezTo>
                          <a:pt x="243" y="159"/>
                          <a:pt x="244" y="156"/>
                          <a:pt x="244" y="156"/>
                        </a:cubicBezTo>
                        <a:cubicBezTo>
                          <a:pt x="245" y="156"/>
                          <a:pt x="245" y="156"/>
                          <a:pt x="245" y="156"/>
                        </a:cubicBezTo>
                        <a:cubicBezTo>
                          <a:pt x="245" y="156"/>
                          <a:pt x="245" y="159"/>
                          <a:pt x="248" y="161"/>
                        </a:cubicBezTo>
                        <a:cubicBezTo>
                          <a:pt x="250" y="164"/>
                          <a:pt x="254" y="164"/>
                          <a:pt x="254" y="164"/>
                        </a:cubicBezTo>
                        <a:cubicBezTo>
                          <a:pt x="254" y="164"/>
                          <a:pt x="255" y="163"/>
                          <a:pt x="257" y="163"/>
                        </a:cubicBezTo>
                        <a:cubicBezTo>
                          <a:pt x="259" y="163"/>
                          <a:pt x="264" y="163"/>
                          <a:pt x="264" y="163"/>
                        </a:cubicBezTo>
                        <a:cubicBezTo>
                          <a:pt x="264" y="163"/>
                          <a:pt x="264" y="167"/>
                          <a:pt x="266" y="169"/>
                        </a:cubicBezTo>
                        <a:cubicBezTo>
                          <a:pt x="269" y="171"/>
                          <a:pt x="270" y="173"/>
                          <a:pt x="270" y="173"/>
                        </a:cubicBezTo>
                        <a:lnTo>
                          <a:pt x="269" y="182"/>
                        </a:lnTo>
                        <a:close/>
                        <a:moveTo>
                          <a:pt x="285" y="136"/>
                        </a:moveTo>
                        <a:cubicBezTo>
                          <a:pt x="285" y="122"/>
                          <a:pt x="283" y="109"/>
                          <a:pt x="283" y="109"/>
                        </a:cubicBezTo>
                        <a:cubicBezTo>
                          <a:pt x="283" y="109"/>
                          <a:pt x="289" y="143"/>
                          <a:pt x="290" y="156"/>
                        </a:cubicBezTo>
                        <a:cubicBezTo>
                          <a:pt x="291" y="169"/>
                          <a:pt x="292" y="178"/>
                          <a:pt x="292" y="178"/>
                        </a:cubicBezTo>
                        <a:cubicBezTo>
                          <a:pt x="286" y="176"/>
                          <a:pt x="286" y="176"/>
                          <a:pt x="286" y="176"/>
                        </a:cubicBezTo>
                        <a:cubicBezTo>
                          <a:pt x="286" y="176"/>
                          <a:pt x="286" y="150"/>
                          <a:pt x="285" y="136"/>
                        </a:cubicBezTo>
                        <a:close/>
                        <a:moveTo>
                          <a:pt x="299" y="313"/>
                        </a:moveTo>
                        <a:cubicBezTo>
                          <a:pt x="298" y="315"/>
                          <a:pt x="294" y="298"/>
                          <a:pt x="293" y="294"/>
                        </a:cubicBezTo>
                        <a:cubicBezTo>
                          <a:pt x="293" y="289"/>
                          <a:pt x="293" y="282"/>
                          <a:pt x="293" y="277"/>
                        </a:cubicBezTo>
                        <a:cubicBezTo>
                          <a:pt x="293" y="272"/>
                          <a:pt x="294" y="267"/>
                          <a:pt x="293" y="253"/>
                        </a:cubicBezTo>
                        <a:cubicBezTo>
                          <a:pt x="293" y="239"/>
                          <a:pt x="289" y="200"/>
                          <a:pt x="289" y="200"/>
                        </a:cubicBezTo>
                        <a:cubicBezTo>
                          <a:pt x="295" y="200"/>
                          <a:pt x="295" y="200"/>
                          <a:pt x="295" y="200"/>
                        </a:cubicBezTo>
                        <a:cubicBezTo>
                          <a:pt x="295" y="200"/>
                          <a:pt x="297" y="199"/>
                          <a:pt x="299" y="229"/>
                        </a:cubicBezTo>
                        <a:cubicBezTo>
                          <a:pt x="301" y="259"/>
                          <a:pt x="299" y="311"/>
                          <a:pt x="299" y="313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61" name="Freeform: Shape 560"/>
                <p:cNvSpPr>
                  <a:spLocks noChangeAspect="1"/>
                </p:cNvSpPr>
                <p:nvPr/>
              </p:nvSpPr>
              <p:spPr>
                <a:xfrm>
                  <a:off x="353980" y="6079939"/>
                  <a:ext cx="3826852" cy="502920"/>
                </a:xfrm>
                <a:custGeom>
                  <a:avLst/>
                  <a:gdLst>
                    <a:gd name="connsiteX0" fmla="*/ 2162594 w 3039126"/>
                    <a:gd name="connsiteY0" fmla="*/ 425980 h 555571"/>
                    <a:gd name="connsiteX1" fmla="*/ 2127182 w 3039126"/>
                    <a:gd name="connsiteY1" fmla="*/ 431129 h 555571"/>
                    <a:gd name="connsiteX2" fmla="*/ 2098803 w 3039126"/>
                    <a:gd name="connsiteY2" fmla="*/ 440484 h 555571"/>
                    <a:gd name="connsiteX3" fmla="*/ 2090641 w 3039126"/>
                    <a:gd name="connsiteY3" fmla="*/ 461517 h 555571"/>
                    <a:gd name="connsiteX4" fmla="*/ 2098238 w 3039126"/>
                    <a:gd name="connsiteY4" fmla="*/ 480354 h 555571"/>
                    <a:gd name="connsiteX5" fmla="*/ 2119397 w 3039126"/>
                    <a:gd name="connsiteY5" fmla="*/ 487762 h 555571"/>
                    <a:gd name="connsiteX6" fmla="*/ 2150288 w 3039126"/>
                    <a:gd name="connsiteY6" fmla="*/ 474012 h 555571"/>
                    <a:gd name="connsiteX7" fmla="*/ 2162594 w 3039126"/>
                    <a:gd name="connsiteY7" fmla="*/ 438537 h 555571"/>
                    <a:gd name="connsiteX8" fmla="*/ 1962569 w 3039126"/>
                    <a:gd name="connsiteY8" fmla="*/ 425980 h 555571"/>
                    <a:gd name="connsiteX9" fmla="*/ 1927158 w 3039126"/>
                    <a:gd name="connsiteY9" fmla="*/ 431129 h 555571"/>
                    <a:gd name="connsiteX10" fmla="*/ 1898778 w 3039126"/>
                    <a:gd name="connsiteY10" fmla="*/ 440484 h 555571"/>
                    <a:gd name="connsiteX11" fmla="*/ 1890616 w 3039126"/>
                    <a:gd name="connsiteY11" fmla="*/ 461517 h 555571"/>
                    <a:gd name="connsiteX12" fmla="*/ 1898213 w 3039126"/>
                    <a:gd name="connsiteY12" fmla="*/ 480354 h 555571"/>
                    <a:gd name="connsiteX13" fmla="*/ 1919372 w 3039126"/>
                    <a:gd name="connsiteY13" fmla="*/ 487762 h 555571"/>
                    <a:gd name="connsiteX14" fmla="*/ 1950263 w 3039126"/>
                    <a:gd name="connsiteY14" fmla="*/ 474012 h 555571"/>
                    <a:gd name="connsiteX15" fmla="*/ 1962569 w 3039126"/>
                    <a:gd name="connsiteY15" fmla="*/ 438537 h 555571"/>
                    <a:gd name="connsiteX16" fmla="*/ 1635682 w 3039126"/>
                    <a:gd name="connsiteY16" fmla="*/ 414175 h 555571"/>
                    <a:gd name="connsiteX17" fmla="*/ 1704371 w 3039126"/>
                    <a:gd name="connsiteY17" fmla="*/ 414175 h 555571"/>
                    <a:gd name="connsiteX18" fmla="*/ 1704371 w 3039126"/>
                    <a:gd name="connsiteY18" fmla="*/ 425477 h 555571"/>
                    <a:gd name="connsiteX19" fmla="*/ 1635682 w 3039126"/>
                    <a:gd name="connsiteY19" fmla="*/ 425477 h 555571"/>
                    <a:gd name="connsiteX20" fmla="*/ 2886061 w 3039126"/>
                    <a:gd name="connsiteY20" fmla="*/ 373993 h 555571"/>
                    <a:gd name="connsiteX21" fmla="*/ 2856111 w 3039126"/>
                    <a:gd name="connsiteY21" fmla="*/ 386110 h 555571"/>
                    <a:gd name="connsiteX22" fmla="*/ 2841482 w 3039126"/>
                    <a:gd name="connsiteY22" fmla="*/ 420832 h 555571"/>
                    <a:gd name="connsiteX23" fmla="*/ 2924110 w 3039126"/>
                    <a:gd name="connsiteY23" fmla="*/ 420832 h 555571"/>
                    <a:gd name="connsiteX24" fmla="*/ 2913436 w 3039126"/>
                    <a:gd name="connsiteY24" fmla="*/ 386299 h 555571"/>
                    <a:gd name="connsiteX25" fmla="*/ 2886061 w 3039126"/>
                    <a:gd name="connsiteY25" fmla="*/ 373993 h 555571"/>
                    <a:gd name="connsiteX26" fmla="*/ 2423983 w 3039126"/>
                    <a:gd name="connsiteY26" fmla="*/ 373993 h 555571"/>
                    <a:gd name="connsiteX27" fmla="*/ 2387755 w 3039126"/>
                    <a:gd name="connsiteY27" fmla="*/ 389313 h 555571"/>
                    <a:gd name="connsiteX28" fmla="*/ 2374256 w 3039126"/>
                    <a:gd name="connsiteY28" fmla="*/ 431882 h 555571"/>
                    <a:gd name="connsiteX29" fmla="*/ 2387441 w 3039126"/>
                    <a:gd name="connsiteY29" fmla="*/ 472442 h 555571"/>
                    <a:gd name="connsiteX30" fmla="*/ 2423481 w 3039126"/>
                    <a:gd name="connsiteY30" fmla="*/ 487762 h 555571"/>
                    <a:gd name="connsiteX31" fmla="*/ 2459269 w 3039126"/>
                    <a:gd name="connsiteY31" fmla="*/ 472694 h 555571"/>
                    <a:gd name="connsiteX32" fmla="*/ 2471826 w 3039126"/>
                    <a:gd name="connsiteY32" fmla="*/ 430877 h 555571"/>
                    <a:gd name="connsiteX33" fmla="*/ 2459332 w 3039126"/>
                    <a:gd name="connsiteY33" fmla="*/ 388685 h 555571"/>
                    <a:gd name="connsiteX34" fmla="*/ 2423983 w 3039126"/>
                    <a:gd name="connsiteY34" fmla="*/ 373993 h 555571"/>
                    <a:gd name="connsiteX35" fmla="*/ 171436 w 3039126"/>
                    <a:gd name="connsiteY35" fmla="*/ 373993 h 555571"/>
                    <a:gd name="connsiteX36" fmla="*/ 141486 w 3039126"/>
                    <a:gd name="connsiteY36" fmla="*/ 386110 h 555571"/>
                    <a:gd name="connsiteX37" fmla="*/ 126857 w 3039126"/>
                    <a:gd name="connsiteY37" fmla="*/ 420832 h 555571"/>
                    <a:gd name="connsiteX38" fmla="*/ 209485 w 3039126"/>
                    <a:gd name="connsiteY38" fmla="*/ 420832 h 555571"/>
                    <a:gd name="connsiteX39" fmla="*/ 198811 w 3039126"/>
                    <a:gd name="connsiteY39" fmla="*/ 386299 h 555571"/>
                    <a:gd name="connsiteX40" fmla="*/ 171436 w 3039126"/>
                    <a:gd name="connsiteY40" fmla="*/ 373993 h 555571"/>
                    <a:gd name="connsiteX41" fmla="*/ 1792194 w 3039126"/>
                    <a:gd name="connsiteY41" fmla="*/ 373992 h 555571"/>
                    <a:gd name="connsiteX42" fmla="*/ 1758791 w 3039126"/>
                    <a:gd name="connsiteY42" fmla="*/ 389500 h 555571"/>
                    <a:gd name="connsiteX43" fmla="*/ 1745606 w 3039126"/>
                    <a:gd name="connsiteY43" fmla="*/ 432132 h 555571"/>
                    <a:gd name="connsiteX44" fmla="*/ 1757473 w 3039126"/>
                    <a:gd name="connsiteY44" fmla="*/ 473258 h 555571"/>
                    <a:gd name="connsiteX45" fmla="*/ 1788050 w 3039126"/>
                    <a:gd name="connsiteY45" fmla="*/ 487761 h 555571"/>
                    <a:gd name="connsiteX46" fmla="*/ 1822080 w 3039126"/>
                    <a:gd name="connsiteY46" fmla="*/ 474137 h 555571"/>
                    <a:gd name="connsiteX47" fmla="*/ 1834135 w 3039126"/>
                    <a:gd name="connsiteY47" fmla="*/ 440922 h 555571"/>
                    <a:gd name="connsiteX48" fmla="*/ 1834135 w 3039126"/>
                    <a:gd name="connsiteY48" fmla="*/ 416938 h 555571"/>
                    <a:gd name="connsiteX49" fmla="*/ 1822771 w 3039126"/>
                    <a:gd name="connsiteY49" fmla="*/ 386486 h 555571"/>
                    <a:gd name="connsiteX50" fmla="*/ 1792194 w 3039126"/>
                    <a:gd name="connsiteY50" fmla="*/ 373992 h 555571"/>
                    <a:gd name="connsiteX51" fmla="*/ 1545046 w 3039126"/>
                    <a:gd name="connsiteY51" fmla="*/ 373992 h 555571"/>
                    <a:gd name="connsiteX52" fmla="*/ 1510890 w 3039126"/>
                    <a:gd name="connsiteY52" fmla="*/ 389939 h 555571"/>
                    <a:gd name="connsiteX53" fmla="*/ 1497956 w 3039126"/>
                    <a:gd name="connsiteY53" fmla="*/ 432132 h 555571"/>
                    <a:gd name="connsiteX54" fmla="*/ 1509823 w 3039126"/>
                    <a:gd name="connsiteY54" fmla="*/ 473132 h 555571"/>
                    <a:gd name="connsiteX55" fmla="*/ 1541153 w 3039126"/>
                    <a:gd name="connsiteY55" fmla="*/ 487761 h 555571"/>
                    <a:gd name="connsiteX56" fmla="*/ 1574179 w 3039126"/>
                    <a:gd name="connsiteY56" fmla="*/ 474325 h 555571"/>
                    <a:gd name="connsiteX57" fmla="*/ 1586485 w 3039126"/>
                    <a:gd name="connsiteY57" fmla="*/ 441425 h 555571"/>
                    <a:gd name="connsiteX58" fmla="*/ 1586485 w 3039126"/>
                    <a:gd name="connsiteY58" fmla="*/ 415933 h 555571"/>
                    <a:gd name="connsiteX59" fmla="*/ 1574995 w 3039126"/>
                    <a:gd name="connsiteY59" fmla="*/ 386423 h 555571"/>
                    <a:gd name="connsiteX60" fmla="*/ 1545046 w 3039126"/>
                    <a:gd name="connsiteY60" fmla="*/ 373992 h 555571"/>
                    <a:gd name="connsiteX61" fmla="*/ 1353810 w 3039126"/>
                    <a:gd name="connsiteY61" fmla="*/ 373992 h 555571"/>
                    <a:gd name="connsiteX62" fmla="*/ 1319026 w 3039126"/>
                    <a:gd name="connsiteY62" fmla="*/ 389060 h 555571"/>
                    <a:gd name="connsiteX63" fmla="*/ 1306720 w 3039126"/>
                    <a:gd name="connsiteY63" fmla="*/ 424472 h 555571"/>
                    <a:gd name="connsiteX64" fmla="*/ 1306720 w 3039126"/>
                    <a:gd name="connsiteY64" fmla="*/ 440671 h 555571"/>
                    <a:gd name="connsiteX65" fmla="*/ 1318901 w 3039126"/>
                    <a:gd name="connsiteY65" fmla="*/ 473885 h 555571"/>
                    <a:gd name="connsiteX66" fmla="*/ 1350922 w 3039126"/>
                    <a:gd name="connsiteY66" fmla="*/ 487761 h 555571"/>
                    <a:gd name="connsiteX67" fmla="*/ 1382943 w 3039126"/>
                    <a:gd name="connsiteY67" fmla="*/ 470872 h 555571"/>
                    <a:gd name="connsiteX68" fmla="*/ 1395250 w 3039126"/>
                    <a:gd name="connsiteY68" fmla="*/ 426481 h 555571"/>
                    <a:gd name="connsiteX69" fmla="*/ 1383948 w 3039126"/>
                    <a:gd name="connsiteY69" fmla="*/ 388181 h 555571"/>
                    <a:gd name="connsiteX70" fmla="*/ 1353810 w 3039126"/>
                    <a:gd name="connsiteY70" fmla="*/ 373992 h 555571"/>
                    <a:gd name="connsiteX71" fmla="*/ 2511730 w 3039126"/>
                    <a:gd name="connsiteY71" fmla="*/ 366584 h 555571"/>
                    <a:gd name="connsiteX72" fmla="*/ 2523408 w 3039126"/>
                    <a:gd name="connsiteY72" fmla="*/ 366584 h 555571"/>
                    <a:gd name="connsiteX73" fmla="*/ 2523408 w 3039126"/>
                    <a:gd name="connsiteY73" fmla="*/ 438035 h 555571"/>
                    <a:gd name="connsiteX74" fmla="*/ 2532010 w 3039126"/>
                    <a:gd name="connsiteY74" fmla="*/ 475958 h 555571"/>
                    <a:gd name="connsiteX75" fmla="*/ 2559071 w 3039126"/>
                    <a:gd name="connsiteY75" fmla="*/ 487762 h 555571"/>
                    <a:gd name="connsiteX76" fmla="*/ 2588142 w 3039126"/>
                    <a:gd name="connsiteY76" fmla="*/ 474577 h 555571"/>
                    <a:gd name="connsiteX77" fmla="*/ 2599255 w 3039126"/>
                    <a:gd name="connsiteY77" fmla="*/ 439416 h 555571"/>
                    <a:gd name="connsiteX78" fmla="*/ 2599255 w 3039126"/>
                    <a:gd name="connsiteY78" fmla="*/ 366584 h 555571"/>
                    <a:gd name="connsiteX79" fmla="*/ 2610808 w 3039126"/>
                    <a:gd name="connsiteY79" fmla="*/ 366584 h 555571"/>
                    <a:gd name="connsiteX80" fmla="*/ 2610808 w 3039126"/>
                    <a:gd name="connsiteY80" fmla="*/ 495171 h 555571"/>
                    <a:gd name="connsiteX81" fmla="*/ 2599255 w 3039126"/>
                    <a:gd name="connsiteY81" fmla="*/ 495171 h 555571"/>
                    <a:gd name="connsiteX82" fmla="*/ 2599255 w 3039126"/>
                    <a:gd name="connsiteY82" fmla="*/ 471814 h 555571"/>
                    <a:gd name="connsiteX83" fmla="*/ 2598753 w 3039126"/>
                    <a:gd name="connsiteY83" fmla="*/ 471814 h 555571"/>
                    <a:gd name="connsiteX84" fmla="*/ 2557313 w 3039126"/>
                    <a:gd name="connsiteY84" fmla="*/ 498311 h 555571"/>
                    <a:gd name="connsiteX85" fmla="*/ 2511730 w 3039126"/>
                    <a:gd name="connsiteY85" fmla="*/ 440923 h 555571"/>
                    <a:gd name="connsiteX86" fmla="*/ 1438043 w 3039126"/>
                    <a:gd name="connsiteY86" fmla="*/ 366584 h 555571"/>
                    <a:gd name="connsiteX87" fmla="*/ 1449596 w 3039126"/>
                    <a:gd name="connsiteY87" fmla="*/ 366584 h 555571"/>
                    <a:gd name="connsiteX88" fmla="*/ 1449596 w 3039126"/>
                    <a:gd name="connsiteY88" fmla="*/ 495171 h 555571"/>
                    <a:gd name="connsiteX89" fmla="*/ 1438043 w 3039126"/>
                    <a:gd name="connsiteY89" fmla="*/ 495171 h 555571"/>
                    <a:gd name="connsiteX90" fmla="*/ 961793 w 3039126"/>
                    <a:gd name="connsiteY90" fmla="*/ 366584 h 555571"/>
                    <a:gd name="connsiteX91" fmla="*/ 973346 w 3039126"/>
                    <a:gd name="connsiteY91" fmla="*/ 366584 h 555571"/>
                    <a:gd name="connsiteX92" fmla="*/ 973346 w 3039126"/>
                    <a:gd name="connsiteY92" fmla="*/ 495171 h 555571"/>
                    <a:gd name="connsiteX93" fmla="*/ 961793 w 3039126"/>
                    <a:gd name="connsiteY93" fmla="*/ 495171 h 555571"/>
                    <a:gd name="connsiteX94" fmla="*/ 774395 w 3039126"/>
                    <a:gd name="connsiteY94" fmla="*/ 366584 h 555571"/>
                    <a:gd name="connsiteX95" fmla="*/ 787204 w 3039126"/>
                    <a:gd name="connsiteY95" fmla="*/ 366584 h 555571"/>
                    <a:gd name="connsiteX96" fmla="*/ 817090 w 3039126"/>
                    <a:gd name="connsiteY96" fmla="*/ 469177 h 555571"/>
                    <a:gd name="connsiteX97" fmla="*/ 818848 w 3039126"/>
                    <a:gd name="connsiteY97" fmla="*/ 479977 h 555571"/>
                    <a:gd name="connsiteX98" fmla="*/ 819853 w 3039126"/>
                    <a:gd name="connsiteY98" fmla="*/ 479977 h 555571"/>
                    <a:gd name="connsiteX99" fmla="*/ 822239 w 3039126"/>
                    <a:gd name="connsiteY99" fmla="*/ 469177 h 555571"/>
                    <a:gd name="connsiteX100" fmla="*/ 854888 w 3039126"/>
                    <a:gd name="connsiteY100" fmla="*/ 366584 h 555571"/>
                    <a:gd name="connsiteX101" fmla="*/ 862799 w 3039126"/>
                    <a:gd name="connsiteY101" fmla="*/ 366584 h 555571"/>
                    <a:gd name="connsiteX102" fmla="*/ 891932 w 3039126"/>
                    <a:gd name="connsiteY102" fmla="*/ 469177 h 555571"/>
                    <a:gd name="connsiteX103" fmla="*/ 893690 w 3039126"/>
                    <a:gd name="connsiteY103" fmla="*/ 479977 h 555571"/>
                    <a:gd name="connsiteX104" fmla="*/ 894695 w 3039126"/>
                    <a:gd name="connsiteY104" fmla="*/ 479977 h 555571"/>
                    <a:gd name="connsiteX105" fmla="*/ 896830 w 3039126"/>
                    <a:gd name="connsiteY105" fmla="*/ 469177 h 555571"/>
                    <a:gd name="connsiteX106" fmla="*/ 927344 w 3039126"/>
                    <a:gd name="connsiteY106" fmla="*/ 366584 h 555571"/>
                    <a:gd name="connsiteX107" fmla="*/ 939274 w 3039126"/>
                    <a:gd name="connsiteY107" fmla="*/ 366584 h 555571"/>
                    <a:gd name="connsiteX108" fmla="*/ 899341 w 3039126"/>
                    <a:gd name="connsiteY108" fmla="*/ 495171 h 555571"/>
                    <a:gd name="connsiteX109" fmla="*/ 888542 w 3039126"/>
                    <a:gd name="connsiteY109" fmla="*/ 495171 h 555571"/>
                    <a:gd name="connsiteX110" fmla="*/ 860539 w 3039126"/>
                    <a:gd name="connsiteY110" fmla="*/ 398228 h 555571"/>
                    <a:gd name="connsiteX111" fmla="*/ 858530 w 3039126"/>
                    <a:gd name="connsiteY111" fmla="*/ 387429 h 555571"/>
                    <a:gd name="connsiteX112" fmla="*/ 857902 w 3039126"/>
                    <a:gd name="connsiteY112" fmla="*/ 387429 h 555571"/>
                    <a:gd name="connsiteX113" fmla="*/ 855390 w 3039126"/>
                    <a:gd name="connsiteY113" fmla="*/ 397977 h 555571"/>
                    <a:gd name="connsiteX114" fmla="*/ 823997 w 3039126"/>
                    <a:gd name="connsiteY114" fmla="*/ 495171 h 555571"/>
                    <a:gd name="connsiteX115" fmla="*/ 813198 w 3039126"/>
                    <a:gd name="connsiteY115" fmla="*/ 495171 h 555571"/>
                    <a:gd name="connsiteX116" fmla="*/ 482905 w 3039126"/>
                    <a:gd name="connsiteY116" fmla="*/ 366584 h 555571"/>
                    <a:gd name="connsiteX117" fmla="*/ 494583 w 3039126"/>
                    <a:gd name="connsiteY117" fmla="*/ 366584 h 555571"/>
                    <a:gd name="connsiteX118" fmla="*/ 494583 w 3039126"/>
                    <a:gd name="connsiteY118" fmla="*/ 438035 h 555571"/>
                    <a:gd name="connsiteX119" fmla="*/ 503185 w 3039126"/>
                    <a:gd name="connsiteY119" fmla="*/ 475958 h 555571"/>
                    <a:gd name="connsiteX120" fmla="*/ 530247 w 3039126"/>
                    <a:gd name="connsiteY120" fmla="*/ 487762 h 555571"/>
                    <a:gd name="connsiteX121" fmla="*/ 559317 w 3039126"/>
                    <a:gd name="connsiteY121" fmla="*/ 474577 h 555571"/>
                    <a:gd name="connsiteX122" fmla="*/ 570430 w 3039126"/>
                    <a:gd name="connsiteY122" fmla="*/ 439416 h 555571"/>
                    <a:gd name="connsiteX123" fmla="*/ 570430 w 3039126"/>
                    <a:gd name="connsiteY123" fmla="*/ 366584 h 555571"/>
                    <a:gd name="connsiteX124" fmla="*/ 581983 w 3039126"/>
                    <a:gd name="connsiteY124" fmla="*/ 366584 h 555571"/>
                    <a:gd name="connsiteX125" fmla="*/ 581983 w 3039126"/>
                    <a:gd name="connsiteY125" fmla="*/ 495171 h 555571"/>
                    <a:gd name="connsiteX126" fmla="*/ 570430 w 3039126"/>
                    <a:gd name="connsiteY126" fmla="*/ 495171 h 555571"/>
                    <a:gd name="connsiteX127" fmla="*/ 570430 w 3039126"/>
                    <a:gd name="connsiteY127" fmla="*/ 471814 h 555571"/>
                    <a:gd name="connsiteX128" fmla="*/ 569928 w 3039126"/>
                    <a:gd name="connsiteY128" fmla="*/ 471814 h 555571"/>
                    <a:gd name="connsiteX129" fmla="*/ 528488 w 3039126"/>
                    <a:gd name="connsiteY129" fmla="*/ 498311 h 555571"/>
                    <a:gd name="connsiteX130" fmla="*/ 482905 w 3039126"/>
                    <a:gd name="connsiteY130" fmla="*/ 440923 h 555571"/>
                    <a:gd name="connsiteX131" fmla="*/ 2695561 w 3039126"/>
                    <a:gd name="connsiteY131" fmla="*/ 364072 h 555571"/>
                    <a:gd name="connsiteX132" fmla="*/ 2708369 w 3039126"/>
                    <a:gd name="connsiteY132" fmla="*/ 366333 h 555571"/>
                    <a:gd name="connsiteX133" fmla="*/ 2708369 w 3039126"/>
                    <a:gd name="connsiteY133" fmla="*/ 378639 h 555571"/>
                    <a:gd name="connsiteX134" fmla="*/ 2694807 w 3039126"/>
                    <a:gd name="connsiteY134" fmla="*/ 374495 h 555571"/>
                    <a:gd name="connsiteX135" fmla="*/ 2669316 w 3039126"/>
                    <a:gd name="connsiteY135" fmla="*/ 390192 h 555571"/>
                    <a:gd name="connsiteX136" fmla="*/ 2659019 w 3039126"/>
                    <a:gd name="connsiteY136" fmla="*/ 434770 h 555571"/>
                    <a:gd name="connsiteX137" fmla="*/ 2659019 w 3039126"/>
                    <a:gd name="connsiteY137" fmla="*/ 495171 h 555571"/>
                    <a:gd name="connsiteX138" fmla="*/ 2647717 w 3039126"/>
                    <a:gd name="connsiteY138" fmla="*/ 495171 h 555571"/>
                    <a:gd name="connsiteX139" fmla="*/ 2647717 w 3039126"/>
                    <a:gd name="connsiteY139" fmla="*/ 366584 h 555571"/>
                    <a:gd name="connsiteX140" fmla="*/ 2659019 w 3039126"/>
                    <a:gd name="connsiteY140" fmla="*/ 366584 h 555571"/>
                    <a:gd name="connsiteX141" fmla="*/ 2659019 w 3039126"/>
                    <a:gd name="connsiteY141" fmla="*/ 395089 h 555571"/>
                    <a:gd name="connsiteX142" fmla="*/ 2659521 w 3039126"/>
                    <a:gd name="connsiteY142" fmla="*/ 395089 h 555571"/>
                    <a:gd name="connsiteX143" fmla="*/ 2673460 w 3039126"/>
                    <a:gd name="connsiteY143" fmla="*/ 372235 h 555571"/>
                    <a:gd name="connsiteX144" fmla="*/ 2695561 w 3039126"/>
                    <a:gd name="connsiteY144" fmla="*/ 364072 h 555571"/>
                    <a:gd name="connsiteX145" fmla="*/ 3006979 w 3039126"/>
                    <a:gd name="connsiteY145" fmla="*/ 363444 h 555571"/>
                    <a:gd name="connsiteX146" fmla="*/ 3035359 w 3039126"/>
                    <a:gd name="connsiteY146" fmla="*/ 370225 h 555571"/>
                    <a:gd name="connsiteX147" fmla="*/ 3035359 w 3039126"/>
                    <a:gd name="connsiteY147" fmla="*/ 383285 h 555571"/>
                    <a:gd name="connsiteX148" fmla="*/ 3005723 w 3039126"/>
                    <a:gd name="connsiteY148" fmla="*/ 373993 h 555571"/>
                    <a:gd name="connsiteX149" fmla="*/ 2985255 w 3039126"/>
                    <a:gd name="connsiteY149" fmla="*/ 380585 h 555571"/>
                    <a:gd name="connsiteX150" fmla="*/ 2977469 w 3039126"/>
                    <a:gd name="connsiteY150" fmla="*/ 397726 h 555571"/>
                    <a:gd name="connsiteX151" fmla="*/ 2982366 w 3039126"/>
                    <a:gd name="connsiteY151" fmla="*/ 412606 h 555571"/>
                    <a:gd name="connsiteX152" fmla="*/ 3003965 w 3039126"/>
                    <a:gd name="connsiteY152" fmla="*/ 425729 h 555571"/>
                    <a:gd name="connsiteX153" fmla="*/ 3031591 w 3039126"/>
                    <a:gd name="connsiteY153" fmla="*/ 442493 h 555571"/>
                    <a:gd name="connsiteX154" fmla="*/ 3039126 w 3039126"/>
                    <a:gd name="connsiteY154" fmla="*/ 463024 h 555571"/>
                    <a:gd name="connsiteX155" fmla="*/ 3027636 w 3039126"/>
                    <a:gd name="connsiteY155" fmla="*/ 488327 h 555571"/>
                    <a:gd name="connsiteX156" fmla="*/ 2995928 w 3039126"/>
                    <a:gd name="connsiteY156" fmla="*/ 498311 h 555571"/>
                    <a:gd name="connsiteX157" fmla="*/ 2964912 w 3039126"/>
                    <a:gd name="connsiteY157" fmla="*/ 489520 h 555571"/>
                    <a:gd name="connsiteX158" fmla="*/ 2964912 w 3039126"/>
                    <a:gd name="connsiteY158" fmla="*/ 475582 h 555571"/>
                    <a:gd name="connsiteX159" fmla="*/ 2980734 w 3039126"/>
                    <a:gd name="connsiteY159" fmla="*/ 484497 h 555571"/>
                    <a:gd name="connsiteX160" fmla="*/ 2996807 w 3039126"/>
                    <a:gd name="connsiteY160" fmla="*/ 487762 h 555571"/>
                    <a:gd name="connsiteX161" fmla="*/ 3027071 w 3039126"/>
                    <a:gd name="connsiteY161" fmla="*/ 463024 h 555571"/>
                    <a:gd name="connsiteX162" fmla="*/ 3020415 w 3039126"/>
                    <a:gd name="connsiteY162" fmla="*/ 448458 h 555571"/>
                    <a:gd name="connsiteX163" fmla="*/ 2998817 w 3039126"/>
                    <a:gd name="connsiteY163" fmla="*/ 436026 h 555571"/>
                    <a:gd name="connsiteX164" fmla="*/ 2972886 w 3039126"/>
                    <a:gd name="connsiteY164" fmla="*/ 419387 h 555571"/>
                    <a:gd name="connsiteX165" fmla="*/ 2965414 w 3039126"/>
                    <a:gd name="connsiteY165" fmla="*/ 398479 h 555571"/>
                    <a:gd name="connsiteX166" fmla="*/ 2977406 w 3039126"/>
                    <a:gd name="connsiteY166" fmla="*/ 373114 h 555571"/>
                    <a:gd name="connsiteX167" fmla="*/ 3006979 w 3039126"/>
                    <a:gd name="connsiteY167" fmla="*/ 363444 h 555571"/>
                    <a:gd name="connsiteX168" fmla="*/ 2886563 w 3039126"/>
                    <a:gd name="connsiteY168" fmla="*/ 363444 h 555571"/>
                    <a:gd name="connsiteX169" fmla="*/ 2923356 w 3039126"/>
                    <a:gd name="connsiteY169" fmla="*/ 380271 h 555571"/>
                    <a:gd name="connsiteX170" fmla="*/ 2936165 w 3039126"/>
                    <a:gd name="connsiteY170" fmla="*/ 426231 h 555571"/>
                    <a:gd name="connsiteX171" fmla="*/ 2936165 w 3039126"/>
                    <a:gd name="connsiteY171" fmla="*/ 431380 h 555571"/>
                    <a:gd name="connsiteX172" fmla="*/ 2840980 w 3039126"/>
                    <a:gd name="connsiteY172" fmla="*/ 431380 h 555571"/>
                    <a:gd name="connsiteX173" fmla="*/ 2853223 w 3039126"/>
                    <a:gd name="connsiteY173" fmla="*/ 472819 h 555571"/>
                    <a:gd name="connsiteX174" fmla="*/ 2886814 w 3039126"/>
                    <a:gd name="connsiteY174" fmla="*/ 487762 h 555571"/>
                    <a:gd name="connsiteX175" fmla="*/ 2929007 w 3039126"/>
                    <a:gd name="connsiteY175" fmla="*/ 471814 h 555571"/>
                    <a:gd name="connsiteX176" fmla="*/ 2929007 w 3039126"/>
                    <a:gd name="connsiteY176" fmla="*/ 484121 h 555571"/>
                    <a:gd name="connsiteX177" fmla="*/ 2884428 w 3039126"/>
                    <a:gd name="connsiteY177" fmla="*/ 498311 h 555571"/>
                    <a:gd name="connsiteX178" fmla="*/ 2844245 w 3039126"/>
                    <a:gd name="connsiteY178" fmla="*/ 480479 h 555571"/>
                    <a:gd name="connsiteX179" fmla="*/ 2828925 w 3039126"/>
                    <a:gd name="connsiteY179" fmla="*/ 430124 h 555571"/>
                    <a:gd name="connsiteX180" fmla="*/ 2844935 w 3039126"/>
                    <a:gd name="connsiteY180" fmla="*/ 382720 h 555571"/>
                    <a:gd name="connsiteX181" fmla="*/ 2886563 w 3039126"/>
                    <a:gd name="connsiteY181" fmla="*/ 363444 h 555571"/>
                    <a:gd name="connsiteX182" fmla="*/ 2779170 w 3039126"/>
                    <a:gd name="connsiteY182" fmla="*/ 363444 h 555571"/>
                    <a:gd name="connsiteX183" fmla="*/ 2807675 w 3039126"/>
                    <a:gd name="connsiteY183" fmla="*/ 369472 h 555571"/>
                    <a:gd name="connsiteX184" fmla="*/ 2807675 w 3039126"/>
                    <a:gd name="connsiteY184" fmla="*/ 382532 h 555571"/>
                    <a:gd name="connsiteX185" fmla="*/ 2777412 w 3039126"/>
                    <a:gd name="connsiteY185" fmla="*/ 373993 h 555571"/>
                    <a:gd name="connsiteX186" fmla="*/ 2740744 w 3039126"/>
                    <a:gd name="connsiteY186" fmla="*/ 390254 h 555571"/>
                    <a:gd name="connsiteX187" fmla="*/ 2726680 w 3039126"/>
                    <a:gd name="connsiteY187" fmla="*/ 432384 h 555571"/>
                    <a:gd name="connsiteX188" fmla="*/ 2739551 w 3039126"/>
                    <a:gd name="connsiteY188" fmla="*/ 472568 h 555571"/>
                    <a:gd name="connsiteX189" fmla="*/ 2773519 w 3039126"/>
                    <a:gd name="connsiteY189" fmla="*/ 487762 h 555571"/>
                    <a:gd name="connsiteX190" fmla="*/ 2807173 w 3039126"/>
                    <a:gd name="connsiteY190" fmla="*/ 477465 h 555571"/>
                    <a:gd name="connsiteX191" fmla="*/ 2807173 w 3039126"/>
                    <a:gd name="connsiteY191" fmla="*/ 489520 h 555571"/>
                    <a:gd name="connsiteX192" fmla="*/ 2773017 w 3039126"/>
                    <a:gd name="connsiteY192" fmla="*/ 498311 h 555571"/>
                    <a:gd name="connsiteX193" fmla="*/ 2730698 w 3039126"/>
                    <a:gd name="connsiteY193" fmla="*/ 480291 h 555571"/>
                    <a:gd name="connsiteX194" fmla="*/ 2714625 w 3039126"/>
                    <a:gd name="connsiteY194" fmla="*/ 433138 h 555571"/>
                    <a:gd name="connsiteX195" fmla="*/ 2732707 w 3039126"/>
                    <a:gd name="connsiteY195" fmla="*/ 382971 h 555571"/>
                    <a:gd name="connsiteX196" fmla="*/ 2779170 w 3039126"/>
                    <a:gd name="connsiteY196" fmla="*/ 363444 h 555571"/>
                    <a:gd name="connsiteX197" fmla="*/ 2424485 w 3039126"/>
                    <a:gd name="connsiteY197" fmla="*/ 363444 h 555571"/>
                    <a:gd name="connsiteX198" fmla="*/ 2467934 w 3039126"/>
                    <a:gd name="connsiteY198" fmla="*/ 381401 h 555571"/>
                    <a:gd name="connsiteX199" fmla="*/ 2483882 w 3039126"/>
                    <a:gd name="connsiteY199" fmla="*/ 431129 h 555571"/>
                    <a:gd name="connsiteX200" fmla="*/ 2467620 w 3039126"/>
                    <a:gd name="connsiteY200" fmla="*/ 479726 h 555571"/>
                    <a:gd name="connsiteX201" fmla="*/ 2423104 w 3039126"/>
                    <a:gd name="connsiteY201" fmla="*/ 498311 h 555571"/>
                    <a:gd name="connsiteX202" fmla="*/ 2378588 w 3039126"/>
                    <a:gd name="connsiteY202" fmla="*/ 479788 h 555571"/>
                    <a:gd name="connsiteX203" fmla="*/ 2362201 w 3039126"/>
                    <a:gd name="connsiteY203" fmla="*/ 431631 h 555571"/>
                    <a:gd name="connsiteX204" fmla="*/ 2379341 w 3039126"/>
                    <a:gd name="connsiteY204" fmla="*/ 381527 h 555571"/>
                    <a:gd name="connsiteX205" fmla="*/ 2424485 w 3039126"/>
                    <a:gd name="connsiteY205" fmla="*/ 363444 h 555571"/>
                    <a:gd name="connsiteX206" fmla="*/ 2311654 w 3039126"/>
                    <a:gd name="connsiteY206" fmla="*/ 363444 h 555571"/>
                    <a:gd name="connsiteX207" fmla="*/ 2340034 w 3039126"/>
                    <a:gd name="connsiteY207" fmla="*/ 370225 h 555571"/>
                    <a:gd name="connsiteX208" fmla="*/ 2340034 w 3039126"/>
                    <a:gd name="connsiteY208" fmla="*/ 383285 h 555571"/>
                    <a:gd name="connsiteX209" fmla="*/ 2310398 w 3039126"/>
                    <a:gd name="connsiteY209" fmla="*/ 373993 h 555571"/>
                    <a:gd name="connsiteX210" fmla="*/ 2289930 w 3039126"/>
                    <a:gd name="connsiteY210" fmla="*/ 380585 h 555571"/>
                    <a:gd name="connsiteX211" fmla="*/ 2282144 w 3039126"/>
                    <a:gd name="connsiteY211" fmla="*/ 397726 h 555571"/>
                    <a:gd name="connsiteX212" fmla="*/ 2287041 w 3039126"/>
                    <a:gd name="connsiteY212" fmla="*/ 412606 h 555571"/>
                    <a:gd name="connsiteX213" fmla="*/ 2308640 w 3039126"/>
                    <a:gd name="connsiteY213" fmla="*/ 425729 h 555571"/>
                    <a:gd name="connsiteX214" fmla="*/ 2336266 w 3039126"/>
                    <a:gd name="connsiteY214" fmla="*/ 442493 h 555571"/>
                    <a:gd name="connsiteX215" fmla="*/ 2343801 w 3039126"/>
                    <a:gd name="connsiteY215" fmla="*/ 463024 h 555571"/>
                    <a:gd name="connsiteX216" fmla="*/ 2332311 w 3039126"/>
                    <a:gd name="connsiteY216" fmla="*/ 488327 h 555571"/>
                    <a:gd name="connsiteX217" fmla="*/ 2300604 w 3039126"/>
                    <a:gd name="connsiteY217" fmla="*/ 498311 h 555571"/>
                    <a:gd name="connsiteX218" fmla="*/ 2269587 w 3039126"/>
                    <a:gd name="connsiteY218" fmla="*/ 489520 h 555571"/>
                    <a:gd name="connsiteX219" fmla="*/ 2269587 w 3039126"/>
                    <a:gd name="connsiteY219" fmla="*/ 475582 h 555571"/>
                    <a:gd name="connsiteX220" fmla="*/ 2285409 w 3039126"/>
                    <a:gd name="connsiteY220" fmla="*/ 484497 h 555571"/>
                    <a:gd name="connsiteX221" fmla="*/ 2301483 w 3039126"/>
                    <a:gd name="connsiteY221" fmla="*/ 487762 h 555571"/>
                    <a:gd name="connsiteX222" fmla="*/ 2331746 w 3039126"/>
                    <a:gd name="connsiteY222" fmla="*/ 463024 h 555571"/>
                    <a:gd name="connsiteX223" fmla="*/ 2325090 w 3039126"/>
                    <a:gd name="connsiteY223" fmla="*/ 448458 h 555571"/>
                    <a:gd name="connsiteX224" fmla="*/ 2303492 w 3039126"/>
                    <a:gd name="connsiteY224" fmla="*/ 436026 h 555571"/>
                    <a:gd name="connsiteX225" fmla="*/ 2277561 w 3039126"/>
                    <a:gd name="connsiteY225" fmla="*/ 419387 h 555571"/>
                    <a:gd name="connsiteX226" fmla="*/ 2270089 w 3039126"/>
                    <a:gd name="connsiteY226" fmla="*/ 398479 h 555571"/>
                    <a:gd name="connsiteX227" fmla="*/ 2282081 w 3039126"/>
                    <a:gd name="connsiteY227" fmla="*/ 373114 h 555571"/>
                    <a:gd name="connsiteX228" fmla="*/ 2311654 w 3039126"/>
                    <a:gd name="connsiteY228" fmla="*/ 363444 h 555571"/>
                    <a:gd name="connsiteX229" fmla="*/ 2132582 w 3039126"/>
                    <a:gd name="connsiteY229" fmla="*/ 363444 h 555571"/>
                    <a:gd name="connsiteX230" fmla="*/ 2163285 w 3039126"/>
                    <a:gd name="connsiteY230" fmla="*/ 375751 h 555571"/>
                    <a:gd name="connsiteX231" fmla="*/ 2174147 w 3039126"/>
                    <a:gd name="connsiteY231" fmla="*/ 411539 h 555571"/>
                    <a:gd name="connsiteX232" fmla="*/ 2174147 w 3039126"/>
                    <a:gd name="connsiteY232" fmla="*/ 495171 h 555571"/>
                    <a:gd name="connsiteX233" fmla="*/ 2162594 w 3039126"/>
                    <a:gd name="connsiteY233" fmla="*/ 495171 h 555571"/>
                    <a:gd name="connsiteX234" fmla="*/ 2162594 w 3039126"/>
                    <a:gd name="connsiteY234" fmla="*/ 469429 h 555571"/>
                    <a:gd name="connsiteX235" fmla="*/ 2162092 w 3039126"/>
                    <a:gd name="connsiteY235" fmla="*/ 469429 h 555571"/>
                    <a:gd name="connsiteX236" fmla="*/ 2144198 w 3039126"/>
                    <a:gd name="connsiteY236" fmla="*/ 490462 h 555571"/>
                    <a:gd name="connsiteX237" fmla="*/ 2118141 w 3039126"/>
                    <a:gd name="connsiteY237" fmla="*/ 498311 h 555571"/>
                    <a:gd name="connsiteX238" fmla="*/ 2089134 w 3039126"/>
                    <a:gd name="connsiteY238" fmla="*/ 488014 h 555571"/>
                    <a:gd name="connsiteX239" fmla="*/ 2078460 w 3039126"/>
                    <a:gd name="connsiteY239" fmla="*/ 462020 h 555571"/>
                    <a:gd name="connsiteX240" fmla="*/ 2123039 w 3039126"/>
                    <a:gd name="connsiteY240" fmla="*/ 421334 h 555571"/>
                    <a:gd name="connsiteX241" fmla="*/ 2162594 w 3039126"/>
                    <a:gd name="connsiteY241" fmla="*/ 415432 h 555571"/>
                    <a:gd name="connsiteX242" fmla="*/ 2131452 w 3039126"/>
                    <a:gd name="connsiteY242" fmla="*/ 373993 h 555571"/>
                    <a:gd name="connsiteX243" fmla="*/ 2090138 w 3039126"/>
                    <a:gd name="connsiteY243" fmla="*/ 391071 h 555571"/>
                    <a:gd name="connsiteX244" fmla="*/ 2090138 w 3039126"/>
                    <a:gd name="connsiteY244" fmla="*/ 377132 h 555571"/>
                    <a:gd name="connsiteX245" fmla="*/ 2109540 w 3039126"/>
                    <a:gd name="connsiteY245" fmla="*/ 367463 h 555571"/>
                    <a:gd name="connsiteX246" fmla="*/ 2132582 w 3039126"/>
                    <a:gd name="connsiteY246" fmla="*/ 363444 h 555571"/>
                    <a:gd name="connsiteX247" fmla="*/ 1932557 w 3039126"/>
                    <a:gd name="connsiteY247" fmla="*/ 363444 h 555571"/>
                    <a:gd name="connsiteX248" fmla="*/ 1963260 w 3039126"/>
                    <a:gd name="connsiteY248" fmla="*/ 375751 h 555571"/>
                    <a:gd name="connsiteX249" fmla="*/ 1974122 w 3039126"/>
                    <a:gd name="connsiteY249" fmla="*/ 411539 h 555571"/>
                    <a:gd name="connsiteX250" fmla="*/ 1974122 w 3039126"/>
                    <a:gd name="connsiteY250" fmla="*/ 495171 h 555571"/>
                    <a:gd name="connsiteX251" fmla="*/ 1962569 w 3039126"/>
                    <a:gd name="connsiteY251" fmla="*/ 495171 h 555571"/>
                    <a:gd name="connsiteX252" fmla="*/ 1962569 w 3039126"/>
                    <a:gd name="connsiteY252" fmla="*/ 469429 h 555571"/>
                    <a:gd name="connsiteX253" fmla="*/ 1962067 w 3039126"/>
                    <a:gd name="connsiteY253" fmla="*/ 469429 h 555571"/>
                    <a:gd name="connsiteX254" fmla="*/ 1944173 w 3039126"/>
                    <a:gd name="connsiteY254" fmla="*/ 490462 h 555571"/>
                    <a:gd name="connsiteX255" fmla="*/ 1918116 w 3039126"/>
                    <a:gd name="connsiteY255" fmla="*/ 498311 h 555571"/>
                    <a:gd name="connsiteX256" fmla="*/ 1889109 w 3039126"/>
                    <a:gd name="connsiteY256" fmla="*/ 488014 h 555571"/>
                    <a:gd name="connsiteX257" fmla="*/ 1878435 w 3039126"/>
                    <a:gd name="connsiteY257" fmla="*/ 462020 h 555571"/>
                    <a:gd name="connsiteX258" fmla="*/ 1923014 w 3039126"/>
                    <a:gd name="connsiteY258" fmla="*/ 421334 h 555571"/>
                    <a:gd name="connsiteX259" fmla="*/ 1962569 w 3039126"/>
                    <a:gd name="connsiteY259" fmla="*/ 415432 h 555571"/>
                    <a:gd name="connsiteX260" fmla="*/ 1931427 w 3039126"/>
                    <a:gd name="connsiteY260" fmla="*/ 373993 h 555571"/>
                    <a:gd name="connsiteX261" fmla="*/ 1890113 w 3039126"/>
                    <a:gd name="connsiteY261" fmla="*/ 391071 h 555571"/>
                    <a:gd name="connsiteX262" fmla="*/ 1890113 w 3039126"/>
                    <a:gd name="connsiteY262" fmla="*/ 377132 h 555571"/>
                    <a:gd name="connsiteX263" fmla="*/ 1909514 w 3039126"/>
                    <a:gd name="connsiteY263" fmla="*/ 367463 h 555571"/>
                    <a:gd name="connsiteX264" fmla="*/ 1932557 w 3039126"/>
                    <a:gd name="connsiteY264" fmla="*/ 363444 h 555571"/>
                    <a:gd name="connsiteX265" fmla="*/ 654304 w 3039126"/>
                    <a:gd name="connsiteY265" fmla="*/ 363444 h 555571"/>
                    <a:gd name="connsiteX266" fmla="*/ 682684 w 3039126"/>
                    <a:gd name="connsiteY266" fmla="*/ 370225 h 555571"/>
                    <a:gd name="connsiteX267" fmla="*/ 682684 w 3039126"/>
                    <a:gd name="connsiteY267" fmla="*/ 383285 h 555571"/>
                    <a:gd name="connsiteX268" fmla="*/ 653048 w 3039126"/>
                    <a:gd name="connsiteY268" fmla="*/ 373993 h 555571"/>
                    <a:gd name="connsiteX269" fmla="*/ 632580 w 3039126"/>
                    <a:gd name="connsiteY269" fmla="*/ 380585 h 555571"/>
                    <a:gd name="connsiteX270" fmla="*/ 624794 w 3039126"/>
                    <a:gd name="connsiteY270" fmla="*/ 397726 h 555571"/>
                    <a:gd name="connsiteX271" fmla="*/ 629692 w 3039126"/>
                    <a:gd name="connsiteY271" fmla="*/ 412606 h 555571"/>
                    <a:gd name="connsiteX272" fmla="*/ 651290 w 3039126"/>
                    <a:gd name="connsiteY272" fmla="*/ 425729 h 555571"/>
                    <a:gd name="connsiteX273" fmla="*/ 678917 w 3039126"/>
                    <a:gd name="connsiteY273" fmla="*/ 442493 h 555571"/>
                    <a:gd name="connsiteX274" fmla="*/ 686451 w 3039126"/>
                    <a:gd name="connsiteY274" fmla="*/ 463024 h 555571"/>
                    <a:gd name="connsiteX275" fmla="*/ 674961 w 3039126"/>
                    <a:gd name="connsiteY275" fmla="*/ 488327 h 555571"/>
                    <a:gd name="connsiteX276" fmla="*/ 643253 w 3039126"/>
                    <a:gd name="connsiteY276" fmla="*/ 498311 h 555571"/>
                    <a:gd name="connsiteX277" fmla="*/ 612237 w 3039126"/>
                    <a:gd name="connsiteY277" fmla="*/ 489520 h 555571"/>
                    <a:gd name="connsiteX278" fmla="*/ 612237 w 3039126"/>
                    <a:gd name="connsiteY278" fmla="*/ 475582 h 555571"/>
                    <a:gd name="connsiteX279" fmla="*/ 628059 w 3039126"/>
                    <a:gd name="connsiteY279" fmla="*/ 484497 h 555571"/>
                    <a:gd name="connsiteX280" fmla="*/ 644133 w 3039126"/>
                    <a:gd name="connsiteY280" fmla="*/ 487762 h 555571"/>
                    <a:gd name="connsiteX281" fmla="*/ 674396 w 3039126"/>
                    <a:gd name="connsiteY281" fmla="*/ 463024 h 555571"/>
                    <a:gd name="connsiteX282" fmla="*/ 667740 w 3039126"/>
                    <a:gd name="connsiteY282" fmla="*/ 448458 h 555571"/>
                    <a:gd name="connsiteX283" fmla="*/ 646142 w 3039126"/>
                    <a:gd name="connsiteY283" fmla="*/ 436026 h 555571"/>
                    <a:gd name="connsiteX284" fmla="*/ 620211 w 3039126"/>
                    <a:gd name="connsiteY284" fmla="*/ 419387 h 555571"/>
                    <a:gd name="connsiteX285" fmla="*/ 612739 w 3039126"/>
                    <a:gd name="connsiteY285" fmla="*/ 398479 h 555571"/>
                    <a:gd name="connsiteX286" fmla="*/ 624731 w 3039126"/>
                    <a:gd name="connsiteY286" fmla="*/ 373114 h 555571"/>
                    <a:gd name="connsiteX287" fmla="*/ 654304 w 3039126"/>
                    <a:gd name="connsiteY287" fmla="*/ 363444 h 555571"/>
                    <a:gd name="connsiteX288" fmla="*/ 425704 w 3039126"/>
                    <a:gd name="connsiteY288" fmla="*/ 363444 h 555571"/>
                    <a:gd name="connsiteX289" fmla="*/ 454084 w 3039126"/>
                    <a:gd name="connsiteY289" fmla="*/ 370225 h 555571"/>
                    <a:gd name="connsiteX290" fmla="*/ 454084 w 3039126"/>
                    <a:gd name="connsiteY290" fmla="*/ 383285 h 555571"/>
                    <a:gd name="connsiteX291" fmla="*/ 424448 w 3039126"/>
                    <a:gd name="connsiteY291" fmla="*/ 373993 h 555571"/>
                    <a:gd name="connsiteX292" fmla="*/ 403980 w 3039126"/>
                    <a:gd name="connsiteY292" fmla="*/ 380585 h 555571"/>
                    <a:gd name="connsiteX293" fmla="*/ 396194 w 3039126"/>
                    <a:gd name="connsiteY293" fmla="*/ 397726 h 555571"/>
                    <a:gd name="connsiteX294" fmla="*/ 401092 w 3039126"/>
                    <a:gd name="connsiteY294" fmla="*/ 412606 h 555571"/>
                    <a:gd name="connsiteX295" fmla="*/ 422690 w 3039126"/>
                    <a:gd name="connsiteY295" fmla="*/ 425729 h 555571"/>
                    <a:gd name="connsiteX296" fmla="*/ 450316 w 3039126"/>
                    <a:gd name="connsiteY296" fmla="*/ 442493 h 555571"/>
                    <a:gd name="connsiteX297" fmla="*/ 457851 w 3039126"/>
                    <a:gd name="connsiteY297" fmla="*/ 463024 h 555571"/>
                    <a:gd name="connsiteX298" fmla="*/ 446361 w 3039126"/>
                    <a:gd name="connsiteY298" fmla="*/ 488327 h 555571"/>
                    <a:gd name="connsiteX299" fmla="*/ 414653 w 3039126"/>
                    <a:gd name="connsiteY299" fmla="*/ 498311 h 555571"/>
                    <a:gd name="connsiteX300" fmla="*/ 383637 w 3039126"/>
                    <a:gd name="connsiteY300" fmla="*/ 489520 h 555571"/>
                    <a:gd name="connsiteX301" fmla="*/ 383637 w 3039126"/>
                    <a:gd name="connsiteY301" fmla="*/ 475582 h 555571"/>
                    <a:gd name="connsiteX302" fmla="*/ 399459 w 3039126"/>
                    <a:gd name="connsiteY302" fmla="*/ 484497 h 555571"/>
                    <a:gd name="connsiteX303" fmla="*/ 415533 w 3039126"/>
                    <a:gd name="connsiteY303" fmla="*/ 487762 h 555571"/>
                    <a:gd name="connsiteX304" fmla="*/ 445796 w 3039126"/>
                    <a:gd name="connsiteY304" fmla="*/ 463024 h 555571"/>
                    <a:gd name="connsiteX305" fmla="*/ 439140 w 3039126"/>
                    <a:gd name="connsiteY305" fmla="*/ 448458 h 555571"/>
                    <a:gd name="connsiteX306" fmla="*/ 417542 w 3039126"/>
                    <a:gd name="connsiteY306" fmla="*/ 436026 h 555571"/>
                    <a:gd name="connsiteX307" fmla="*/ 391611 w 3039126"/>
                    <a:gd name="connsiteY307" fmla="*/ 419387 h 555571"/>
                    <a:gd name="connsiteX308" fmla="*/ 384139 w 3039126"/>
                    <a:gd name="connsiteY308" fmla="*/ 398479 h 555571"/>
                    <a:gd name="connsiteX309" fmla="*/ 396131 w 3039126"/>
                    <a:gd name="connsiteY309" fmla="*/ 373114 h 555571"/>
                    <a:gd name="connsiteX310" fmla="*/ 425704 w 3039126"/>
                    <a:gd name="connsiteY310" fmla="*/ 363444 h 555571"/>
                    <a:gd name="connsiteX311" fmla="*/ 312948 w 3039126"/>
                    <a:gd name="connsiteY311" fmla="*/ 363444 h 555571"/>
                    <a:gd name="connsiteX312" fmla="*/ 344844 w 3039126"/>
                    <a:gd name="connsiteY312" fmla="*/ 377320 h 555571"/>
                    <a:gd name="connsiteX313" fmla="*/ 355894 w 3039126"/>
                    <a:gd name="connsiteY313" fmla="*/ 416939 h 555571"/>
                    <a:gd name="connsiteX314" fmla="*/ 355894 w 3039126"/>
                    <a:gd name="connsiteY314" fmla="*/ 495171 h 555571"/>
                    <a:gd name="connsiteX315" fmla="*/ 344342 w 3039126"/>
                    <a:gd name="connsiteY315" fmla="*/ 495171 h 555571"/>
                    <a:gd name="connsiteX316" fmla="*/ 344342 w 3039126"/>
                    <a:gd name="connsiteY316" fmla="*/ 420329 h 555571"/>
                    <a:gd name="connsiteX317" fmla="*/ 310939 w 3039126"/>
                    <a:gd name="connsiteY317" fmla="*/ 373993 h 555571"/>
                    <a:gd name="connsiteX318" fmla="*/ 280424 w 3039126"/>
                    <a:gd name="connsiteY318" fmla="*/ 387617 h 555571"/>
                    <a:gd name="connsiteX319" fmla="*/ 268495 w 3039126"/>
                    <a:gd name="connsiteY319" fmla="*/ 421334 h 555571"/>
                    <a:gd name="connsiteX320" fmla="*/ 268495 w 3039126"/>
                    <a:gd name="connsiteY320" fmla="*/ 495171 h 555571"/>
                    <a:gd name="connsiteX321" fmla="*/ 256942 w 3039126"/>
                    <a:gd name="connsiteY321" fmla="*/ 495171 h 555571"/>
                    <a:gd name="connsiteX322" fmla="*/ 256942 w 3039126"/>
                    <a:gd name="connsiteY322" fmla="*/ 366584 h 555571"/>
                    <a:gd name="connsiteX323" fmla="*/ 268495 w 3039126"/>
                    <a:gd name="connsiteY323" fmla="*/ 366584 h 555571"/>
                    <a:gd name="connsiteX324" fmla="*/ 268495 w 3039126"/>
                    <a:gd name="connsiteY324" fmla="*/ 389940 h 555571"/>
                    <a:gd name="connsiteX325" fmla="*/ 268997 w 3039126"/>
                    <a:gd name="connsiteY325" fmla="*/ 389940 h 555571"/>
                    <a:gd name="connsiteX326" fmla="*/ 312948 w 3039126"/>
                    <a:gd name="connsiteY326" fmla="*/ 363444 h 555571"/>
                    <a:gd name="connsiteX327" fmla="*/ 171938 w 3039126"/>
                    <a:gd name="connsiteY327" fmla="*/ 363444 h 555571"/>
                    <a:gd name="connsiteX328" fmla="*/ 208731 w 3039126"/>
                    <a:gd name="connsiteY328" fmla="*/ 380271 h 555571"/>
                    <a:gd name="connsiteX329" fmla="*/ 221540 w 3039126"/>
                    <a:gd name="connsiteY329" fmla="*/ 426231 h 555571"/>
                    <a:gd name="connsiteX330" fmla="*/ 221540 w 3039126"/>
                    <a:gd name="connsiteY330" fmla="*/ 431380 h 555571"/>
                    <a:gd name="connsiteX331" fmla="*/ 126355 w 3039126"/>
                    <a:gd name="connsiteY331" fmla="*/ 431380 h 555571"/>
                    <a:gd name="connsiteX332" fmla="*/ 138598 w 3039126"/>
                    <a:gd name="connsiteY332" fmla="*/ 472819 h 555571"/>
                    <a:gd name="connsiteX333" fmla="*/ 172189 w 3039126"/>
                    <a:gd name="connsiteY333" fmla="*/ 487762 h 555571"/>
                    <a:gd name="connsiteX334" fmla="*/ 214382 w 3039126"/>
                    <a:gd name="connsiteY334" fmla="*/ 471814 h 555571"/>
                    <a:gd name="connsiteX335" fmla="*/ 214382 w 3039126"/>
                    <a:gd name="connsiteY335" fmla="*/ 484121 h 555571"/>
                    <a:gd name="connsiteX336" fmla="*/ 169803 w 3039126"/>
                    <a:gd name="connsiteY336" fmla="*/ 498311 h 555571"/>
                    <a:gd name="connsiteX337" fmla="*/ 129620 w 3039126"/>
                    <a:gd name="connsiteY337" fmla="*/ 480479 h 555571"/>
                    <a:gd name="connsiteX338" fmla="*/ 114300 w 3039126"/>
                    <a:gd name="connsiteY338" fmla="*/ 430124 h 555571"/>
                    <a:gd name="connsiteX339" fmla="*/ 130310 w 3039126"/>
                    <a:gd name="connsiteY339" fmla="*/ 382720 h 555571"/>
                    <a:gd name="connsiteX340" fmla="*/ 171938 w 3039126"/>
                    <a:gd name="connsiteY340" fmla="*/ 363444 h 555571"/>
                    <a:gd name="connsiteX341" fmla="*/ 64545 w 3039126"/>
                    <a:gd name="connsiteY341" fmla="*/ 363444 h 555571"/>
                    <a:gd name="connsiteX342" fmla="*/ 93050 w 3039126"/>
                    <a:gd name="connsiteY342" fmla="*/ 369472 h 555571"/>
                    <a:gd name="connsiteX343" fmla="*/ 93050 w 3039126"/>
                    <a:gd name="connsiteY343" fmla="*/ 382532 h 555571"/>
                    <a:gd name="connsiteX344" fmla="*/ 62787 w 3039126"/>
                    <a:gd name="connsiteY344" fmla="*/ 373993 h 555571"/>
                    <a:gd name="connsiteX345" fmla="*/ 26119 w 3039126"/>
                    <a:gd name="connsiteY345" fmla="*/ 390254 h 555571"/>
                    <a:gd name="connsiteX346" fmla="*/ 12055 w 3039126"/>
                    <a:gd name="connsiteY346" fmla="*/ 432384 h 555571"/>
                    <a:gd name="connsiteX347" fmla="*/ 24926 w 3039126"/>
                    <a:gd name="connsiteY347" fmla="*/ 472568 h 555571"/>
                    <a:gd name="connsiteX348" fmla="*/ 58894 w 3039126"/>
                    <a:gd name="connsiteY348" fmla="*/ 487762 h 555571"/>
                    <a:gd name="connsiteX349" fmla="*/ 92548 w 3039126"/>
                    <a:gd name="connsiteY349" fmla="*/ 477465 h 555571"/>
                    <a:gd name="connsiteX350" fmla="*/ 92548 w 3039126"/>
                    <a:gd name="connsiteY350" fmla="*/ 489520 h 555571"/>
                    <a:gd name="connsiteX351" fmla="*/ 58392 w 3039126"/>
                    <a:gd name="connsiteY351" fmla="*/ 498311 h 555571"/>
                    <a:gd name="connsiteX352" fmla="*/ 16073 w 3039126"/>
                    <a:gd name="connsiteY352" fmla="*/ 480291 h 555571"/>
                    <a:gd name="connsiteX353" fmla="*/ 0 w 3039126"/>
                    <a:gd name="connsiteY353" fmla="*/ 433138 h 555571"/>
                    <a:gd name="connsiteX354" fmla="*/ 18082 w 3039126"/>
                    <a:gd name="connsiteY354" fmla="*/ 382971 h 555571"/>
                    <a:gd name="connsiteX355" fmla="*/ 64545 w 3039126"/>
                    <a:gd name="connsiteY355" fmla="*/ 363444 h 555571"/>
                    <a:gd name="connsiteX356" fmla="*/ 1544795 w 3039126"/>
                    <a:gd name="connsiteY356" fmla="*/ 363443 h 555571"/>
                    <a:gd name="connsiteX357" fmla="*/ 1585983 w 3039126"/>
                    <a:gd name="connsiteY357" fmla="*/ 386926 h 555571"/>
                    <a:gd name="connsiteX358" fmla="*/ 1586485 w 3039126"/>
                    <a:gd name="connsiteY358" fmla="*/ 386926 h 555571"/>
                    <a:gd name="connsiteX359" fmla="*/ 1586485 w 3039126"/>
                    <a:gd name="connsiteY359" fmla="*/ 366583 h 555571"/>
                    <a:gd name="connsiteX360" fmla="*/ 1598038 w 3039126"/>
                    <a:gd name="connsiteY360" fmla="*/ 366583 h 555571"/>
                    <a:gd name="connsiteX361" fmla="*/ 1598038 w 3039126"/>
                    <a:gd name="connsiteY361" fmla="*/ 485627 h 555571"/>
                    <a:gd name="connsiteX362" fmla="*/ 1582216 w 3039126"/>
                    <a:gd name="connsiteY362" fmla="*/ 538744 h 555571"/>
                    <a:gd name="connsiteX363" fmla="*/ 1532991 w 3039126"/>
                    <a:gd name="connsiteY363" fmla="*/ 555571 h 555571"/>
                    <a:gd name="connsiteX364" fmla="*/ 1494691 w 3039126"/>
                    <a:gd name="connsiteY364" fmla="*/ 545776 h 555571"/>
                    <a:gd name="connsiteX365" fmla="*/ 1494691 w 3039126"/>
                    <a:gd name="connsiteY365" fmla="*/ 533721 h 555571"/>
                    <a:gd name="connsiteX366" fmla="*/ 1533242 w 3039126"/>
                    <a:gd name="connsiteY366" fmla="*/ 545023 h 555571"/>
                    <a:gd name="connsiteX367" fmla="*/ 1586485 w 3039126"/>
                    <a:gd name="connsiteY367" fmla="*/ 488766 h 555571"/>
                    <a:gd name="connsiteX368" fmla="*/ 1586485 w 3039126"/>
                    <a:gd name="connsiteY368" fmla="*/ 472065 h 555571"/>
                    <a:gd name="connsiteX369" fmla="*/ 1585983 w 3039126"/>
                    <a:gd name="connsiteY369" fmla="*/ 472065 h 555571"/>
                    <a:gd name="connsiteX370" fmla="*/ 1539646 w 3039126"/>
                    <a:gd name="connsiteY370" fmla="*/ 498310 h 555571"/>
                    <a:gd name="connsiteX371" fmla="*/ 1500907 w 3039126"/>
                    <a:gd name="connsiteY371" fmla="*/ 481106 h 555571"/>
                    <a:gd name="connsiteX372" fmla="*/ 1485901 w 3039126"/>
                    <a:gd name="connsiteY372" fmla="*/ 433137 h 555571"/>
                    <a:gd name="connsiteX373" fmla="*/ 1502100 w 3039126"/>
                    <a:gd name="connsiteY373" fmla="*/ 382907 h 555571"/>
                    <a:gd name="connsiteX374" fmla="*/ 1544795 w 3039126"/>
                    <a:gd name="connsiteY374" fmla="*/ 363443 h 555571"/>
                    <a:gd name="connsiteX375" fmla="*/ 2026495 w 3039126"/>
                    <a:gd name="connsiteY375" fmla="*/ 329288 h 555571"/>
                    <a:gd name="connsiteX376" fmla="*/ 2026495 w 3039126"/>
                    <a:gd name="connsiteY376" fmla="*/ 366584 h 555571"/>
                    <a:gd name="connsiteX377" fmla="*/ 2060400 w 3039126"/>
                    <a:gd name="connsiteY377" fmla="*/ 366584 h 555571"/>
                    <a:gd name="connsiteX378" fmla="*/ 2060400 w 3039126"/>
                    <a:gd name="connsiteY378" fmla="*/ 377132 h 555571"/>
                    <a:gd name="connsiteX379" fmla="*/ 2026495 w 3039126"/>
                    <a:gd name="connsiteY379" fmla="*/ 377132 h 555571"/>
                    <a:gd name="connsiteX380" fmla="*/ 2026495 w 3039126"/>
                    <a:gd name="connsiteY380" fmla="*/ 462020 h 555571"/>
                    <a:gd name="connsiteX381" fmla="*/ 2030701 w 3039126"/>
                    <a:gd name="connsiteY381" fmla="*/ 481295 h 555571"/>
                    <a:gd name="connsiteX382" fmla="*/ 2044954 w 3039126"/>
                    <a:gd name="connsiteY382" fmla="*/ 487260 h 555571"/>
                    <a:gd name="connsiteX383" fmla="*/ 2060400 w 3039126"/>
                    <a:gd name="connsiteY383" fmla="*/ 482614 h 555571"/>
                    <a:gd name="connsiteX384" fmla="*/ 2060400 w 3039126"/>
                    <a:gd name="connsiteY384" fmla="*/ 493413 h 555571"/>
                    <a:gd name="connsiteX385" fmla="*/ 2043447 w 3039126"/>
                    <a:gd name="connsiteY385" fmla="*/ 497683 h 555571"/>
                    <a:gd name="connsiteX386" fmla="*/ 2014942 w 3039126"/>
                    <a:gd name="connsiteY386" fmla="*/ 463527 h 555571"/>
                    <a:gd name="connsiteX387" fmla="*/ 2014942 w 3039126"/>
                    <a:gd name="connsiteY387" fmla="*/ 377132 h 555571"/>
                    <a:gd name="connsiteX388" fmla="*/ 1991836 w 3039126"/>
                    <a:gd name="connsiteY388" fmla="*/ 377132 h 555571"/>
                    <a:gd name="connsiteX389" fmla="*/ 1991836 w 3039126"/>
                    <a:gd name="connsiteY389" fmla="*/ 366584 h 555571"/>
                    <a:gd name="connsiteX390" fmla="*/ 2014942 w 3039126"/>
                    <a:gd name="connsiteY390" fmla="*/ 366584 h 555571"/>
                    <a:gd name="connsiteX391" fmla="*/ 2014942 w 3039126"/>
                    <a:gd name="connsiteY391" fmla="*/ 333181 h 555571"/>
                    <a:gd name="connsiteX392" fmla="*/ 2020718 w 3039126"/>
                    <a:gd name="connsiteY392" fmla="*/ 331172 h 555571"/>
                    <a:gd name="connsiteX393" fmla="*/ 2026495 w 3039126"/>
                    <a:gd name="connsiteY393" fmla="*/ 329288 h 555571"/>
                    <a:gd name="connsiteX394" fmla="*/ 1035895 w 3039126"/>
                    <a:gd name="connsiteY394" fmla="*/ 329288 h 555571"/>
                    <a:gd name="connsiteX395" fmla="*/ 1035895 w 3039126"/>
                    <a:gd name="connsiteY395" fmla="*/ 366584 h 555571"/>
                    <a:gd name="connsiteX396" fmla="*/ 1069800 w 3039126"/>
                    <a:gd name="connsiteY396" fmla="*/ 366584 h 555571"/>
                    <a:gd name="connsiteX397" fmla="*/ 1069800 w 3039126"/>
                    <a:gd name="connsiteY397" fmla="*/ 377132 h 555571"/>
                    <a:gd name="connsiteX398" fmla="*/ 1035895 w 3039126"/>
                    <a:gd name="connsiteY398" fmla="*/ 377132 h 555571"/>
                    <a:gd name="connsiteX399" fmla="*/ 1035895 w 3039126"/>
                    <a:gd name="connsiteY399" fmla="*/ 462020 h 555571"/>
                    <a:gd name="connsiteX400" fmla="*/ 1040102 w 3039126"/>
                    <a:gd name="connsiteY400" fmla="*/ 481295 h 555571"/>
                    <a:gd name="connsiteX401" fmla="*/ 1054355 w 3039126"/>
                    <a:gd name="connsiteY401" fmla="*/ 487260 h 555571"/>
                    <a:gd name="connsiteX402" fmla="*/ 1069800 w 3039126"/>
                    <a:gd name="connsiteY402" fmla="*/ 482614 h 555571"/>
                    <a:gd name="connsiteX403" fmla="*/ 1069800 w 3039126"/>
                    <a:gd name="connsiteY403" fmla="*/ 493413 h 555571"/>
                    <a:gd name="connsiteX404" fmla="*/ 1052848 w 3039126"/>
                    <a:gd name="connsiteY404" fmla="*/ 497683 h 555571"/>
                    <a:gd name="connsiteX405" fmla="*/ 1024343 w 3039126"/>
                    <a:gd name="connsiteY405" fmla="*/ 463527 h 555571"/>
                    <a:gd name="connsiteX406" fmla="*/ 1024343 w 3039126"/>
                    <a:gd name="connsiteY406" fmla="*/ 377132 h 555571"/>
                    <a:gd name="connsiteX407" fmla="*/ 1001237 w 3039126"/>
                    <a:gd name="connsiteY407" fmla="*/ 377132 h 555571"/>
                    <a:gd name="connsiteX408" fmla="*/ 1001237 w 3039126"/>
                    <a:gd name="connsiteY408" fmla="*/ 366584 h 555571"/>
                    <a:gd name="connsiteX409" fmla="*/ 1024343 w 3039126"/>
                    <a:gd name="connsiteY409" fmla="*/ 366584 h 555571"/>
                    <a:gd name="connsiteX410" fmla="*/ 1024343 w 3039126"/>
                    <a:gd name="connsiteY410" fmla="*/ 333181 h 555571"/>
                    <a:gd name="connsiteX411" fmla="*/ 1030119 w 3039126"/>
                    <a:gd name="connsiteY411" fmla="*/ 331172 h 555571"/>
                    <a:gd name="connsiteX412" fmla="*/ 1035895 w 3039126"/>
                    <a:gd name="connsiteY412" fmla="*/ 329288 h 555571"/>
                    <a:gd name="connsiteX413" fmla="*/ 1443694 w 3039126"/>
                    <a:gd name="connsiteY413" fmla="*/ 315097 h 555571"/>
                    <a:gd name="connsiteX414" fmla="*/ 1450538 w 3039126"/>
                    <a:gd name="connsiteY414" fmla="*/ 317609 h 555571"/>
                    <a:gd name="connsiteX415" fmla="*/ 1453489 w 3039126"/>
                    <a:gd name="connsiteY415" fmla="*/ 324390 h 555571"/>
                    <a:gd name="connsiteX416" fmla="*/ 1450601 w 3039126"/>
                    <a:gd name="connsiteY416" fmla="*/ 331297 h 555571"/>
                    <a:gd name="connsiteX417" fmla="*/ 1443694 w 3039126"/>
                    <a:gd name="connsiteY417" fmla="*/ 334185 h 555571"/>
                    <a:gd name="connsiteX418" fmla="*/ 1437039 w 3039126"/>
                    <a:gd name="connsiteY418" fmla="*/ 331422 h 555571"/>
                    <a:gd name="connsiteX419" fmla="*/ 1434150 w 3039126"/>
                    <a:gd name="connsiteY419" fmla="*/ 324390 h 555571"/>
                    <a:gd name="connsiteX420" fmla="*/ 1437101 w 3039126"/>
                    <a:gd name="connsiteY420" fmla="*/ 317672 h 555571"/>
                    <a:gd name="connsiteX421" fmla="*/ 1443694 w 3039126"/>
                    <a:gd name="connsiteY421" fmla="*/ 315097 h 555571"/>
                    <a:gd name="connsiteX422" fmla="*/ 967444 w 3039126"/>
                    <a:gd name="connsiteY422" fmla="*/ 315097 h 555571"/>
                    <a:gd name="connsiteX423" fmla="*/ 974288 w 3039126"/>
                    <a:gd name="connsiteY423" fmla="*/ 317609 h 555571"/>
                    <a:gd name="connsiteX424" fmla="*/ 977239 w 3039126"/>
                    <a:gd name="connsiteY424" fmla="*/ 324390 h 555571"/>
                    <a:gd name="connsiteX425" fmla="*/ 974351 w 3039126"/>
                    <a:gd name="connsiteY425" fmla="*/ 331297 h 555571"/>
                    <a:gd name="connsiteX426" fmla="*/ 967444 w 3039126"/>
                    <a:gd name="connsiteY426" fmla="*/ 334185 h 555571"/>
                    <a:gd name="connsiteX427" fmla="*/ 960789 w 3039126"/>
                    <a:gd name="connsiteY427" fmla="*/ 331422 h 555571"/>
                    <a:gd name="connsiteX428" fmla="*/ 957900 w 3039126"/>
                    <a:gd name="connsiteY428" fmla="*/ 324390 h 555571"/>
                    <a:gd name="connsiteX429" fmla="*/ 960851 w 3039126"/>
                    <a:gd name="connsiteY429" fmla="*/ 317672 h 555571"/>
                    <a:gd name="connsiteX430" fmla="*/ 967444 w 3039126"/>
                    <a:gd name="connsiteY430" fmla="*/ 315097 h 555571"/>
                    <a:gd name="connsiteX431" fmla="*/ 1834135 w 3039126"/>
                    <a:gd name="connsiteY431" fmla="*/ 304800 h 555571"/>
                    <a:gd name="connsiteX432" fmla="*/ 1845688 w 3039126"/>
                    <a:gd name="connsiteY432" fmla="*/ 304800 h 555571"/>
                    <a:gd name="connsiteX433" fmla="*/ 1845688 w 3039126"/>
                    <a:gd name="connsiteY433" fmla="*/ 495170 h 555571"/>
                    <a:gd name="connsiteX434" fmla="*/ 1834135 w 3039126"/>
                    <a:gd name="connsiteY434" fmla="*/ 495170 h 555571"/>
                    <a:gd name="connsiteX435" fmla="*/ 1834135 w 3039126"/>
                    <a:gd name="connsiteY435" fmla="*/ 471813 h 555571"/>
                    <a:gd name="connsiteX436" fmla="*/ 1833633 w 3039126"/>
                    <a:gd name="connsiteY436" fmla="*/ 471813 h 555571"/>
                    <a:gd name="connsiteX437" fmla="*/ 1815048 w 3039126"/>
                    <a:gd name="connsiteY437" fmla="*/ 491152 h 555571"/>
                    <a:gd name="connsiteX438" fmla="*/ 1787296 w 3039126"/>
                    <a:gd name="connsiteY438" fmla="*/ 498310 h 555571"/>
                    <a:gd name="connsiteX439" fmla="*/ 1748557 w 3039126"/>
                    <a:gd name="connsiteY439" fmla="*/ 480980 h 555571"/>
                    <a:gd name="connsiteX440" fmla="*/ 1733551 w 3039126"/>
                    <a:gd name="connsiteY440" fmla="*/ 433137 h 555571"/>
                    <a:gd name="connsiteX441" fmla="*/ 1749938 w 3039126"/>
                    <a:gd name="connsiteY441" fmla="*/ 382719 h 555571"/>
                    <a:gd name="connsiteX442" fmla="*/ 1792445 w 3039126"/>
                    <a:gd name="connsiteY442" fmla="*/ 363443 h 555571"/>
                    <a:gd name="connsiteX443" fmla="*/ 1833633 w 3039126"/>
                    <a:gd name="connsiteY443" fmla="*/ 387177 h 555571"/>
                    <a:gd name="connsiteX444" fmla="*/ 1834135 w 3039126"/>
                    <a:gd name="connsiteY444" fmla="*/ 387177 h 555571"/>
                    <a:gd name="connsiteX445" fmla="*/ 1295167 w 3039126"/>
                    <a:gd name="connsiteY445" fmla="*/ 304800 h 555571"/>
                    <a:gd name="connsiteX446" fmla="*/ 1306720 w 3039126"/>
                    <a:gd name="connsiteY446" fmla="*/ 304800 h 555571"/>
                    <a:gd name="connsiteX447" fmla="*/ 1306720 w 3039126"/>
                    <a:gd name="connsiteY447" fmla="*/ 393079 h 555571"/>
                    <a:gd name="connsiteX448" fmla="*/ 1307222 w 3039126"/>
                    <a:gd name="connsiteY448" fmla="*/ 393079 h 555571"/>
                    <a:gd name="connsiteX449" fmla="*/ 1327000 w 3039126"/>
                    <a:gd name="connsiteY449" fmla="*/ 371166 h 555571"/>
                    <a:gd name="connsiteX450" fmla="*/ 1355317 w 3039126"/>
                    <a:gd name="connsiteY450" fmla="*/ 363443 h 555571"/>
                    <a:gd name="connsiteX451" fmla="*/ 1393554 w 3039126"/>
                    <a:gd name="connsiteY451" fmla="*/ 380333 h 555571"/>
                    <a:gd name="connsiteX452" fmla="*/ 1407305 w 3039126"/>
                    <a:gd name="connsiteY452" fmla="*/ 426230 h 555571"/>
                    <a:gd name="connsiteX453" fmla="*/ 1391357 w 3039126"/>
                    <a:gd name="connsiteY453" fmla="*/ 478406 h 555571"/>
                    <a:gd name="connsiteX454" fmla="*/ 1349917 w 3039126"/>
                    <a:gd name="connsiteY454" fmla="*/ 498310 h 555571"/>
                    <a:gd name="connsiteX455" fmla="*/ 1307222 w 3039126"/>
                    <a:gd name="connsiteY455" fmla="*/ 472316 h 555571"/>
                    <a:gd name="connsiteX456" fmla="*/ 1306720 w 3039126"/>
                    <a:gd name="connsiteY456" fmla="*/ 472316 h 555571"/>
                    <a:gd name="connsiteX457" fmla="*/ 1306720 w 3039126"/>
                    <a:gd name="connsiteY457" fmla="*/ 495170 h 555571"/>
                    <a:gd name="connsiteX458" fmla="*/ 1295167 w 3039126"/>
                    <a:gd name="connsiteY458" fmla="*/ 495170 h 555571"/>
                    <a:gd name="connsiteX459" fmla="*/ 1095142 w 3039126"/>
                    <a:gd name="connsiteY459" fmla="*/ 304800 h 555571"/>
                    <a:gd name="connsiteX460" fmla="*/ 1106695 w 3039126"/>
                    <a:gd name="connsiteY460" fmla="*/ 304800 h 555571"/>
                    <a:gd name="connsiteX461" fmla="*/ 1106695 w 3039126"/>
                    <a:gd name="connsiteY461" fmla="*/ 389688 h 555571"/>
                    <a:gd name="connsiteX462" fmla="*/ 1107197 w 3039126"/>
                    <a:gd name="connsiteY462" fmla="*/ 389688 h 555571"/>
                    <a:gd name="connsiteX463" fmla="*/ 1151399 w 3039126"/>
                    <a:gd name="connsiteY463" fmla="*/ 363443 h 555571"/>
                    <a:gd name="connsiteX464" fmla="*/ 1183169 w 3039126"/>
                    <a:gd name="connsiteY464" fmla="*/ 376880 h 555571"/>
                    <a:gd name="connsiteX465" fmla="*/ 1194094 w 3039126"/>
                    <a:gd name="connsiteY465" fmla="*/ 415431 h 555571"/>
                    <a:gd name="connsiteX466" fmla="*/ 1194094 w 3039126"/>
                    <a:gd name="connsiteY466" fmla="*/ 495170 h 555571"/>
                    <a:gd name="connsiteX467" fmla="*/ 1182542 w 3039126"/>
                    <a:gd name="connsiteY467" fmla="*/ 495170 h 555571"/>
                    <a:gd name="connsiteX468" fmla="*/ 1182542 w 3039126"/>
                    <a:gd name="connsiteY468" fmla="*/ 418068 h 555571"/>
                    <a:gd name="connsiteX469" fmla="*/ 1174254 w 3039126"/>
                    <a:gd name="connsiteY469" fmla="*/ 384603 h 555571"/>
                    <a:gd name="connsiteX470" fmla="*/ 1148386 w 3039126"/>
                    <a:gd name="connsiteY470" fmla="*/ 373992 h 555571"/>
                    <a:gd name="connsiteX471" fmla="*/ 1119252 w 3039126"/>
                    <a:gd name="connsiteY471" fmla="*/ 386926 h 555571"/>
                    <a:gd name="connsiteX472" fmla="*/ 1106695 w 3039126"/>
                    <a:gd name="connsiteY472" fmla="*/ 423970 h 555571"/>
                    <a:gd name="connsiteX473" fmla="*/ 1106695 w 3039126"/>
                    <a:gd name="connsiteY473" fmla="*/ 495170 h 555571"/>
                    <a:gd name="connsiteX474" fmla="*/ 1095142 w 3039126"/>
                    <a:gd name="connsiteY474" fmla="*/ 495170 h 555571"/>
                    <a:gd name="connsiteX475" fmla="*/ 2581694 w 3039126"/>
                    <a:gd name="connsiteY475" fmla="*/ 121180 h 555571"/>
                    <a:gd name="connsiteX476" fmla="*/ 2546282 w 3039126"/>
                    <a:gd name="connsiteY476" fmla="*/ 126329 h 555571"/>
                    <a:gd name="connsiteX477" fmla="*/ 2517903 w 3039126"/>
                    <a:gd name="connsiteY477" fmla="*/ 135684 h 555571"/>
                    <a:gd name="connsiteX478" fmla="*/ 2509740 w 3039126"/>
                    <a:gd name="connsiteY478" fmla="*/ 156717 h 555571"/>
                    <a:gd name="connsiteX479" fmla="*/ 2517338 w 3039126"/>
                    <a:gd name="connsiteY479" fmla="*/ 175554 h 555571"/>
                    <a:gd name="connsiteX480" fmla="*/ 2538497 w 3039126"/>
                    <a:gd name="connsiteY480" fmla="*/ 182962 h 555571"/>
                    <a:gd name="connsiteX481" fmla="*/ 2569388 w 3039126"/>
                    <a:gd name="connsiteY481" fmla="*/ 169212 h 555571"/>
                    <a:gd name="connsiteX482" fmla="*/ 2581694 w 3039126"/>
                    <a:gd name="connsiteY482" fmla="*/ 133737 h 555571"/>
                    <a:gd name="connsiteX483" fmla="*/ 2790811 w 3039126"/>
                    <a:gd name="connsiteY483" fmla="*/ 69193 h 555571"/>
                    <a:gd name="connsiteX484" fmla="*/ 2760861 w 3039126"/>
                    <a:gd name="connsiteY484" fmla="*/ 81310 h 555571"/>
                    <a:gd name="connsiteX485" fmla="*/ 2746232 w 3039126"/>
                    <a:gd name="connsiteY485" fmla="*/ 116032 h 555571"/>
                    <a:gd name="connsiteX486" fmla="*/ 2828860 w 3039126"/>
                    <a:gd name="connsiteY486" fmla="*/ 116032 h 555571"/>
                    <a:gd name="connsiteX487" fmla="*/ 2818186 w 3039126"/>
                    <a:gd name="connsiteY487" fmla="*/ 81499 h 555571"/>
                    <a:gd name="connsiteX488" fmla="*/ 2790811 w 3039126"/>
                    <a:gd name="connsiteY488" fmla="*/ 69193 h 555571"/>
                    <a:gd name="connsiteX489" fmla="*/ 2219311 w 3039126"/>
                    <a:gd name="connsiteY489" fmla="*/ 69193 h 555571"/>
                    <a:gd name="connsiteX490" fmla="*/ 2189361 w 3039126"/>
                    <a:gd name="connsiteY490" fmla="*/ 81310 h 555571"/>
                    <a:gd name="connsiteX491" fmla="*/ 2174732 w 3039126"/>
                    <a:gd name="connsiteY491" fmla="*/ 116032 h 555571"/>
                    <a:gd name="connsiteX492" fmla="*/ 2257360 w 3039126"/>
                    <a:gd name="connsiteY492" fmla="*/ 116032 h 555571"/>
                    <a:gd name="connsiteX493" fmla="*/ 2246686 w 3039126"/>
                    <a:gd name="connsiteY493" fmla="*/ 81499 h 555571"/>
                    <a:gd name="connsiteX494" fmla="*/ 2219311 w 3039126"/>
                    <a:gd name="connsiteY494" fmla="*/ 69193 h 555571"/>
                    <a:gd name="connsiteX495" fmla="*/ 1238236 w 3039126"/>
                    <a:gd name="connsiteY495" fmla="*/ 69193 h 555571"/>
                    <a:gd name="connsiteX496" fmla="*/ 1208287 w 3039126"/>
                    <a:gd name="connsiteY496" fmla="*/ 81310 h 555571"/>
                    <a:gd name="connsiteX497" fmla="*/ 1193657 w 3039126"/>
                    <a:gd name="connsiteY497" fmla="*/ 116032 h 555571"/>
                    <a:gd name="connsiteX498" fmla="*/ 1276285 w 3039126"/>
                    <a:gd name="connsiteY498" fmla="*/ 116032 h 555571"/>
                    <a:gd name="connsiteX499" fmla="*/ 1265611 w 3039126"/>
                    <a:gd name="connsiteY499" fmla="*/ 81499 h 555571"/>
                    <a:gd name="connsiteX500" fmla="*/ 1238236 w 3039126"/>
                    <a:gd name="connsiteY500" fmla="*/ 69193 h 555571"/>
                    <a:gd name="connsiteX501" fmla="*/ 676261 w 3039126"/>
                    <a:gd name="connsiteY501" fmla="*/ 69193 h 555571"/>
                    <a:gd name="connsiteX502" fmla="*/ 646311 w 3039126"/>
                    <a:gd name="connsiteY502" fmla="*/ 81310 h 555571"/>
                    <a:gd name="connsiteX503" fmla="*/ 631682 w 3039126"/>
                    <a:gd name="connsiteY503" fmla="*/ 116032 h 555571"/>
                    <a:gd name="connsiteX504" fmla="*/ 714310 w 3039126"/>
                    <a:gd name="connsiteY504" fmla="*/ 116032 h 555571"/>
                    <a:gd name="connsiteX505" fmla="*/ 703636 w 3039126"/>
                    <a:gd name="connsiteY505" fmla="*/ 81499 h 555571"/>
                    <a:gd name="connsiteX506" fmla="*/ 676261 w 3039126"/>
                    <a:gd name="connsiteY506" fmla="*/ 69193 h 555571"/>
                    <a:gd name="connsiteX507" fmla="*/ 423733 w 3039126"/>
                    <a:gd name="connsiteY507" fmla="*/ 69193 h 555571"/>
                    <a:gd name="connsiteX508" fmla="*/ 387505 w 3039126"/>
                    <a:gd name="connsiteY508" fmla="*/ 84513 h 555571"/>
                    <a:gd name="connsiteX509" fmla="*/ 374006 w 3039126"/>
                    <a:gd name="connsiteY509" fmla="*/ 127082 h 555571"/>
                    <a:gd name="connsiteX510" fmla="*/ 387191 w 3039126"/>
                    <a:gd name="connsiteY510" fmla="*/ 167642 h 555571"/>
                    <a:gd name="connsiteX511" fmla="*/ 423231 w 3039126"/>
                    <a:gd name="connsiteY511" fmla="*/ 182962 h 555571"/>
                    <a:gd name="connsiteX512" fmla="*/ 459019 w 3039126"/>
                    <a:gd name="connsiteY512" fmla="*/ 167894 h 555571"/>
                    <a:gd name="connsiteX513" fmla="*/ 471577 w 3039126"/>
                    <a:gd name="connsiteY513" fmla="*/ 126077 h 555571"/>
                    <a:gd name="connsiteX514" fmla="*/ 459082 w 3039126"/>
                    <a:gd name="connsiteY514" fmla="*/ 83885 h 555571"/>
                    <a:gd name="connsiteX515" fmla="*/ 423733 w 3039126"/>
                    <a:gd name="connsiteY515" fmla="*/ 69193 h 555571"/>
                    <a:gd name="connsiteX516" fmla="*/ 2363461 w 3039126"/>
                    <a:gd name="connsiteY516" fmla="*/ 69192 h 555571"/>
                    <a:gd name="connsiteX517" fmla="*/ 2328677 w 3039126"/>
                    <a:gd name="connsiteY517" fmla="*/ 84260 h 555571"/>
                    <a:gd name="connsiteX518" fmla="*/ 2316371 w 3039126"/>
                    <a:gd name="connsiteY518" fmla="*/ 119672 h 555571"/>
                    <a:gd name="connsiteX519" fmla="*/ 2316371 w 3039126"/>
                    <a:gd name="connsiteY519" fmla="*/ 135871 h 555571"/>
                    <a:gd name="connsiteX520" fmla="*/ 2328552 w 3039126"/>
                    <a:gd name="connsiteY520" fmla="*/ 169085 h 555571"/>
                    <a:gd name="connsiteX521" fmla="*/ 2360573 w 3039126"/>
                    <a:gd name="connsiteY521" fmla="*/ 182961 h 555571"/>
                    <a:gd name="connsiteX522" fmla="*/ 2392594 w 3039126"/>
                    <a:gd name="connsiteY522" fmla="*/ 166072 h 555571"/>
                    <a:gd name="connsiteX523" fmla="*/ 2404900 w 3039126"/>
                    <a:gd name="connsiteY523" fmla="*/ 121681 h 555571"/>
                    <a:gd name="connsiteX524" fmla="*/ 2393599 w 3039126"/>
                    <a:gd name="connsiteY524" fmla="*/ 83381 h 555571"/>
                    <a:gd name="connsiteX525" fmla="*/ 2363461 w 3039126"/>
                    <a:gd name="connsiteY525" fmla="*/ 69192 h 555571"/>
                    <a:gd name="connsiteX526" fmla="*/ 1866668 w 3039126"/>
                    <a:gd name="connsiteY526" fmla="*/ 61784 h 555571"/>
                    <a:gd name="connsiteX527" fmla="*/ 1878221 w 3039126"/>
                    <a:gd name="connsiteY527" fmla="*/ 61784 h 555571"/>
                    <a:gd name="connsiteX528" fmla="*/ 1878221 w 3039126"/>
                    <a:gd name="connsiteY528" fmla="*/ 190371 h 555571"/>
                    <a:gd name="connsiteX529" fmla="*/ 1866668 w 3039126"/>
                    <a:gd name="connsiteY529" fmla="*/ 190371 h 555571"/>
                    <a:gd name="connsiteX530" fmla="*/ 1679270 w 3039126"/>
                    <a:gd name="connsiteY530" fmla="*/ 61784 h 555571"/>
                    <a:gd name="connsiteX531" fmla="*/ 1692079 w 3039126"/>
                    <a:gd name="connsiteY531" fmla="*/ 61784 h 555571"/>
                    <a:gd name="connsiteX532" fmla="*/ 1721965 w 3039126"/>
                    <a:gd name="connsiteY532" fmla="*/ 164377 h 555571"/>
                    <a:gd name="connsiteX533" fmla="*/ 1723723 w 3039126"/>
                    <a:gd name="connsiteY533" fmla="*/ 175177 h 555571"/>
                    <a:gd name="connsiteX534" fmla="*/ 1724728 w 3039126"/>
                    <a:gd name="connsiteY534" fmla="*/ 175177 h 555571"/>
                    <a:gd name="connsiteX535" fmla="*/ 1727114 w 3039126"/>
                    <a:gd name="connsiteY535" fmla="*/ 164377 h 555571"/>
                    <a:gd name="connsiteX536" fmla="*/ 1759763 w 3039126"/>
                    <a:gd name="connsiteY536" fmla="*/ 61784 h 555571"/>
                    <a:gd name="connsiteX537" fmla="*/ 1767674 w 3039126"/>
                    <a:gd name="connsiteY537" fmla="*/ 61784 h 555571"/>
                    <a:gd name="connsiteX538" fmla="*/ 1796807 w 3039126"/>
                    <a:gd name="connsiteY538" fmla="*/ 164377 h 555571"/>
                    <a:gd name="connsiteX539" fmla="*/ 1798565 w 3039126"/>
                    <a:gd name="connsiteY539" fmla="*/ 175177 h 555571"/>
                    <a:gd name="connsiteX540" fmla="*/ 1799570 w 3039126"/>
                    <a:gd name="connsiteY540" fmla="*/ 175177 h 555571"/>
                    <a:gd name="connsiteX541" fmla="*/ 1801705 w 3039126"/>
                    <a:gd name="connsiteY541" fmla="*/ 164377 h 555571"/>
                    <a:gd name="connsiteX542" fmla="*/ 1832219 w 3039126"/>
                    <a:gd name="connsiteY542" fmla="*/ 61784 h 555571"/>
                    <a:gd name="connsiteX543" fmla="*/ 1844149 w 3039126"/>
                    <a:gd name="connsiteY543" fmla="*/ 61784 h 555571"/>
                    <a:gd name="connsiteX544" fmla="*/ 1804216 w 3039126"/>
                    <a:gd name="connsiteY544" fmla="*/ 190371 h 555571"/>
                    <a:gd name="connsiteX545" fmla="*/ 1793417 w 3039126"/>
                    <a:gd name="connsiteY545" fmla="*/ 190371 h 555571"/>
                    <a:gd name="connsiteX546" fmla="*/ 1765414 w 3039126"/>
                    <a:gd name="connsiteY546" fmla="*/ 93428 h 555571"/>
                    <a:gd name="connsiteX547" fmla="*/ 1763405 w 3039126"/>
                    <a:gd name="connsiteY547" fmla="*/ 82629 h 555571"/>
                    <a:gd name="connsiteX548" fmla="*/ 1762777 w 3039126"/>
                    <a:gd name="connsiteY548" fmla="*/ 82629 h 555571"/>
                    <a:gd name="connsiteX549" fmla="*/ 1760265 w 3039126"/>
                    <a:gd name="connsiteY549" fmla="*/ 93177 h 555571"/>
                    <a:gd name="connsiteX550" fmla="*/ 1728872 w 3039126"/>
                    <a:gd name="connsiteY550" fmla="*/ 190371 h 555571"/>
                    <a:gd name="connsiteX551" fmla="*/ 1718073 w 3039126"/>
                    <a:gd name="connsiteY551" fmla="*/ 190371 h 555571"/>
                    <a:gd name="connsiteX552" fmla="*/ 496036 w 3039126"/>
                    <a:gd name="connsiteY552" fmla="*/ 61784 h 555571"/>
                    <a:gd name="connsiteX553" fmla="*/ 508970 w 3039126"/>
                    <a:gd name="connsiteY553" fmla="*/ 61784 h 555571"/>
                    <a:gd name="connsiteX554" fmla="*/ 547270 w 3039126"/>
                    <a:gd name="connsiteY554" fmla="*/ 164126 h 555571"/>
                    <a:gd name="connsiteX555" fmla="*/ 551162 w 3039126"/>
                    <a:gd name="connsiteY555" fmla="*/ 177563 h 555571"/>
                    <a:gd name="connsiteX556" fmla="*/ 551665 w 3039126"/>
                    <a:gd name="connsiteY556" fmla="*/ 177563 h 555571"/>
                    <a:gd name="connsiteX557" fmla="*/ 555306 w 3039126"/>
                    <a:gd name="connsiteY557" fmla="*/ 164629 h 555571"/>
                    <a:gd name="connsiteX558" fmla="*/ 594862 w 3039126"/>
                    <a:gd name="connsiteY558" fmla="*/ 61784 h 555571"/>
                    <a:gd name="connsiteX559" fmla="*/ 607419 w 3039126"/>
                    <a:gd name="connsiteY559" fmla="*/ 61784 h 555571"/>
                    <a:gd name="connsiteX560" fmla="*/ 556311 w 3039126"/>
                    <a:gd name="connsiteY560" fmla="*/ 190371 h 555571"/>
                    <a:gd name="connsiteX561" fmla="*/ 545763 w 3039126"/>
                    <a:gd name="connsiteY561" fmla="*/ 190371 h 555571"/>
                    <a:gd name="connsiteX562" fmla="*/ 2143111 w 3039126"/>
                    <a:gd name="connsiteY562" fmla="*/ 59272 h 555571"/>
                    <a:gd name="connsiteX563" fmla="*/ 2155919 w 3039126"/>
                    <a:gd name="connsiteY563" fmla="*/ 61533 h 555571"/>
                    <a:gd name="connsiteX564" fmla="*/ 2155919 w 3039126"/>
                    <a:gd name="connsiteY564" fmla="*/ 73839 h 555571"/>
                    <a:gd name="connsiteX565" fmla="*/ 2142357 w 3039126"/>
                    <a:gd name="connsiteY565" fmla="*/ 69695 h 555571"/>
                    <a:gd name="connsiteX566" fmla="*/ 2116866 w 3039126"/>
                    <a:gd name="connsiteY566" fmla="*/ 85392 h 555571"/>
                    <a:gd name="connsiteX567" fmla="*/ 2106569 w 3039126"/>
                    <a:gd name="connsiteY567" fmla="*/ 129970 h 555571"/>
                    <a:gd name="connsiteX568" fmla="*/ 2106569 w 3039126"/>
                    <a:gd name="connsiteY568" fmla="*/ 190371 h 555571"/>
                    <a:gd name="connsiteX569" fmla="*/ 2095267 w 3039126"/>
                    <a:gd name="connsiteY569" fmla="*/ 190371 h 555571"/>
                    <a:gd name="connsiteX570" fmla="*/ 2095267 w 3039126"/>
                    <a:gd name="connsiteY570" fmla="*/ 61784 h 555571"/>
                    <a:gd name="connsiteX571" fmla="*/ 2106569 w 3039126"/>
                    <a:gd name="connsiteY571" fmla="*/ 61784 h 555571"/>
                    <a:gd name="connsiteX572" fmla="*/ 2106569 w 3039126"/>
                    <a:gd name="connsiteY572" fmla="*/ 90289 h 555571"/>
                    <a:gd name="connsiteX573" fmla="*/ 2107071 w 3039126"/>
                    <a:gd name="connsiteY573" fmla="*/ 90289 h 555571"/>
                    <a:gd name="connsiteX574" fmla="*/ 2121010 w 3039126"/>
                    <a:gd name="connsiteY574" fmla="*/ 67435 h 555571"/>
                    <a:gd name="connsiteX575" fmla="*/ 2143111 w 3039126"/>
                    <a:gd name="connsiteY575" fmla="*/ 59272 h 555571"/>
                    <a:gd name="connsiteX576" fmla="*/ 809611 w 3039126"/>
                    <a:gd name="connsiteY576" fmla="*/ 59272 h 555571"/>
                    <a:gd name="connsiteX577" fmla="*/ 822419 w 3039126"/>
                    <a:gd name="connsiteY577" fmla="*/ 61533 h 555571"/>
                    <a:gd name="connsiteX578" fmla="*/ 822419 w 3039126"/>
                    <a:gd name="connsiteY578" fmla="*/ 73839 h 555571"/>
                    <a:gd name="connsiteX579" fmla="*/ 808858 w 3039126"/>
                    <a:gd name="connsiteY579" fmla="*/ 69695 h 555571"/>
                    <a:gd name="connsiteX580" fmla="*/ 783366 w 3039126"/>
                    <a:gd name="connsiteY580" fmla="*/ 85392 h 555571"/>
                    <a:gd name="connsiteX581" fmla="*/ 773069 w 3039126"/>
                    <a:gd name="connsiteY581" fmla="*/ 129970 h 555571"/>
                    <a:gd name="connsiteX582" fmla="*/ 773069 w 3039126"/>
                    <a:gd name="connsiteY582" fmla="*/ 190371 h 555571"/>
                    <a:gd name="connsiteX583" fmla="*/ 761767 w 3039126"/>
                    <a:gd name="connsiteY583" fmla="*/ 190371 h 555571"/>
                    <a:gd name="connsiteX584" fmla="*/ 761767 w 3039126"/>
                    <a:gd name="connsiteY584" fmla="*/ 61784 h 555571"/>
                    <a:gd name="connsiteX585" fmla="*/ 773069 w 3039126"/>
                    <a:gd name="connsiteY585" fmla="*/ 61784 h 555571"/>
                    <a:gd name="connsiteX586" fmla="*/ 773069 w 3039126"/>
                    <a:gd name="connsiteY586" fmla="*/ 90289 h 555571"/>
                    <a:gd name="connsiteX587" fmla="*/ 773571 w 3039126"/>
                    <a:gd name="connsiteY587" fmla="*/ 90289 h 555571"/>
                    <a:gd name="connsiteX588" fmla="*/ 787510 w 3039126"/>
                    <a:gd name="connsiteY588" fmla="*/ 67435 h 555571"/>
                    <a:gd name="connsiteX589" fmla="*/ 809611 w 3039126"/>
                    <a:gd name="connsiteY589" fmla="*/ 59272 h 555571"/>
                    <a:gd name="connsiteX590" fmla="*/ 2791313 w 3039126"/>
                    <a:gd name="connsiteY590" fmla="*/ 58644 h 555571"/>
                    <a:gd name="connsiteX591" fmla="*/ 2828106 w 3039126"/>
                    <a:gd name="connsiteY591" fmla="*/ 75471 h 555571"/>
                    <a:gd name="connsiteX592" fmla="*/ 2840915 w 3039126"/>
                    <a:gd name="connsiteY592" fmla="*/ 121431 h 555571"/>
                    <a:gd name="connsiteX593" fmla="*/ 2840915 w 3039126"/>
                    <a:gd name="connsiteY593" fmla="*/ 126580 h 555571"/>
                    <a:gd name="connsiteX594" fmla="*/ 2745730 w 3039126"/>
                    <a:gd name="connsiteY594" fmla="*/ 126580 h 555571"/>
                    <a:gd name="connsiteX595" fmla="*/ 2757973 w 3039126"/>
                    <a:gd name="connsiteY595" fmla="*/ 168019 h 555571"/>
                    <a:gd name="connsiteX596" fmla="*/ 2791564 w 3039126"/>
                    <a:gd name="connsiteY596" fmla="*/ 182962 h 555571"/>
                    <a:gd name="connsiteX597" fmla="*/ 2833757 w 3039126"/>
                    <a:gd name="connsiteY597" fmla="*/ 167015 h 555571"/>
                    <a:gd name="connsiteX598" fmla="*/ 2833757 w 3039126"/>
                    <a:gd name="connsiteY598" fmla="*/ 179321 h 555571"/>
                    <a:gd name="connsiteX599" fmla="*/ 2789178 w 3039126"/>
                    <a:gd name="connsiteY599" fmla="*/ 193511 h 555571"/>
                    <a:gd name="connsiteX600" fmla="*/ 2748995 w 3039126"/>
                    <a:gd name="connsiteY600" fmla="*/ 175679 h 555571"/>
                    <a:gd name="connsiteX601" fmla="*/ 2733675 w 3039126"/>
                    <a:gd name="connsiteY601" fmla="*/ 125324 h 555571"/>
                    <a:gd name="connsiteX602" fmla="*/ 2749685 w 3039126"/>
                    <a:gd name="connsiteY602" fmla="*/ 77920 h 555571"/>
                    <a:gd name="connsiteX603" fmla="*/ 2791313 w 3039126"/>
                    <a:gd name="connsiteY603" fmla="*/ 58644 h 555571"/>
                    <a:gd name="connsiteX604" fmla="*/ 2683920 w 3039126"/>
                    <a:gd name="connsiteY604" fmla="*/ 58644 h 555571"/>
                    <a:gd name="connsiteX605" fmla="*/ 2712425 w 3039126"/>
                    <a:gd name="connsiteY605" fmla="*/ 64672 h 555571"/>
                    <a:gd name="connsiteX606" fmla="*/ 2712425 w 3039126"/>
                    <a:gd name="connsiteY606" fmla="*/ 77732 h 555571"/>
                    <a:gd name="connsiteX607" fmla="*/ 2682161 w 3039126"/>
                    <a:gd name="connsiteY607" fmla="*/ 69193 h 555571"/>
                    <a:gd name="connsiteX608" fmla="*/ 2645494 w 3039126"/>
                    <a:gd name="connsiteY608" fmla="*/ 85454 h 555571"/>
                    <a:gd name="connsiteX609" fmla="*/ 2631430 w 3039126"/>
                    <a:gd name="connsiteY609" fmla="*/ 127584 h 555571"/>
                    <a:gd name="connsiteX610" fmla="*/ 2644301 w 3039126"/>
                    <a:gd name="connsiteY610" fmla="*/ 167768 h 555571"/>
                    <a:gd name="connsiteX611" fmla="*/ 2678269 w 3039126"/>
                    <a:gd name="connsiteY611" fmla="*/ 182962 h 555571"/>
                    <a:gd name="connsiteX612" fmla="*/ 2711922 w 3039126"/>
                    <a:gd name="connsiteY612" fmla="*/ 172665 h 555571"/>
                    <a:gd name="connsiteX613" fmla="*/ 2711922 w 3039126"/>
                    <a:gd name="connsiteY613" fmla="*/ 184720 h 555571"/>
                    <a:gd name="connsiteX614" fmla="*/ 2677766 w 3039126"/>
                    <a:gd name="connsiteY614" fmla="*/ 193511 h 555571"/>
                    <a:gd name="connsiteX615" fmla="*/ 2635448 w 3039126"/>
                    <a:gd name="connsiteY615" fmla="*/ 175491 h 555571"/>
                    <a:gd name="connsiteX616" fmla="*/ 2619375 w 3039126"/>
                    <a:gd name="connsiteY616" fmla="*/ 128338 h 555571"/>
                    <a:gd name="connsiteX617" fmla="*/ 2637457 w 3039126"/>
                    <a:gd name="connsiteY617" fmla="*/ 78171 h 555571"/>
                    <a:gd name="connsiteX618" fmla="*/ 2683920 w 3039126"/>
                    <a:gd name="connsiteY618" fmla="*/ 58644 h 555571"/>
                    <a:gd name="connsiteX619" fmla="*/ 2551682 w 3039126"/>
                    <a:gd name="connsiteY619" fmla="*/ 58644 h 555571"/>
                    <a:gd name="connsiteX620" fmla="*/ 2582385 w 3039126"/>
                    <a:gd name="connsiteY620" fmla="*/ 70951 h 555571"/>
                    <a:gd name="connsiteX621" fmla="*/ 2593247 w 3039126"/>
                    <a:gd name="connsiteY621" fmla="*/ 106739 h 555571"/>
                    <a:gd name="connsiteX622" fmla="*/ 2593247 w 3039126"/>
                    <a:gd name="connsiteY622" fmla="*/ 190371 h 555571"/>
                    <a:gd name="connsiteX623" fmla="*/ 2581694 w 3039126"/>
                    <a:gd name="connsiteY623" fmla="*/ 190371 h 555571"/>
                    <a:gd name="connsiteX624" fmla="*/ 2581694 w 3039126"/>
                    <a:gd name="connsiteY624" fmla="*/ 164629 h 555571"/>
                    <a:gd name="connsiteX625" fmla="*/ 2581192 w 3039126"/>
                    <a:gd name="connsiteY625" fmla="*/ 164629 h 555571"/>
                    <a:gd name="connsiteX626" fmla="*/ 2563298 w 3039126"/>
                    <a:gd name="connsiteY626" fmla="*/ 185662 h 555571"/>
                    <a:gd name="connsiteX627" fmla="*/ 2537241 w 3039126"/>
                    <a:gd name="connsiteY627" fmla="*/ 193511 h 555571"/>
                    <a:gd name="connsiteX628" fmla="*/ 2508234 w 3039126"/>
                    <a:gd name="connsiteY628" fmla="*/ 183214 h 555571"/>
                    <a:gd name="connsiteX629" fmla="*/ 2497560 w 3039126"/>
                    <a:gd name="connsiteY629" fmla="*/ 157220 h 555571"/>
                    <a:gd name="connsiteX630" fmla="*/ 2542138 w 3039126"/>
                    <a:gd name="connsiteY630" fmla="*/ 116534 h 555571"/>
                    <a:gd name="connsiteX631" fmla="*/ 2581694 w 3039126"/>
                    <a:gd name="connsiteY631" fmla="*/ 110632 h 555571"/>
                    <a:gd name="connsiteX632" fmla="*/ 2550552 w 3039126"/>
                    <a:gd name="connsiteY632" fmla="*/ 69193 h 555571"/>
                    <a:gd name="connsiteX633" fmla="*/ 2509238 w 3039126"/>
                    <a:gd name="connsiteY633" fmla="*/ 86271 h 555571"/>
                    <a:gd name="connsiteX634" fmla="*/ 2509238 w 3039126"/>
                    <a:gd name="connsiteY634" fmla="*/ 72332 h 555571"/>
                    <a:gd name="connsiteX635" fmla="*/ 2528639 w 3039126"/>
                    <a:gd name="connsiteY635" fmla="*/ 62663 h 555571"/>
                    <a:gd name="connsiteX636" fmla="*/ 2551682 w 3039126"/>
                    <a:gd name="connsiteY636" fmla="*/ 58644 h 555571"/>
                    <a:gd name="connsiteX637" fmla="*/ 2219813 w 3039126"/>
                    <a:gd name="connsiteY637" fmla="*/ 58644 h 555571"/>
                    <a:gd name="connsiteX638" fmla="*/ 2256606 w 3039126"/>
                    <a:gd name="connsiteY638" fmla="*/ 75471 h 555571"/>
                    <a:gd name="connsiteX639" fmla="*/ 2269415 w 3039126"/>
                    <a:gd name="connsiteY639" fmla="*/ 121431 h 555571"/>
                    <a:gd name="connsiteX640" fmla="*/ 2269415 w 3039126"/>
                    <a:gd name="connsiteY640" fmla="*/ 126580 h 555571"/>
                    <a:gd name="connsiteX641" fmla="*/ 2174230 w 3039126"/>
                    <a:gd name="connsiteY641" fmla="*/ 126580 h 555571"/>
                    <a:gd name="connsiteX642" fmla="*/ 2186473 w 3039126"/>
                    <a:gd name="connsiteY642" fmla="*/ 168019 h 555571"/>
                    <a:gd name="connsiteX643" fmla="*/ 2220064 w 3039126"/>
                    <a:gd name="connsiteY643" fmla="*/ 182962 h 555571"/>
                    <a:gd name="connsiteX644" fmla="*/ 2262257 w 3039126"/>
                    <a:gd name="connsiteY644" fmla="*/ 167015 h 555571"/>
                    <a:gd name="connsiteX645" fmla="*/ 2262257 w 3039126"/>
                    <a:gd name="connsiteY645" fmla="*/ 179321 h 555571"/>
                    <a:gd name="connsiteX646" fmla="*/ 2217678 w 3039126"/>
                    <a:gd name="connsiteY646" fmla="*/ 193511 h 555571"/>
                    <a:gd name="connsiteX647" fmla="*/ 2177495 w 3039126"/>
                    <a:gd name="connsiteY647" fmla="*/ 175679 h 555571"/>
                    <a:gd name="connsiteX648" fmla="*/ 2162175 w 3039126"/>
                    <a:gd name="connsiteY648" fmla="*/ 125324 h 555571"/>
                    <a:gd name="connsiteX649" fmla="*/ 2178185 w 3039126"/>
                    <a:gd name="connsiteY649" fmla="*/ 77920 h 555571"/>
                    <a:gd name="connsiteX650" fmla="*/ 2219813 w 3039126"/>
                    <a:gd name="connsiteY650" fmla="*/ 58644 h 555571"/>
                    <a:gd name="connsiteX651" fmla="*/ 1568704 w 3039126"/>
                    <a:gd name="connsiteY651" fmla="*/ 58644 h 555571"/>
                    <a:gd name="connsiteX652" fmla="*/ 1597084 w 3039126"/>
                    <a:gd name="connsiteY652" fmla="*/ 65425 h 555571"/>
                    <a:gd name="connsiteX653" fmla="*/ 1597084 w 3039126"/>
                    <a:gd name="connsiteY653" fmla="*/ 78485 h 555571"/>
                    <a:gd name="connsiteX654" fmla="*/ 1567448 w 3039126"/>
                    <a:gd name="connsiteY654" fmla="*/ 69193 h 555571"/>
                    <a:gd name="connsiteX655" fmla="*/ 1546980 w 3039126"/>
                    <a:gd name="connsiteY655" fmla="*/ 75785 h 555571"/>
                    <a:gd name="connsiteX656" fmla="*/ 1539194 w 3039126"/>
                    <a:gd name="connsiteY656" fmla="*/ 92926 h 555571"/>
                    <a:gd name="connsiteX657" fmla="*/ 1544092 w 3039126"/>
                    <a:gd name="connsiteY657" fmla="*/ 107807 h 555571"/>
                    <a:gd name="connsiteX658" fmla="*/ 1565690 w 3039126"/>
                    <a:gd name="connsiteY658" fmla="*/ 120929 h 555571"/>
                    <a:gd name="connsiteX659" fmla="*/ 1593317 w 3039126"/>
                    <a:gd name="connsiteY659" fmla="*/ 137693 h 555571"/>
                    <a:gd name="connsiteX660" fmla="*/ 1600851 w 3039126"/>
                    <a:gd name="connsiteY660" fmla="*/ 158224 h 555571"/>
                    <a:gd name="connsiteX661" fmla="*/ 1589361 w 3039126"/>
                    <a:gd name="connsiteY661" fmla="*/ 183527 h 555571"/>
                    <a:gd name="connsiteX662" fmla="*/ 1557654 w 3039126"/>
                    <a:gd name="connsiteY662" fmla="*/ 193511 h 555571"/>
                    <a:gd name="connsiteX663" fmla="*/ 1526637 w 3039126"/>
                    <a:gd name="connsiteY663" fmla="*/ 184720 h 555571"/>
                    <a:gd name="connsiteX664" fmla="*/ 1526637 w 3039126"/>
                    <a:gd name="connsiteY664" fmla="*/ 170782 h 555571"/>
                    <a:gd name="connsiteX665" fmla="*/ 1542459 w 3039126"/>
                    <a:gd name="connsiteY665" fmla="*/ 179697 h 555571"/>
                    <a:gd name="connsiteX666" fmla="*/ 1558533 w 3039126"/>
                    <a:gd name="connsiteY666" fmla="*/ 182962 h 555571"/>
                    <a:gd name="connsiteX667" fmla="*/ 1588796 w 3039126"/>
                    <a:gd name="connsiteY667" fmla="*/ 158224 h 555571"/>
                    <a:gd name="connsiteX668" fmla="*/ 1582140 w 3039126"/>
                    <a:gd name="connsiteY668" fmla="*/ 143658 h 555571"/>
                    <a:gd name="connsiteX669" fmla="*/ 1560542 w 3039126"/>
                    <a:gd name="connsiteY669" fmla="*/ 131226 h 555571"/>
                    <a:gd name="connsiteX670" fmla="*/ 1534611 w 3039126"/>
                    <a:gd name="connsiteY670" fmla="*/ 114587 h 555571"/>
                    <a:gd name="connsiteX671" fmla="*/ 1527139 w 3039126"/>
                    <a:gd name="connsiteY671" fmla="*/ 93679 h 555571"/>
                    <a:gd name="connsiteX672" fmla="*/ 1539131 w 3039126"/>
                    <a:gd name="connsiteY672" fmla="*/ 68314 h 555571"/>
                    <a:gd name="connsiteX673" fmla="*/ 1568704 w 3039126"/>
                    <a:gd name="connsiteY673" fmla="*/ 58644 h 555571"/>
                    <a:gd name="connsiteX674" fmla="*/ 1379748 w 3039126"/>
                    <a:gd name="connsiteY674" fmla="*/ 58644 h 555571"/>
                    <a:gd name="connsiteX675" fmla="*/ 1411644 w 3039126"/>
                    <a:gd name="connsiteY675" fmla="*/ 72520 h 555571"/>
                    <a:gd name="connsiteX676" fmla="*/ 1422694 w 3039126"/>
                    <a:gd name="connsiteY676" fmla="*/ 112139 h 555571"/>
                    <a:gd name="connsiteX677" fmla="*/ 1422694 w 3039126"/>
                    <a:gd name="connsiteY677" fmla="*/ 190371 h 555571"/>
                    <a:gd name="connsiteX678" fmla="*/ 1411142 w 3039126"/>
                    <a:gd name="connsiteY678" fmla="*/ 190371 h 555571"/>
                    <a:gd name="connsiteX679" fmla="*/ 1411142 w 3039126"/>
                    <a:gd name="connsiteY679" fmla="*/ 115529 h 555571"/>
                    <a:gd name="connsiteX680" fmla="*/ 1377739 w 3039126"/>
                    <a:gd name="connsiteY680" fmla="*/ 69193 h 555571"/>
                    <a:gd name="connsiteX681" fmla="*/ 1347225 w 3039126"/>
                    <a:gd name="connsiteY681" fmla="*/ 82817 h 555571"/>
                    <a:gd name="connsiteX682" fmla="*/ 1335295 w 3039126"/>
                    <a:gd name="connsiteY682" fmla="*/ 116534 h 555571"/>
                    <a:gd name="connsiteX683" fmla="*/ 1335295 w 3039126"/>
                    <a:gd name="connsiteY683" fmla="*/ 190371 h 555571"/>
                    <a:gd name="connsiteX684" fmla="*/ 1323742 w 3039126"/>
                    <a:gd name="connsiteY684" fmla="*/ 190371 h 555571"/>
                    <a:gd name="connsiteX685" fmla="*/ 1323742 w 3039126"/>
                    <a:gd name="connsiteY685" fmla="*/ 61784 h 555571"/>
                    <a:gd name="connsiteX686" fmla="*/ 1335295 w 3039126"/>
                    <a:gd name="connsiteY686" fmla="*/ 61784 h 555571"/>
                    <a:gd name="connsiteX687" fmla="*/ 1335295 w 3039126"/>
                    <a:gd name="connsiteY687" fmla="*/ 85140 h 555571"/>
                    <a:gd name="connsiteX688" fmla="*/ 1335797 w 3039126"/>
                    <a:gd name="connsiteY688" fmla="*/ 85140 h 555571"/>
                    <a:gd name="connsiteX689" fmla="*/ 1379748 w 3039126"/>
                    <a:gd name="connsiteY689" fmla="*/ 58644 h 555571"/>
                    <a:gd name="connsiteX690" fmla="*/ 1238738 w 3039126"/>
                    <a:gd name="connsiteY690" fmla="*/ 58644 h 555571"/>
                    <a:gd name="connsiteX691" fmla="*/ 1275531 w 3039126"/>
                    <a:gd name="connsiteY691" fmla="*/ 75471 h 555571"/>
                    <a:gd name="connsiteX692" fmla="*/ 1288340 w 3039126"/>
                    <a:gd name="connsiteY692" fmla="*/ 121431 h 555571"/>
                    <a:gd name="connsiteX693" fmla="*/ 1288340 w 3039126"/>
                    <a:gd name="connsiteY693" fmla="*/ 126580 h 555571"/>
                    <a:gd name="connsiteX694" fmla="*/ 1193155 w 3039126"/>
                    <a:gd name="connsiteY694" fmla="*/ 126580 h 555571"/>
                    <a:gd name="connsiteX695" fmla="*/ 1205398 w 3039126"/>
                    <a:gd name="connsiteY695" fmla="*/ 168019 h 555571"/>
                    <a:gd name="connsiteX696" fmla="*/ 1238989 w 3039126"/>
                    <a:gd name="connsiteY696" fmla="*/ 182962 h 555571"/>
                    <a:gd name="connsiteX697" fmla="*/ 1281182 w 3039126"/>
                    <a:gd name="connsiteY697" fmla="*/ 167015 h 555571"/>
                    <a:gd name="connsiteX698" fmla="*/ 1281182 w 3039126"/>
                    <a:gd name="connsiteY698" fmla="*/ 179321 h 555571"/>
                    <a:gd name="connsiteX699" fmla="*/ 1236603 w 3039126"/>
                    <a:gd name="connsiteY699" fmla="*/ 193511 h 555571"/>
                    <a:gd name="connsiteX700" fmla="*/ 1196420 w 3039126"/>
                    <a:gd name="connsiteY700" fmla="*/ 175679 h 555571"/>
                    <a:gd name="connsiteX701" fmla="*/ 1181100 w 3039126"/>
                    <a:gd name="connsiteY701" fmla="*/ 125324 h 555571"/>
                    <a:gd name="connsiteX702" fmla="*/ 1197110 w 3039126"/>
                    <a:gd name="connsiteY702" fmla="*/ 77920 h 555571"/>
                    <a:gd name="connsiteX703" fmla="*/ 1238738 w 3039126"/>
                    <a:gd name="connsiteY703" fmla="*/ 58644 h 555571"/>
                    <a:gd name="connsiteX704" fmla="*/ 1032202 w 3039126"/>
                    <a:gd name="connsiteY704" fmla="*/ 58644 h 555571"/>
                    <a:gd name="connsiteX705" fmla="*/ 1056249 w 3039126"/>
                    <a:gd name="connsiteY705" fmla="*/ 66744 h 555571"/>
                    <a:gd name="connsiteX706" fmla="*/ 1069748 w 3039126"/>
                    <a:gd name="connsiteY706" fmla="*/ 88029 h 555571"/>
                    <a:gd name="connsiteX707" fmla="*/ 1087015 w 3039126"/>
                    <a:gd name="connsiteY707" fmla="*/ 66367 h 555571"/>
                    <a:gd name="connsiteX708" fmla="*/ 1111439 w 3039126"/>
                    <a:gd name="connsiteY708" fmla="*/ 58644 h 555571"/>
                    <a:gd name="connsiteX709" fmla="*/ 1153632 w 3039126"/>
                    <a:gd name="connsiteY709" fmla="*/ 110883 h 555571"/>
                    <a:gd name="connsiteX710" fmla="*/ 1153632 w 3039126"/>
                    <a:gd name="connsiteY710" fmla="*/ 190371 h 555571"/>
                    <a:gd name="connsiteX711" fmla="*/ 1142079 w 3039126"/>
                    <a:gd name="connsiteY711" fmla="*/ 190371 h 555571"/>
                    <a:gd name="connsiteX712" fmla="*/ 1142079 w 3039126"/>
                    <a:gd name="connsiteY712" fmla="*/ 113018 h 555571"/>
                    <a:gd name="connsiteX713" fmla="*/ 1134482 w 3039126"/>
                    <a:gd name="connsiteY713" fmla="*/ 78987 h 555571"/>
                    <a:gd name="connsiteX714" fmla="*/ 1110434 w 3039126"/>
                    <a:gd name="connsiteY714" fmla="*/ 69193 h 555571"/>
                    <a:gd name="connsiteX715" fmla="*/ 1084189 w 3039126"/>
                    <a:gd name="connsiteY715" fmla="*/ 82252 h 555571"/>
                    <a:gd name="connsiteX716" fmla="*/ 1073139 w 3039126"/>
                    <a:gd name="connsiteY716" fmla="*/ 115027 h 555571"/>
                    <a:gd name="connsiteX717" fmla="*/ 1073139 w 3039126"/>
                    <a:gd name="connsiteY717" fmla="*/ 190371 h 555571"/>
                    <a:gd name="connsiteX718" fmla="*/ 1061586 w 3039126"/>
                    <a:gd name="connsiteY718" fmla="*/ 190371 h 555571"/>
                    <a:gd name="connsiteX719" fmla="*/ 1061586 w 3039126"/>
                    <a:gd name="connsiteY719" fmla="*/ 112139 h 555571"/>
                    <a:gd name="connsiteX720" fmla="*/ 1028937 w 3039126"/>
                    <a:gd name="connsiteY720" fmla="*/ 69193 h 555571"/>
                    <a:gd name="connsiteX721" fmla="*/ 1002818 w 3039126"/>
                    <a:gd name="connsiteY721" fmla="*/ 82315 h 555571"/>
                    <a:gd name="connsiteX722" fmla="*/ 992395 w 3039126"/>
                    <a:gd name="connsiteY722" fmla="*/ 116283 h 555571"/>
                    <a:gd name="connsiteX723" fmla="*/ 992395 w 3039126"/>
                    <a:gd name="connsiteY723" fmla="*/ 190371 h 555571"/>
                    <a:gd name="connsiteX724" fmla="*/ 980842 w 3039126"/>
                    <a:gd name="connsiteY724" fmla="*/ 190371 h 555571"/>
                    <a:gd name="connsiteX725" fmla="*/ 980842 w 3039126"/>
                    <a:gd name="connsiteY725" fmla="*/ 61784 h 555571"/>
                    <a:gd name="connsiteX726" fmla="*/ 992395 w 3039126"/>
                    <a:gd name="connsiteY726" fmla="*/ 61784 h 555571"/>
                    <a:gd name="connsiteX727" fmla="*/ 992395 w 3039126"/>
                    <a:gd name="connsiteY727" fmla="*/ 83131 h 555571"/>
                    <a:gd name="connsiteX728" fmla="*/ 992897 w 3039126"/>
                    <a:gd name="connsiteY728" fmla="*/ 83131 h 555571"/>
                    <a:gd name="connsiteX729" fmla="*/ 1032202 w 3039126"/>
                    <a:gd name="connsiteY729" fmla="*/ 58644 h 555571"/>
                    <a:gd name="connsiteX730" fmla="*/ 903498 w 3039126"/>
                    <a:gd name="connsiteY730" fmla="*/ 58644 h 555571"/>
                    <a:gd name="connsiteX731" fmla="*/ 935394 w 3039126"/>
                    <a:gd name="connsiteY731" fmla="*/ 72520 h 555571"/>
                    <a:gd name="connsiteX732" fmla="*/ 946444 w 3039126"/>
                    <a:gd name="connsiteY732" fmla="*/ 112139 h 555571"/>
                    <a:gd name="connsiteX733" fmla="*/ 946444 w 3039126"/>
                    <a:gd name="connsiteY733" fmla="*/ 190371 h 555571"/>
                    <a:gd name="connsiteX734" fmla="*/ 934891 w 3039126"/>
                    <a:gd name="connsiteY734" fmla="*/ 190371 h 555571"/>
                    <a:gd name="connsiteX735" fmla="*/ 934891 w 3039126"/>
                    <a:gd name="connsiteY735" fmla="*/ 115529 h 555571"/>
                    <a:gd name="connsiteX736" fmla="*/ 901489 w 3039126"/>
                    <a:gd name="connsiteY736" fmla="*/ 69193 h 555571"/>
                    <a:gd name="connsiteX737" fmla="*/ 870974 w 3039126"/>
                    <a:gd name="connsiteY737" fmla="*/ 82817 h 555571"/>
                    <a:gd name="connsiteX738" fmla="*/ 859045 w 3039126"/>
                    <a:gd name="connsiteY738" fmla="*/ 116534 h 555571"/>
                    <a:gd name="connsiteX739" fmla="*/ 859045 w 3039126"/>
                    <a:gd name="connsiteY739" fmla="*/ 190371 h 555571"/>
                    <a:gd name="connsiteX740" fmla="*/ 847492 w 3039126"/>
                    <a:gd name="connsiteY740" fmla="*/ 190371 h 555571"/>
                    <a:gd name="connsiteX741" fmla="*/ 847492 w 3039126"/>
                    <a:gd name="connsiteY741" fmla="*/ 61784 h 555571"/>
                    <a:gd name="connsiteX742" fmla="*/ 859045 w 3039126"/>
                    <a:gd name="connsiteY742" fmla="*/ 61784 h 555571"/>
                    <a:gd name="connsiteX743" fmla="*/ 859045 w 3039126"/>
                    <a:gd name="connsiteY743" fmla="*/ 85140 h 555571"/>
                    <a:gd name="connsiteX744" fmla="*/ 859547 w 3039126"/>
                    <a:gd name="connsiteY744" fmla="*/ 85140 h 555571"/>
                    <a:gd name="connsiteX745" fmla="*/ 903498 w 3039126"/>
                    <a:gd name="connsiteY745" fmla="*/ 58644 h 555571"/>
                    <a:gd name="connsiteX746" fmla="*/ 676763 w 3039126"/>
                    <a:gd name="connsiteY746" fmla="*/ 58644 h 555571"/>
                    <a:gd name="connsiteX747" fmla="*/ 713556 w 3039126"/>
                    <a:gd name="connsiteY747" fmla="*/ 75471 h 555571"/>
                    <a:gd name="connsiteX748" fmla="*/ 726365 w 3039126"/>
                    <a:gd name="connsiteY748" fmla="*/ 121431 h 555571"/>
                    <a:gd name="connsiteX749" fmla="*/ 726365 w 3039126"/>
                    <a:gd name="connsiteY749" fmla="*/ 126580 h 555571"/>
                    <a:gd name="connsiteX750" fmla="*/ 631180 w 3039126"/>
                    <a:gd name="connsiteY750" fmla="*/ 126580 h 555571"/>
                    <a:gd name="connsiteX751" fmla="*/ 643423 w 3039126"/>
                    <a:gd name="connsiteY751" fmla="*/ 168019 h 555571"/>
                    <a:gd name="connsiteX752" fmla="*/ 677014 w 3039126"/>
                    <a:gd name="connsiteY752" fmla="*/ 182962 h 555571"/>
                    <a:gd name="connsiteX753" fmla="*/ 719207 w 3039126"/>
                    <a:gd name="connsiteY753" fmla="*/ 167015 h 555571"/>
                    <a:gd name="connsiteX754" fmla="*/ 719207 w 3039126"/>
                    <a:gd name="connsiteY754" fmla="*/ 179321 h 555571"/>
                    <a:gd name="connsiteX755" fmla="*/ 674628 w 3039126"/>
                    <a:gd name="connsiteY755" fmla="*/ 193511 h 555571"/>
                    <a:gd name="connsiteX756" fmla="*/ 634445 w 3039126"/>
                    <a:gd name="connsiteY756" fmla="*/ 175679 h 555571"/>
                    <a:gd name="connsiteX757" fmla="*/ 619125 w 3039126"/>
                    <a:gd name="connsiteY757" fmla="*/ 125324 h 555571"/>
                    <a:gd name="connsiteX758" fmla="*/ 635135 w 3039126"/>
                    <a:gd name="connsiteY758" fmla="*/ 77920 h 555571"/>
                    <a:gd name="connsiteX759" fmla="*/ 676763 w 3039126"/>
                    <a:gd name="connsiteY759" fmla="*/ 58644 h 555571"/>
                    <a:gd name="connsiteX760" fmla="*/ 424235 w 3039126"/>
                    <a:gd name="connsiteY760" fmla="*/ 58644 h 555571"/>
                    <a:gd name="connsiteX761" fmla="*/ 467684 w 3039126"/>
                    <a:gd name="connsiteY761" fmla="*/ 76601 h 555571"/>
                    <a:gd name="connsiteX762" fmla="*/ 483632 w 3039126"/>
                    <a:gd name="connsiteY762" fmla="*/ 126329 h 555571"/>
                    <a:gd name="connsiteX763" fmla="*/ 467370 w 3039126"/>
                    <a:gd name="connsiteY763" fmla="*/ 174926 h 555571"/>
                    <a:gd name="connsiteX764" fmla="*/ 422854 w 3039126"/>
                    <a:gd name="connsiteY764" fmla="*/ 193511 h 555571"/>
                    <a:gd name="connsiteX765" fmla="*/ 378338 w 3039126"/>
                    <a:gd name="connsiteY765" fmla="*/ 174988 h 555571"/>
                    <a:gd name="connsiteX766" fmla="*/ 361951 w 3039126"/>
                    <a:gd name="connsiteY766" fmla="*/ 126831 h 555571"/>
                    <a:gd name="connsiteX767" fmla="*/ 379092 w 3039126"/>
                    <a:gd name="connsiteY767" fmla="*/ 76727 h 555571"/>
                    <a:gd name="connsiteX768" fmla="*/ 424235 w 3039126"/>
                    <a:gd name="connsiteY768" fmla="*/ 58644 h 555571"/>
                    <a:gd name="connsiteX769" fmla="*/ 2364968 w 3039126"/>
                    <a:gd name="connsiteY769" fmla="*/ 58643 h 555571"/>
                    <a:gd name="connsiteX770" fmla="*/ 2403205 w 3039126"/>
                    <a:gd name="connsiteY770" fmla="*/ 75533 h 555571"/>
                    <a:gd name="connsiteX771" fmla="*/ 2416955 w 3039126"/>
                    <a:gd name="connsiteY771" fmla="*/ 121430 h 555571"/>
                    <a:gd name="connsiteX772" fmla="*/ 2401196 w 3039126"/>
                    <a:gd name="connsiteY772" fmla="*/ 173606 h 555571"/>
                    <a:gd name="connsiteX773" fmla="*/ 2359568 w 3039126"/>
                    <a:gd name="connsiteY773" fmla="*/ 193510 h 555571"/>
                    <a:gd name="connsiteX774" fmla="*/ 2316873 w 3039126"/>
                    <a:gd name="connsiteY774" fmla="*/ 167516 h 555571"/>
                    <a:gd name="connsiteX775" fmla="*/ 2316371 w 3039126"/>
                    <a:gd name="connsiteY775" fmla="*/ 167516 h 555571"/>
                    <a:gd name="connsiteX776" fmla="*/ 2316371 w 3039126"/>
                    <a:gd name="connsiteY776" fmla="*/ 249515 h 555571"/>
                    <a:gd name="connsiteX777" fmla="*/ 2304818 w 3039126"/>
                    <a:gd name="connsiteY777" fmla="*/ 249515 h 555571"/>
                    <a:gd name="connsiteX778" fmla="*/ 2304818 w 3039126"/>
                    <a:gd name="connsiteY778" fmla="*/ 61783 h 555571"/>
                    <a:gd name="connsiteX779" fmla="*/ 2316371 w 3039126"/>
                    <a:gd name="connsiteY779" fmla="*/ 61783 h 555571"/>
                    <a:gd name="connsiteX780" fmla="*/ 2316371 w 3039126"/>
                    <a:gd name="connsiteY780" fmla="*/ 88279 h 555571"/>
                    <a:gd name="connsiteX781" fmla="*/ 2316873 w 3039126"/>
                    <a:gd name="connsiteY781" fmla="*/ 88279 h 555571"/>
                    <a:gd name="connsiteX782" fmla="*/ 2336651 w 3039126"/>
                    <a:gd name="connsiteY782" fmla="*/ 66366 h 555571"/>
                    <a:gd name="connsiteX783" fmla="*/ 2364968 w 3039126"/>
                    <a:gd name="connsiteY783" fmla="*/ 58643 h 555571"/>
                    <a:gd name="connsiteX784" fmla="*/ 1474045 w 3039126"/>
                    <a:gd name="connsiteY784" fmla="*/ 24488 h 555571"/>
                    <a:gd name="connsiteX785" fmla="*/ 1474045 w 3039126"/>
                    <a:gd name="connsiteY785" fmla="*/ 61784 h 555571"/>
                    <a:gd name="connsiteX786" fmla="*/ 1507950 w 3039126"/>
                    <a:gd name="connsiteY786" fmla="*/ 61784 h 555571"/>
                    <a:gd name="connsiteX787" fmla="*/ 1507950 w 3039126"/>
                    <a:gd name="connsiteY787" fmla="*/ 72332 h 555571"/>
                    <a:gd name="connsiteX788" fmla="*/ 1474045 w 3039126"/>
                    <a:gd name="connsiteY788" fmla="*/ 72332 h 555571"/>
                    <a:gd name="connsiteX789" fmla="*/ 1474045 w 3039126"/>
                    <a:gd name="connsiteY789" fmla="*/ 157220 h 555571"/>
                    <a:gd name="connsiteX790" fmla="*/ 1478251 w 3039126"/>
                    <a:gd name="connsiteY790" fmla="*/ 176495 h 555571"/>
                    <a:gd name="connsiteX791" fmla="*/ 1492504 w 3039126"/>
                    <a:gd name="connsiteY791" fmla="*/ 182460 h 555571"/>
                    <a:gd name="connsiteX792" fmla="*/ 1507950 w 3039126"/>
                    <a:gd name="connsiteY792" fmla="*/ 177814 h 555571"/>
                    <a:gd name="connsiteX793" fmla="*/ 1507950 w 3039126"/>
                    <a:gd name="connsiteY793" fmla="*/ 188613 h 555571"/>
                    <a:gd name="connsiteX794" fmla="*/ 1490997 w 3039126"/>
                    <a:gd name="connsiteY794" fmla="*/ 192883 h 555571"/>
                    <a:gd name="connsiteX795" fmla="*/ 1462492 w 3039126"/>
                    <a:gd name="connsiteY795" fmla="*/ 158727 h 555571"/>
                    <a:gd name="connsiteX796" fmla="*/ 1462492 w 3039126"/>
                    <a:gd name="connsiteY796" fmla="*/ 72332 h 555571"/>
                    <a:gd name="connsiteX797" fmla="*/ 1439386 w 3039126"/>
                    <a:gd name="connsiteY797" fmla="*/ 72332 h 555571"/>
                    <a:gd name="connsiteX798" fmla="*/ 1439386 w 3039126"/>
                    <a:gd name="connsiteY798" fmla="*/ 61784 h 555571"/>
                    <a:gd name="connsiteX799" fmla="*/ 1462492 w 3039126"/>
                    <a:gd name="connsiteY799" fmla="*/ 61784 h 555571"/>
                    <a:gd name="connsiteX800" fmla="*/ 1462492 w 3039126"/>
                    <a:gd name="connsiteY800" fmla="*/ 28381 h 555571"/>
                    <a:gd name="connsiteX801" fmla="*/ 1468268 w 3039126"/>
                    <a:gd name="connsiteY801" fmla="*/ 26372 h 555571"/>
                    <a:gd name="connsiteX802" fmla="*/ 1474045 w 3039126"/>
                    <a:gd name="connsiteY802" fmla="*/ 24488 h 555571"/>
                    <a:gd name="connsiteX803" fmla="*/ 1872319 w 3039126"/>
                    <a:gd name="connsiteY803" fmla="*/ 10299 h 555571"/>
                    <a:gd name="connsiteX804" fmla="*/ 1879163 w 3039126"/>
                    <a:gd name="connsiteY804" fmla="*/ 12810 h 555571"/>
                    <a:gd name="connsiteX805" fmla="*/ 1882114 w 3039126"/>
                    <a:gd name="connsiteY805" fmla="*/ 19591 h 555571"/>
                    <a:gd name="connsiteX806" fmla="*/ 1879226 w 3039126"/>
                    <a:gd name="connsiteY806" fmla="*/ 26498 h 555571"/>
                    <a:gd name="connsiteX807" fmla="*/ 1872319 w 3039126"/>
                    <a:gd name="connsiteY807" fmla="*/ 29386 h 555571"/>
                    <a:gd name="connsiteX808" fmla="*/ 1865664 w 3039126"/>
                    <a:gd name="connsiteY808" fmla="*/ 26623 h 555571"/>
                    <a:gd name="connsiteX809" fmla="*/ 1862775 w 3039126"/>
                    <a:gd name="connsiteY809" fmla="*/ 19591 h 555571"/>
                    <a:gd name="connsiteX810" fmla="*/ 1865726 w 3039126"/>
                    <a:gd name="connsiteY810" fmla="*/ 12873 h 555571"/>
                    <a:gd name="connsiteX811" fmla="*/ 1872319 w 3039126"/>
                    <a:gd name="connsiteY811" fmla="*/ 10299 h 555571"/>
                    <a:gd name="connsiteX812" fmla="*/ 282796 w 3039126"/>
                    <a:gd name="connsiteY812" fmla="*/ 7284 h 555571"/>
                    <a:gd name="connsiteX813" fmla="*/ 328882 w 3039126"/>
                    <a:gd name="connsiteY813" fmla="*/ 16827 h 555571"/>
                    <a:gd name="connsiteX814" fmla="*/ 328882 w 3039126"/>
                    <a:gd name="connsiteY814" fmla="*/ 30389 h 555571"/>
                    <a:gd name="connsiteX815" fmla="*/ 281038 w 3039126"/>
                    <a:gd name="connsiteY815" fmla="*/ 18585 h 555571"/>
                    <a:gd name="connsiteX816" fmla="*/ 226351 w 3039126"/>
                    <a:gd name="connsiteY816" fmla="*/ 41817 h 555571"/>
                    <a:gd name="connsiteX817" fmla="*/ 205694 w 3039126"/>
                    <a:gd name="connsiteY817" fmla="*/ 101087 h 555571"/>
                    <a:gd name="connsiteX818" fmla="*/ 225095 w 3039126"/>
                    <a:gd name="connsiteY818" fmla="*/ 160546 h 555571"/>
                    <a:gd name="connsiteX819" fmla="*/ 277397 w 3039126"/>
                    <a:gd name="connsiteY819" fmla="*/ 182082 h 555571"/>
                    <a:gd name="connsiteX820" fmla="*/ 320092 w 3039126"/>
                    <a:gd name="connsiteY820" fmla="*/ 171534 h 555571"/>
                    <a:gd name="connsiteX821" fmla="*/ 320092 w 3039126"/>
                    <a:gd name="connsiteY821" fmla="*/ 112138 h 555571"/>
                    <a:gd name="connsiteX822" fmla="*/ 277648 w 3039126"/>
                    <a:gd name="connsiteY822" fmla="*/ 112138 h 555571"/>
                    <a:gd name="connsiteX823" fmla="*/ 277648 w 3039126"/>
                    <a:gd name="connsiteY823" fmla="*/ 100836 h 555571"/>
                    <a:gd name="connsiteX824" fmla="*/ 332524 w 3039126"/>
                    <a:gd name="connsiteY824" fmla="*/ 100836 h 555571"/>
                    <a:gd name="connsiteX825" fmla="*/ 332524 w 3039126"/>
                    <a:gd name="connsiteY825" fmla="*/ 177813 h 555571"/>
                    <a:gd name="connsiteX826" fmla="*/ 275136 w 3039126"/>
                    <a:gd name="connsiteY826" fmla="*/ 193510 h 555571"/>
                    <a:gd name="connsiteX827" fmla="*/ 215615 w 3039126"/>
                    <a:gd name="connsiteY827" fmla="*/ 168520 h 555571"/>
                    <a:gd name="connsiteX828" fmla="*/ 192886 w 3039126"/>
                    <a:gd name="connsiteY828" fmla="*/ 102971 h 555571"/>
                    <a:gd name="connsiteX829" fmla="*/ 217373 w 3039126"/>
                    <a:gd name="connsiteY829" fmla="*/ 34659 h 555571"/>
                    <a:gd name="connsiteX830" fmla="*/ 282796 w 3039126"/>
                    <a:gd name="connsiteY830" fmla="*/ 7284 h 555571"/>
                    <a:gd name="connsiteX831" fmla="*/ 2447693 w 3039126"/>
                    <a:gd name="connsiteY831" fmla="*/ 0 h 555571"/>
                    <a:gd name="connsiteX832" fmla="*/ 2459246 w 3039126"/>
                    <a:gd name="connsiteY832" fmla="*/ 0 h 555571"/>
                    <a:gd name="connsiteX833" fmla="*/ 2459246 w 3039126"/>
                    <a:gd name="connsiteY833" fmla="*/ 190370 h 555571"/>
                    <a:gd name="connsiteX834" fmla="*/ 2447693 w 3039126"/>
                    <a:gd name="connsiteY834" fmla="*/ 190370 h 555571"/>
                    <a:gd name="connsiteX835" fmla="*/ 1980968 w 3039126"/>
                    <a:gd name="connsiteY835" fmla="*/ 0 h 555571"/>
                    <a:gd name="connsiteX836" fmla="*/ 1992521 w 3039126"/>
                    <a:gd name="connsiteY836" fmla="*/ 0 h 555571"/>
                    <a:gd name="connsiteX837" fmla="*/ 1992521 w 3039126"/>
                    <a:gd name="connsiteY837" fmla="*/ 190370 h 555571"/>
                    <a:gd name="connsiteX838" fmla="*/ 1980968 w 3039126"/>
                    <a:gd name="connsiteY838" fmla="*/ 190370 h 555571"/>
                    <a:gd name="connsiteX839" fmla="*/ 1923818 w 3039126"/>
                    <a:gd name="connsiteY839" fmla="*/ 0 h 555571"/>
                    <a:gd name="connsiteX840" fmla="*/ 1935371 w 3039126"/>
                    <a:gd name="connsiteY840" fmla="*/ 0 h 555571"/>
                    <a:gd name="connsiteX841" fmla="*/ 1935371 w 3039126"/>
                    <a:gd name="connsiteY841" fmla="*/ 190370 h 555571"/>
                    <a:gd name="connsiteX842" fmla="*/ 1923818 w 3039126"/>
                    <a:gd name="connsiteY842" fmla="*/ 190370 h 555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</a:cxnLst>
                  <a:rect l="l" t="t" r="r" b="b"/>
                  <a:pathLst>
                    <a:path w="3039126" h="555571">
                      <a:moveTo>
                        <a:pt x="2162594" y="425980"/>
                      </a:moveTo>
                      <a:lnTo>
                        <a:pt x="2127182" y="431129"/>
                      </a:lnTo>
                      <a:cubicBezTo>
                        <a:pt x="2113704" y="433054"/>
                        <a:pt x="2104245" y="436172"/>
                        <a:pt x="2098803" y="440484"/>
                      </a:cubicBezTo>
                      <a:cubicBezTo>
                        <a:pt x="2093362" y="444795"/>
                        <a:pt x="2090641" y="451806"/>
                        <a:pt x="2090641" y="461517"/>
                      </a:cubicBezTo>
                      <a:cubicBezTo>
                        <a:pt x="2090641" y="469136"/>
                        <a:pt x="2093173" y="475414"/>
                        <a:pt x="2098238" y="480354"/>
                      </a:cubicBezTo>
                      <a:cubicBezTo>
                        <a:pt x="2103302" y="485293"/>
                        <a:pt x="2110356" y="487762"/>
                        <a:pt x="2119397" y="487762"/>
                      </a:cubicBezTo>
                      <a:cubicBezTo>
                        <a:pt x="2131787" y="487762"/>
                        <a:pt x="2142084" y="483179"/>
                        <a:pt x="2150288" y="474012"/>
                      </a:cubicBezTo>
                      <a:cubicBezTo>
                        <a:pt x="2158492" y="464845"/>
                        <a:pt x="2162594" y="453020"/>
                        <a:pt x="2162594" y="438537"/>
                      </a:cubicBezTo>
                      <a:close/>
                      <a:moveTo>
                        <a:pt x="1962569" y="425980"/>
                      </a:moveTo>
                      <a:lnTo>
                        <a:pt x="1927158" y="431129"/>
                      </a:lnTo>
                      <a:cubicBezTo>
                        <a:pt x="1913679" y="433054"/>
                        <a:pt x="1904219" y="436172"/>
                        <a:pt x="1898778" y="440484"/>
                      </a:cubicBezTo>
                      <a:cubicBezTo>
                        <a:pt x="1893336" y="444795"/>
                        <a:pt x="1890616" y="451806"/>
                        <a:pt x="1890616" y="461517"/>
                      </a:cubicBezTo>
                      <a:cubicBezTo>
                        <a:pt x="1890616" y="469136"/>
                        <a:pt x="1893148" y="475414"/>
                        <a:pt x="1898213" y="480354"/>
                      </a:cubicBezTo>
                      <a:cubicBezTo>
                        <a:pt x="1903278" y="485293"/>
                        <a:pt x="1910331" y="487762"/>
                        <a:pt x="1919372" y="487762"/>
                      </a:cubicBezTo>
                      <a:cubicBezTo>
                        <a:pt x="1931762" y="487762"/>
                        <a:pt x="1942059" y="483179"/>
                        <a:pt x="1950263" y="474012"/>
                      </a:cubicBezTo>
                      <a:cubicBezTo>
                        <a:pt x="1958467" y="464845"/>
                        <a:pt x="1962569" y="453020"/>
                        <a:pt x="1962569" y="438537"/>
                      </a:cubicBezTo>
                      <a:close/>
                      <a:moveTo>
                        <a:pt x="1635682" y="414175"/>
                      </a:moveTo>
                      <a:lnTo>
                        <a:pt x="1704371" y="414175"/>
                      </a:lnTo>
                      <a:lnTo>
                        <a:pt x="1704371" y="425477"/>
                      </a:lnTo>
                      <a:lnTo>
                        <a:pt x="1635682" y="425477"/>
                      </a:lnTo>
                      <a:close/>
                      <a:moveTo>
                        <a:pt x="2886061" y="373993"/>
                      </a:moveTo>
                      <a:cubicBezTo>
                        <a:pt x="2874006" y="373993"/>
                        <a:pt x="2864022" y="378032"/>
                        <a:pt x="2856111" y="386110"/>
                      </a:cubicBezTo>
                      <a:cubicBezTo>
                        <a:pt x="2848200" y="394189"/>
                        <a:pt x="2843324" y="405763"/>
                        <a:pt x="2841482" y="420832"/>
                      </a:cubicBezTo>
                      <a:lnTo>
                        <a:pt x="2924110" y="420832"/>
                      </a:lnTo>
                      <a:cubicBezTo>
                        <a:pt x="2923607" y="406014"/>
                        <a:pt x="2920049" y="394503"/>
                        <a:pt x="2913436" y="386299"/>
                      </a:cubicBezTo>
                      <a:cubicBezTo>
                        <a:pt x="2906822" y="378095"/>
                        <a:pt x="2897697" y="373993"/>
                        <a:pt x="2886061" y="373993"/>
                      </a:cubicBezTo>
                      <a:close/>
                      <a:moveTo>
                        <a:pt x="2423983" y="373993"/>
                      </a:moveTo>
                      <a:cubicBezTo>
                        <a:pt x="2408830" y="373993"/>
                        <a:pt x="2396754" y="379099"/>
                        <a:pt x="2387755" y="389313"/>
                      </a:cubicBezTo>
                      <a:cubicBezTo>
                        <a:pt x="2378755" y="399526"/>
                        <a:pt x="2374256" y="413716"/>
                        <a:pt x="2374256" y="431882"/>
                      </a:cubicBezTo>
                      <a:cubicBezTo>
                        <a:pt x="2374256" y="448709"/>
                        <a:pt x="2378651" y="462229"/>
                        <a:pt x="2387441" y="472442"/>
                      </a:cubicBezTo>
                      <a:cubicBezTo>
                        <a:pt x="2396231" y="482656"/>
                        <a:pt x="2408244" y="487762"/>
                        <a:pt x="2423481" y="487762"/>
                      </a:cubicBezTo>
                      <a:cubicBezTo>
                        <a:pt x="2438968" y="487762"/>
                        <a:pt x="2450898" y="482739"/>
                        <a:pt x="2459269" y="472694"/>
                      </a:cubicBezTo>
                      <a:cubicBezTo>
                        <a:pt x="2467641" y="462648"/>
                        <a:pt x="2471826" y="448709"/>
                        <a:pt x="2471826" y="430877"/>
                      </a:cubicBezTo>
                      <a:cubicBezTo>
                        <a:pt x="2471826" y="412544"/>
                        <a:pt x="2467662" y="398479"/>
                        <a:pt x="2459332" y="388685"/>
                      </a:cubicBezTo>
                      <a:cubicBezTo>
                        <a:pt x="2451002" y="378890"/>
                        <a:pt x="2439219" y="373993"/>
                        <a:pt x="2423983" y="373993"/>
                      </a:cubicBezTo>
                      <a:close/>
                      <a:moveTo>
                        <a:pt x="171436" y="373993"/>
                      </a:moveTo>
                      <a:cubicBezTo>
                        <a:pt x="159381" y="373993"/>
                        <a:pt x="149398" y="378032"/>
                        <a:pt x="141486" y="386110"/>
                      </a:cubicBezTo>
                      <a:cubicBezTo>
                        <a:pt x="133575" y="394189"/>
                        <a:pt x="128699" y="405763"/>
                        <a:pt x="126857" y="420832"/>
                      </a:cubicBezTo>
                      <a:lnTo>
                        <a:pt x="209485" y="420832"/>
                      </a:lnTo>
                      <a:cubicBezTo>
                        <a:pt x="208982" y="406014"/>
                        <a:pt x="205424" y="394503"/>
                        <a:pt x="198811" y="386299"/>
                      </a:cubicBezTo>
                      <a:cubicBezTo>
                        <a:pt x="192197" y="378095"/>
                        <a:pt x="183072" y="373993"/>
                        <a:pt x="171436" y="373993"/>
                      </a:cubicBezTo>
                      <a:close/>
                      <a:moveTo>
                        <a:pt x="1792194" y="373992"/>
                      </a:moveTo>
                      <a:cubicBezTo>
                        <a:pt x="1778715" y="373992"/>
                        <a:pt x="1767581" y="379161"/>
                        <a:pt x="1758791" y="389500"/>
                      </a:cubicBezTo>
                      <a:cubicBezTo>
                        <a:pt x="1750001" y="399839"/>
                        <a:pt x="1745606" y="414050"/>
                        <a:pt x="1745606" y="432132"/>
                      </a:cubicBezTo>
                      <a:cubicBezTo>
                        <a:pt x="1745606" y="449880"/>
                        <a:pt x="1749561" y="463588"/>
                        <a:pt x="1757473" y="473258"/>
                      </a:cubicBezTo>
                      <a:cubicBezTo>
                        <a:pt x="1765384" y="482927"/>
                        <a:pt x="1775576" y="487761"/>
                        <a:pt x="1788050" y="487761"/>
                      </a:cubicBezTo>
                      <a:cubicBezTo>
                        <a:pt x="1802700" y="487761"/>
                        <a:pt x="1814044" y="483220"/>
                        <a:pt x="1822080" y="474137"/>
                      </a:cubicBezTo>
                      <a:cubicBezTo>
                        <a:pt x="1830117" y="465053"/>
                        <a:pt x="1834135" y="453982"/>
                        <a:pt x="1834135" y="440922"/>
                      </a:cubicBezTo>
                      <a:lnTo>
                        <a:pt x="1834135" y="416938"/>
                      </a:lnTo>
                      <a:cubicBezTo>
                        <a:pt x="1834135" y="404966"/>
                        <a:pt x="1830347" y="394816"/>
                        <a:pt x="1822771" y="386486"/>
                      </a:cubicBezTo>
                      <a:cubicBezTo>
                        <a:pt x="1815195" y="378156"/>
                        <a:pt x="1805002" y="373992"/>
                        <a:pt x="1792194" y="373992"/>
                      </a:cubicBezTo>
                      <a:close/>
                      <a:moveTo>
                        <a:pt x="1545046" y="373992"/>
                      </a:moveTo>
                      <a:cubicBezTo>
                        <a:pt x="1530898" y="373992"/>
                        <a:pt x="1519513" y="379308"/>
                        <a:pt x="1510890" y="389939"/>
                      </a:cubicBezTo>
                      <a:cubicBezTo>
                        <a:pt x="1502267" y="400571"/>
                        <a:pt x="1497956" y="414636"/>
                        <a:pt x="1497956" y="432132"/>
                      </a:cubicBezTo>
                      <a:cubicBezTo>
                        <a:pt x="1497956" y="449713"/>
                        <a:pt x="1501911" y="463379"/>
                        <a:pt x="1509823" y="473132"/>
                      </a:cubicBezTo>
                      <a:cubicBezTo>
                        <a:pt x="1517734" y="482885"/>
                        <a:pt x="1528177" y="487761"/>
                        <a:pt x="1541153" y="487761"/>
                      </a:cubicBezTo>
                      <a:cubicBezTo>
                        <a:pt x="1554966" y="487761"/>
                        <a:pt x="1565975" y="483283"/>
                        <a:pt x="1574179" y="474325"/>
                      </a:cubicBezTo>
                      <a:cubicBezTo>
                        <a:pt x="1582383" y="465367"/>
                        <a:pt x="1586485" y="454401"/>
                        <a:pt x="1586485" y="441425"/>
                      </a:cubicBezTo>
                      <a:lnTo>
                        <a:pt x="1586485" y="415933"/>
                      </a:lnTo>
                      <a:cubicBezTo>
                        <a:pt x="1586485" y="404548"/>
                        <a:pt x="1582655" y="394711"/>
                        <a:pt x="1574995" y="386423"/>
                      </a:cubicBezTo>
                      <a:cubicBezTo>
                        <a:pt x="1567335" y="378136"/>
                        <a:pt x="1557352" y="373992"/>
                        <a:pt x="1545046" y="373992"/>
                      </a:cubicBezTo>
                      <a:close/>
                      <a:moveTo>
                        <a:pt x="1353810" y="373992"/>
                      </a:moveTo>
                      <a:cubicBezTo>
                        <a:pt x="1338825" y="373992"/>
                        <a:pt x="1327230" y="379015"/>
                        <a:pt x="1319026" y="389060"/>
                      </a:cubicBezTo>
                      <a:cubicBezTo>
                        <a:pt x="1310822" y="399106"/>
                        <a:pt x="1306720" y="410910"/>
                        <a:pt x="1306720" y="424472"/>
                      </a:cubicBezTo>
                      <a:lnTo>
                        <a:pt x="1306720" y="440671"/>
                      </a:lnTo>
                      <a:cubicBezTo>
                        <a:pt x="1306720" y="453563"/>
                        <a:pt x="1310780" y="464635"/>
                        <a:pt x="1318901" y="473885"/>
                      </a:cubicBezTo>
                      <a:cubicBezTo>
                        <a:pt x="1327021" y="483136"/>
                        <a:pt x="1337695" y="487761"/>
                        <a:pt x="1350922" y="487761"/>
                      </a:cubicBezTo>
                      <a:cubicBezTo>
                        <a:pt x="1364065" y="487761"/>
                        <a:pt x="1374739" y="482131"/>
                        <a:pt x="1382943" y="470872"/>
                      </a:cubicBezTo>
                      <a:cubicBezTo>
                        <a:pt x="1391147" y="459612"/>
                        <a:pt x="1395250" y="444815"/>
                        <a:pt x="1395250" y="426481"/>
                      </a:cubicBezTo>
                      <a:cubicBezTo>
                        <a:pt x="1395250" y="410408"/>
                        <a:pt x="1391482" y="397641"/>
                        <a:pt x="1383948" y="388181"/>
                      </a:cubicBezTo>
                      <a:cubicBezTo>
                        <a:pt x="1376413" y="378722"/>
                        <a:pt x="1366368" y="373992"/>
                        <a:pt x="1353810" y="373992"/>
                      </a:cubicBezTo>
                      <a:close/>
                      <a:moveTo>
                        <a:pt x="2511730" y="366584"/>
                      </a:moveTo>
                      <a:lnTo>
                        <a:pt x="2523408" y="366584"/>
                      </a:lnTo>
                      <a:lnTo>
                        <a:pt x="2523408" y="438035"/>
                      </a:lnTo>
                      <a:cubicBezTo>
                        <a:pt x="2523408" y="455448"/>
                        <a:pt x="2526276" y="468089"/>
                        <a:pt x="2532010" y="475958"/>
                      </a:cubicBezTo>
                      <a:cubicBezTo>
                        <a:pt x="2537745" y="483828"/>
                        <a:pt x="2546765" y="487762"/>
                        <a:pt x="2559071" y="487762"/>
                      </a:cubicBezTo>
                      <a:cubicBezTo>
                        <a:pt x="2571043" y="487762"/>
                        <a:pt x="2580733" y="483367"/>
                        <a:pt x="2588142" y="474577"/>
                      </a:cubicBezTo>
                      <a:cubicBezTo>
                        <a:pt x="2595550" y="465787"/>
                        <a:pt x="2599255" y="454067"/>
                        <a:pt x="2599255" y="439416"/>
                      </a:cubicBezTo>
                      <a:lnTo>
                        <a:pt x="2599255" y="366584"/>
                      </a:lnTo>
                      <a:lnTo>
                        <a:pt x="2610808" y="366584"/>
                      </a:lnTo>
                      <a:lnTo>
                        <a:pt x="2610808" y="495171"/>
                      </a:lnTo>
                      <a:lnTo>
                        <a:pt x="2599255" y="495171"/>
                      </a:lnTo>
                      <a:lnTo>
                        <a:pt x="2599255" y="471814"/>
                      </a:lnTo>
                      <a:lnTo>
                        <a:pt x="2598753" y="471814"/>
                      </a:lnTo>
                      <a:cubicBezTo>
                        <a:pt x="2589795" y="489479"/>
                        <a:pt x="2575982" y="498311"/>
                        <a:pt x="2557313" y="498311"/>
                      </a:cubicBezTo>
                      <a:cubicBezTo>
                        <a:pt x="2526924" y="498311"/>
                        <a:pt x="2511730" y="479181"/>
                        <a:pt x="2511730" y="440923"/>
                      </a:cubicBezTo>
                      <a:close/>
                      <a:moveTo>
                        <a:pt x="1438043" y="366584"/>
                      </a:moveTo>
                      <a:lnTo>
                        <a:pt x="1449596" y="366584"/>
                      </a:lnTo>
                      <a:lnTo>
                        <a:pt x="1449596" y="495171"/>
                      </a:lnTo>
                      <a:lnTo>
                        <a:pt x="1438043" y="495171"/>
                      </a:lnTo>
                      <a:close/>
                      <a:moveTo>
                        <a:pt x="961793" y="366584"/>
                      </a:moveTo>
                      <a:lnTo>
                        <a:pt x="973346" y="366584"/>
                      </a:lnTo>
                      <a:lnTo>
                        <a:pt x="973346" y="495171"/>
                      </a:lnTo>
                      <a:lnTo>
                        <a:pt x="961793" y="495171"/>
                      </a:lnTo>
                      <a:close/>
                      <a:moveTo>
                        <a:pt x="774395" y="366584"/>
                      </a:moveTo>
                      <a:lnTo>
                        <a:pt x="787204" y="366584"/>
                      </a:lnTo>
                      <a:lnTo>
                        <a:pt x="817090" y="469177"/>
                      </a:lnTo>
                      <a:cubicBezTo>
                        <a:pt x="817844" y="471856"/>
                        <a:pt x="818430" y="475456"/>
                        <a:pt x="818848" y="479977"/>
                      </a:cubicBezTo>
                      <a:lnTo>
                        <a:pt x="819853" y="479977"/>
                      </a:lnTo>
                      <a:cubicBezTo>
                        <a:pt x="820020" y="477549"/>
                        <a:pt x="820816" y="473949"/>
                        <a:pt x="822239" y="469177"/>
                      </a:cubicBezTo>
                      <a:lnTo>
                        <a:pt x="854888" y="366584"/>
                      </a:lnTo>
                      <a:lnTo>
                        <a:pt x="862799" y="366584"/>
                      </a:lnTo>
                      <a:lnTo>
                        <a:pt x="891932" y="469177"/>
                      </a:lnTo>
                      <a:cubicBezTo>
                        <a:pt x="892602" y="471605"/>
                        <a:pt x="893188" y="475205"/>
                        <a:pt x="893690" y="479977"/>
                      </a:cubicBezTo>
                      <a:lnTo>
                        <a:pt x="894695" y="479977"/>
                      </a:lnTo>
                      <a:cubicBezTo>
                        <a:pt x="894695" y="477549"/>
                        <a:pt x="895407" y="473949"/>
                        <a:pt x="896830" y="469177"/>
                      </a:cubicBezTo>
                      <a:lnTo>
                        <a:pt x="927344" y="366584"/>
                      </a:lnTo>
                      <a:lnTo>
                        <a:pt x="939274" y="366584"/>
                      </a:lnTo>
                      <a:lnTo>
                        <a:pt x="899341" y="495171"/>
                      </a:lnTo>
                      <a:lnTo>
                        <a:pt x="888542" y="495171"/>
                      </a:lnTo>
                      <a:lnTo>
                        <a:pt x="860539" y="398228"/>
                      </a:lnTo>
                      <a:cubicBezTo>
                        <a:pt x="859785" y="395549"/>
                        <a:pt x="859116" y="391950"/>
                        <a:pt x="858530" y="387429"/>
                      </a:cubicBezTo>
                      <a:lnTo>
                        <a:pt x="857902" y="387429"/>
                      </a:lnTo>
                      <a:cubicBezTo>
                        <a:pt x="857734" y="389354"/>
                        <a:pt x="856897" y="392870"/>
                        <a:pt x="855390" y="397977"/>
                      </a:cubicBezTo>
                      <a:lnTo>
                        <a:pt x="823997" y="495171"/>
                      </a:lnTo>
                      <a:lnTo>
                        <a:pt x="813198" y="495171"/>
                      </a:lnTo>
                      <a:close/>
                      <a:moveTo>
                        <a:pt x="482905" y="366584"/>
                      </a:moveTo>
                      <a:lnTo>
                        <a:pt x="494583" y="366584"/>
                      </a:lnTo>
                      <a:lnTo>
                        <a:pt x="494583" y="438035"/>
                      </a:lnTo>
                      <a:cubicBezTo>
                        <a:pt x="494583" y="455448"/>
                        <a:pt x="497451" y="468089"/>
                        <a:pt x="503185" y="475958"/>
                      </a:cubicBezTo>
                      <a:cubicBezTo>
                        <a:pt x="508920" y="483828"/>
                        <a:pt x="517940" y="487762"/>
                        <a:pt x="530247" y="487762"/>
                      </a:cubicBezTo>
                      <a:cubicBezTo>
                        <a:pt x="542218" y="487762"/>
                        <a:pt x="551908" y="483367"/>
                        <a:pt x="559317" y="474577"/>
                      </a:cubicBezTo>
                      <a:cubicBezTo>
                        <a:pt x="566726" y="465787"/>
                        <a:pt x="570430" y="454067"/>
                        <a:pt x="570430" y="439416"/>
                      </a:cubicBezTo>
                      <a:lnTo>
                        <a:pt x="570430" y="366584"/>
                      </a:lnTo>
                      <a:lnTo>
                        <a:pt x="581983" y="366584"/>
                      </a:lnTo>
                      <a:lnTo>
                        <a:pt x="581983" y="495171"/>
                      </a:lnTo>
                      <a:lnTo>
                        <a:pt x="570430" y="495171"/>
                      </a:lnTo>
                      <a:lnTo>
                        <a:pt x="570430" y="471814"/>
                      </a:lnTo>
                      <a:lnTo>
                        <a:pt x="569928" y="471814"/>
                      </a:lnTo>
                      <a:cubicBezTo>
                        <a:pt x="560970" y="489479"/>
                        <a:pt x="547157" y="498311"/>
                        <a:pt x="528488" y="498311"/>
                      </a:cubicBezTo>
                      <a:cubicBezTo>
                        <a:pt x="498100" y="498311"/>
                        <a:pt x="482905" y="479181"/>
                        <a:pt x="482905" y="440923"/>
                      </a:cubicBezTo>
                      <a:close/>
                      <a:moveTo>
                        <a:pt x="2695561" y="364072"/>
                      </a:moveTo>
                      <a:cubicBezTo>
                        <a:pt x="2700332" y="364072"/>
                        <a:pt x="2704602" y="364826"/>
                        <a:pt x="2708369" y="366333"/>
                      </a:cubicBezTo>
                      <a:lnTo>
                        <a:pt x="2708369" y="378639"/>
                      </a:lnTo>
                      <a:cubicBezTo>
                        <a:pt x="2704518" y="375876"/>
                        <a:pt x="2699998" y="374495"/>
                        <a:pt x="2694807" y="374495"/>
                      </a:cubicBezTo>
                      <a:cubicBezTo>
                        <a:pt x="2684678" y="374495"/>
                        <a:pt x="2676180" y="379727"/>
                        <a:pt x="2669316" y="390192"/>
                      </a:cubicBezTo>
                      <a:cubicBezTo>
                        <a:pt x="2662451" y="400656"/>
                        <a:pt x="2659019" y="415516"/>
                        <a:pt x="2659019" y="434770"/>
                      </a:cubicBezTo>
                      <a:lnTo>
                        <a:pt x="2659019" y="495171"/>
                      </a:lnTo>
                      <a:lnTo>
                        <a:pt x="2647717" y="495171"/>
                      </a:lnTo>
                      <a:lnTo>
                        <a:pt x="2647717" y="366584"/>
                      </a:lnTo>
                      <a:lnTo>
                        <a:pt x="2659019" y="366584"/>
                      </a:lnTo>
                      <a:lnTo>
                        <a:pt x="2659019" y="395089"/>
                      </a:lnTo>
                      <a:lnTo>
                        <a:pt x="2659521" y="395089"/>
                      </a:lnTo>
                      <a:cubicBezTo>
                        <a:pt x="2662451" y="385294"/>
                        <a:pt x="2667097" y="377676"/>
                        <a:pt x="2673460" y="372235"/>
                      </a:cubicBezTo>
                      <a:cubicBezTo>
                        <a:pt x="2679822" y="366793"/>
                        <a:pt x="2687189" y="364072"/>
                        <a:pt x="2695561" y="364072"/>
                      </a:cubicBezTo>
                      <a:close/>
                      <a:moveTo>
                        <a:pt x="3006979" y="363444"/>
                      </a:moveTo>
                      <a:cubicBezTo>
                        <a:pt x="3018029" y="363444"/>
                        <a:pt x="3027489" y="365705"/>
                        <a:pt x="3035359" y="370225"/>
                      </a:cubicBezTo>
                      <a:lnTo>
                        <a:pt x="3035359" y="383285"/>
                      </a:lnTo>
                      <a:cubicBezTo>
                        <a:pt x="3025815" y="377090"/>
                        <a:pt x="3015936" y="373993"/>
                        <a:pt x="3005723" y="373993"/>
                      </a:cubicBezTo>
                      <a:cubicBezTo>
                        <a:pt x="2997268" y="373993"/>
                        <a:pt x="2990445" y="376190"/>
                        <a:pt x="2985255" y="380585"/>
                      </a:cubicBezTo>
                      <a:cubicBezTo>
                        <a:pt x="2980064" y="384980"/>
                        <a:pt x="2977469" y="390694"/>
                        <a:pt x="2977469" y="397726"/>
                      </a:cubicBezTo>
                      <a:cubicBezTo>
                        <a:pt x="2977469" y="403837"/>
                        <a:pt x="2979101" y="408797"/>
                        <a:pt x="2982366" y="412606"/>
                      </a:cubicBezTo>
                      <a:cubicBezTo>
                        <a:pt x="2985631" y="416416"/>
                        <a:pt x="2992831" y="420790"/>
                        <a:pt x="3003965" y="425729"/>
                      </a:cubicBezTo>
                      <a:cubicBezTo>
                        <a:pt x="3017360" y="431756"/>
                        <a:pt x="3026568" y="437345"/>
                        <a:pt x="3031591" y="442493"/>
                      </a:cubicBezTo>
                      <a:cubicBezTo>
                        <a:pt x="3036614" y="447642"/>
                        <a:pt x="3039126" y="454485"/>
                        <a:pt x="3039126" y="463024"/>
                      </a:cubicBezTo>
                      <a:cubicBezTo>
                        <a:pt x="3039126" y="473238"/>
                        <a:pt x="3035296" y="481672"/>
                        <a:pt x="3027636" y="488327"/>
                      </a:cubicBezTo>
                      <a:cubicBezTo>
                        <a:pt x="3019976" y="494983"/>
                        <a:pt x="3009407" y="498311"/>
                        <a:pt x="2995928" y="498311"/>
                      </a:cubicBezTo>
                      <a:cubicBezTo>
                        <a:pt x="2983538" y="498311"/>
                        <a:pt x="2973200" y="495381"/>
                        <a:pt x="2964912" y="489520"/>
                      </a:cubicBezTo>
                      <a:lnTo>
                        <a:pt x="2964912" y="475582"/>
                      </a:lnTo>
                      <a:cubicBezTo>
                        <a:pt x="2969265" y="479349"/>
                        <a:pt x="2974539" y="482321"/>
                        <a:pt x="2980734" y="484497"/>
                      </a:cubicBezTo>
                      <a:cubicBezTo>
                        <a:pt x="2986929" y="486674"/>
                        <a:pt x="2992287" y="487762"/>
                        <a:pt x="2996807" y="487762"/>
                      </a:cubicBezTo>
                      <a:cubicBezTo>
                        <a:pt x="3016983" y="487762"/>
                        <a:pt x="3027071" y="479516"/>
                        <a:pt x="3027071" y="463024"/>
                      </a:cubicBezTo>
                      <a:cubicBezTo>
                        <a:pt x="3027071" y="457332"/>
                        <a:pt x="3024852" y="452476"/>
                        <a:pt x="3020415" y="448458"/>
                      </a:cubicBezTo>
                      <a:cubicBezTo>
                        <a:pt x="3015978" y="444439"/>
                        <a:pt x="3008779" y="440295"/>
                        <a:pt x="2998817" y="436026"/>
                      </a:cubicBezTo>
                      <a:cubicBezTo>
                        <a:pt x="2986510" y="430668"/>
                        <a:pt x="2977867" y="425122"/>
                        <a:pt x="2972886" y="419387"/>
                      </a:cubicBezTo>
                      <a:cubicBezTo>
                        <a:pt x="2967905" y="413653"/>
                        <a:pt x="2965414" y="406684"/>
                        <a:pt x="2965414" y="398479"/>
                      </a:cubicBezTo>
                      <a:cubicBezTo>
                        <a:pt x="2965414" y="388015"/>
                        <a:pt x="2969411" y="379560"/>
                        <a:pt x="2977406" y="373114"/>
                      </a:cubicBezTo>
                      <a:cubicBezTo>
                        <a:pt x="2985401" y="366667"/>
                        <a:pt x="2995259" y="363444"/>
                        <a:pt x="3006979" y="363444"/>
                      </a:cubicBezTo>
                      <a:close/>
                      <a:moveTo>
                        <a:pt x="2886563" y="363444"/>
                      </a:moveTo>
                      <a:cubicBezTo>
                        <a:pt x="2902553" y="363444"/>
                        <a:pt x="2914817" y="369053"/>
                        <a:pt x="2923356" y="380271"/>
                      </a:cubicBezTo>
                      <a:cubicBezTo>
                        <a:pt x="2931895" y="391489"/>
                        <a:pt x="2936165" y="406809"/>
                        <a:pt x="2936165" y="426231"/>
                      </a:cubicBezTo>
                      <a:lnTo>
                        <a:pt x="2936165" y="431380"/>
                      </a:lnTo>
                      <a:lnTo>
                        <a:pt x="2840980" y="431380"/>
                      </a:lnTo>
                      <a:cubicBezTo>
                        <a:pt x="2840980" y="449044"/>
                        <a:pt x="2845061" y="462857"/>
                        <a:pt x="2853223" y="472819"/>
                      </a:cubicBezTo>
                      <a:cubicBezTo>
                        <a:pt x="2861385" y="482781"/>
                        <a:pt x="2872582" y="487762"/>
                        <a:pt x="2886814" y="487762"/>
                      </a:cubicBezTo>
                      <a:cubicBezTo>
                        <a:pt x="2901213" y="487762"/>
                        <a:pt x="2915277" y="482446"/>
                        <a:pt x="2929007" y="471814"/>
                      </a:cubicBezTo>
                      <a:lnTo>
                        <a:pt x="2929007" y="484121"/>
                      </a:lnTo>
                      <a:cubicBezTo>
                        <a:pt x="2915696" y="493581"/>
                        <a:pt x="2900837" y="498311"/>
                        <a:pt x="2884428" y="498311"/>
                      </a:cubicBezTo>
                      <a:cubicBezTo>
                        <a:pt x="2867852" y="498311"/>
                        <a:pt x="2854458" y="492367"/>
                        <a:pt x="2844245" y="480479"/>
                      </a:cubicBezTo>
                      <a:cubicBezTo>
                        <a:pt x="2834031" y="468591"/>
                        <a:pt x="2828925" y="451806"/>
                        <a:pt x="2828925" y="430124"/>
                      </a:cubicBezTo>
                      <a:cubicBezTo>
                        <a:pt x="2828925" y="411372"/>
                        <a:pt x="2834262" y="395570"/>
                        <a:pt x="2844935" y="382720"/>
                      </a:cubicBezTo>
                      <a:cubicBezTo>
                        <a:pt x="2855609" y="369870"/>
                        <a:pt x="2869485" y="363444"/>
                        <a:pt x="2886563" y="363444"/>
                      </a:cubicBezTo>
                      <a:close/>
                      <a:moveTo>
                        <a:pt x="2779170" y="363444"/>
                      </a:moveTo>
                      <a:cubicBezTo>
                        <a:pt x="2788965" y="363444"/>
                        <a:pt x="2798466" y="365454"/>
                        <a:pt x="2807675" y="369472"/>
                      </a:cubicBezTo>
                      <a:lnTo>
                        <a:pt x="2807675" y="382532"/>
                      </a:lnTo>
                      <a:cubicBezTo>
                        <a:pt x="2798466" y="376839"/>
                        <a:pt x="2788378" y="373993"/>
                        <a:pt x="2777412" y="373993"/>
                      </a:cubicBezTo>
                      <a:cubicBezTo>
                        <a:pt x="2762343" y="373993"/>
                        <a:pt x="2750120" y="379413"/>
                        <a:pt x="2740744" y="390254"/>
                      </a:cubicBezTo>
                      <a:cubicBezTo>
                        <a:pt x="2731368" y="401096"/>
                        <a:pt x="2726680" y="415139"/>
                        <a:pt x="2726680" y="432384"/>
                      </a:cubicBezTo>
                      <a:cubicBezTo>
                        <a:pt x="2726680" y="449044"/>
                        <a:pt x="2730970" y="462438"/>
                        <a:pt x="2739551" y="472568"/>
                      </a:cubicBezTo>
                      <a:cubicBezTo>
                        <a:pt x="2748132" y="482698"/>
                        <a:pt x="2759455" y="487762"/>
                        <a:pt x="2773519" y="487762"/>
                      </a:cubicBezTo>
                      <a:cubicBezTo>
                        <a:pt x="2786411" y="487762"/>
                        <a:pt x="2797629" y="484330"/>
                        <a:pt x="2807173" y="477465"/>
                      </a:cubicBezTo>
                      <a:lnTo>
                        <a:pt x="2807173" y="489520"/>
                      </a:lnTo>
                      <a:cubicBezTo>
                        <a:pt x="2797629" y="495381"/>
                        <a:pt x="2786244" y="498311"/>
                        <a:pt x="2773017" y="498311"/>
                      </a:cubicBezTo>
                      <a:cubicBezTo>
                        <a:pt x="2755520" y="498311"/>
                        <a:pt x="2741414" y="492304"/>
                        <a:pt x="2730698" y="480291"/>
                      </a:cubicBezTo>
                      <a:cubicBezTo>
                        <a:pt x="2719982" y="468278"/>
                        <a:pt x="2714625" y="452560"/>
                        <a:pt x="2714625" y="433138"/>
                      </a:cubicBezTo>
                      <a:cubicBezTo>
                        <a:pt x="2714625" y="412711"/>
                        <a:pt x="2720652" y="395989"/>
                        <a:pt x="2732707" y="382971"/>
                      </a:cubicBezTo>
                      <a:cubicBezTo>
                        <a:pt x="2744762" y="369953"/>
                        <a:pt x="2760250" y="363444"/>
                        <a:pt x="2779170" y="363444"/>
                      </a:cubicBezTo>
                      <a:close/>
                      <a:moveTo>
                        <a:pt x="2424485" y="363444"/>
                      </a:moveTo>
                      <a:cubicBezTo>
                        <a:pt x="2442819" y="363444"/>
                        <a:pt x="2457302" y="369430"/>
                        <a:pt x="2467934" y="381401"/>
                      </a:cubicBezTo>
                      <a:cubicBezTo>
                        <a:pt x="2478566" y="393373"/>
                        <a:pt x="2483882" y="409949"/>
                        <a:pt x="2483882" y="431129"/>
                      </a:cubicBezTo>
                      <a:cubicBezTo>
                        <a:pt x="2483882" y="451137"/>
                        <a:pt x="2478461" y="467336"/>
                        <a:pt x="2467620" y="479726"/>
                      </a:cubicBezTo>
                      <a:cubicBezTo>
                        <a:pt x="2456779" y="492116"/>
                        <a:pt x="2441940" y="498311"/>
                        <a:pt x="2423104" y="498311"/>
                      </a:cubicBezTo>
                      <a:cubicBezTo>
                        <a:pt x="2404352" y="498311"/>
                        <a:pt x="2389513" y="492137"/>
                        <a:pt x="2378588" y="479788"/>
                      </a:cubicBezTo>
                      <a:cubicBezTo>
                        <a:pt x="2367663" y="467440"/>
                        <a:pt x="2362201" y="451388"/>
                        <a:pt x="2362201" y="431631"/>
                      </a:cubicBezTo>
                      <a:cubicBezTo>
                        <a:pt x="2362201" y="410283"/>
                        <a:pt x="2367914" y="393582"/>
                        <a:pt x="2379341" y="381527"/>
                      </a:cubicBezTo>
                      <a:cubicBezTo>
                        <a:pt x="2390769" y="369472"/>
                        <a:pt x="2405817" y="363444"/>
                        <a:pt x="2424485" y="363444"/>
                      </a:cubicBezTo>
                      <a:close/>
                      <a:moveTo>
                        <a:pt x="2311654" y="363444"/>
                      </a:moveTo>
                      <a:cubicBezTo>
                        <a:pt x="2322705" y="363444"/>
                        <a:pt x="2332164" y="365705"/>
                        <a:pt x="2340034" y="370225"/>
                      </a:cubicBezTo>
                      <a:lnTo>
                        <a:pt x="2340034" y="383285"/>
                      </a:lnTo>
                      <a:cubicBezTo>
                        <a:pt x="2330490" y="377090"/>
                        <a:pt x="2320611" y="373993"/>
                        <a:pt x="2310398" y="373993"/>
                      </a:cubicBezTo>
                      <a:cubicBezTo>
                        <a:pt x="2301943" y="373993"/>
                        <a:pt x="2295120" y="376190"/>
                        <a:pt x="2289930" y="380585"/>
                      </a:cubicBezTo>
                      <a:cubicBezTo>
                        <a:pt x="2284740" y="384980"/>
                        <a:pt x="2282144" y="390694"/>
                        <a:pt x="2282144" y="397726"/>
                      </a:cubicBezTo>
                      <a:cubicBezTo>
                        <a:pt x="2282144" y="403837"/>
                        <a:pt x="2283777" y="408797"/>
                        <a:pt x="2287041" y="412606"/>
                      </a:cubicBezTo>
                      <a:cubicBezTo>
                        <a:pt x="2290307" y="416416"/>
                        <a:pt x="2297506" y="420790"/>
                        <a:pt x="2308640" y="425729"/>
                      </a:cubicBezTo>
                      <a:cubicBezTo>
                        <a:pt x="2322035" y="431756"/>
                        <a:pt x="2331244" y="437345"/>
                        <a:pt x="2336266" y="442493"/>
                      </a:cubicBezTo>
                      <a:cubicBezTo>
                        <a:pt x="2341289" y="447642"/>
                        <a:pt x="2343801" y="454485"/>
                        <a:pt x="2343801" y="463024"/>
                      </a:cubicBezTo>
                      <a:cubicBezTo>
                        <a:pt x="2343801" y="473238"/>
                        <a:pt x="2339971" y="481672"/>
                        <a:pt x="2332311" y="488327"/>
                      </a:cubicBezTo>
                      <a:cubicBezTo>
                        <a:pt x="2324651" y="494983"/>
                        <a:pt x="2314082" y="498311"/>
                        <a:pt x="2300604" y="498311"/>
                      </a:cubicBezTo>
                      <a:cubicBezTo>
                        <a:pt x="2288213" y="498311"/>
                        <a:pt x="2277875" y="495381"/>
                        <a:pt x="2269587" y="489520"/>
                      </a:cubicBezTo>
                      <a:lnTo>
                        <a:pt x="2269587" y="475582"/>
                      </a:lnTo>
                      <a:cubicBezTo>
                        <a:pt x="2273940" y="479349"/>
                        <a:pt x="2279214" y="482321"/>
                        <a:pt x="2285409" y="484497"/>
                      </a:cubicBezTo>
                      <a:cubicBezTo>
                        <a:pt x="2291604" y="486674"/>
                        <a:pt x="2296962" y="487762"/>
                        <a:pt x="2301483" y="487762"/>
                      </a:cubicBezTo>
                      <a:cubicBezTo>
                        <a:pt x="2321658" y="487762"/>
                        <a:pt x="2331746" y="479516"/>
                        <a:pt x="2331746" y="463024"/>
                      </a:cubicBezTo>
                      <a:cubicBezTo>
                        <a:pt x="2331746" y="457332"/>
                        <a:pt x="2329527" y="452476"/>
                        <a:pt x="2325090" y="448458"/>
                      </a:cubicBezTo>
                      <a:cubicBezTo>
                        <a:pt x="2320654" y="444439"/>
                        <a:pt x="2313454" y="440295"/>
                        <a:pt x="2303492" y="436026"/>
                      </a:cubicBezTo>
                      <a:cubicBezTo>
                        <a:pt x="2291186" y="430668"/>
                        <a:pt x="2282542" y="425122"/>
                        <a:pt x="2277561" y="419387"/>
                      </a:cubicBezTo>
                      <a:cubicBezTo>
                        <a:pt x="2272580" y="413653"/>
                        <a:pt x="2270089" y="406684"/>
                        <a:pt x="2270089" y="398479"/>
                      </a:cubicBezTo>
                      <a:cubicBezTo>
                        <a:pt x="2270089" y="388015"/>
                        <a:pt x="2274087" y="379560"/>
                        <a:pt x="2282081" y="373114"/>
                      </a:cubicBezTo>
                      <a:cubicBezTo>
                        <a:pt x="2290076" y="366667"/>
                        <a:pt x="2299934" y="363444"/>
                        <a:pt x="2311654" y="363444"/>
                      </a:cubicBezTo>
                      <a:close/>
                      <a:moveTo>
                        <a:pt x="2132582" y="363444"/>
                      </a:moveTo>
                      <a:cubicBezTo>
                        <a:pt x="2145809" y="363444"/>
                        <a:pt x="2156044" y="367546"/>
                        <a:pt x="2163285" y="375751"/>
                      </a:cubicBezTo>
                      <a:cubicBezTo>
                        <a:pt x="2170527" y="383955"/>
                        <a:pt x="2174147" y="395884"/>
                        <a:pt x="2174147" y="411539"/>
                      </a:cubicBezTo>
                      <a:lnTo>
                        <a:pt x="2174147" y="495171"/>
                      </a:lnTo>
                      <a:lnTo>
                        <a:pt x="2162594" y="495171"/>
                      </a:lnTo>
                      <a:lnTo>
                        <a:pt x="2162594" y="469429"/>
                      </a:lnTo>
                      <a:lnTo>
                        <a:pt x="2162092" y="469429"/>
                      </a:lnTo>
                      <a:cubicBezTo>
                        <a:pt x="2157990" y="478219"/>
                        <a:pt x="2152025" y="485230"/>
                        <a:pt x="2144198" y="490462"/>
                      </a:cubicBezTo>
                      <a:cubicBezTo>
                        <a:pt x="2136371" y="495694"/>
                        <a:pt x="2127685" y="498311"/>
                        <a:pt x="2118141" y="498311"/>
                      </a:cubicBezTo>
                      <a:cubicBezTo>
                        <a:pt x="2105919" y="498311"/>
                        <a:pt x="2096250" y="494878"/>
                        <a:pt x="2089134" y="488014"/>
                      </a:cubicBezTo>
                      <a:cubicBezTo>
                        <a:pt x="2082018" y="481149"/>
                        <a:pt x="2078460" y="472484"/>
                        <a:pt x="2078460" y="462020"/>
                      </a:cubicBezTo>
                      <a:cubicBezTo>
                        <a:pt x="2078460" y="439584"/>
                        <a:pt x="2093320" y="426022"/>
                        <a:pt x="2123039" y="421334"/>
                      </a:cubicBezTo>
                      <a:lnTo>
                        <a:pt x="2162594" y="415432"/>
                      </a:lnTo>
                      <a:cubicBezTo>
                        <a:pt x="2162594" y="387806"/>
                        <a:pt x="2152213" y="373993"/>
                        <a:pt x="2131452" y="373993"/>
                      </a:cubicBezTo>
                      <a:cubicBezTo>
                        <a:pt x="2117304" y="373993"/>
                        <a:pt x="2103533" y="379685"/>
                        <a:pt x="2090138" y="391071"/>
                      </a:cubicBezTo>
                      <a:lnTo>
                        <a:pt x="2090138" y="377132"/>
                      </a:lnTo>
                      <a:cubicBezTo>
                        <a:pt x="2094910" y="373365"/>
                        <a:pt x="2101377" y="370142"/>
                        <a:pt x="2109540" y="367463"/>
                      </a:cubicBezTo>
                      <a:cubicBezTo>
                        <a:pt x="2117702" y="364784"/>
                        <a:pt x="2125383" y="363444"/>
                        <a:pt x="2132582" y="363444"/>
                      </a:cubicBezTo>
                      <a:close/>
                      <a:moveTo>
                        <a:pt x="1932557" y="363444"/>
                      </a:moveTo>
                      <a:cubicBezTo>
                        <a:pt x="1945784" y="363444"/>
                        <a:pt x="1956019" y="367546"/>
                        <a:pt x="1963260" y="375751"/>
                      </a:cubicBezTo>
                      <a:cubicBezTo>
                        <a:pt x="1970501" y="383955"/>
                        <a:pt x="1974122" y="395884"/>
                        <a:pt x="1974122" y="411539"/>
                      </a:cubicBezTo>
                      <a:lnTo>
                        <a:pt x="1974122" y="495171"/>
                      </a:lnTo>
                      <a:lnTo>
                        <a:pt x="1962569" y="495171"/>
                      </a:lnTo>
                      <a:lnTo>
                        <a:pt x="1962569" y="469429"/>
                      </a:lnTo>
                      <a:lnTo>
                        <a:pt x="1962067" y="469429"/>
                      </a:lnTo>
                      <a:cubicBezTo>
                        <a:pt x="1957965" y="478219"/>
                        <a:pt x="1952000" y="485230"/>
                        <a:pt x="1944173" y="490462"/>
                      </a:cubicBezTo>
                      <a:cubicBezTo>
                        <a:pt x="1936345" y="495694"/>
                        <a:pt x="1927660" y="498311"/>
                        <a:pt x="1918116" y="498311"/>
                      </a:cubicBezTo>
                      <a:cubicBezTo>
                        <a:pt x="1905894" y="498311"/>
                        <a:pt x="1896225" y="494878"/>
                        <a:pt x="1889109" y="488014"/>
                      </a:cubicBezTo>
                      <a:cubicBezTo>
                        <a:pt x="1881993" y="481149"/>
                        <a:pt x="1878435" y="472484"/>
                        <a:pt x="1878435" y="462020"/>
                      </a:cubicBezTo>
                      <a:cubicBezTo>
                        <a:pt x="1878435" y="439584"/>
                        <a:pt x="1893295" y="426022"/>
                        <a:pt x="1923014" y="421334"/>
                      </a:cubicBezTo>
                      <a:lnTo>
                        <a:pt x="1962569" y="415432"/>
                      </a:lnTo>
                      <a:cubicBezTo>
                        <a:pt x="1962569" y="387806"/>
                        <a:pt x="1952189" y="373993"/>
                        <a:pt x="1931427" y="373993"/>
                      </a:cubicBezTo>
                      <a:cubicBezTo>
                        <a:pt x="1917279" y="373993"/>
                        <a:pt x="1903508" y="379685"/>
                        <a:pt x="1890113" y="391071"/>
                      </a:cubicBezTo>
                      <a:lnTo>
                        <a:pt x="1890113" y="377132"/>
                      </a:lnTo>
                      <a:cubicBezTo>
                        <a:pt x="1894885" y="373365"/>
                        <a:pt x="1901352" y="370142"/>
                        <a:pt x="1909514" y="367463"/>
                      </a:cubicBezTo>
                      <a:cubicBezTo>
                        <a:pt x="1917677" y="364784"/>
                        <a:pt x="1925358" y="363444"/>
                        <a:pt x="1932557" y="363444"/>
                      </a:cubicBezTo>
                      <a:close/>
                      <a:moveTo>
                        <a:pt x="654304" y="363444"/>
                      </a:moveTo>
                      <a:cubicBezTo>
                        <a:pt x="665354" y="363444"/>
                        <a:pt x="674814" y="365705"/>
                        <a:pt x="682684" y="370225"/>
                      </a:cubicBezTo>
                      <a:lnTo>
                        <a:pt x="682684" y="383285"/>
                      </a:lnTo>
                      <a:cubicBezTo>
                        <a:pt x="673140" y="377090"/>
                        <a:pt x="663262" y="373993"/>
                        <a:pt x="653048" y="373993"/>
                      </a:cubicBezTo>
                      <a:cubicBezTo>
                        <a:pt x="644593" y="373993"/>
                        <a:pt x="637770" y="376190"/>
                        <a:pt x="632580" y="380585"/>
                      </a:cubicBezTo>
                      <a:cubicBezTo>
                        <a:pt x="627389" y="384980"/>
                        <a:pt x="624794" y="390694"/>
                        <a:pt x="624794" y="397726"/>
                      </a:cubicBezTo>
                      <a:cubicBezTo>
                        <a:pt x="624794" y="403837"/>
                        <a:pt x="626427" y="408797"/>
                        <a:pt x="629692" y="412606"/>
                      </a:cubicBezTo>
                      <a:cubicBezTo>
                        <a:pt x="632956" y="416416"/>
                        <a:pt x="640156" y="420790"/>
                        <a:pt x="651290" y="425729"/>
                      </a:cubicBezTo>
                      <a:cubicBezTo>
                        <a:pt x="664685" y="431756"/>
                        <a:pt x="673894" y="437345"/>
                        <a:pt x="678917" y="442493"/>
                      </a:cubicBezTo>
                      <a:cubicBezTo>
                        <a:pt x="683939" y="447642"/>
                        <a:pt x="686451" y="454485"/>
                        <a:pt x="686451" y="463024"/>
                      </a:cubicBezTo>
                      <a:cubicBezTo>
                        <a:pt x="686451" y="473238"/>
                        <a:pt x="682621" y="481672"/>
                        <a:pt x="674961" y="488327"/>
                      </a:cubicBezTo>
                      <a:cubicBezTo>
                        <a:pt x="667301" y="494983"/>
                        <a:pt x="656732" y="498311"/>
                        <a:pt x="643253" y="498311"/>
                      </a:cubicBezTo>
                      <a:cubicBezTo>
                        <a:pt x="630864" y="498311"/>
                        <a:pt x="620525" y="495381"/>
                        <a:pt x="612237" y="489520"/>
                      </a:cubicBezTo>
                      <a:lnTo>
                        <a:pt x="612237" y="475582"/>
                      </a:lnTo>
                      <a:cubicBezTo>
                        <a:pt x="616590" y="479349"/>
                        <a:pt x="621864" y="482321"/>
                        <a:pt x="628059" y="484497"/>
                      </a:cubicBezTo>
                      <a:cubicBezTo>
                        <a:pt x="634254" y="486674"/>
                        <a:pt x="639612" y="487762"/>
                        <a:pt x="644133" y="487762"/>
                      </a:cubicBezTo>
                      <a:cubicBezTo>
                        <a:pt x="664308" y="487762"/>
                        <a:pt x="674396" y="479516"/>
                        <a:pt x="674396" y="463024"/>
                      </a:cubicBezTo>
                      <a:cubicBezTo>
                        <a:pt x="674396" y="457332"/>
                        <a:pt x="672177" y="452476"/>
                        <a:pt x="667740" y="448458"/>
                      </a:cubicBezTo>
                      <a:cubicBezTo>
                        <a:pt x="663303" y="444439"/>
                        <a:pt x="656104" y="440295"/>
                        <a:pt x="646142" y="436026"/>
                      </a:cubicBezTo>
                      <a:cubicBezTo>
                        <a:pt x="633835" y="430668"/>
                        <a:pt x="625192" y="425122"/>
                        <a:pt x="620211" y="419387"/>
                      </a:cubicBezTo>
                      <a:cubicBezTo>
                        <a:pt x="615230" y="413653"/>
                        <a:pt x="612739" y="406684"/>
                        <a:pt x="612739" y="398479"/>
                      </a:cubicBezTo>
                      <a:cubicBezTo>
                        <a:pt x="612739" y="388015"/>
                        <a:pt x="616737" y="379560"/>
                        <a:pt x="624731" y="373114"/>
                      </a:cubicBezTo>
                      <a:cubicBezTo>
                        <a:pt x="632726" y="366667"/>
                        <a:pt x="642584" y="363444"/>
                        <a:pt x="654304" y="363444"/>
                      </a:cubicBezTo>
                      <a:close/>
                      <a:moveTo>
                        <a:pt x="425704" y="363444"/>
                      </a:moveTo>
                      <a:cubicBezTo>
                        <a:pt x="436754" y="363444"/>
                        <a:pt x="446214" y="365705"/>
                        <a:pt x="454084" y="370225"/>
                      </a:cubicBezTo>
                      <a:lnTo>
                        <a:pt x="454084" y="383285"/>
                      </a:lnTo>
                      <a:cubicBezTo>
                        <a:pt x="444540" y="377090"/>
                        <a:pt x="434662" y="373993"/>
                        <a:pt x="424448" y="373993"/>
                      </a:cubicBezTo>
                      <a:cubicBezTo>
                        <a:pt x="415993" y="373993"/>
                        <a:pt x="409170" y="376190"/>
                        <a:pt x="403980" y="380585"/>
                      </a:cubicBezTo>
                      <a:cubicBezTo>
                        <a:pt x="398789" y="384980"/>
                        <a:pt x="396194" y="390694"/>
                        <a:pt x="396194" y="397726"/>
                      </a:cubicBezTo>
                      <a:cubicBezTo>
                        <a:pt x="396194" y="403837"/>
                        <a:pt x="397827" y="408797"/>
                        <a:pt x="401092" y="412606"/>
                      </a:cubicBezTo>
                      <a:cubicBezTo>
                        <a:pt x="404356" y="416416"/>
                        <a:pt x="411556" y="420790"/>
                        <a:pt x="422690" y="425729"/>
                      </a:cubicBezTo>
                      <a:cubicBezTo>
                        <a:pt x="436085" y="431756"/>
                        <a:pt x="445293" y="437345"/>
                        <a:pt x="450316" y="442493"/>
                      </a:cubicBezTo>
                      <a:cubicBezTo>
                        <a:pt x="455339" y="447642"/>
                        <a:pt x="457851" y="454485"/>
                        <a:pt x="457851" y="463024"/>
                      </a:cubicBezTo>
                      <a:cubicBezTo>
                        <a:pt x="457851" y="473238"/>
                        <a:pt x="454021" y="481672"/>
                        <a:pt x="446361" y="488327"/>
                      </a:cubicBezTo>
                      <a:cubicBezTo>
                        <a:pt x="438701" y="494983"/>
                        <a:pt x="428132" y="498311"/>
                        <a:pt x="414653" y="498311"/>
                      </a:cubicBezTo>
                      <a:cubicBezTo>
                        <a:pt x="402264" y="498311"/>
                        <a:pt x="391925" y="495381"/>
                        <a:pt x="383637" y="489520"/>
                      </a:cubicBezTo>
                      <a:lnTo>
                        <a:pt x="383637" y="475582"/>
                      </a:lnTo>
                      <a:cubicBezTo>
                        <a:pt x="387990" y="479349"/>
                        <a:pt x="393264" y="482321"/>
                        <a:pt x="399459" y="484497"/>
                      </a:cubicBezTo>
                      <a:cubicBezTo>
                        <a:pt x="405654" y="486674"/>
                        <a:pt x="411012" y="487762"/>
                        <a:pt x="415533" y="487762"/>
                      </a:cubicBezTo>
                      <a:cubicBezTo>
                        <a:pt x="435708" y="487762"/>
                        <a:pt x="445796" y="479516"/>
                        <a:pt x="445796" y="463024"/>
                      </a:cubicBezTo>
                      <a:cubicBezTo>
                        <a:pt x="445796" y="457332"/>
                        <a:pt x="443577" y="452476"/>
                        <a:pt x="439140" y="448458"/>
                      </a:cubicBezTo>
                      <a:cubicBezTo>
                        <a:pt x="434703" y="444439"/>
                        <a:pt x="427504" y="440295"/>
                        <a:pt x="417542" y="436026"/>
                      </a:cubicBezTo>
                      <a:cubicBezTo>
                        <a:pt x="405235" y="430668"/>
                        <a:pt x="396592" y="425122"/>
                        <a:pt x="391611" y="419387"/>
                      </a:cubicBezTo>
                      <a:cubicBezTo>
                        <a:pt x="386630" y="413653"/>
                        <a:pt x="384139" y="406684"/>
                        <a:pt x="384139" y="398479"/>
                      </a:cubicBezTo>
                      <a:cubicBezTo>
                        <a:pt x="384139" y="388015"/>
                        <a:pt x="388137" y="379560"/>
                        <a:pt x="396131" y="373114"/>
                      </a:cubicBezTo>
                      <a:cubicBezTo>
                        <a:pt x="404126" y="366667"/>
                        <a:pt x="413984" y="363444"/>
                        <a:pt x="425704" y="363444"/>
                      </a:cubicBezTo>
                      <a:close/>
                      <a:moveTo>
                        <a:pt x="312948" y="363444"/>
                      </a:moveTo>
                      <a:cubicBezTo>
                        <a:pt x="326845" y="363444"/>
                        <a:pt x="337477" y="368070"/>
                        <a:pt x="344844" y="377320"/>
                      </a:cubicBezTo>
                      <a:cubicBezTo>
                        <a:pt x="352211" y="386571"/>
                        <a:pt x="355894" y="399777"/>
                        <a:pt x="355894" y="416939"/>
                      </a:cubicBezTo>
                      <a:lnTo>
                        <a:pt x="355894" y="495171"/>
                      </a:lnTo>
                      <a:lnTo>
                        <a:pt x="344342" y="495171"/>
                      </a:lnTo>
                      <a:lnTo>
                        <a:pt x="344342" y="420329"/>
                      </a:lnTo>
                      <a:cubicBezTo>
                        <a:pt x="344342" y="389438"/>
                        <a:pt x="333207" y="373993"/>
                        <a:pt x="310939" y="373993"/>
                      </a:cubicBezTo>
                      <a:cubicBezTo>
                        <a:pt x="298549" y="373993"/>
                        <a:pt x="288377" y="378534"/>
                        <a:pt x="280424" y="387617"/>
                      </a:cubicBezTo>
                      <a:cubicBezTo>
                        <a:pt x="272472" y="396700"/>
                        <a:pt x="268495" y="407939"/>
                        <a:pt x="268495" y="421334"/>
                      </a:cubicBezTo>
                      <a:lnTo>
                        <a:pt x="268495" y="495171"/>
                      </a:lnTo>
                      <a:lnTo>
                        <a:pt x="256942" y="495171"/>
                      </a:lnTo>
                      <a:lnTo>
                        <a:pt x="256942" y="366584"/>
                      </a:lnTo>
                      <a:lnTo>
                        <a:pt x="268495" y="366584"/>
                      </a:lnTo>
                      <a:lnTo>
                        <a:pt x="268495" y="389940"/>
                      </a:lnTo>
                      <a:lnTo>
                        <a:pt x="268997" y="389940"/>
                      </a:lnTo>
                      <a:cubicBezTo>
                        <a:pt x="278373" y="372276"/>
                        <a:pt x="293024" y="363444"/>
                        <a:pt x="312948" y="363444"/>
                      </a:cubicBezTo>
                      <a:close/>
                      <a:moveTo>
                        <a:pt x="171938" y="363444"/>
                      </a:moveTo>
                      <a:cubicBezTo>
                        <a:pt x="187928" y="363444"/>
                        <a:pt x="200192" y="369053"/>
                        <a:pt x="208731" y="380271"/>
                      </a:cubicBezTo>
                      <a:cubicBezTo>
                        <a:pt x="217270" y="391489"/>
                        <a:pt x="221540" y="406809"/>
                        <a:pt x="221540" y="426231"/>
                      </a:cubicBezTo>
                      <a:lnTo>
                        <a:pt x="221540" y="431380"/>
                      </a:lnTo>
                      <a:lnTo>
                        <a:pt x="126355" y="431380"/>
                      </a:lnTo>
                      <a:cubicBezTo>
                        <a:pt x="126355" y="449044"/>
                        <a:pt x="130436" y="462857"/>
                        <a:pt x="138598" y="472819"/>
                      </a:cubicBezTo>
                      <a:cubicBezTo>
                        <a:pt x="146761" y="482781"/>
                        <a:pt x="157958" y="487762"/>
                        <a:pt x="172189" y="487762"/>
                      </a:cubicBezTo>
                      <a:cubicBezTo>
                        <a:pt x="186588" y="487762"/>
                        <a:pt x="200653" y="482446"/>
                        <a:pt x="214382" y="471814"/>
                      </a:cubicBezTo>
                      <a:lnTo>
                        <a:pt x="214382" y="484121"/>
                      </a:lnTo>
                      <a:cubicBezTo>
                        <a:pt x="201071" y="493581"/>
                        <a:pt x="186212" y="498311"/>
                        <a:pt x="169803" y="498311"/>
                      </a:cubicBezTo>
                      <a:cubicBezTo>
                        <a:pt x="153228" y="498311"/>
                        <a:pt x="139833" y="492367"/>
                        <a:pt x="129620" y="480479"/>
                      </a:cubicBezTo>
                      <a:cubicBezTo>
                        <a:pt x="119406" y="468591"/>
                        <a:pt x="114300" y="451806"/>
                        <a:pt x="114300" y="430124"/>
                      </a:cubicBezTo>
                      <a:cubicBezTo>
                        <a:pt x="114300" y="411372"/>
                        <a:pt x="119637" y="395570"/>
                        <a:pt x="130310" y="382720"/>
                      </a:cubicBezTo>
                      <a:cubicBezTo>
                        <a:pt x="140984" y="369870"/>
                        <a:pt x="154860" y="363444"/>
                        <a:pt x="171938" y="363444"/>
                      </a:cubicBezTo>
                      <a:close/>
                      <a:moveTo>
                        <a:pt x="64545" y="363444"/>
                      </a:moveTo>
                      <a:cubicBezTo>
                        <a:pt x="74339" y="363444"/>
                        <a:pt x="83841" y="365454"/>
                        <a:pt x="93050" y="369472"/>
                      </a:cubicBezTo>
                      <a:lnTo>
                        <a:pt x="93050" y="382532"/>
                      </a:lnTo>
                      <a:cubicBezTo>
                        <a:pt x="83841" y="376839"/>
                        <a:pt x="73753" y="373993"/>
                        <a:pt x="62787" y="373993"/>
                      </a:cubicBezTo>
                      <a:cubicBezTo>
                        <a:pt x="47718" y="373993"/>
                        <a:pt x="35495" y="379413"/>
                        <a:pt x="26119" y="390254"/>
                      </a:cubicBezTo>
                      <a:cubicBezTo>
                        <a:pt x="16743" y="401096"/>
                        <a:pt x="12055" y="415139"/>
                        <a:pt x="12055" y="432384"/>
                      </a:cubicBezTo>
                      <a:cubicBezTo>
                        <a:pt x="12055" y="449044"/>
                        <a:pt x="16346" y="462438"/>
                        <a:pt x="24926" y="472568"/>
                      </a:cubicBezTo>
                      <a:cubicBezTo>
                        <a:pt x="33507" y="482698"/>
                        <a:pt x="44830" y="487762"/>
                        <a:pt x="58894" y="487762"/>
                      </a:cubicBezTo>
                      <a:cubicBezTo>
                        <a:pt x="71786" y="487762"/>
                        <a:pt x="83004" y="484330"/>
                        <a:pt x="92548" y="477465"/>
                      </a:cubicBezTo>
                      <a:lnTo>
                        <a:pt x="92548" y="489520"/>
                      </a:lnTo>
                      <a:cubicBezTo>
                        <a:pt x="83004" y="495381"/>
                        <a:pt x="71619" y="498311"/>
                        <a:pt x="58392" y="498311"/>
                      </a:cubicBezTo>
                      <a:cubicBezTo>
                        <a:pt x="40895" y="498311"/>
                        <a:pt x="26789" y="492304"/>
                        <a:pt x="16073" y="480291"/>
                      </a:cubicBezTo>
                      <a:cubicBezTo>
                        <a:pt x="5358" y="468278"/>
                        <a:pt x="0" y="452560"/>
                        <a:pt x="0" y="433138"/>
                      </a:cubicBezTo>
                      <a:cubicBezTo>
                        <a:pt x="0" y="412711"/>
                        <a:pt x="6027" y="395989"/>
                        <a:pt x="18082" y="382971"/>
                      </a:cubicBezTo>
                      <a:cubicBezTo>
                        <a:pt x="30137" y="369953"/>
                        <a:pt x="45625" y="363444"/>
                        <a:pt x="64545" y="363444"/>
                      </a:cubicBezTo>
                      <a:close/>
                      <a:moveTo>
                        <a:pt x="1544795" y="363443"/>
                      </a:moveTo>
                      <a:cubicBezTo>
                        <a:pt x="1563715" y="363443"/>
                        <a:pt x="1577444" y="371271"/>
                        <a:pt x="1585983" y="386926"/>
                      </a:cubicBezTo>
                      <a:lnTo>
                        <a:pt x="1586485" y="386926"/>
                      </a:lnTo>
                      <a:lnTo>
                        <a:pt x="1586485" y="366583"/>
                      </a:lnTo>
                      <a:lnTo>
                        <a:pt x="1598038" y="366583"/>
                      </a:lnTo>
                      <a:lnTo>
                        <a:pt x="1598038" y="485627"/>
                      </a:lnTo>
                      <a:cubicBezTo>
                        <a:pt x="1598038" y="509821"/>
                        <a:pt x="1592764" y="527526"/>
                        <a:pt x="1582216" y="538744"/>
                      </a:cubicBezTo>
                      <a:cubicBezTo>
                        <a:pt x="1571668" y="549962"/>
                        <a:pt x="1555259" y="555571"/>
                        <a:pt x="1532991" y="555571"/>
                      </a:cubicBezTo>
                      <a:cubicBezTo>
                        <a:pt x="1520601" y="555571"/>
                        <a:pt x="1507834" y="552306"/>
                        <a:pt x="1494691" y="545776"/>
                      </a:cubicBezTo>
                      <a:lnTo>
                        <a:pt x="1494691" y="533721"/>
                      </a:lnTo>
                      <a:cubicBezTo>
                        <a:pt x="1508253" y="541256"/>
                        <a:pt x="1521103" y="545023"/>
                        <a:pt x="1533242" y="545023"/>
                      </a:cubicBezTo>
                      <a:cubicBezTo>
                        <a:pt x="1568738" y="545023"/>
                        <a:pt x="1586485" y="526271"/>
                        <a:pt x="1586485" y="488766"/>
                      </a:cubicBezTo>
                      <a:lnTo>
                        <a:pt x="1586485" y="472065"/>
                      </a:lnTo>
                      <a:lnTo>
                        <a:pt x="1585983" y="472065"/>
                      </a:lnTo>
                      <a:cubicBezTo>
                        <a:pt x="1575853" y="489561"/>
                        <a:pt x="1560408" y="498310"/>
                        <a:pt x="1539646" y="498310"/>
                      </a:cubicBezTo>
                      <a:cubicBezTo>
                        <a:pt x="1523824" y="498310"/>
                        <a:pt x="1510911" y="492575"/>
                        <a:pt x="1500907" y="481106"/>
                      </a:cubicBezTo>
                      <a:cubicBezTo>
                        <a:pt x="1490903" y="469637"/>
                        <a:pt x="1485901" y="453647"/>
                        <a:pt x="1485901" y="433137"/>
                      </a:cubicBezTo>
                      <a:cubicBezTo>
                        <a:pt x="1485901" y="412626"/>
                        <a:pt x="1491300" y="395883"/>
                        <a:pt x="1502100" y="382907"/>
                      </a:cubicBezTo>
                      <a:cubicBezTo>
                        <a:pt x="1512899" y="369931"/>
                        <a:pt x="1527131" y="363443"/>
                        <a:pt x="1544795" y="363443"/>
                      </a:cubicBezTo>
                      <a:close/>
                      <a:moveTo>
                        <a:pt x="2026495" y="329288"/>
                      </a:moveTo>
                      <a:lnTo>
                        <a:pt x="2026495" y="366584"/>
                      </a:lnTo>
                      <a:lnTo>
                        <a:pt x="2060400" y="366584"/>
                      </a:lnTo>
                      <a:lnTo>
                        <a:pt x="2060400" y="377132"/>
                      </a:lnTo>
                      <a:lnTo>
                        <a:pt x="2026495" y="377132"/>
                      </a:lnTo>
                      <a:lnTo>
                        <a:pt x="2026495" y="462020"/>
                      </a:lnTo>
                      <a:cubicBezTo>
                        <a:pt x="2026495" y="470894"/>
                        <a:pt x="2027897" y="477319"/>
                        <a:pt x="2030701" y="481295"/>
                      </a:cubicBezTo>
                      <a:cubicBezTo>
                        <a:pt x="2033506" y="485272"/>
                        <a:pt x="2038257" y="487260"/>
                        <a:pt x="2044954" y="487260"/>
                      </a:cubicBezTo>
                      <a:cubicBezTo>
                        <a:pt x="2049726" y="487260"/>
                        <a:pt x="2054874" y="485711"/>
                        <a:pt x="2060400" y="482614"/>
                      </a:cubicBezTo>
                      <a:lnTo>
                        <a:pt x="2060400" y="493413"/>
                      </a:lnTo>
                      <a:cubicBezTo>
                        <a:pt x="2054372" y="496260"/>
                        <a:pt x="2048721" y="497683"/>
                        <a:pt x="2043447" y="497683"/>
                      </a:cubicBezTo>
                      <a:cubicBezTo>
                        <a:pt x="2024444" y="497683"/>
                        <a:pt x="2014942" y="486297"/>
                        <a:pt x="2014942" y="463527"/>
                      </a:cubicBezTo>
                      <a:lnTo>
                        <a:pt x="2014942" y="377132"/>
                      </a:lnTo>
                      <a:lnTo>
                        <a:pt x="1991836" y="377132"/>
                      </a:lnTo>
                      <a:lnTo>
                        <a:pt x="1991836" y="366584"/>
                      </a:lnTo>
                      <a:lnTo>
                        <a:pt x="2014942" y="366584"/>
                      </a:lnTo>
                      <a:lnTo>
                        <a:pt x="2014942" y="333181"/>
                      </a:lnTo>
                      <a:cubicBezTo>
                        <a:pt x="2016784" y="332511"/>
                        <a:pt x="2018709" y="331842"/>
                        <a:pt x="2020718" y="331172"/>
                      </a:cubicBezTo>
                      <a:cubicBezTo>
                        <a:pt x="2022727" y="330586"/>
                        <a:pt x="2024653" y="329958"/>
                        <a:pt x="2026495" y="329288"/>
                      </a:cubicBezTo>
                      <a:close/>
                      <a:moveTo>
                        <a:pt x="1035895" y="329288"/>
                      </a:moveTo>
                      <a:lnTo>
                        <a:pt x="1035895" y="366584"/>
                      </a:lnTo>
                      <a:lnTo>
                        <a:pt x="1069800" y="366584"/>
                      </a:lnTo>
                      <a:lnTo>
                        <a:pt x="1069800" y="377132"/>
                      </a:lnTo>
                      <a:lnTo>
                        <a:pt x="1035895" y="377132"/>
                      </a:lnTo>
                      <a:lnTo>
                        <a:pt x="1035895" y="462020"/>
                      </a:lnTo>
                      <a:cubicBezTo>
                        <a:pt x="1035895" y="470894"/>
                        <a:pt x="1037298" y="477319"/>
                        <a:pt x="1040102" y="481295"/>
                      </a:cubicBezTo>
                      <a:cubicBezTo>
                        <a:pt x="1042907" y="485272"/>
                        <a:pt x="1047658" y="487260"/>
                        <a:pt x="1054355" y="487260"/>
                      </a:cubicBezTo>
                      <a:cubicBezTo>
                        <a:pt x="1059127" y="487260"/>
                        <a:pt x="1064275" y="485711"/>
                        <a:pt x="1069800" y="482614"/>
                      </a:cubicBezTo>
                      <a:lnTo>
                        <a:pt x="1069800" y="493413"/>
                      </a:lnTo>
                      <a:cubicBezTo>
                        <a:pt x="1063773" y="496260"/>
                        <a:pt x="1058122" y="497683"/>
                        <a:pt x="1052848" y="497683"/>
                      </a:cubicBezTo>
                      <a:cubicBezTo>
                        <a:pt x="1033845" y="497683"/>
                        <a:pt x="1024343" y="486297"/>
                        <a:pt x="1024343" y="463527"/>
                      </a:cubicBezTo>
                      <a:lnTo>
                        <a:pt x="1024343" y="377132"/>
                      </a:lnTo>
                      <a:lnTo>
                        <a:pt x="1001237" y="377132"/>
                      </a:lnTo>
                      <a:lnTo>
                        <a:pt x="1001237" y="366584"/>
                      </a:lnTo>
                      <a:lnTo>
                        <a:pt x="1024343" y="366584"/>
                      </a:lnTo>
                      <a:lnTo>
                        <a:pt x="1024343" y="333181"/>
                      </a:lnTo>
                      <a:cubicBezTo>
                        <a:pt x="1026185" y="332511"/>
                        <a:pt x="1028110" y="331842"/>
                        <a:pt x="1030119" y="331172"/>
                      </a:cubicBezTo>
                      <a:cubicBezTo>
                        <a:pt x="1032128" y="330586"/>
                        <a:pt x="1034054" y="329958"/>
                        <a:pt x="1035895" y="329288"/>
                      </a:cubicBezTo>
                      <a:close/>
                      <a:moveTo>
                        <a:pt x="1443694" y="315097"/>
                      </a:moveTo>
                      <a:cubicBezTo>
                        <a:pt x="1446289" y="315097"/>
                        <a:pt x="1448571" y="315935"/>
                        <a:pt x="1450538" y="317609"/>
                      </a:cubicBezTo>
                      <a:cubicBezTo>
                        <a:pt x="1452505" y="319283"/>
                        <a:pt x="1453489" y="321544"/>
                        <a:pt x="1453489" y="324390"/>
                      </a:cubicBezTo>
                      <a:cubicBezTo>
                        <a:pt x="1453489" y="327069"/>
                        <a:pt x="1452526" y="329371"/>
                        <a:pt x="1450601" y="331297"/>
                      </a:cubicBezTo>
                      <a:cubicBezTo>
                        <a:pt x="1448675" y="333222"/>
                        <a:pt x="1446373" y="334185"/>
                        <a:pt x="1443694" y="334185"/>
                      </a:cubicBezTo>
                      <a:cubicBezTo>
                        <a:pt x="1441183" y="334185"/>
                        <a:pt x="1438964" y="333264"/>
                        <a:pt x="1437039" y="331422"/>
                      </a:cubicBezTo>
                      <a:cubicBezTo>
                        <a:pt x="1435113" y="329580"/>
                        <a:pt x="1434150" y="327236"/>
                        <a:pt x="1434150" y="324390"/>
                      </a:cubicBezTo>
                      <a:cubicBezTo>
                        <a:pt x="1434150" y="321627"/>
                        <a:pt x="1435134" y="319388"/>
                        <a:pt x="1437101" y="317672"/>
                      </a:cubicBezTo>
                      <a:cubicBezTo>
                        <a:pt x="1439069" y="315956"/>
                        <a:pt x="1441266" y="315097"/>
                        <a:pt x="1443694" y="315097"/>
                      </a:cubicBezTo>
                      <a:close/>
                      <a:moveTo>
                        <a:pt x="967444" y="315097"/>
                      </a:moveTo>
                      <a:cubicBezTo>
                        <a:pt x="970039" y="315097"/>
                        <a:pt x="972320" y="315935"/>
                        <a:pt x="974288" y="317609"/>
                      </a:cubicBezTo>
                      <a:cubicBezTo>
                        <a:pt x="976255" y="319283"/>
                        <a:pt x="977239" y="321544"/>
                        <a:pt x="977239" y="324390"/>
                      </a:cubicBezTo>
                      <a:cubicBezTo>
                        <a:pt x="977239" y="327069"/>
                        <a:pt x="976276" y="329371"/>
                        <a:pt x="974351" y="331297"/>
                      </a:cubicBezTo>
                      <a:cubicBezTo>
                        <a:pt x="972425" y="333222"/>
                        <a:pt x="970123" y="334185"/>
                        <a:pt x="967444" y="334185"/>
                      </a:cubicBezTo>
                      <a:cubicBezTo>
                        <a:pt x="964933" y="334185"/>
                        <a:pt x="962714" y="333264"/>
                        <a:pt x="960789" y="331422"/>
                      </a:cubicBezTo>
                      <a:cubicBezTo>
                        <a:pt x="958863" y="329580"/>
                        <a:pt x="957900" y="327236"/>
                        <a:pt x="957900" y="324390"/>
                      </a:cubicBezTo>
                      <a:cubicBezTo>
                        <a:pt x="957900" y="321627"/>
                        <a:pt x="958884" y="319388"/>
                        <a:pt x="960851" y="317672"/>
                      </a:cubicBezTo>
                      <a:cubicBezTo>
                        <a:pt x="962819" y="315956"/>
                        <a:pt x="965016" y="315097"/>
                        <a:pt x="967444" y="315097"/>
                      </a:cubicBezTo>
                      <a:close/>
                      <a:moveTo>
                        <a:pt x="1834135" y="304800"/>
                      </a:moveTo>
                      <a:lnTo>
                        <a:pt x="1845688" y="304800"/>
                      </a:lnTo>
                      <a:lnTo>
                        <a:pt x="1845688" y="495170"/>
                      </a:lnTo>
                      <a:lnTo>
                        <a:pt x="1834135" y="495170"/>
                      </a:lnTo>
                      <a:lnTo>
                        <a:pt x="1834135" y="471813"/>
                      </a:lnTo>
                      <a:lnTo>
                        <a:pt x="1833633" y="471813"/>
                      </a:lnTo>
                      <a:cubicBezTo>
                        <a:pt x="1829447" y="479934"/>
                        <a:pt x="1823252" y="486380"/>
                        <a:pt x="1815048" y="491152"/>
                      </a:cubicBezTo>
                      <a:cubicBezTo>
                        <a:pt x="1806844" y="495924"/>
                        <a:pt x="1797593" y="498310"/>
                        <a:pt x="1787296" y="498310"/>
                      </a:cubicBezTo>
                      <a:cubicBezTo>
                        <a:pt x="1771474" y="498310"/>
                        <a:pt x="1758561" y="492533"/>
                        <a:pt x="1748557" y="480980"/>
                      </a:cubicBezTo>
                      <a:cubicBezTo>
                        <a:pt x="1738553" y="469428"/>
                        <a:pt x="1733551" y="453480"/>
                        <a:pt x="1733551" y="433137"/>
                      </a:cubicBezTo>
                      <a:cubicBezTo>
                        <a:pt x="1733551" y="412375"/>
                        <a:pt x="1739013" y="395569"/>
                        <a:pt x="1749938" y="382719"/>
                      </a:cubicBezTo>
                      <a:cubicBezTo>
                        <a:pt x="1760863" y="369869"/>
                        <a:pt x="1775032" y="363443"/>
                        <a:pt x="1792445" y="363443"/>
                      </a:cubicBezTo>
                      <a:cubicBezTo>
                        <a:pt x="1811699" y="363443"/>
                        <a:pt x="1825429" y="371355"/>
                        <a:pt x="1833633" y="387177"/>
                      </a:cubicBezTo>
                      <a:lnTo>
                        <a:pt x="1834135" y="387177"/>
                      </a:lnTo>
                      <a:close/>
                      <a:moveTo>
                        <a:pt x="1295167" y="304800"/>
                      </a:moveTo>
                      <a:lnTo>
                        <a:pt x="1306720" y="304800"/>
                      </a:lnTo>
                      <a:lnTo>
                        <a:pt x="1306720" y="393079"/>
                      </a:lnTo>
                      <a:lnTo>
                        <a:pt x="1307222" y="393079"/>
                      </a:lnTo>
                      <a:cubicBezTo>
                        <a:pt x="1311827" y="383619"/>
                        <a:pt x="1318419" y="376315"/>
                        <a:pt x="1327000" y="371166"/>
                      </a:cubicBezTo>
                      <a:cubicBezTo>
                        <a:pt x="1335581" y="366018"/>
                        <a:pt x="1345020" y="363443"/>
                        <a:pt x="1355317" y="363443"/>
                      </a:cubicBezTo>
                      <a:cubicBezTo>
                        <a:pt x="1371642" y="363443"/>
                        <a:pt x="1384387" y="369073"/>
                        <a:pt x="1393554" y="380333"/>
                      </a:cubicBezTo>
                      <a:cubicBezTo>
                        <a:pt x="1402721" y="391593"/>
                        <a:pt x="1407305" y="406892"/>
                        <a:pt x="1407305" y="426230"/>
                      </a:cubicBezTo>
                      <a:cubicBezTo>
                        <a:pt x="1407305" y="447745"/>
                        <a:pt x="1401989" y="465137"/>
                        <a:pt x="1391357" y="478406"/>
                      </a:cubicBezTo>
                      <a:cubicBezTo>
                        <a:pt x="1380725" y="491675"/>
                        <a:pt x="1366912" y="498310"/>
                        <a:pt x="1349917" y="498310"/>
                      </a:cubicBezTo>
                      <a:cubicBezTo>
                        <a:pt x="1330663" y="498310"/>
                        <a:pt x="1316431" y="489645"/>
                        <a:pt x="1307222" y="472316"/>
                      </a:cubicBezTo>
                      <a:lnTo>
                        <a:pt x="1306720" y="472316"/>
                      </a:lnTo>
                      <a:lnTo>
                        <a:pt x="1306720" y="495170"/>
                      </a:lnTo>
                      <a:lnTo>
                        <a:pt x="1295167" y="495170"/>
                      </a:lnTo>
                      <a:close/>
                      <a:moveTo>
                        <a:pt x="1095142" y="304800"/>
                      </a:moveTo>
                      <a:lnTo>
                        <a:pt x="1106695" y="304800"/>
                      </a:lnTo>
                      <a:lnTo>
                        <a:pt x="1106695" y="389688"/>
                      </a:lnTo>
                      <a:lnTo>
                        <a:pt x="1107197" y="389688"/>
                      </a:lnTo>
                      <a:cubicBezTo>
                        <a:pt x="1117327" y="372192"/>
                        <a:pt x="1132061" y="363443"/>
                        <a:pt x="1151399" y="363443"/>
                      </a:cubicBezTo>
                      <a:cubicBezTo>
                        <a:pt x="1165296" y="363443"/>
                        <a:pt x="1175886" y="367922"/>
                        <a:pt x="1183169" y="376880"/>
                      </a:cubicBezTo>
                      <a:cubicBezTo>
                        <a:pt x="1190453" y="385837"/>
                        <a:pt x="1194094" y="398688"/>
                        <a:pt x="1194094" y="415431"/>
                      </a:cubicBezTo>
                      <a:lnTo>
                        <a:pt x="1194094" y="495170"/>
                      </a:lnTo>
                      <a:lnTo>
                        <a:pt x="1182542" y="495170"/>
                      </a:lnTo>
                      <a:lnTo>
                        <a:pt x="1182542" y="418068"/>
                      </a:lnTo>
                      <a:cubicBezTo>
                        <a:pt x="1182542" y="402832"/>
                        <a:pt x="1179779" y="391677"/>
                        <a:pt x="1174254" y="384603"/>
                      </a:cubicBezTo>
                      <a:cubicBezTo>
                        <a:pt x="1168728" y="377529"/>
                        <a:pt x="1160106" y="373992"/>
                        <a:pt x="1148386" y="373992"/>
                      </a:cubicBezTo>
                      <a:cubicBezTo>
                        <a:pt x="1137335" y="373992"/>
                        <a:pt x="1127624" y="378303"/>
                        <a:pt x="1119252" y="386926"/>
                      </a:cubicBezTo>
                      <a:cubicBezTo>
                        <a:pt x="1110881" y="395548"/>
                        <a:pt x="1106695" y="407896"/>
                        <a:pt x="1106695" y="423970"/>
                      </a:cubicBezTo>
                      <a:lnTo>
                        <a:pt x="1106695" y="495170"/>
                      </a:lnTo>
                      <a:lnTo>
                        <a:pt x="1095142" y="495170"/>
                      </a:lnTo>
                      <a:close/>
                      <a:moveTo>
                        <a:pt x="2581694" y="121180"/>
                      </a:moveTo>
                      <a:lnTo>
                        <a:pt x="2546282" y="126329"/>
                      </a:lnTo>
                      <a:cubicBezTo>
                        <a:pt x="2532804" y="128254"/>
                        <a:pt x="2523345" y="131373"/>
                        <a:pt x="2517903" y="135684"/>
                      </a:cubicBezTo>
                      <a:cubicBezTo>
                        <a:pt x="2512461" y="139995"/>
                        <a:pt x="2509740" y="147006"/>
                        <a:pt x="2509740" y="156717"/>
                      </a:cubicBezTo>
                      <a:cubicBezTo>
                        <a:pt x="2509740" y="164336"/>
                        <a:pt x="2512273" y="170614"/>
                        <a:pt x="2517338" y="175554"/>
                      </a:cubicBezTo>
                      <a:cubicBezTo>
                        <a:pt x="2522403" y="180493"/>
                        <a:pt x="2529456" y="182962"/>
                        <a:pt x="2538497" y="182962"/>
                      </a:cubicBezTo>
                      <a:cubicBezTo>
                        <a:pt x="2550887" y="182962"/>
                        <a:pt x="2561184" y="178379"/>
                        <a:pt x="2569388" y="169212"/>
                      </a:cubicBezTo>
                      <a:cubicBezTo>
                        <a:pt x="2577592" y="160045"/>
                        <a:pt x="2581694" y="148220"/>
                        <a:pt x="2581694" y="133737"/>
                      </a:cubicBezTo>
                      <a:close/>
                      <a:moveTo>
                        <a:pt x="2790811" y="69193"/>
                      </a:moveTo>
                      <a:cubicBezTo>
                        <a:pt x="2778756" y="69193"/>
                        <a:pt x="2768772" y="73232"/>
                        <a:pt x="2760861" y="81310"/>
                      </a:cubicBezTo>
                      <a:cubicBezTo>
                        <a:pt x="2752950" y="89389"/>
                        <a:pt x="2748074" y="100963"/>
                        <a:pt x="2746232" y="116032"/>
                      </a:cubicBezTo>
                      <a:lnTo>
                        <a:pt x="2828860" y="116032"/>
                      </a:lnTo>
                      <a:cubicBezTo>
                        <a:pt x="2828357" y="101214"/>
                        <a:pt x="2824799" y="89703"/>
                        <a:pt x="2818186" y="81499"/>
                      </a:cubicBezTo>
                      <a:cubicBezTo>
                        <a:pt x="2811572" y="73295"/>
                        <a:pt x="2802447" y="69193"/>
                        <a:pt x="2790811" y="69193"/>
                      </a:cubicBezTo>
                      <a:close/>
                      <a:moveTo>
                        <a:pt x="2219311" y="69193"/>
                      </a:moveTo>
                      <a:cubicBezTo>
                        <a:pt x="2207256" y="69193"/>
                        <a:pt x="2197272" y="73232"/>
                        <a:pt x="2189361" y="81310"/>
                      </a:cubicBezTo>
                      <a:cubicBezTo>
                        <a:pt x="2181450" y="89389"/>
                        <a:pt x="2176574" y="100963"/>
                        <a:pt x="2174732" y="116032"/>
                      </a:cubicBezTo>
                      <a:lnTo>
                        <a:pt x="2257360" y="116032"/>
                      </a:lnTo>
                      <a:cubicBezTo>
                        <a:pt x="2256858" y="101214"/>
                        <a:pt x="2253299" y="89703"/>
                        <a:pt x="2246686" y="81499"/>
                      </a:cubicBezTo>
                      <a:cubicBezTo>
                        <a:pt x="2240072" y="73295"/>
                        <a:pt x="2230947" y="69193"/>
                        <a:pt x="2219311" y="69193"/>
                      </a:cubicBezTo>
                      <a:close/>
                      <a:moveTo>
                        <a:pt x="1238236" y="69193"/>
                      </a:moveTo>
                      <a:cubicBezTo>
                        <a:pt x="1226181" y="69193"/>
                        <a:pt x="1216198" y="73232"/>
                        <a:pt x="1208287" y="81310"/>
                      </a:cubicBezTo>
                      <a:cubicBezTo>
                        <a:pt x="1200375" y="89389"/>
                        <a:pt x="1195499" y="100963"/>
                        <a:pt x="1193657" y="116032"/>
                      </a:cubicBezTo>
                      <a:lnTo>
                        <a:pt x="1276285" y="116032"/>
                      </a:lnTo>
                      <a:cubicBezTo>
                        <a:pt x="1275782" y="101214"/>
                        <a:pt x="1272224" y="89703"/>
                        <a:pt x="1265611" y="81499"/>
                      </a:cubicBezTo>
                      <a:cubicBezTo>
                        <a:pt x="1258997" y="73295"/>
                        <a:pt x="1249872" y="69193"/>
                        <a:pt x="1238236" y="69193"/>
                      </a:cubicBezTo>
                      <a:close/>
                      <a:moveTo>
                        <a:pt x="676261" y="69193"/>
                      </a:moveTo>
                      <a:cubicBezTo>
                        <a:pt x="664206" y="69193"/>
                        <a:pt x="654223" y="73232"/>
                        <a:pt x="646311" y="81310"/>
                      </a:cubicBezTo>
                      <a:cubicBezTo>
                        <a:pt x="638400" y="89389"/>
                        <a:pt x="633524" y="100963"/>
                        <a:pt x="631682" y="116032"/>
                      </a:cubicBezTo>
                      <a:lnTo>
                        <a:pt x="714310" y="116032"/>
                      </a:lnTo>
                      <a:cubicBezTo>
                        <a:pt x="713807" y="101214"/>
                        <a:pt x="710249" y="89703"/>
                        <a:pt x="703636" y="81499"/>
                      </a:cubicBezTo>
                      <a:cubicBezTo>
                        <a:pt x="697022" y="73295"/>
                        <a:pt x="687897" y="69193"/>
                        <a:pt x="676261" y="69193"/>
                      </a:cubicBezTo>
                      <a:close/>
                      <a:moveTo>
                        <a:pt x="423733" y="69193"/>
                      </a:moveTo>
                      <a:cubicBezTo>
                        <a:pt x="408581" y="69193"/>
                        <a:pt x="396504" y="74299"/>
                        <a:pt x="387505" y="84513"/>
                      </a:cubicBezTo>
                      <a:cubicBezTo>
                        <a:pt x="378506" y="94726"/>
                        <a:pt x="374006" y="108916"/>
                        <a:pt x="374006" y="127082"/>
                      </a:cubicBezTo>
                      <a:cubicBezTo>
                        <a:pt x="374006" y="143909"/>
                        <a:pt x="378401" y="157429"/>
                        <a:pt x="387191" y="167642"/>
                      </a:cubicBezTo>
                      <a:cubicBezTo>
                        <a:pt x="395981" y="177856"/>
                        <a:pt x="407994" y="182962"/>
                        <a:pt x="423231" y="182962"/>
                      </a:cubicBezTo>
                      <a:cubicBezTo>
                        <a:pt x="438718" y="182962"/>
                        <a:pt x="450648" y="177939"/>
                        <a:pt x="459019" y="167894"/>
                      </a:cubicBezTo>
                      <a:cubicBezTo>
                        <a:pt x="467391" y="157848"/>
                        <a:pt x="471577" y="143909"/>
                        <a:pt x="471577" y="126077"/>
                      </a:cubicBezTo>
                      <a:cubicBezTo>
                        <a:pt x="471577" y="107744"/>
                        <a:pt x="467412" y="93679"/>
                        <a:pt x="459082" y="83885"/>
                      </a:cubicBezTo>
                      <a:cubicBezTo>
                        <a:pt x="450752" y="74090"/>
                        <a:pt x="438969" y="69193"/>
                        <a:pt x="423733" y="69193"/>
                      </a:cubicBezTo>
                      <a:close/>
                      <a:moveTo>
                        <a:pt x="2363461" y="69192"/>
                      </a:moveTo>
                      <a:cubicBezTo>
                        <a:pt x="2348476" y="69192"/>
                        <a:pt x="2336881" y="74215"/>
                        <a:pt x="2328677" y="84260"/>
                      </a:cubicBezTo>
                      <a:cubicBezTo>
                        <a:pt x="2320473" y="94306"/>
                        <a:pt x="2316371" y="106110"/>
                        <a:pt x="2316371" y="119672"/>
                      </a:cubicBezTo>
                      <a:lnTo>
                        <a:pt x="2316371" y="135871"/>
                      </a:lnTo>
                      <a:cubicBezTo>
                        <a:pt x="2316371" y="148763"/>
                        <a:pt x="2320431" y="159835"/>
                        <a:pt x="2328552" y="169085"/>
                      </a:cubicBezTo>
                      <a:cubicBezTo>
                        <a:pt x="2336672" y="178336"/>
                        <a:pt x="2347346" y="182961"/>
                        <a:pt x="2360573" y="182961"/>
                      </a:cubicBezTo>
                      <a:cubicBezTo>
                        <a:pt x="2373716" y="182961"/>
                        <a:pt x="2384390" y="177331"/>
                        <a:pt x="2392594" y="166072"/>
                      </a:cubicBezTo>
                      <a:cubicBezTo>
                        <a:pt x="2400798" y="154812"/>
                        <a:pt x="2404900" y="140015"/>
                        <a:pt x="2404900" y="121681"/>
                      </a:cubicBezTo>
                      <a:cubicBezTo>
                        <a:pt x="2404900" y="105608"/>
                        <a:pt x="2401133" y="92841"/>
                        <a:pt x="2393599" y="83381"/>
                      </a:cubicBezTo>
                      <a:cubicBezTo>
                        <a:pt x="2386064" y="73922"/>
                        <a:pt x="2376018" y="69192"/>
                        <a:pt x="2363461" y="69192"/>
                      </a:cubicBezTo>
                      <a:close/>
                      <a:moveTo>
                        <a:pt x="1866668" y="61784"/>
                      </a:moveTo>
                      <a:lnTo>
                        <a:pt x="1878221" y="61784"/>
                      </a:lnTo>
                      <a:lnTo>
                        <a:pt x="1878221" y="190371"/>
                      </a:lnTo>
                      <a:lnTo>
                        <a:pt x="1866668" y="190371"/>
                      </a:lnTo>
                      <a:close/>
                      <a:moveTo>
                        <a:pt x="1679270" y="61784"/>
                      </a:moveTo>
                      <a:lnTo>
                        <a:pt x="1692079" y="61784"/>
                      </a:lnTo>
                      <a:lnTo>
                        <a:pt x="1721965" y="164377"/>
                      </a:lnTo>
                      <a:cubicBezTo>
                        <a:pt x="1722719" y="167056"/>
                        <a:pt x="1723305" y="170656"/>
                        <a:pt x="1723723" y="175177"/>
                      </a:cubicBezTo>
                      <a:lnTo>
                        <a:pt x="1724728" y="175177"/>
                      </a:lnTo>
                      <a:cubicBezTo>
                        <a:pt x="1724895" y="172749"/>
                        <a:pt x="1725691" y="169149"/>
                        <a:pt x="1727114" y="164377"/>
                      </a:cubicBezTo>
                      <a:lnTo>
                        <a:pt x="1759763" y="61784"/>
                      </a:lnTo>
                      <a:lnTo>
                        <a:pt x="1767674" y="61784"/>
                      </a:lnTo>
                      <a:lnTo>
                        <a:pt x="1796807" y="164377"/>
                      </a:lnTo>
                      <a:cubicBezTo>
                        <a:pt x="1797477" y="166805"/>
                        <a:pt x="1798063" y="170405"/>
                        <a:pt x="1798565" y="175177"/>
                      </a:cubicBezTo>
                      <a:lnTo>
                        <a:pt x="1799570" y="175177"/>
                      </a:lnTo>
                      <a:cubicBezTo>
                        <a:pt x="1799570" y="172749"/>
                        <a:pt x="1800282" y="169149"/>
                        <a:pt x="1801705" y="164377"/>
                      </a:cubicBezTo>
                      <a:lnTo>
                        <a:pt x="1832219" y="61784"/>
                      </a:lnTo>
                      <a:lnTo>
                        <a:pt x="1844149" y="61784"/>
                      </a:lnTo>
                      <a:lnTo>
                        <a:pt x="1804216" y="190371"/>
                      </a:lnTo>
                      <a:lnTo>
                        <a:pt x="1793417" y="190371"/>
                      </a:lnTo>
                      <a:lnTo>
                        <a:pt x="1765414" y="93428"/>
                      </a:lnTo>
                      <a:cubicBezTo>
                        <a:pt x="1764660" y="90749"/>
                        <a:pt x="1763991" y="87150"/>
                        <a:pt x="1763405" y="82629"/>
                      </a:cubicBezTo>
                      <a:lnTo>
                        <a:pt x="1762777" y="82629"/>
                      </a:lnTo>
                      <a:cubicBezTo>
                        <a:pt x="1762609" y="84554"/>
                        <a:pt x="1761772" y="88071"/>
                        <a:pt x="1760265" y="93177"/>
                      </a:cubicBezTo>
                      <a:lnTo>
                        <a:pt x="1728872" y="190371"/>
                      </a:lnTo>
                      <a:lnTo>
                        <a:pt x="1718073" y="190371"/>
                      </a:lnTo>
                      <a:close/>
                      <a:moveTo>
                        <a:pt x="496036" y="61784"/>
                      </a:moveTo>
                      <a:lnTo>
                        <a:pt x="508970" y="61784"/>
                      </a:lnTo>
                      <a:lnTo>
                        <a:pt x="547270" y="164126"/>
                      </a:lnTo>
                      <a:cubicBezTo>
                        <a:pt x="549111" y="169066"/>
                        <a:pt x="550409" y="173544"/>
                        <a:pt x="551162" y="177563"/>
                      </a:cubicBezTo>
                      <a:lnTo>
                        <a:pt x="551665" y="177563"/>
                      </a:lnTo>
                      <a:cubicBezTo>
                        <a:pt x="552753" y="172289"/>
                        <a:pt x="553967" y="167977"/>
                        <a:pt x="555306" y="164629"/>
                      </a:cubicBezTo>
                      <a:lnTo>
                        <a:pt x="594862" y="61784"/>
                      </a:lnTo>
                      <a:lnTo>
                        <a:pt x="607419" y="61784"/>
                      </a:lnTo>
                      <a:lnTo>
                        <a:pt x="556311" y="190371"/>
                      </a:lnTo>
                      <a:lnTo>
                        <a:pt x="545763" y="190371"/>
                      </a:lnTo>
                      <a:close/>
                      <a:moveTo>
                        <a:pt x="2143111" y="59272"/>
                      </a:moveTo>
                      <a:cubicBezTo>
                        <a:pt x="2147882" y="59272"/>
                        <a:pt x="2152152" y="60026"/>
                        <a:pt x="2155919" y="61533"/>
                      </a:cubicBezTo>
                      <a:lnTo>
                        <a:pt x="2155919" y="73839"/>
                      </a:lnTo>
                      <a:cubicBezTo>
                        <a:pt x="2152068" y="71076"/>
                        <a:pt x="2147548" y="69695"/>
                        <a:pt x="2142357" y="69695"/>
                      </a:cubicBezTo>
                      <a:cubicBezTo>
                        <a:pt x="2132228" y="69695"/>
                        <a:pt x="2123730" y="74927"/>
                        <a:pt x="2116866" y="85392"/>
                      </a:cubicBezTo>
                      <a:cubicBezTo>
                        <a:pt x="2110001" y="95856"/>
                        <a:pt x="2106569" y="110716"/>
                        <a:pt x="2106569" y="129970"/>
                      </a:cubicBezTo>
                      <a:lnTo>
                        <a:pt x="2106569" y="190371"/>
                      </a:lnTo>
                      <a:lnTo>
                        <a:pt x="2095267" y="190371"/>
                      </a:lnTo>
                      <a:lnTo>
                        <a:pt x="2095267" y="61784"/>
                      </a:lnTo>
                      <a:lnTo>
                        <a:pt x="2106569" y="61784"/>
                      </a:lnTo>
                      <a:lnTo>
                        <a:pt x="2106569" y="90289"/>
                      </a:lnTo>
                      <a:lnTo>
                        <a:pt x="2107071" y="90289"/>
                      </a:lnTo>
                      <a:cubicBezTo>
                        <a:pt x="2110001" y="80494"/>
                        <a:pt x="2114647" y="72876"/>
                        <a:pt x="2121010" y="67435"/>
                      </a:cubicBezTo>
                      <a:cubicBezTo>
                        <a:pt x="2127372" y="61993"/>
                        <a:pt x="2134739" y="59272"/>
                        <a:pt x="2143111" y="59272"/>
                      </a:cubicBezTo>
                      <a:close/>
                      <a:moveTo>
                        <a:pt x="809611" y="59272"/>
                      </a:moveTo>
                      <a:cubicBezTo>
                        <a:pt x="814383" y="59272"/>
                        <a:pt x="818652" y="60026"/>
                        <a:pt x="822419" y="61533"/>
                      </a:cubicBezTo>
                      <a:lnTo>
                        <a:pt x="822419" y="73839"/>
                      </a:lnTo>
                      <a:cubicBezTo>
                        <a:pt x="818568" y="71076"/>
                        <a:pt x="814048" y="69695"/>
                        <a:pt x="808858" y="69695"/>
                      </a:cubicBezTo>
                      <a:cubicBezTo>
                        <a:pt x="798728" y="69695"/>
                        <a:pt x="790231" y="74927"/>
                        <a:pt x="783366" y="85392"/>
                      </a:cubicBezTo>
                      <a:cubicBezTo>
                        <a:pt x="776501" y="95856"/>
                        <a:pt x="773069" y="110716"/>
                        <a:pt x="773069" y="129970"/>
                      </a:cubicBezTo>
                      <a:lnTo>
                        <a:pt x="773069" y="190371"/>
                      </a:lnTo>
                      <a:lnTo>
                        <a:pt x="761767" y="190371"/>
                      </a:lnTo>
                      <a:lnTo>
                        <a:pt x="761767" y="61784"/>
                      </a:lnTo>
                      <a:lnTo>
                        <a:pt x="773069" y="61784"/>
                      </a:lnTo>
                      <a:lnTo>
                        <a:pt x="773069" y="90289"/>
                      </a:lnTo>
                      <a:lnTo>
                        <a:pt x="773571" y="90289"/>
                      </a:lnTo>
                      <a:cubicBezTo>
                        <a:pt x="776501" y="80494"/>
                        <a:pt x="781147" y="72876"/>
                        <a:pt x="787510" y="67435"/>
                      </a:cubicBezTo>
                      <a:cubicBezTo>
                        <a:pt x="793872" y="61993"/>
                        <a:pt x="801239" y="59272"/>
                        <a:pt x="809611" y="59272"/>
                      </a:cubicBezTo>
                      <a:close/>
                      <a:moveTo>
                        <a:pt x="2791313" y="58644"/>
                      </a:moveTo>
                      <a:cubicBezTo>
                        <a:pt x="2807303" y="58644"/>
                        <a:pt x="2819567" y="64253"/>
                        <a:pt x="2828106" y="75471"/>
                      </a:cubicBezTo>
                      <a:cubicBezTo>
                        <a:pt x="2836645" y="86689"/>
                        <a:pt x="2840915" y="102009"/>
                        <a:pt x="2840915" y="121431"/>
                      </a:cubicBezTo>
                      <a:lnTo>
                        <a:pt x="2840915" y="126580"/>
                      </a:lnTo>
                      <a:lnTo>
                        <a:pt x="2745730" y="126580"/>
                      </a:lnTo>
                      <a:cubicBezTo>
                        <a:pt x="2745730" y="144244"/>
                        <a:pt x="2749811" y="158057"/>
                        <a:pt x="2757973" y="168019"/>
                      </a:cubicBezTo>
                      <a:cubicBezTo>
                        <a:pt x="2766135" y="177981"/>
                        <a:pt x="2777332" y="182962"/>
                        <a:pt x="2791564" y="182962"/>
                      </a:cubicBezTo>
                      <a:cubicBezTo>
                        <a:pt x="2805963" y="182962"/>
                        <a:pt x="2820027" y="177646"/>
                        <a:pt x="2833757" y="167015"/>
                      </a:cubicBezTo>
                      <a:lnTo>
                        <a:pt x="2833757" y="179321"/>
                      </a:lnTo>
                      <a:cubicBezTo>
                        <a:pt x="2820446" y="188781"/>
                        <a:pt x="2805587" y="193511"/>
                        <a:pt x="2789178" y="193511"/>
                      </a:cubicBezTo>
                      <a:cubicBezTo>
                        <a:pt x="2772602" y="193511"/>
                        <a:pt x="2759208" y="187567"/>
                        <a:pt x="2748995" y="175679"/>
                      </a:cubicBezTo>
                      <a:cubicBezTo>
                        <a:pt x="2738781" y="163791"/>
                        <a:pt x="2733675" y="147006"/>
                        <a:pt x="2733675" y="125324"/>
                      </a:cubicBezTo>
                      <a:cubicBezTo>
                        <a:pt x="2733675" y="106572"/>
                        <a:pt x="2739012" y="90770"/>
                        <a:pt x="2749685" y="77920"/>
                      </a:cubicBezTo>
                      <a:cubicBezTo>
                        <a:pt x="2760359" y="65070"/>
                        <a:pt x="2774235" y="58644"/>
                        <a:pt x="2791313" y="58644"/>
                      </a:cubicBezTo>
                      <a:close/>
                      <a:moveTo>
                        <a:pt x="2683920" y="58644"/>
                      </a:moveTo>
                      <a:cubicBezTo>
                        <a:pt x="2693714" y="58644"/>
                        <a:pt x="2703216" y="60654"/>
                        <a:pt x="2712425" y="64672"/>
                      </a:cubicBezTo>
                      <a:lnTo>
                        <a:pt x="2712425" y="77732"/>
                      </a:lnTo>
                      <a:cubicBezTo>
                        <a:pt x="2703216" y="72039"/>
                        <a:pt x="2693128" y="69193"/>
                        <a:pt x="2682161" y="69193"/>
                      </a:cubicBezTo>
                      <a:cubicBezTo>
                        <a:pt x="2667093" y="69193"/>
                        <a:pt x="2654870" y="74613"/>
                        <a:pt x="2645494" y="85454"/>
                      </a:cubicBezTo>
                      <a:cubicBezTo>
                        <a:pt x="2636118" y="96296"/>
                        <a:pt x="2631430" y="110339"/>
                        <a:pt x="2631430" y="127584"/>
                      </a:cubicBezTo>
                      <a:cubicBezTo>
                        <a:pt x="2631430" y="144244"/>
                        <a:pt x="2635720" y="157638"/>
                        <a:pt x="2644301" y="167768"/>
                      </a:cubicBezTo>
                      <a:cubicBezTo>
                        <a:pt x="2652882" y="177898"/>
                        <a:pt x="2664204" y="182962"/>
                        <a:pt x="2678269" y="182962"/>
                      </a:cubicBezTo>
                      <a:cubicBezTo>
                        <a:pt x="2691161" y="182962"/>
                        <a:pt x="2702379" y="179530"/>
                        <a:pt x="2711922" y="172665"/>
                      </a:cubicBezTo>
                      <a:lnTo>
                        <a:pt x="2711922" y="184720"/>
                      </a:lnTo>
                      <a:cubicBezTo>
                        <a:pt x="2702379" y="190581"/>
                        <a:pt x="2690994" y="193511"/>
                        <a:pt x="2677766" y="193511"/>
                      </a:cubicBezTo>
                      <a:cubicBezTo>
                        <a:pt x="2660270" y="193511"/>
                        <a:pt x="2646164" y="187504"/>
                        <a:pt x="2635448" y="175491"/>
                      </a:cubicBezTo>
                      <a:cubicBezTo>
                        <a:pt x="2624732" y="163478"/>
                        <a:pt x="2619375" y="147760"/>
                        <a:pt x="2619375" y="128338"/>
                      </a:cubicBezTo>
                      <a:cubicBezTo>
                        <a:pt x="2619375" y="107911"/>
                        <a:pt x="2625402" y="91189"/>
                        <a:pt x="2637457" y="78171"/>
                      </a:cubicBezTo>
                      <a:cubicBezTo>
                        <a:pt x="2649512" y="65153"/>
                        <a:pt x="2665000" y="58644"/>
                        <a:pt x="2683920" y="58644"/>
                      </a:cubicBezTo>
                      <a:close/>
                      <a:moveTo>
                        <a:pt x="2551682" y="58644"/>
                      </a:moveTo>
                      <a:cubicBezTo>
                        <a:pt x="2564909" y="58644"/>
                        <a:pt x="2575144" y="62746"/>
                        <a:pt x="2582385" y="70951"/>
                      </a:cubicBezTo>
                      <a:cubicBezTo>
                        <a:pt x="2589626" y="79155"/>
                        <a:pt x="2593247" y="91084"/>
                        <a:pt x="2593247" y="106739"/>
                      </a:cubicBezTo>
                      <a:lnTo>
                        <a:pt x="2593247" y="190371"/>
                      </a:lnTo>
                      <a:lnTo>
                        <a:pt x="2581694" y="190371"/>
                      </a:lnTo>
                      <a:lnTo>
                        <a:pt x="2581694" y="164629"/>
                      </a:lnTo>
                      <a:lnTo>
                        <a:pt x="2581192" y="164629"/>
                      </a:lnTo>
                      <a:cubicBezTo>
                        <a:pt x="2577090" y="173419"/>
                        <a:pt x="2571125" y="180430"/>
                        <a:pt x="2563298" y="185662"/>
                      </a:cubicBezTo>
                      <a:cubicBezTo>
                        <a:pt x="2555470" y="190894"/>
                        <a:pt x="2546785" y="193511"/>
                        <a:pt x="2537241" y="193511"/>
                      </a:cubicBezTo>
                      <a:cubicBezTo>
                        <a:pt x="2525019" y="193511"/>
                        <a:pt x="2515349" y="190078"/>
                        <a:pt x="2508234" y="183214"/>
                      </a:cubicBezTo>
                      <a:cubicBezTo>
                        <a:pt x="2501118" y="176349"/>
                        <a:pt x="2497560" y="167684"/>
                        <a:pt x="2497560" y="157220"/>
                      </a:cubicBezTo>
                      <a:cubicBezTo>
                        <a:pt x="2497560" y="134784"/>
                        <a:pt x="2512420" y="121222"/>
                        <a:pt x="2542138" y="116534"/>
                      </a:cubicBezTo>
                      <a:lnTo>
                        <a:pt x="2581694" y="110632"/>
                      </a:lnTo>
                      <a:cubicBezTo>
                        <a:pt x="2581694" y="83006"/>
                        <a:pt x="2571314" y="69193"/>
                        <a:pt x="2550552" y="69193"/>
                      </a:cubicBezTo>
                      <a:cubicBezTo>
                        <a:pt x="2536404" y="69193"/>
                        <a:pt x="2522633" y="74885"/>
                        <a:pt x="2509238" y="86271"/>
                      </a:cubicBezTo>
                      <a:lnTo>
                        <a:pt x="2509238" y="72332"/>
                      </a:lnTo>
                      <a:cubicBezTo>
                        <a:pt x="2514010" y="68565"/>
                        <a:pt x="2520477" y="65342"/>
                        <a:pt x="2528639" y="62663"/>
                      </a:cubicBezTo>
                      <a:cubicBezTo>
                        <a:pt x="2536802" y="59984"/>
                        <a:pt x="2544483" y="58644"/>
                        <a:pt x="2551682" y="58644"/>
                      </a:cubicBezTo>
                      <a:close/>
                      <a:moveTo>
                        <a:pt x="2219813" y="58644"/>
                      </a:moveTo>
                      <a:cubicBezTo>
                        <a:pt x="2235803" y="58644"/>
                        <a:pt x="2248067" y="64253"/>
                        <a:pt x="2256606" y="75471"/>
                      </a:cubicBezTo>
                      <a:cubicBezTo>
                        <a:pt x="2265145" y="86689"/>
                        <a:pt x="2269415" y="102009"/>
                        <a:pt x="2269415" y="121431"/>
                      </a:cubicBezTo>
                      <a:lnTo>
                        <a:pt x="2269415" y="126580"/>
                      </a:lnTo>
                      <a:lnTo>
                        <a:pt x="2174230" y="126580"/>
                      </a:lnTo>
                      <a:cubicBezTo>
                        <a:pt x="2174230" y="144244"/>
                        <a:pt x="2178311" y="158057"/>
                        <a:pt x="2186473" y="168019"/>
                      </a:cubicBezTo>
                      <a:cubicBezTo>
                        <a:pt x="2194635" y="177981"/>
                        <a:pt x="2205832" y="182962"/>
                        <a:pt x="2220064" y="182962"/>
                      </a:cubicBezTo>
                      <a:cubicBezTo>
                        <a:pt x="2234463" y="182962"/>
                        <a:pt x="2248527" y="177646"/>
                        <a:pt x="2262257" y="167015"/>
                      </a:cubicBezTo>
                      <a:lnTo>
                        <a:pt x="2262257" y="179321"/>
                      </a:lnTo>
                      <a:cubicBezTo>
                        <a:pt x="2248946" y="188781"/>
                        <a:pt x="2234087" y="193511"/>
                        <a:pt x="2217678" y="193511"/>
                      </a:cubicBezTo>
                      <a:cubicBezTo>
                        <a:pt x="2201102" y="193511"/>
                        <a:pt x="2187708" y="187567"/>
                        <a:pt x="2177495" y="175679"/>
                      </a:cubicBezTo>
                      <a:cubicBezTo>
                        <a:pt x="2167281" y="163791"/>
                        <a:pt x="2162175" y="147006"/>
                        <a:pt x="2162175" y="125324"/>
                      </a:cubicBezTo>
                      <a:cubicBezTo>
                        <a:pt x="2162175" y="106572"/>
                        <a:pt x="2167512" y="90770"/>
                        <a:pt x="2178185" y="77920"/>
                      </a:cubicBezTo>
                      <a:cubicBezTo>
                        <a:pt x="2188859" y="65070"/>
                        <a:pt x="2202735" y="58644"/>
                        <a:pt x="2219813" y="58644"/>
                      </a:cubicBezTo>
                      <a:close/>
                      <a:moveTo>
                        <a:pt x="1568704" y="58644"/>
                      </a:moveTo>
                      <a:cubicBezTo>
                        <a:pt x="1579755" y="58644"/>
                        <a:pt x="1589214" y="60905"/>
                        <a:pt x="1597084" y="65425"/>
                      </a:cubicBezTo>
                      <a:lnTo>
                        <a:pt x="1597084" y="78485"/>
                      </a:lnTo>
                      <a:cubicBezTo>
                        <a:pt x="1587540" y="72290"/>
                        <a:pt x="1577662" y="69193"/>
                        <a:pt x="1567448" y="69193"/>
                      </a:cubicBezTo>
                      <a:cubicBezTo>
                        <a:pt x="1558993" y="69193"/>
                        <a:pt x="1552170" y="71390"/>
                        <a:pt x="1546980" y="75785"/>
                      </a:cubicBezTo>
                      <a:cubicBezTo>
                        <a:pt x="1541789" y="80180"/>
                        <a:pt x="1539194" y="85894"/>
                        <a:pt x="1539194" y="92926"/>
                      </a:cubicBezTo>
                      <a:cubicBezTo>
                        <a:pt x="1539194" y="99037"/>
                        <a:pt x="1540827" y="103997"/>
                        <a:pt x="1544092" y="107807"/>
                      </a:cubicBezTo>
                      <a:cubicBezTo>
                        <a:pt x="1547357" y="111616"/>
                        <a:pt x="1554556" y="115990"/>
                        <a:pt x="1565690" y="120929"/>
                      </a:cubicBezTo>
                      <a:cubicBezTo>
                        <a:pt x="1579085" y="126957"/>
                        <a:pt x="1588294" y="132545"/>
                        <a:pt x="1593317" y="137693"/>
                      </a:cubicBezTo>
                      <a:cubicBezTo>
                        <a:pt x="1598339" y="142842"/>
                        <a:pt x="1600851" y="149685"/>
                        <a:pt x="1600851" y="158224"/>
                      </a:cubicBezTo>
                      <a:cubicBezTo>
                        <a:pt x="1600851" y="168438"/>
                        <a:pt x="1597021" y="176872"/>
                        <a:pt x="1589361" y="183527"/>
                      </a:cubicBezTo>
                      <a:cubicBezTo>
                        <a:pt x="1581701" y="190183"/>
                        <a:pt x="1571132" y="193511"/>
                        <a:pt x="1557654" y="193511"/>
                      </a:cubicBezTo>
                      <a:cubicBezTo>
                        <a:pt x="1545264" y="193511"/>
                        <a:pt x="1534925" y="190581"/>
                        <a:pt x="1526637" y="184720"/>
                      </a:cubicBezTo>
                      <a:lnTo>
                        <a:pt x="1526637" y="170782"/>
                      </a:lnTo>
                      <a:cubicBezTo>
                        <a:pt x="1530990" y="174549"/>
                        <a:pt x="1536264" y="177521"/>
                        <a:pt x="1542459" y="179697"/>
                      </a:cubicBezTo>
                      <a:cubicBezTo>
                        <a:pt x="1548654" y="181874"/>
                        <a:pt x="1554012" y="182962"/>
                        <a:pt x="1558533" y="182962"/>
                      </a:cubicBezTo>
                      <a:cubicBezTo>
                        <a:pt x="1578708" y="182962"/>
                        <a:pt x="1588796" y="174716"/>
                        <a:pt x="1588796" y="158224"/>
                      </a:cubicBezTo>
                      <a:cubicBezTo>
                        <a:pt x="1588796" y="152532"/>
                        <a:pt x="1586577" y="147676"/>
                        <a:pt x="1582140" y="143658"/>
                      </a:cubicBezTo>
                      <a:cubicBezTo>
                        <a:pt x="1577704" y="139639"/>
                        <a:pt x="1570504" y="135496"/>
                        <a:pt x="1560542" y="131226"/>
                      </a:cubicBezTo>
                      <a:cubicBezTo>
                        <a:pt x="1548236" y="125868"/>
                        <a:pt x="1539592" y="120322"/>
                        <a:pt x="1534611" y="114587"/>
                      </a:cubicBezTo>
                      <a:cubicBezTo>
                        <a:pt x="1529630" y="108853"/>
                        <a:pt x="1527139" y="101884"/>
                        <a:pt x="1527139" y="93679"/>
                      </a:cubicBezTo>
                      <a:cubicBezTo>
                        <a:pt x="1527139" y="83215"/>
                        <a:pt x="1531137" y="74760"/>
                        <a:pt x="1539131" y="68314"/>
                      </a:cubicBezTo>
                      <a:cubicBezTo>
                        <a:pt x="1547126" y="61867"/>
                        <a:pt x="1556984" y="58644"/>
                        <a:pt x="1568704" y="58644"/>
                      </a:cubicBezTo>
                      <a:close/>
                      <a:moveTo>
                        <a:pt x="1379748" y="58644"/>
                      </a:moveTo>
                      <a:cubicBezTo>
                        <a:pt x="1393645" y="58644"/>
                        <a:pt x="1404277" y="63270"/>
                        <a:pt x="1411644" y="72520"/>
                      </a:cubicBezTo>
                      <a:cubicBezTo>
                        <a:pt x="1419011" y="81771"/>
                        <a:pt x="1422694" y="94977"/>
                        <a:pt x="1422694" y="112139"/>
                      </a:cubicBezTo>
                      <a:lnTo>
                        <a:pt x="1422694" y="190371"/>
                      </a:lnTo>
                      <a:lnTo>
                        <a:pt x="1411142" y="190371"/>
                      </a:lnTo>
                      <a:lnTo>
                        <a:pt x="1411142" y="115529"/>
                      </a:lnTo>
                      <a:cubicBezTo>
                        <a:pt x="1411142" y="84638"/>
                        <a:pt x="1400007" y="69193"/>
                        <a:pt x="1377739" y="69193"/>
                      </a:cubicBezTo>
                      <a:cubicBezTo>
                        <a:pt x="1365349" y="69193"/>
                        <a:pt x="1355178" y="73734"/>
                        <a:pt x="1347225" y="82817"/>
                      </a:cubicBezTo>
                      <a:cubicBezTo>
                        <a:pt x="1339272" y="91901"/>
                        <a:pt x="1335295" y="103139"/>
                        <a:pt x="1335295" y="116534"/>
                      </a:cubicBezTo>
                      <a:lnTo>
                        <a:pt x="1335295" y="190371"/>
                      </a:lnTo>
                      <a:lnTo>
                        <a:pt x="1323742" y="190371"/>
                      </a:lnTo>
                      <a:lnTo>
                        <a:pt x="1323742" y="61784"/>
                      </a:lnTo>
                      <a:lnTo>
                        <a:pt x="1335295" y="61784"/>
                      </a:lnTo>
                      <a:lnTo>
                        <a:pt x="1335295" y="85140"/>
                      </a:lnTo>
                      <a:lnTo>
                        <a:pt x="1335797" y="85140"/>
                      </a:lnTo>
                      <a:cubicBezTo>
                        <a:pt x="1345174" y="67476"/>
                        <a:pt x="1359824" y="58644"/>
                        <a:pt x="1379748" y="58644"/>
                      </a:cubicBezTo>
                      <a:close/>
                      <a:moveTo>
                        <a:pt x="1238738" y="58644"/>
                      </a:moveTo>
                      <a:cubicBezTo>
                        <a:pt x="1254728" y="58644"/>
                        <a:pt x="1266992" y="64253"/>
                        <a:pt x="1275531" y="75471"/>
                      </a:cubicBezTo>
                      <a:cubicBezTo>
                        <a:pt x="1284070" y="86689"/>
                        <a:pt x="1288340" y="102009"/>
                        <a:pt x="1288340" y="121431"/>
                      </a:cubicBezTo>
                      <a:lnTo>
                        <a:pt x="1288340" y="126580"/>
                      </a:lnTo>
                      <a:lnTo>
                        <a:pt x="1193155" y="126580"/>
                      </a:lnTo>
                      <a:cubicBezTo>
                        <a:pt x="1193155" y="144244"/>
                        <a:pt x="1197236" y="158057"/>
                        <a:pt x="1205398" y="168019"/>
                      </a:cubicBezTo>
                      <a:cubicBezTo>
                        <a:pt x="1213561" y="177981"/>
                        <a:pt x="1224758" y="182962"/>
                        <a:pt x="1238989" y="182962"/>
                      </a:cubicBezTo>
                      <a:cubicBezTo>
                        <a:pt x="1253389" y="182962"/>
                        <a:pt x="1267453" y="177646"/>
                        <a:pt x="1281182" y="167015"/>
                      </a:cubicBezTo>
                      <a:lnTo>
                        <a:pt x="1281182" y="179321"/>
                      </a:lnTo>
                      <a:cubicBezTo>
                        <a:pt x="1267871" y="188781"/>
                        <a:pt x="1253012" y="193511"/>
                        <a:pt x="1236603" y="193511"/>
                      </a:cubicBezTo>
                      <a:cubicBezTo>
                        <a:pt x="1220028" y="193511"/>
                        <a:pt x="1206633" y="187567"/>
                        <a:pt x="1196420" y="175679"/>
                      </a:cubicBezTo>
                      <a:cubicBezTo>
                        <a:pt x="1186206" y="163791"/>
                        <a:pt x="1181100" y="147006"/>
                        <a:pt x="1181100" y="125324"/>
                      </a:cubicBezTo>
                      <a:cubicBezTo>
                        <a:pt x="1181100" y="106572"/>
                        <a:pt x="1186437" y="90770"/>
                        <a:pt x="1197110" y="77920"/>
                      </a:cubicBezTo>
                      <a:cubicBezTo>
                        <a:pt x="1207784" y="65070"/>
                        <a:pt x="1221660" y="58644"/>
                        <a:pt x="1238738" y="58644"/>
                      </a:cubicBezTo>
                      <a:close/>
                      <a:moveTo>
                        <a:pt x="1032202" y="58644"/>
                      </a:moveTo>
                      <a:cubicBezTo>
                        <a:pt x="1041578" y="58644"/>
                        <a:pt x="1049594" y="61344"/>
                        <a:pt x="1056249" y="66744"/>
                      </a:cubicBezTo>
                      <a:cubicBezTo>
                        <a:pt x="1062905" y="72144"/>
                        <a:pt x="1067404" y="79238"/>
                        <a:pt x="1069748" y="88029"/>
                      </a:cubicBezTo>
                      <a:cubicBezTo>
                        <a:pt x="1073767" y="78736"/>
                        <a:pt x="1079522" y="71516"/>
                        <a:pt x="1087015" y="66367"/>
                      </a:cubicBezTo>
                      <a:cubicBezTo>
                        <a:pt x="1094507" y="61219"/>
                        <a:pt x="1102649" y="58644"/>
                        <a:pt x="1111439" y="58644"/>
                      </a:cubicBezTo>
                      <a:cubicBezTo>
                        <a:pt x="1139567" y="58644"/>
                        <a:pt x="1153632" y="76057"/>
                        <a:pt x="1153632" y="110883"/>
                      </a:cubicBezTo>
                      <a:lnTo>
                        <a:pt x="1153632" y="190371"/>
                      </a:lnTo>
                      <a:lnTo>
                        <a:pt x="1142079" y="190371"/>
                      </a:lnTo>
                      <a:lnTo>
                        <a:pt x="1142079" y="113018"/>
                      </a:lnTo>
                      <a:cubicBezTo>
                        <a:pt x="1142079" y="96861"/>
                        <a:pt x="1139547" y="85517"/>
                        <a:pt x="1134482" y="78987"/>
                      </a:cubicBezTo>
                      <a:cubicBezTo>
                        <a:pt x="1129417" y="72458"/>
                        <a:pt x="1121401" y="69193"/>
                        <a:pt x="1110434" y="69193"/>
                      </a:cubicBezTo>
                      <a:cubicBezTo>
                        <a:pt x="1100305" y="69193"/>
                        <a:pt x="1091556" y="73546"/>
                        <a:pt x="1084189" y="82252"/>
                      </a:cubicBezTo>
                      <a:cubicBezTo>
                        <a:pt x="1076822" y="90959"/>
                        <a:pt x="1073139" y="101884"/>
                        <a:pt x="1073139" y="115027"/>
                      </a:cubicBezTo>
                      <a:lnTo>
                        <a:pt x="1073139" y="190371"/>
                      </a:lnTo>
                      <a:lnTo>
                        <a:pt x="1061586" y="190371"/>
                      </a:lnTo>
                      <a:lnTo>
                        <a:pt x="1061586" y="112139"/>
                      </a:lnTo>
                      <a:cubicBezTo>
                        <a:pt x="1061586" y="83508"/>
                        <a:pt x="1050703" y="69193"/>
                        <a:pt x="1028937" y="69193"/>
                      </a:cubicBezTo>
                      <a:cubicBezTo>
                        <a:pt x="1018472" y="69193"/>
                        <a:pt x="1009766" y="73567"/>
                        <a:pt x="1002818" y="82315"/>
                      </a:cubicBezTo>
                      <a:cubicBezTo>
                        <a:pt x="995869" y="91063"/>
                        <a:pt x="992395" y="102386"/>
                        <a:pt x="992395" y="116283"/>
                      </a:cubicBezTo>
                      <a:lnTo>
                        <a:pt x="992395" y="190371"/>
                      </a:lnTo>
                      <a:lnTo>
                        <a:pt x="980842" y="190371"/>
                      </a:lnTo>
                      <a:lnTo>
                        <a:pt x="980842" y="61784"/>
                      </a:lnTo>
                      <a:lnTo>
                        <a:pt x="992395" y="61784"/>
                      </a:lnTo>
                      <a:lnTo>
                        <a:pt x="992395" y="83131"/>
                      </a:lnTo>
                      <a:lnTo>
                        <a:pt x="992897" y="83131"/>
                      </a:lnTo>
                      <a:cubicBezTo>
                        <a:pt x="1001855" y="66807"/>
                        <a:pt x="1014956" y="58644"/>
                        <a:pt x="1032202" y="58644"/>
                      </a:cubicBezTo>
                      <a:close/>
                      <a:moveTo>
                        <a:pt x="903498" y="58644"/>
                      </a:moveTo>
                      <a:cubicBezTo>
                        <a:pt x="917395" y="58644"/>
                        <a:pt x="928027" y="63270"/>
                        <a:pt x="935394" y="72520"/>
                      </a:cubicBezTo>
                      <a:cubicBezTo>
                        <a:pt x="942761" y="81771"/>
                        <a:pt x="946444" y="94977"/>
                        <a:pt x="946444" y="112139"/>
                      </a:cubicBezTo>
                      <a:lnTo>
                        <a:pt x="946444" y="190371"/>
                      </a:lnTo>
                      <a:lnTo>
                        <a:pt x="934891" y="190371"/>
                      </a:lnTo>
                      <a:lnTo>
                        <a:pt x="934891" y="115529"/>
                      </a:lnTo>
                      <a:cubicBezTo>
                        <a:pt x="934891" y="84638"/>
                        <a:pt x="923757" y="69193"/>
                        <a:pt x="901489" y="69193"/>
                      </a:cubicBezTo>
                      <a:cubicBezTo>
                        <a:pt x="889099" y="69193"/>
                        <a:pt x="878927" y="73734"/>
                        <a:pt x="870974" y="82817"/>
                      </a:cubicBezTo>
                      <a:cubicBezTo>
                        <a:pt x="863021" y="91901"/>
                        <a:pt x="859045" y="103139"/>
                        <a:pt x="859045" y="116534"/>
                      </a:cubicBezTo>
                      <a:lnTo>
                        <a:pt x="859045" y="190371"/>
                      </a:lnTo>
                      <a:lnTo>
                        <a:pt x="847492" y="190371"/>
                      </a:lnTo>
                      <a:lnTo>
                        <a:pt x="847492" y="61784"/>
                      </a:lnTo>
                      <a:lnTo>
                        <a:pt x="859045" y="61784"/>
                      </a:lnTo>
                      <a:lnTo>
                        <a:pt x="859045" y="85140"/>
                      </a:lnTo>
                      <a:lnTo>
                        <a:pt x="859547" y="85140"/>
                      </a:lnTo>
                      <a:cubicBezTo>
                        <a:pt x="868924" y="67476"/>
                        <a:pt x="883574" y="58644"/>
                        <a:pt x="903498" y="58644"/>
                      </a:cubicBezTo>
                      <a:close/>
                      <a:moveTo>
                        <a:pt x="676763" y="58644"/>
                      </a:moveTo>
                      <a:cubicBezTo>
                        <a:pt x="692753" y="58644"/>
                        <a:pt x="705017" y="64253"/>
                        <a:pt x="713556" y="75471"/>
                      </a:cubicBezTo>
                      <a:cubicBezTo>
                        <a:pt x="722095" y="86689"/>
                        <a:pt x="726365" y="102009"/>
                        <a:pt x="726365" y="121431"/>
                      </a:cubicBezTo>
                      <a:lnTo>
                        <a:pt x="726365" y="126580"/>
                      </a:lnTo>
                      <a:lnTo>
                        <a:pt x="631180" y="126580"/>
                      </a:lnTo>
                      <a:cubicBezTo>
                        <a:pt x="631180" y="144244"/>
                        <a:pt x="635261" y="158057"/>
                        <a:pt x="643423" y="168019"/>
                      </a:cubicBezTo>
                      <a:cubicBezTo>
                        <a:pt x="651586" y="177981"/>
                        <a:pt x="662783" y="182962"/>
                        <a:pt x="677014" y="182962"/>
                      </a:cubicBezTo>
                      <a:cubicBezTo>
                        <a:pt x="691413" y="182962"/>
                        <a:pt x="705478" y="177646"/>
                        <a:pt x="719207" y="167015"/>
                      </a:cubicBezTo>
                      <a:lnTo>
                        <a:pt x="719207" y="179321"/>
                      </a:lnTo>
                      <a:cubicBezTo>
                        <a:pt x="705896" y="188781"/>
                        <a:pt x="691037" y="193511"/>
                        <a:pt x="674628" y="193511"/>
                      </a:cubicBezTo>
                      <a:cubicBezTo>
                        <a:pt x="658053" y="193511"/>
                        <a:pt x="644658" y="187567"/>
                        <a:pt x="634445" y="175679"/>
                      </a:cubicBezTo>
                      <a:cubicBezTo>
                        <a:pt x="624231" y="163791"/>
                        <a:pt x="619125" y="147006"/>
                        <a:pt x="619125" y="125324"/>
                      </a:cubicBezTo>
                      <a:cubicBezTo>
                        <a:pt x="619125" y="106572"/>
                        <a:pt x="624462" y="90770"/>
                        <a:pt x="635135" y="77920"/>
                      </a:cubicBezTo>
                      <a:cubicBezTo>
                        <a:pt x="645809" y="65070"/>
                        <a:pt x="659685" y="58644"/>
                        <a:pt x="676763" y="58644"/>
                      </a:cubicBezTo>
                      <a:close/>
                      <a:moveTo>
                        <a:pt x="424235" y="58644"/>
                      </a:moveTo>
                      <a:cubicBezTo>
                        <a:pt x="442569" y="58644"/>
                        <a:pt x="457052" y="64630"/>
                        <a:pt x="467684" y="76601"/>
                      </a:cubicBezTo>
                      <a:cubicBezTo>
                        <a:pt x="478316" y="88573"/>
                        <a:pt x="483632" y="105149"/>
                        <a:pt x="483632" y="126329"/>
                      </a:cubicBezTo>
                      <a:cubicBezTo>
                        <a:pt x="483632" y="146337"/>
                        <a:pt x="478211" y="162536"/>
                        <a:pt x="467370" y="174926"/>
                      </a:cubicBezTo>
                      <a:cubicBezTo>
                        <a:pt x="456529" y="187316"/>
                        <a:pt x="441690" y="193511"/>
                        <a:pt x="422854" y="193511"/>
                      </a:cubicBezTo>
                      <a:cubicBezTo>
                        <a:pt x="404102" y="193511"/>
                        <a:pt x="389263" y="187337"/>
                        <a:pt x="378338" y="174988"/>
                      </a:cubicBezTo>
                      <a:cubicBezTo>
                        <a:pt x="367413" y="162640"/>
                        <a:pt x="361951" y="146588"/>
                        <a:pt x="361951" y="126831"/>
                      </a:cubicBezTo>
                      <a:cubicBezTo>
                        <a:pt x="361951" y="105483"/>
                        <a:pt x="367664" y="88782"/>
                        <a:pt x="379092" y="76727"/>
                      </a:cubicBezTo>
                      <a:cubicBezTo>
                        <a:pt x="390519" y="64672"/>
                        <a:pt x="405567" y="58644"/>
                        <a:pt x="424235" y="58644"/>
                      </a:cubicBezTo>
                      <a:close/>
                      <a:moveTo>
                        <a:pt x="2364968" y="58643"/>
                      </a:moveTo>
                      <a:cubicBezTo>
                        <a:pt x="2381292" y="58643"/>
                        <a:pt x="2394038" y="64273"/>
                        <a:pt x="2403205" y="75533"/>
                      </a:cubicBezTo>
                      <a:cubicBezTo>
                        <a:pt x="2412372" y="86793"/>
                        <a:pt x="2416955" y="102092"/>
                        <a:pt x="2416955" y="121430"/>
                      </a:cubicBezTo>
                      <a:cubicBezTo>
                        <a:pt x="2416955" y="142945"/>
                        <a:pt x="2411702" y="160337"/>
                        <a:pt x="2401196" y="173606"/>
                      </a:cubicBezTo>
                      <a:cubicBezTo>
                        <a:pt x="2390690" y="186875"/>
                        <a:pt x="2376814" y="193510"/>
                        <a:pt x="2359568" y="193510"/>
                      </a:cubicBezTo>
                      <a:cubicBezTo>
                        <a:pt x="2340314" y="193510"/>
                        <a:pt x="2326082" y="184845"/>
                        <a:pt x="2316873" y="167516"/>
                      </a:cubicBezTo>
                      <a:lnTo>
                        <a:pt x="2316371" y="167516"/>
                      </a:lnTo>
                      <a:lnTo>
                        <a:pt x="2316371" y="249515"/>
                      </a:lnTo>
                      <a:lnTo>
                        <a:pt x="2304818" y="249515"/>
                      </a:lnTo>
                      <a:lnTo>
                        <a:pt x="2304818" y="61783"/>
                      </a:lnTo>
                      <a:lnTo>
                        <a:pt x="2316371" y="61783"/>
                      </a:lnTo>
                      <a:lnTo>
                        <a:pt x="2316371" y="88279"/>
                      </a:lnTo>
                      <a:lnTo>
                        <a:pt x="2316873" y="88279"/>
                      </a:lnTo>
                      <a:cubicBezTo>
                        <a:pt x="2321478" y="78819"/>
                        <a:pt x="2328070" y="71515"/>
                        <a:pt x="2336651" y="66366"/>
                      </a:cubicBezTo>
                      <a:cubicBezTo>
                        <a:pt x="2345232" y="61218"/>
                        <a:pt x="2354671" y="58643"/>
                        <a:pt x="2364968" y="58643"/>
                      </a:cubicBezTo>
                      <a:close/>
                      <a:moveTo>
                        <a:pt x="1474045" y="24488"/>
                      </a:moveTo>
                      <a:lnTo>
                        <a:pt x="1474045" y="61784"/>
                      </a:lnTo>
                      <a:lnTo>
                        <a:pt x="1507950" y="61784"/>
                      </a:lnTo>
                      <a:lnTo>
                        <a:pt x="1507950" y="72332"/>
                      </a:lnTo>
                      <a:lnTo>
                        <a:pt x="1474045" y="72332"/>
                      </a:lnTo>
                      <a:lnTo>
                        <a:pt x="1474045" y="157220"/>
                      </a:lnTo>
                      <a:cubicBezTo>
                        <a:pt x="1474045" y="166094"/>
                        <a:pt x="1475447" y="172519"/>
                        <a:pt x="1478251" y="176495"/>
                      </a:cubicBezTo>
                      <a:cubicBezTo>
                        <a:pt x="1481056" y="180472"/>
                        <a:pt x="1485807" y="182460"/>
                        <a:pt x="1492504" y="182460"/>
                      </a:cubicBezTo>
                      <a:cubicBezTo>
                        <a:pt x="1497276" y="182460"/>
                        <a:pt x="1502424" y="180911"/>
                        <a:pt x="1507950" y="177814"/>
                      </a:cubicBezTo>
                      <a:lnTo>
                        <a:pt x="1507950" y="188613"/>
                      </a:lnTo>
                      <a:cubicBezTo>
                        <a:pt x="1501922" y="191460"/>
                        <a:pt x="1496271" y="192883"/>
                        <a:pt x="1490997" y="192883"/>
                      </a:cubicBezTo>
                      <a:cubicBezTo>
                        <a:pt x="1471994" y="192883"/>
                        <a:pt x="1462492" y="181497"/>
                        <a:pt x="1462492" y="158727"/>
                      </a:cubicBezTo>
                      <a:lnTo>
                        <a:pt x="1462492" y="72332"/>
                      </a:lnTo>
                      <a:lnTo>
                        <a:pt x="1439386" y="72332"/>
                      </a:lnTo>
                      <a:lnTo>
                        <a:pt x="1439386" y="61784"/>
                      </a:lnTo>
                      <a:lnTo>
                        <a:pt x="1462492" y="61784"/>
                      </a:lnTo>
                      <a:lnTo>
                        <a:pt x="1462492" y="28381"/>
                      </a:lnTo>
                      <a:cubicBezTo>
                        <a:pt x="1464334" y="27711"/>
                        <a:pt x="1466259" y="27042"/>
                        <a:pt x="1468268" y="26372"/>
                      </a:cubicBezTo>
                      <a:cubicBezTo>
                        <a:pt x="1470278" y="25786"/>
                        <a:pt x="1472203" y="25158"/>
                        <a:pt x="1474045" y="24488"/>
                      </a:cubicBezTo>
                      <a:close/>
                      <a:moveTo>
                        <a:pt x="1872319" y="10299"/>
                      </a:moveTo>
                      <a:cubicBezTo>
                        <a:pt x="1874914" y="10299"/>
                        <a:pt x="1877195" y="11136"/>
                        <a:pt x="1879163" y="12810"/>
                      </a:cubicBezTo>
                      <a:cubicBezTo>
                        <a:pt x="1881130" y="14484"/>
                        <a:pt x="1882114" y="16745"/>
                        <a:pt x="1882114" y="19591"/>
                      </a:cubicBezTo>
                      <a:cubicBezTo>
                        <a:pt x="1882114" y="22270"/>
                        <a:pt x="1881151" y="24572"/>
                        <a:pt x="1879226" y="26498"/>
                      </a:cubicBezTo>
                      <a:cubicBezTo>
                        <a:pt x="1877300" y="28423"/>
                        <a:pt x="1874998" y="29386"/>
                        <a:pt x="1872319" y="29386"/>
                      </a:cubicBezTo>
                      <a:cubicBezTo>
                        <a:pt x="1869808" y="29386"/>
                        <a:pt x="1867589" y="28465"/>
                        <a:pt x="1865664" y="26623"/>
                      </a:cubicBezTo>
                      <a:cubicBezTo>
                        <a:pt x="1863738" y="24781"/>
                        <a:pt x="1862775" y="22437"/>
                        <a:pt x="1862775" y="19591"/>
                      </a:cubicBezTo>
                      <a:cubicBezTo>
                        <a:pt x="1862775" y="16828"/>
                        <a:pt x="1863759" y="14589"/>
                        <a:pt x="1865726" y="12873"/>
                      </a:cubicBezTo>
                      <a:cubicBezTo>
                        <a:pt x="1867694" y="11157"/>
                        <a:pt x="1869891" y="10299"/>
                        <a:pt x="1872319" y="10299"/>
                      </a:cubicBezTo>
                      <a:close/>
                      <a:moveTo>
                        <a:pt x="282796" y="7284"/>
                      </a:moveTo>
                      <a:cubicBezTo>
                        <a:pt x="298619" y="7284"/>
                        <a:pt x="313981" y="10465"/>
                        <a:pt x="328882" y="16827"/>
                      </a:cubicBezTo>
                      <a:lnTo>
                        <a:pt x="328882" y="30389"/>
                      </a:lnTo>
                      <a:cubicBezTo>
                        <a:pt x="312557" y="22520"/>
                        <a:pt x="296610" y="18585"/>
                        <a:pt x="281038" y="18585"/>
                      </a:cubicBezTo>
                      <a:cubicBezTo>
                        <a:pt x="258351" y="18585"/>
                        <a:pt x="240122" y="26329"/>
                        <a:pt x="226351" y="41817"/>
                      </a:cubicBezTo>
                      <a:cubicBezTo>
                        <a:pt x="212580" y="57304"/>
                        <a:pt x="205694" y="77061"/>
                        <a:pt x="205694" y="101087"/>
                      </a:cubicBezTo>
                      <a:cubicBezTo>
                        <a:pt x="205694" y="126369"/>
                        <a:pt x="212161" y="146189"/>
                        <a:pt x="225095" y="160546"/>
                      </a:cubicBezTo>
                      <a:cubicBezTo>
                        <a:pt x="238029" y="174904"/>
                        <a:pt x="255463" y="182082"/>
                        <a:pt x="277397" y="182082"/>
                      </a:cubicBezTo>
                      <a:cubicBezTo>
                        <a:pt x="293638" y="182082"/>
                        <a:pt x="307869" y="178566"/>
                        <a:pt x="320092" y="171534"/>
                      </a:cubicBezTo>
                      <a:lnTo>
                        <a:pt x="320092" y="112138"/>
                      </a:lnTo>
                      <a:lnTo>
                        <a:pt x="277648" y="112138"/>
                      </a:lnTo>
                      <a:lnTo>
                        <a:pt x="277648" y="100836"/>
                      </a:lnTo>
                      <a:lnTo>
                        <a:pt x="332524" y="100836"/>
                      </a:lnTo>
                      <a:lnTo>
                        <a:pt x="332524" y="177813"/>
                      </a:lnTo>
                      <a:cubicBezTo>
                        <a:pt x="313939" y="188277"/>
                        <a:pt x="294810" y="193510"/>
                        <a:pt x="275136" y="193510"/>
                      </a:cubicBezTo>
                      <a:cubicBezTo>
                        <a:pt x="250608" y="193510"/>
                        <a:pt x="230767" y="185180"/>
                        <a:pt x="215615" y="168520"/>
                      </a:cubicBezTo>
                      <a:cubicBezTo>
                        <a:pt x="200462" y="151861"/>
                        <a:pt x="192886" y="130011"/>
                        <a:pt x="192886" y="102971"/>
                      </a:cubicBezTo>
                      <a:cubicBezTo>
                        <a:pt x="192886" y="75680"/>
                        <a:pt x="201048" y="52909"/>
                        <a:pt x="217373" y="34659"/>
                      </a:cubicBezTo>
                      <a:cubicBezTo>
                        <a:pt x="233697" y="16409"/>
                        <a:pt x="255505" y="7284"/>
                        <a:pt x="282796" y="7284"/>
                      </a:cubicBezTo>
                      <a:close/>
                      <a:moveTo>
                        <a:pt x="2447693" y="0"/>
                      </a:moveTo>
                      <a:lnTo>
                        <a:pt x="2459246" y="0"/>
                      </a:lnTo>
                      <a:lnTo>
                        <a:pt x="2459246" y="190370"/>
                      </a:lnTo>
                      <a:lnTo>
                        <a:pt x="2447693" y="190370"/>
                      </a:lnTo>
                      <a:close/>
                      <a:moveTo>
                        <a:pt x="1980968" y="0"/>
                      </a:moveTo>
                      <a:lnTo>
                        <a:pt x="1992521" y="0"/>
                      </a:lnTo>
                      <a:lnTo>
                        <a:pt x="1992521" y="190370"/>
                      </a:lnTo>
                      <a:lnTo>
                        <a:pt x="1980968" y="190370"/>
                      </a:lnTo>
                      <a:close/>
                      <a:moveTo>
                        <a:pt x="1923818" y="0"/>
                      </a:moveTo>
                      <a:lnTo>
                        <a:pt x="1935371" y="0"/>
                      </a:lnTo>
                      <a:lnTo>
                        <a:pt x="1935371" y="190370"/>
                      </a:lnTo>
                      <a:lnTo>
                        <a:pt x="1923818" y="190370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kern="0" dirty="0">
                      <a:solidFill>
                        <a:prstClr val="white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Замена традиционной переписи населения решениями больших данных и аналитикой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625" name="Car sharing"/>
              <p:cNvGrpSpPr/>
              <p:nvPr/>
            </p:nvGrpSpPr>
            <p:grpSpPr>
              <a:xfrm>
                <a:off x="37637473" y="2490055"/>
                <a:ext cx="2619661" cy="1869181"/>
                <a:chOff x="4402592" y="4713678"/>
                <a:chExt cx="2619661" cy="1869181"/>
              </a:xfrm>
            </p:grpSpPr>
            <p:grpSp>
              <p:nvGrpSpPr>
                <p:cNvPr id="98" name="Group 97"/>
                <p:cNvGrpSpPr/>
                <p:nvPr/>
              </p:nvGrpSpPr>
              <p:grpSpPr>
                <a:xfrm>
                  <a:off x="4473262" y="4713678"/>
                  <a:ext cx="2469067" cy="1070821"/>
                  <a:chOff x="2853596" y="7041656"/>
                  <a:chExt cx="1903413" cy="825500"/>
                </a:xfrm>
              </p:grpSpPr>
              <p:sp>
                <p:nvSpPr>
                  <p:cNvPr id="86" name="Freeform 232"/>
                  <p:cNvSpPr>
                    <a:spLocks/>
                  </p:cNvSpPr>
                  <p:nvPr/>
                </p:nvSpPr>
                <p:spPr bwMode="auto">
                  <a:xfrm>
                    <a:off x="3609246" y="7286131"/>
                    <a:ext cx="241300" cy="536575"/>
                  </a:xfrm>
                  <a:custGeom>
                    <a:avLst/>
                    <a:gdLst>
                      <a:gd name="T0" fmla="*/ 522 w 675"/>
                      <a:gd name="T1" fmla="*/ 635 h 1500"/>
                      <a:gd name="T2" fmla="*/ 626 w 675"/>
                      <a:gd name="T3" fmla="*/ 639 h 1500"/>
                      <a:gd name="T4" fmla="*/ 653 w 675"/>
                      <a:gd name="T5" fmla="*/ 625 h 1500"/>
                      <a:gd name="T6" fmla="*/ 673 w 675"/>
                      <a:gd name="T7" fmla="*/ 587 h 1500"/>
                      <a:gd name="T8" fmla="*/ 632 w 675"/>
                      <a:gd name="T9" fmla="*/ 70 h 1500"/>
                      <a:gd name="T10" fmla="*/ 606 w 675"/>
                      <a:gd name="T11" fmla="*/ 38 h 1500"/>
                      <a:gd name="T12" fmla="*/ 487 w 675"/>
                      <a:gd name="T13" fmla="*/ 6 h 1500"/>
                      <a:gd name="T14" fmla="*/ 460 w 675"/>
                      <a:gd name="T15" fmla="*/ 0 h 1500"/>
                      <a:gd name="T16" fmla="*/ 443 w 675"/>
                      <a:gd name="T17" fmla="*/ 21 h 1500"/>
                      <a:gd name="T18" fmla="*/ 355 w 675"/>
                      <a:gd name="T19" fmla="*/ 142 h 1500"/>
                      <a:gd name="T20" fmla="*/ 325 w 675"/>
                      <a:gd name="T21" fmla="*/ 142 h 1500"/>
                      <a:gd name="T22" fmla="*/ 237 w 675"/>
                      <a:gd name="T23" fmla="*/ 21 h 1500"/>
                      <a:gd name="T24" fmla="*/ 219 w 675"/>
                      <a:gd name="T25" fmla="*/ 0 h 1500"/>
                      <a:gd name="T26" fmla="*/ 192 w 675"/>
                      <a:gd name="T27" fmla="*/ 6 h 1500"/>
                      <a:gd name="T28" fmla="*/ 69 w 675"/>
                      <a:gd name="T29" fmla="*/ 38 h 1500"/>
                      <a:gd name="T30" fmla="*/ 43 w 675"/>
                      <a:gd name="T31" fmla="*/ 70 h 1500"/>
                      <a:gd name="T32" fmla="*/ 2 w 675"/>
                      <a:gd name="T33" fmla="*/ 587 h 1500"/>
                      <a:gd name="T34" fmla="*/ 22 w 675"/>
                      <a:gd name="T35" fmla="*/ 625 h 1500"/>
                      <a:gd name="T36" fmla="*/ 91 w 675"/>
                      <a:gd name="T37" fmla="*/ 661 h 1500"/>
                      <a:gd name="T38" fmla="*/ 115 w 675"/>
                      <a:gd name="T39" fmla="*/ 699 h 1500"/>
                      <a:gd name="T40" fmla="*/ 173 w 675"/>
                      <a:gd name="T41" fmla="*/ 1475 h 1500"/>
                      <a:gd name="T42" fmla="*/ 201 w 675"/>
                      <a:gd name="T43" fmla="*/ 1500 h 1500"/>
                      <a:gd name="T44" fmla="*/ 298 w 675"/>
                      <a:gd name="T45" fmla="*/ 1500 h 1500"/>
                      <a:gd name="T46" fmla="*/ 324 w 675"/>
                      <a:gd name="T47" fmla="*/ 1475 h 1500"/>
                      <a:gd name="T48" fmla="*/ 324 w 675"/>
                      <a:gd name="T49" fmla="*/ 940 h 1500"/>
                      <a:gd name="T50" fmla="*/ 340 w 675"/>
                      <a:gd name="T51" fmla="*/ 915 h 1500"/>
                      <a:gd name="T52" fmla="*/ 355 w 675"/>
                      <a:gd name="T53" fmla="*/ 940 h 1500"/>
                      <a:gd name="T54" fmla="*/ 355 w 675"/>
                      <a:gd name="T55" fmla="*/ 1475 h 1500"/>
                      <a:gd name="T56" fmla="*/ 381 w 675"/>
                      <a:gd name="T57" fmla="*/ 1500 h 1500"/>
                      <a:gd name="T58" fmla="*/ 482 w 675"/>
                      <a:gd name="T59" fmla="*/ 1500 h 1500"/>
                      <a:gd name="T60" fmla="*/ 509 w 675"/>
                      <a:gd name="T61" fmla="*/ 1475 h 1500"/>
                      <a:gd name="T62" fmla="*/ 555 w 675"/>
                      <a:gd name="T63" fmla="*/ 862 h 1500"/>
                      <a:gd name="T64" fmla="*/ 522 w 675"/>
                      <a:gd name="T65" fmla="*/ 635 h 15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675" h="1500">
                        <a:moveTo>
                          <a:pt x="522" y="635"/>
                        </a:moveTo>
                        <a:cubicBezTo>
                          <a:pt x="552" y="634"/>
                          <a:pt x="588" y="635"/>
                          <a:pt x="626" y="639"/>
                        </a:cubicBezTo>
                        <a:cubicBezTo>
                          <a:pt x="653" y="625"/>
                          <a:pt x="653" y="625"/>
                          <a:pt x="653" y="625"/>
                        </a:cubicBezTo>
                        <a:cubicBezTo>
                          <a:pt x="665" y="618"/>
                          <a:pt x="675" y="601"/>
                          <a:pt x="673" y="587"/>
                        </a:cubicBezTo>
                        <a:cubicBezTo>
                          <a:pt x="632" y="70"/>
                          <a:pt x="632" y="70"/>
                          <a:pt x="632" y="70"/>
                        </a:cubicBezTo>
                        <a:cubicBezTo>
                          <a:pt x="631" y="56"/>
                          <a:pt x="619" y="42"/>
                          <a:pt x="606" y="38"/>
                        </a:cubicBezTo>
                        <a:cubicBezTo>
                          <a:pt x="487" y="6"/>
                          <a:pt x="487" y="6"/>
                          <a:pt x="487" y="6"/>
                        </a:cubicBezTo>
                        <a:cubicBezTo>
                          <a:pt x="474" y="3"/>
                          <a:pt x="461" y="0"/>
                          <a:pt x="460" y="0"/>
                        </a:cubicBezTo>
                        <a:cubicBezTo>
                          <a:pt x="459" y="0"/>
                          <a:pt x="451" y="9"/>
                          <a:pt x="443" y="21"/>
                        </a:cubicBezTo>
                        <a:cubicBezTo>
                          <a:pt x="355" y="142"/>
                          <a:pt x="355" y="142"/>
                          <a:pt x="355" y="142"/>
                        </a:cubicBezTo>
                        <a:cubicBezTo>
                          <a:pt x="346" y="153"/>
                          <a:pt x="333" y="153"/>
                          <a:pt x="325" y="142"/>
                        </a:cubicBezTo>
                        <a:cubicBezTo>
                          <a:pt x="237" y="21"/>
                          <a:pt x="237" y="21"/>
                          <a:pt x="237" y="21"/>
                        </a:cubicBezTo>
                        <a:cubicBezTo>
                          <a:pt x="229" y="9"/>
                          <a:pt x="221" y="0"/>
                          <a:pt x="219" y="0"/>
                        </a:cubicBezTo>
                        <a:cubicBezTo>
                          <a:pt x="218" y="0"/>
                          <a:pt x="206" y="3"/>
                          <a:pt x="192" y="6"/>
                        </a:cubicBezTo>
                        <a:cubicBezTo>
                          <a:pt x="69" y="38"/>
                          <a:pt x="69" y="38"/>
                          <a:pt x="69" y="38"/>
                        </a:cubicBezTo>
                        <a:cubicBezTo>
                          <a:pt x="56" y="42"/>
                          <a:pt x="44" y="56"/>
                          <a:pt x="43" y="70"/>
                        </a:cubicBezTo>
                        <a:cubicBezTo>
                          <a:pt x="2" y="587"/>
                          <a:pt x="2" y="587"/>
                          <a:pt x="2" y="587"/>
                        </a:cubicBezTo>
                        <a:cubicBezTo>
                          <a:pt x="0" y="601"/>
                          <a:pt x="10" y="618"/>
                          <a:pt x="22" y="625"/>
                        </a:cubicBezTo>
                        <a:cubicBezTo>
                          <a:pt x="91" y="661"/>
                          <a:pt x="91" y="661"/>
                          <a:pt x="91" y="661"/>
                        </a:cubicBezTo>
                        <a:cubicBezTo>
                          <a:pt x="103" y="668"/>
                          <a:pt x="114" y="685"/>
                          <a:pt x="115" y="699"/>
                        </a:cubicBezTo>
                        <a:cubicBezTo>
                          <a:pt x="173" y="1475"/>
                          <a:pt x="173" y="1475"/>
                          <a:pt x="173" y="1475"/>
                        </a:cubicBezTo>
                        <a:cubicBezTo>
                          <a:pt x="175" y="1489"/>
                          <a:pt x="187" y="1500"/>
                          <a:pt x="201" y="1500"/>
                        </a:cubicBezTo>
                        <a:cubicBezTo>
                          <a:pt x="298" y="1500"/>
                          <a:pt x="298" y="1500"/>
                          <a:pt x="298" y="1500"/>
                        </a:cubicBezTo>
                        <a:cubicBezTo>
                          <a:pt x="312" y="1500"/>
                          <a:pt x="324" y="1489"/>
                          <a:pt x="324" y="1475"/>
                        </a:cubicBezTo>
                        <a:cubicBezTo>
                          <a:pt x="324" y="940"/>
                          <a:pt x="324" y="940"/>
                          <a:pt x="324" y="940"/>
                        </a:cubicBezTo>
                        <a:cubicBezTo>
                          <a:pt x="324" y="926"/>
                          <a:pt x="331" y="915"/>
                          <a:pt x="340" y="915"/>
                        </a:cubicBezTo>
                        <a:cubicBezTo>
                          <a:pt x="348" y="915"/>
                          <a:pt x="355" y="926"/>
                          <a:pt x="355" y="940"/>
                        </a:cubicBezTo>
                        <a:cubicBezTo>
                          <a:pt x="355" y="1475"/>
                          <a:pt x="355" y="1475"/>
                          <a:pt x="355" y="1475"/>
                        </a:cubicBezTo>
                        <a:cubicBezTo>
                          <a:pt x="355" y="1489"/>
                          <a:pt x="367" y="1500"/>
                          <a:pt x="381" y="1500"/>
                        </a:cubicBezTo>
                        <a:cubicBezTo>
                          <a:pt x="482" y="1500"/>
                          <a:pt x="482" y="1500"/>
                          <a:pt x="482" y="1500"/>
                        </a:cubicBezTo>
                        <a:cubicBezTo>
                          <a:pt x="496" y="1500"/>
                          <a:pt x="508" y="1489"/>
                          <a:pt x="509" y="1475"/>
                        </a:cubicBezTo>
                        <a:cubicBezTo>
                          <a:pt x="555" y="862"/>
                          <a:pt x="555" y="862"/>
                          <a:pt x="555" y="862"/>
                        </a:cubicBezTo>
                        <a:cubicBezTo>
                          <a:pt x="502" y="780"/>
                          <a:pt x="522" y="635"/>
                          <a:pt x="522" y="635"/>
                        </a:cubicBezTo>
                        <a:close/>
                      </a:path>
                    </a:pathLst>
                  </a:cu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Oval 233"/>
                  <p:cNvSpPr>
                    <a:spLocks noChangeArrowheads="1"/>
                  </p:cNvSpPr>
                  <p:nvPr/>
                </p:nvSpPr>
                <p:spPr bwMode="auto">
                  <a:xfrm>
                    <a:off x="2901221" y="7276606"/>
                    <a:ext cx="84138" cy="84138"/>
                  </a:xfrm>
                  <a:prstGeom prst="ellipse">
                    <a:avLst/>
                  </a:pr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234"/>
                  <p:cNvSpPr>
                    <a:spLocks/>
                  </p:cNvSpPr>
                  <p:nvPr/>
                </p:nvSpPr>
                <p:spPr bwMode="auto">
                  <a:xfrm>
                    <a:off x="2853596" y="7371856"/>
                    <a:ext cx="176213" cy="393700"/>
                  </a:xfrm>
                  <a:custGeom>
                    <a:avLst/>
                    <a:gdLst>
                      <a:gd name="T0" fmla="*/ 478 w 494"/>
                      <a:gd name="T1" fmla="*/ 458 h 1099"/>
                      <a:gd name="T2" fmla="*/ 493 w 494"/>
                      <a:gd name="T3" fmla="*/ 431 h 1099"/>
                      <a:gd name="T4" fmla="*/ 463 w 494"/>
                      <a:gd name="T5" fmla="*/ 52 h 1099"/>
                      <a:gd name="T6" fmla="*/ 443 w 494"/>
                      <a:gd name="T7" fmla="*/ 29 h 1099"/>
                      <a:gd name="T8" fmla="*/ 356 w 494"/>
                      <a:gd name="T9" fmla="*/ 5 h 1099"/>
                      <a:gd name="T10" fmla="*/ 336 w 494"/>
                      <a:gd name="T11" fmla="*/ 0 h 1099"/>
                      <a:gd name="T12" fmla="*/ 324 w 494"/>
                      <a:gd name="T13" fmla="*/ 16 h 1099"/>
                      <a:gd name="T14" fmla="*/ 259 w 494"/>
                      <a:gd name="T15" fmla="*/ 104 h 1099"/>
                      <a:gd name="T16" fmla="*/ 237 w 494"/>
                      <a:gd name="T17" fmla="*/ 104 h 1099"/>
                      <a:gd name="T18" fmla="*/ 173 w 494"/>
                      <a:gd name="T19" fmla="*/ 16 h 1099"/>
                      <a:gd name="T20" fmla="*/ 160 w 494"/>
                      <a:gd name="T21" fmla="*/ 0 h 1099"/>
                      <a:gd name="T22" fmla="*/ 140 w 494"/>
                      <a:gd name="T23" fmla="*/ 5 h 1099"/>
                      <a:gd name="T24" fmla="*/ 50 w 494"/>
                      <a:gd name="T25" fmla="*/ 29 h 1099"/>
                      <a:gd name="T26" fmla="*/ 31 w 494"/>
                      <a:gd name="T27" fmla="*/ 52 h 1099"/>
                      <a:gd name="T28" fmla="*/ 1 w 494"/>
                      <a:gd name="T29" fmla="*/ 431 h 1099"/>
                      <a:gd name="T30" fmla="*/ 16 w 494"/>
                      <a:gd name="T31" fmla="*/ 458 h 1099"/>
                      <a:gd name="T32" fmla="*/ 66 w 494"/>
                      <a:gd name="T33" fmla="*/ 485 h 1099"/>
                      <a:gd name="T34" fmla="*/ 84 w 494"/>
                      <a:gd name="T35" fmla="*/ 512 h 1099"/>
                      <a:gd name="T36" fmla="*/ 127 w 494"/>
                      <a:gd name="T37" fmla="*/ 1081 h 1099"/>
                      <a:gd name="T38" fmla="*/ 147 w 494"/>
                      <a:gd name="T39" fmla="*/ 1099 h 1099"/>
                      <a:gd name="T40" fmla="*/ 218 w 494"/>
                      <a:gd name="T41" fmla="*/ 1099 h 1099"/>
                      <a:gd name="T42" fmla="*/ 237 w 494"/>
                      <a:gd name="T43" fmla="*/ 1081 h 1099"/>
                      <a:gd name="T44" fmla="*/ 237 w 494"/>
                      <a:gd name="T45" fmla="*/ 689 h 1099"/>
                      <a:gd name="T46" fmla="*/ 248 w 494"/>
                      <a:gd name="T47" fmla="*/ 670 h 1099"/>
                      <a:gd name="T48" fmla="*/ 260 w 494"/>
                      <a:gd name="T49" fmla="*/ 689 h 1099"/>
                      <a:gd name="T50" fmla="*/ 260 w 494"/>
                      <a:gd name="T51" fmla="*/ 1081 h 1099"/>
                      <a:gd name="T52" fmla="*/ 279 w 494"/>
                      <a:gd name="T53" fmla="*/ 1099 h 1099"/>
                      <a:gd name="T54" fmla="*/ 352 w 494"/>
                      <a:gd name="T55" fmla="*/ 1099 h 1099"/>
                      <a:gd name="T56" fmla="*/ 373 w 494"/>
                      <a:gd name="T57" fmla="*/ 1081 h 1099"/>
                      <a:gd name="T58" fmla="*/ 415 w 494"/>
                      <a:gd name="T59" fmla="*/ 509 h 1099"/>
                      <a:gd name="T60" fmla="*/ 433 w 494"/>
                      <a:gd name="T61" fmla="*/ 482 h 1099"/>
                      <a:gd name="T62" fmla="*/ 478 w 494"/>
                      <a:gd name="T63" fmla="*/ 458 h 10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494" h="1099">
                        <a:moveTo>
                          <a:pt x="478" y="458"/>
                        </a:moveTo>
                        <a:cubicBezTo>
                          <a:pt x="487" y="453"/>
                          <a:pt x="494" y="441"/>
                          <a:pt x="493" y="431"/>
                        </a:cubicBezTo>
                        <a:cubicBezTo>
                          <a:pt x="463" y="52"/>
                          <a:pt x="463" y="52"/>
                          <a:pt x="463" y="52"/>
                        </a:cubicBezTo>
                        <a:cubicBezTo>
                          <a:pt x="462" y="42"/>
                          <a:pt x="453" y="31"/>
                          <a:pt x="443" y="29"/>
                        </a:cubicBezTo>
                        <a:cubicBezTo>
                          <a:pt x="356" y="5"/>
                          <a:pt x="356" y="5"/>
                          <a:pt x="356" y="5"/>
                        </a:cubicBezTo>
                        <a:cubicBezTo>
                          <a:pt x="346" y="3"/>
                          <a:pt x="337" y="0"/>
                          <a:pt x="336" y="0"/>
                        </a:cubicBezTo>
                        <a:cubicBezTo>
                          <a:pt x="335" y="0"/>
                          <a:pt x="330" y="7"/>
                          <a:pt x="324" y="16"/>
                        </a:cubicBezTo>
                        <a:cubicBezTo>
                          <a:pt x="259" y="104"/>
                          <a:pt x="259" y="104"/>
                          <a:pt x="259" y="104"/>
                        </a:cubicBezTo>
                        <a:cubicBezTo>
                          <a:pt x="253" y="113"/>
                          <a:pt x="243" y="113"/>
                          <a:pt x="237" y="104"/>
                        </a:cubicBezTo>
                        <a:cubicBezTo>
                          <a:pt x="173" y="16"/>
                          <a:pt x="173" y="16"/>
                          <a:pt x="173" y="16"/>
                        </a:cubicBezTo>
                        <a:cubicBezTo>
                          <a:pt x="167" y="7"/>
                          <a:pt x="161" y="0"/>
                          <a:pt x="160" y="0"/>
                        </a:cubicBezTo>
                        <a:cubicBezTo>
                          <a:pt x="159" y="0"/>
                          <a:pt x="150" y="3"/>
                          <a:pt x="140" y="5"/>
                        </a:cubicBezTo>
                        <a:cubicBezTo>
                          <a:pt x="50" y="29"/>
                          <a:pt x="50" y="29"/>
                          <a:pt x="50" y="29"/>
                        </a:cubicBezTo>
                        <a:cubicBezTo>
                          <a:pt x="40" y="31"/>
                          <a:pt x="32" y="42"/>
                          <a:pt x="31" y="52"/>
                        </a:cubicBezTo>
                        <a:cubicBezTo>
                          <a:pt x="1" y="431"/>
                          <a:pt x="1" y="431"/>
                          <a:pt x="1" y="431"/>
                        </a:cubicBezTo>
                        <a:cubicBezTo>
                          <a:pt x="0" y="441"/>
                          <a:pt x="7" y="453"/>
                          <a:pt x="16" y="458"/>
                        </a:cubicBezTo>
                        <a:cubicBezTo>
                          <a:pt x="66" y="485"/>
                          <a:pt x="66" y="485"/>
                          <a:pt x="66" y="485"/>
                        </a:cubicBezTo>
                        <a:cubicBezTo>
                          <a:pt x="75" y="490"/>
                          <a:pt x="83" y="502"/>
                          <a:pt x="84" y="512"/>
                        </a:cubicBezTo>
                        <a:cubicBezTo>
                          <a:pt x="127" y="1081"/>
                          <a:pt x="127" y="1081"/>
                          <a:pt x="127" y="1081"/>
                        </a:cubicBezTo>
                        <a:cubicBezTo>
                          <a:pt x="127" y="1091"/>
                          <a:pt x="136" y="1099"/>
                          <a:pt x="147" y="1099"/>
                        </a:cubicBezTo>
                        <a:cubicBezTo>
                          <a:pt x="218" y="1099"/>
                          <a:pt x="218" y="1099"/>
                          <a:pt x="218" y="1099"/>
                        </a:cubicBezTo>
                        <a:cubicBezTo>
                          <a:pt x="228" y="1099"/>
                          <a:pt x="237" y="1091"/>
                          <a:pt x="237" y="1081"/>
                        </a:cubicBezTo>
                        <a:cubicBezTo>
                          <a:pt x="237" y="689"/>
                          <a:pt x="237" y="689"/>
                          <a:pt x="237" y="689"/>
                        </a:cubicBezTo>
                        <a:cubicBezTo>
                          <a:pt x="237" y="679"/>
                          <a:pt x="242" y="670"/>
                          <a:pt x="248" y="670"/>
                        </a:cubicBezTo>
                        <a:cubicBezTo>
                          <a:pt x="255" y="670"/>
                          <a:pt x="260" y="679"/>
                          <a:pt x="260" y="689"/>
                        </a:cubicBezTo>
                        <a:cubicBezTo>
                          <a:pt x="260" y="1081"/>
                          <a:pt x="260" y="1081"/>
                          <a:pt x="260" y="1081"/>
                        </a:cubicBezTo>
                        <a:cubicBezTo>
                          <a:pt x="260" y="1091"/>
                          <a:pt x="268" y="1099"/>
                          <a:pt x="279" y="1099"/>
                        </a:cubicBezTo>
                        <a:cubicBezTo>
                          <a:pt x="352" y="1099"/>
                          <a:pt x="352" y="1099"/>
                          <a:pt x="352" y="1099"/>
                        </a:cubicBezTo>
                        <a:cubicBezTo>
                          <a:pt x="363" y="1099"/>
                          <a:pt x="372" y="1091"/>
                          <a:pt x="373" y="1081"/>
                        </a:cubicBezTo>
                        <a:cubicBezTo>
                          <a:pt x="415" y="509"/>
                          <a:pt x="415" y="509"/>
                          <a:pt x="415" y="509"/>
                        </a:cubicBezTo>
                        <a:cubicBezTo>
                          <a:pt x="416" y="499"/>
                          <a:pt x="424" y="487"/>
                          <a:pt x="433" y="482"/>
                        </a:cubicBezTo>
                        <a:lnTo>
                          <a:pt x="478" y="458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Oval 235"/>
                  <p:cNvSpPr>
                    <a:spLocks noChangeArrowheads="1"/>
                  </p:cNvSpPr>
                  <p:nvPr/>
                </p:nvSpPr>
                <p:spPr bwMode="auto">
                  <a:xfrm>
                    <a:off x="3053621" y="7201994"/>
                    <a:ext cx="103188" cy="103188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236"/>
                  <p:cNvSpPr>
                    <a:spLocks/>
                  </p:cNvSpPr>
                  <p:nvPr/>
                </p:nvSpPr>
                <p:spPr bwMode="auto">
                  <a:xfrm>
                    <a:off x="2994884" y="7321056"/>
                    <a:ext cx="217488" cy="482600"/>
                  </a:xfrm>
                  <a:custGeom>
                    <a:avLst/>
                    <a:gdLst>
                      <a:gd name="T0" fmla="*/ 587 w 607"/>
                      <a:gd name="T1" fmla="*/ 562 h 1351"/>
                      <a:gd name="T2" fmla="*/ 606 w 607"/>
                      <a:gd name="T3" fmla="*/ 529 h 1351"/>
                      <a:gd name="T4" fmla="*/ 569 w 607"/>
                      <a:gd name="T5" fmla="*/ 64 h 1351"/>
                      <a:gd name="T6" fmla="*/ 545 w 607"/>
                      <a:gd name="T7" fmla="*/ 35 h 1351"/>
                      <a:gd name="T8" fmla="*/ 438 w 607"/>
                      <a:gd name="T9" fmla="*/ 6 h 1351"/>
                      <a:gd name="T10" fmla="*/ 413 w 607"/>
                      <a:gd name="T11" fmla="*/ 0 h 1351"/>
                      <a:gd name="T12" fmla="*/ 398 w 607"/>
                      <a:gd name="T13" fmla="*/ 19 h 1351"/>
                      <a:gd name="T14" fmla="*/ 319 w 607"/>
                      <a:gd name="T15" fmla="*/ 128 h 1351"/>
                      <a:gd name="T16" fmla="*/ 292 w 607"/>
                      <a:gd name="T17" fmla="*/ 128 h 1351"/>
                      <a:gd name="T18" fmla="*/ 213 w 607"/>
                      <a:gd name="T19" fmla="*/ 19 h 1351"/>
                      <a:gd name="T20" fmla="*/ 197 w 607"/>
                      <a:gd name="T21" fmla="*/ 0 h 1351"/>
                      <a:gd name="T22" fmla="*/ 173 w 607"/>
                      <a:gd name="T23" fmla="*/ 6 h 1351"/>
                      <a:gd name="T24" fmla="*/ 62 w 607"/>
                      <a:gd name="T25" fmla="*/ 35 h 1351"/>
                      <a:gd name="T26" fmla="*/ 38 w 607"/>
                      <a:gd name="T27" fmla="*/ 64 h 1351"/>
                      <a:gd name="T28" fmla="*/ 1 w 607"/>
                      <a:gd name="T29" fmla="*/ 529 h 1351"/>
                      <a:gd name="T30" fmla="*/ 19 w 607"/>
                      <a:gd name="T31" fmla="*/ 562 h 1351"/>
                      <a:gd name="T32" fmla="*/ 81 w 607"/>
                      <a:gd name="T33" fmla="*/ 595 h 1351"/>
                      <a:gd name="T34" fmla="*/ 103 w 607"/>
                      <a:gd name="T35" fmla="*/ 629 h 1351"/>
                      <a:gd name="T36" fmla="*/ 156 w 607"/>
                      <a:gd name="T37" fmla="*/ 1328 h 1351"/>
                      <a:gd name="T38" fmla="*/ 180 w 607"/>
                      <a:gd name="T39" fmla="*/ 1351 h 1351"/>
                      <a:gd name="T40" fmla="*/ 268 w 607"/>
                      <a:gd name="T41" fmla="*/ 1351 h 1351"/>
                      <a:gd name="T42" fmla="*/ 291 w 607"/>
                      <a:gd name="T43" fmla="*/ 1328 h 1351"/>
                      <a:gd name="T44" fmla="*/ 291 w 607"/>
                      <a:gd name="T45" fmla="*/ 846 h 1351"/>
                      <a:gd name="T46" fmla="*/ 305 w 607"/>
                      <a:gd name="T47" fmla="*/ 823 h 1351"/>
                      <a:gd name="T48" fmla="*/ 319 w 607"/>
                      <a:gd name="T49" fmla="*/ 846 h 1351"/>
                      <a:gd name="T50" fmla="*/ 319 w 607"/>
                      <a:gd name="T51" fmla="*/ 1328 h 1351"/>
                      <a:gd name="T52" fmla="*/ 342 w 607"/>
                      <a:gd name="T53" fmla="*/ 1351 h 1351"/>
                      <a:gd name="T54" fmla="*/ 433 w 607"/>
                      <a:gd name="T55" fmla="*/ 1351 h 1351"/>
                      <a:gd name="T56" fmla="*/ 458 w 607"/>
                      <a:gd name="T57" fmla="*/ 1328 h 1351"/>
                      <a:gd name="T58" fmla="*/ 511 w 607"/>
                      <a:gd name="T59" fmla="*/ 625 h 1351"/>
                      <a:gd name="T60" fmla="*/ 533 w 607"/>
                      <a:gd name="T61" fmla="*/ 592 h 1351"/>
                      <a:gd name="T62" fmla="*/ 587 w 607"/>
                      <a:gd name="T63" fmla="*/ 562 h 13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607" h="1351">
                        <a:moveTo>
                          <a:pt x="587" y="562"/>
                        </a:moveTo>
                        <a:cubicBezTo>
                          <a:pt x="598" y="557"/>
                          <a:pt x="607" y="541"/>
                          <a:pt x="606" y="529"/>
                        </a:cubicBezTo>
                        <a:cubicBezTo>
                          <a:pt x="569" y="64"/>
                          <a:pt x="569" y="64"/>
                          <a:pt x="569" y="64"/>
                        </a:cubicBezTo>
                        <a:cubicBezTo>
                          <a:pt x="568" y="51"/>
                          <a:pt x="557" y="38"/>
                          <a:pt x="545" y="35"/>
                        </a:cubicBezTo>
                        <a:cubicBezTo>
                          <a:pt x="438" y="6"/>
                          <a:pt x="438" y="6"/>
                          <a:pt x="438" y="6"/>
                        </a:cubicBezTo>
                        <a:cubicBezTo>
                          <a:pt x="426" y="3"/>
                          <a:pt x="415" y="0"/>
                          <a:pt x="413" y="0"/>
                        </a:cubicBezTo>
                        <a:cubicBezTo>
                          <a:pt x="412" y="0"/>
                          <a:pt x="405" y="8"/>
                          <a:pt x="398" y="19"/>
                        </a:cubicBezTo>
                        <a:cubicBezTo>
                          <a:pt x="319" y="128"/>
                          <a:pt x="319" y="128"/>
                          <a:pt x="319" y="128"/>
                        </a:cubicBezTo>
                        <a:cubicBezTo>
                          <a:pt x="311" y="138"/>
                          <a:pt x="299" y="138"/>
                          <a:pt x="292" y="128"/>
                        </a:cubicBezTo>
                        <a:cubicBezTo>
                          <a:pt x="213" y="19"/>
                          <a:pt x="213" y="19"/>
                          <a:pt x="213" y="19"/>
                        </a:cubicBezTo>
                        <a:cubicBezTo>
                          <a:pt x="205" y="8"/>
                          <a:pt x="198" y="0"/>
                          <a:pt x="197" y="0"/>
                        </a:cubicBezTo>
                        <a:cubicBezTo>
                          <a:pt x="196" y="0"/>
                          <a:pt x="185" y="3"/>
                          <a:pt x="173" y="6"/>
                        </a:cubicBezTo>
                        <a:cubicBezTo>
                          <a:pt x="62" y="35"/>
                          <a:pt x="62" y="35"/>
                          <a:pt x="62" y="35"/>
                        </a:cubicBezTo>
                        <a:cubicBezTo>
                          <a:pt x="50" y="38"/>
                          <a:pt x="39" y="51"/>
                          <a:pt x="38" y="64"/>
                        </a:cubicBezTo>
                        <a:cubicBezTo>
                          <a:pt x="1" y="529"/>
                          <a:pt x="1" y="529"/>
                          <a:pt x="1" y="529"/>
                        </a:cubicBezTo>
                        <a:cubicBezTo>
                          <a:pt x="0" y="541"/>
                          <a:pt x="8" y="557"/>
                          <a:pt x="19" y="562"/>
                        </a:cubicBezTo>
                        <a:cubicBezTo>
                          <a:pt x="81" y="595"/>
                          <a:pt x="81" y="595"/>
                          <a:pt x="81" y="595"/>
                        </a:cubicBezTo>
                        <a:cubicBezTo>
                          <a:pt x="92" y="601"/>
                          <a:pt x="102" y="617"/>
                          <a:pt x="103" y="629"/>
                        </a:cubicBezTo>
                        <a:cubicBezTo>
                          <a:pt x="156" y="1328"/>
                          <a:pt x="156" y="1328"/>
                          <a:pt x="156" y="1328"/>
                        </a:cubicBezTo>
                        <a:cubicBezTo>
                          <a:pt x="157" y="1340"/>
                          <a:pt x="168" y="1351"/>
                          <a:pt x="180" y="1351"/>
                        </a:cubicBezTo>
                        <a:cubicBezTo>
                          <a:pt x="268" y="1351"/>
                          <a:pt x="268" y="1351"/>
                          <a:pt x="268" y="1351"/>
                        </a:cubicBezTo>
                        <a:cubicBezTo>
                          <a:pt x="281" y="1351"/>
                          <a:pt x="291" y="1340"/>
                          <a:pt x="291" y="1328"/>
                        </a:cubicBezTo>
                        <a:cubicBezTo>
                          <a:pt x="291" y="846"/>
                          <a:pt x="291" y="846"/>
                          <a:pt x="291" y="846"/>
                        </a:cubicBezTo>
                        <a:cubicBezTo>
                          <a:pt x="291" y="834"/>
                          <a:pt x="297" y="823"/>
                          <a:pt x="305" y="823"/>
                        </a:cubicBezTo>
                        <a:cubicBezTo>
                          <a:pt x="313" y="823"/>
                          <a:pt x="319" y="834"/>
                          <a:pt x="319" y="846"/>
                        </a:cubicBezTo>
                        <a:cubicBezTo>
                          <a:pt x="319" y="1328"/>
                          <a:pt x="319" y="1328"/>
                          <a:pt x="319" y="1328"/>
                        </a:cubicBezTo>
                        <a:cubicBezTo>
                          <a:pt x="319" y="1340"/>
                          <a:pt x="330" y="1351"/>
                          <a:pt x="342" y="1351"/>
                        </a:cubicBezTo>
                        <a:cubicBezTo>
                          <a:pt x="433" y="1351"/>
                          <a:pt x="433" y="1351"/>
                          <a:pt x="433" y="1351"/>
                        </a:cubicBezTo>
                        <a:cubicBezTo>
                          <a:pt x="446" y="1351"/>
                          <a:pt x="457" y="1340"/>
                          <a:pt x="458" y="1328"/>
                        </a:cubicBezTo>
                        <a:cubicBezTo>
                          <a:pt x="511" y="625"/>
                          <a:pt x="511" y="625"/>
                          <a:pt x="511" y="625"/>
                        </a:cubicBezTo>
                        <a:cubicBezTo>
                          <a:pt x="511" y="613"/>
                          <a:pt x="521" y="598"/>
                          <a:pt x="533" y="592"/>
                        </a:cubicBezTo>
                        <a:lnTo>
                          <a:pt x="587" y="562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Oval 237"/>
                  <p:cNvSpPr>
                    <a:spLocks noChangeArrowheads="1"/>
                  </p:cNvSpPr>
                  <p:nvPr/>
                </p:nvSpPr>
                <p:spPr bwMode="auto">
                  <a:xfrm>
                    <a:off x="3671938" y="7145873"/>
                    <a:ext cx="114300" cy="114300"/>
                  </a:xfrm>
                  <a:prstGeom prst="ellipse">
                    <a:avLst/>
                  </a:pr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Oval 238"/>
                  <p:cNvSpPr>
                    <a:spLocks noChangeArrowheads="1"/>
                  </p:cNvSpPr>
                  <p:nvPr/>
                </p:nvSpPr>
                <p:spPr bwMode="auto">
                  <a:xfrm>
                    <a:off x="3237771" y="7103569"/>
                    <a:ext cx="127000" cy="127000"/>
                  </a:xfrm>
                  <a:prstGeom prst="ellipse">
                    <a:avLst/>
                  </a:pr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Freeform 239"/>
                  <p:cNvSpPr>
                    <a:spLocks/>
                  </p:cNvSpPr>
                  <p:nvPr/>
                </p:nvSpPr>
                <p:spPr bwMode="auto">
                  <a:xfrm>
                    <a:off x="3166334" y="7248031"/>
                    <a:ext cx="266700" cy="596900"/>
                  </a:xfrm>
                  <a:custGeom>
                    <a:avLst/>
                    <a:gdLst>
                      <a:gd name="T0" fmla="*/ 725 w 749"/>
                      <a:gd name="T1" fmla="*/ 694 h 1667"/>
                      <a:gd name="T2" fmla="*/ 748 w 749"/>
                      <a:gd name="T3" fmla="*/ 653 h 1667"/>
                      <a:gd name="T4" fmla="*/ 702 w 749"/>
                      <a:gd name="T5" fmla="*/ 78 h 1667"/>
                      <a:gd name="T6" fmla="*/ 673 w 749"/>
                      <a:gd name="T7" fmla="*/ 43 h 1667"/>
                      <a:gd name="T8" fmla="*/ 541 w 749"/>
                      <a:gd name="T9" fmla="*/ 7 h 1667"/>
                      <a:gd name="T10" fmla="*/ 511 w 749"/>
                      <a:gd name="T11" fmla="*/ 0 h 1667"/>
                      <a:gd name="T12" fmla="*/ 492 w 749"/>
                      <a:gd name="T13" fmla="*/ 23 h 1667"/>
                      <a:gd name="T14" fmla="*/ 394 w 749"/>
                      <a:gd name="T15" fmla="*/ 158 h 1667"/>
                      <a:gd name="T16" fmla="*/ 361 w 749"/>
                      <a:gd name="T17" fmla="*/ 158 h 1667"/>
                      <a:gd name="T18" fmla="*/ 263 w 749"/>
                      <a:gd name="T19" fmla="*/ 23 h 1667"/>
                      <a:gd name="T20" fmla="*/ 244 w 749"/>
                      <a:gd name="T21" fmla="*/ 0 h 1667"/>
                      <a:gd name="T22" fmla="*/ 213 w 749"/>
                      <a:gd name="T23" fmla="*/ 7 h 1667"/>
                      <a:gd name="T24" fmla="*/ 77 w 749"/>
                      <a:gd name="T25" fmla="*/ 43 h 1667"/>
                      <a:gd name="T26" fmla="*/ 47 w 749"/>
                      <a:gd name="T27" fmla="*/ 78 h 1667"/>
                      <a:gd name="T28" fmla="*/ 1 w 749"/>
                      <a:gd name="T29" fmla="*/ 653 h 1667"/>
                      <a:gd name="T30" fmla="*/ 24 w 749"/>
                      <a:gd name="T31" fmla="*/ 694 h 1667"/>
                      <a:gd name="T32" fmla="*/ 101 w 749"/>
                      <a:gd name="T33" fmla="*/ 735 h 1667"/>
                      <a:gd name="T34" fmla="*/ 128 w 749"/>
                      <a:gd name="T35" fmla="*/ 777 h 1667"/>
                      <a:gd name="T36" fmla="*/ 193 w 749"/>
                      <a:gd name="T37" fmla="*/ 1639 h 1667"/>
                      <a:gd name="T38" fmla="*/ 223 w 749"/>
                      <a:gd name="T39" fmla="*/ 1667 h 1667"/>
                      <a:gd name="T40" fmla="*/ 331 w 749"/>
                      <a:gd name="T41" fmla="*/ 1667 h 1667"/>
                      <a:gd name="T42" fmla="*/ 360 w 749"/>
                      <a:gd name="T43" fmla="*/ 1639 h 1667"/>
                      <a:gd name="T44" fmla="*/ 360 w 749"/>
                      <a:gd name="T45" fmla="*/ 1045 h 1667"/>
                      <a:gd name="T46" fmla="*/ 377 w 749"/>
                      <a:gd name="T47" fmla="*/ 1016 h 1667"/>
                      <a:gd name="T48" fmla="*/ 395 w 749"/>
                      <a:gd name="T49" fmla="*/ 1045 h 1667"/>
                      <a:gd name="T50" fmla="*/ 395 w 749"/>
                      <a:gd name="T51" fmla="*/ 1639 h 1667"/>
                      <a:gd name="T52" fmla="*/ 423 w 749"/>
                      <a:gd name="T53" fmla="*/ 1667 h 1667"/>
                      <a:gd name="T54" fmla="*/ 535 w 749"/>
                      <a:gd name="T55" fmla="*/ 1667 h 1667"/>
                      <a:gd name="T56" fmla="*/ 566 w 749"/>
                      <a:gd name="T57" fmla="*/ 1639 h 1667"/>
                      <a:gd name="T58" fmla="*/ 631 w 749"/>
                      <a:gd name="T59" fmla="*/ 772 h 1667"/>
                      <a:gd name="T60" fmla="*/ 658 w 749"/>
                      <a:gd name="T61" fmla="*/ 730 h 1667"/>
                      <a:gd name="T62" fmla="*/ 725 w 749"/>
                      <a:gd name="T63" fmla="*/ 694 h 16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749" h="1667">
                        <a:moveTo>
                          <a:pt x="725" y="694"/>
                        </a:moveTo>
                        <a:cubicBezTo>
                          <a:pt x="739" y="687"/>
                          <a:pt x="749" y="668"/>
                          <a:pt x="748" y="653"/>
                        </a:cubicBezTo>
                        <a:cubicBezTo>
                          <a:pt x="702" y="78"/>
                          <a:pt x="702" y="78"/>
                          <a:pt x="702" y="78"/>
                        </a:cubicBezTo>
                        <a:cubicBezTo>
                          <a:pt x="701" y="63"/>
                          <a:pt x="688" y="47"/>
                          <a:pt x="673" y="43"/>
                        </a:cubicBezTo>
                        <a:cubicBezTo>
                          <a:pt x="541" y="7"/>
                          <a:pt x="541" y="7"/>
                          <a:pt x="541" y="7"/>
                        </a:cubicBezTo>
                        <a:cubicBezTo>
                          <a:pt x="526" y="3"/>
                          <a:pt x="512" y="0"/>
                          <a:pt x="511" y="0"/>
                        </a:cubicBezTo>
                        <a:cubicBezTo>
                          <a:pt x="509" y="0"/>
                          <a:pt x="501" y="10"/>
                          <a:pt x="492" y="23"/>
                        </a:cubicBezTo>
                        <a:cubicBezTo>
                          <a:pt x="394" y="158"/>
                          <a:pt x="394" y="158"/>
                          <a:pt x="394" y="158"/>
                        </a:cubicBezTo>
                        <a:cubicBezTo>
                          <a:pt x="385" y="170"/>
                          <a:pt x="370" y="170"/>
                          <a:pt x="361" y="158"/>
                        </a:cubicBezTo>
                        <a:cubicBezTo>
                          <a:pt x="263" y="23"/>
                          <a:pt x="263" y="23"/>
                          <a:pt x="263" y="23"/>
                        </a:cubicBezTo>
                        <a:cubicBezTo>
                          <a:pt x="254" y="10"/>
                          <a:pt x="245" y="0"/>
                          <a:pt x="244" y="0"/>
                        </a:cubicBezTo>
                        <a:cubicBezTo>
                          <a:pt x="242" y="0"/>
                          <a:pt x="229" y="3"/>
                          <a:pt x="213" y="7"/>
                        </a:cubicBezTo>
                        <a:cubicBezTo>
                          <a:pt x="77" y="43"/>
                          <a:pt x="77" y="43"/>
                          <a:pt x="77" y="43"/>
                        </a:cubicBezTo>
                        <a:cubicBezTo>
                          <a:pt x="62" y="47"/>
                          <a:pt x="48" y="63"/>
                          <a:pt x="47" y="78"/>
                        </a:cubicBezTo>
                        <a:cubicBezTo>
                          <a:pt x="1" y="653"/>
                          <a:pt x="1" y="653"/>
                          <a:pt x="1" y="653"/>
                        </a:cubicBezTo>
                        <a:cubicBezTo>
                          <a:pt x="0" y="668"/>
                          <a:pt x="11" y="687"/>
                          <a:pt x="24" y="694"/>
                        </a:cubicBezTo>
                        <a:cubicBezTo>
                          <a:pt x="101" y="735"/>
                          <a:pt x="101" y="735"/>
                          <a:pt x="101" y="735"/>
                        </a:cubicBezTo>
                        <a:cubicBezTo>
                          <a:pt x="114" y="742"/>
                          <a:pt x="127" y="761"/>
                          <a:pt x="128" y="777"/>
                        </a:cubicBezTo>
                        <a:cubicBezTo>
                          <a:pt x="193" y="1639"/>
                          <a:pt x="193" y="1639"/>
                          <a:pt x="193" y="1639"/>
                        </a:cubicBezTo>
                        <a:cubicBezTo>
                          <a:pt x="194" y="1655"/>
                          <a:pt x="207" y="1667"/>
                          <a:pt x="223" y="1667"/>
                        </a:cubicBezTo>
                        <a:cubicBezTo>
                          <a:pt x="331" y="1667"/>
                          <a:pt x="331" y="1667"/>
                          <a:pt x="331" y="1667"/>
                        </a:cubicBezTo>
                        <a:cubicBezTo>
                          <a:pt x="347" y="1667"/>
                          <a:pt x="360" y="1655"/>
                          <a:pt x="360" y="1639"/>
                        </a:cubicBezTo>
                        <a:cubicBezTo>
                          <a:pt x="360" y="1045"/>
                          <a:pt x="360" y="1045"/>
                          <a:pt x="360" y="1045"/>
                        </a:cubicBezTo>
                        <a:cubicBezTo>
                          <a:pt x="360" y="1029"/>
                          <a:pt x="368" y="1016"/>
                          <a:pt x="377" y="1016"/>
                        </a:cubicBezTo>
                        <a:cubicBezTo>
                          <a:pt x="387" y="1016"/>
                          <a:pt x="395" y="1029"/>
                          <a:pt x="395" y="1045"/>
                        </a:cubicBezTo>
                        <a:cubicBezTo>
                          <a:pt x="395" y="1639"/>
                          <a:pt x="395" y="1639"/>
                          <a:pt x="395" y="1639"/>
                        </a:cubicBezTo>
                        <a:cubicBezTo>
                          <a:pt x="395" y="1655"/>
                          <a:pt x="408" y="1667"/>
                          <a:pt x="423" y="1667"/>
                        </a:cubicBezTo>
                        <a:cubicBezTo>
                          <a:pt x="535" y="1667"/>
                          <a:pt x="535" y="1667"/>
                          <a:pt x="535" y="1667"/>
                        </a:cubicBezTo>
                        <a:cubicBezTo>
                          <a:pt x="551" y="1667"/>
                          <a:pt x="565" y="1655"/>
                          <a:pt x="566" y="1639"/>
                        </a:cubicBezTo>
                        <a:cubicBezTo>
                          <a:pt x="631" y="772"/>
                          <a:pt x="631" y="772"/>
                          <a:pt x="631" y="772"/>
                        </a:cubicBezTo>
                        <a:cubicBezTo>
                          <a:pt x="632" y="756"/>
                          <a:pt x="644" y="738"/>
                          <a:pt x="658" y="730"/>
                        </a:cubicBezTo>
                        <a:lnTo>
                          <a:pt x="725" y="694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Oval 240"/>
                  <p:cNvSpPr>
                    <a:spLocks noChangeArrowheads="1"/>
                  </p:cNvSpPr>
                  <p:nvPr/>
                </p:nvSpPr>
                <p:spPr bwMode="auto">
                  <a:xfrm>
                    <a:off x="3447321" y="7041656"/>
                    <a:ext cx="139700" cy="141288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5" name="Freeform 241"/>
                  <p:cNvSpPr>
                    <a:spLocks/>
                  </p:cNvSpPr>
                  <p:nvPr/>
                </p:nvSpPr>
                <p:spPr bwMode="auto">
                  <a:xfrm>
                    <a:off x="3366359" y="7203581"/>
                    <a:ext cx="298450" cy="661988"/>
                  </a:xfrm>
                  <a:custGeom>
                    <a:avLst/>
                    <a:gdLst>
                      <a:gd name="T0" fmla="*/ 805 w 832"/>
                      <a:gd name="T1" fmla="*/ 771 h 1852"/>
                      <a:gd name="T2" fmla="*/ 831 w 832"/>
                      <a:gd name="T3" fmla="*/ 725 h 1852"/>
                      <a:gd name="T4" fmla="*/ 780 w 832"/>
                      <a:gd name="T5" fmla="*/ 87 h 1852"/>
                      <a:gd name="T6" fmla="*/ 747 w 832"/>
                      <a:gd name="T7" fmla="*/ 47 h 1852"/>
                      <a:gd name="T8" fmla="*/ 601 w 832"/>
                      <a:gd name="T9" fmla="*/ 8 h 1852"/>
                      <a:gd name="T10" fmla="*/ 567 w 832"/>
                      <a:gd name="T11" fmla="*/ 0 h 1852"/>
                      <a:gd name="T12" fmla="*/ 546 w 832"/>
                      <a:gd name="T13" fmla="*/ 25 h 1852"/>
                      <a:gd name="T14" fmla="*/ 437 w 832"/>
                      <a:gd name="T15" fmla="*/ 175 h 1852"/>
                      <a:gd name="T16" fmla="*/ 400 w 832"/>
                      <a:gd name="T17" fmla="*/ 175 h 1852"/>
                      <a:gd name="T18" fmla="*/ 292 w 832"/>
                      <a:gd name="T19" fmla="*/ 25 h 1852"/>
                      <a:gd name="T20" fmla="*/ 270 w 832"/>
                      <a:gd name="T21" fmla="*/ 0 h 1852"/>
                      <a:gd name="T22" fmla="*/ 237 w 832"/>
                      <a:gd name="T23" fmla="*/ 8 h 1852"/>
                      <a:gd name="T24" fmla="*/ 85 w 832"/>
                      <a:gd name="T25" fmla="*/ 47 h 1852"/>
                      <a:gd name="T26" fmla="*/ 52 w 832"/>
                      <a:gd name="T27" fmla="*/ 87 h 1852"/>
                      <a:gd name="T28" fmla="*/ 1 w 832"/>
                      <a:gd name="T29" fmla="*/ 725 h 1852"/>
                      <a:gd name="T30" fmla="*/ 27 w 832"/>
                      <a:gd name="T31" fmla="*/ 771 h 1852"/>
                      <a:gd name="T32" fmla="*/ 111 w 832"/>
                      <a:gd name="T33" fmla="*/ 816 h 1852"/>
                      <a:gd name="T34" fmla="*/ 142 w 832"/>
                      <a:gd name="T35" fmla="*/ 863 h 1852"/>
                      <a:gd name="T36" fmla="*/ 214 w 832"/>
                      <a:gd name="T37" fmla="*/ 1821 h 1852"/>
                      <a:gd name="T38" fmla="*/ 247 w 832"/>
                      <a:gd name="T39" fmla="*/ 1852 h 1852"/>
                      <a:gd name="T40" fmla="*/ 368 w 832"/>
                      <a:gd name="T41" fmla="*/ 1852 h 1852"/>
                      <a:gd name="T42" fmla="*/ 399 w 832"/>
                      <a:gd name="T43" fmla="*/ 1821 h 1852"/>
                      <a:gd name="T44" fmla="*/ 399 w 832"/>
                      <a:gd name="T45" fmla="*/ 1161 h 1852"/>
                      <a:gd name="T46" fmla="*/ 419 w 832"/>
                      <a:gd name="T47" fmla="*/ 1129 h 1852"/>
                      <a:gd name="T48" fmla="*/ 438 w 832"/>
                      <a:gd name="T49" fmla="*/ 1161 h 1852"/>
                      <a:gd name="T50" fmla="*/ 438 w 832"/>
                      <a:gd name="T51" fmla="*/ 1821 h 1852"/>
                      <a:gd name="T52" fmla="*/ 470 w 832"/>
                      <a:gd name="T53" fmla="*/ 1852 h 1852"/>
                      <a:gd name="T54" fmla="*/ 594 w 832"/>
                      <a:gd name="T55" fmla="*/ 1852 h 1852"/>
                      <a:gd name="T56" fmla="*/ 628 w 832"/>
                      <a:gd name="T57" fmla="*/ 1821 h 1852"/>
                      <a:gd name="T58" fmla="*/ 700 w 832"/>
                      <a:gd name="T59" fmla="*/ 857 h 1852"/>
                      <a:gd name="T60" fmla="*/ 731 w 832"/>
                      <a:gd name="T61" fmla="*/ 811 h 1852"/>
                      <a:gd name="T62" fmla="*/ 805 w 832"/>
                      <a:gd name="T63" fmla="*/ 771 h 18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832" h="1852">
                        <a:moveTo>
                          <a:pt x="805" y="771"/>
                        </a:moveTo>
                        <a:cubicBezTo>
                          <a:pt x="821" y="763"/>
                          <a:pt x="832" y="742"/>
                          <a:pt x="831" y="725"/>
                        </a:cubicBezTo>
                        <a:cubicBezTo>
                          <a:pt x="780" y="87"/>
                          <a:pt x="780" y="87"/>
                          <a:pt x="780" y="87"/>
                        </a:cubicBezTo>
                        <a:cubicBezTo>
                          <a:pt x="779" y="69"/>
                          <a:pt x="764" y="52"/>
                          <a:pt x="747" y="47"/>
                        </a:cubicBezTo>
                        <a:cubicBezTo>
                          <a:pt x="601" y="8"/>
                          <a:pt x="601" y="8"/>
                          <a:pt x="601" y="8"/>
                        </a:cubicBezTo>
                        <a:cubicBezTo>
                          <a:pt x="584" y="3"/>
                          <a:pt x="569" y="0"/>
                          <a:pt x="567" y="0"/>
                        </a:cubicBezTo>
                        <a:cubicBezTo>
                          <a:pt x="566" y="0"/>
                          <a:pt x="556" y="11"/>
                          <a:pt x="546" y="25"/>
                        </a:cubicBezTo>
                        <a:cubicBezTo>
                          <a:pt x="437" y="175"/>
                          <a:pt x="437" y="175"/>
                          <a:pt x="437" y="175"/>
                        </a:cubicBezTo>
                        <a:cubicBezTo>
                          <a:pt x="427" y="189"/>
                          <a:pt x="410" y="189"/>
                          <a:pt x="400" y="175"/>
                        </a:cubicBezTo>
                        <a:cubicBezTo>
                          <a:pt x="292" y="25"/>
                          <a:pt x="292" y="25"/>
                          <a:pt x="292" y="25"/>
                        </a:cubicBezTo>
                        <a:cubicBezTo>
                          <a:pt x="282" y="11"/>
                          <a:pt x="272" y="0"/>
                          <a:pt x="270" y="0"/>
                        </a:cubicBezTo>
                        <a:cubicBezTo>
                          <a:pt x="269" y="0"/>
                          <a:pt x="254" y="3"/>
                          <a:pt x="237" y="8"/>
                        </a:cubicBezTo>
                        <a:cubicBezTo>
                          <a:pt x="85" y="47"/>
                          <a:pt x="85" y="47"/>
                          <a:pt x="85" y="47"/>
                        </a:cubicBezTo>
                        <a:cubicBezTo>
                          <a:pt x="68" y="52"/>
                          <a:pt x="53" y="69"/>
                          <a:pt x="52" y="87"/>
                        </a:cubicBezTo>
                        <a:cubicBezTo>
                          <a:pt x="1" y="725"/>
                          <a:pt x="1" y="725"/>
                          <a:pt x="1" y="725"/>
                        </a:cubicBezTo>
                        <a:cubicBezTo>
                          <a:pt x="0" y="742"/>
                          <a:pt x="11" y="763"/>
                          <a:pt x="27" y="771"/>
                        </a:cubicBezTo>
                        <a:cubicBezTo>
                          <a:pt x="111" y="816"/>
                          <a:pt x="111" y="816"/>
                          <a:pt x="111" y="816"/>
                        </a:cubicBezTo>
                        <a:cubicBezTo>
                          <a:pt x="127" y="825"/>
                          <a:pt x="140" y="845"/>
                          <a:pt x="142" y="863"/>
                        </a:cubicBezTo>
                        <a:cubicBezTo>
                          <a:pt x="214" y="1821"/>
                          <a:pt x="214" y="1821"/>
                          <a:pt x="214" y="1821"/>
                        </a:cubicBezTo>
                        <a:cubicBezTo>
                          <a:pt x="215" y="1838"/>
                          <a:pt x="230" y="1852"/>
                          <a:pt x="247" y="1852"/>
                        </a:cubicBezTo>
                        <a:cubicBezTo>
                          <a:pt x="368" y="1852"/>
                          <a:pt x="368" y="1852"/>
                          <a:pt x="368" y="1852"/>
                        </a:cubicBezTo>
                        <a:cubicBezTo>
                          <a:pt x="385" y="1852"/>
                          <a:pt x="399" y="1838"/>
                          <a:pt x="399" y="1821"/>
                        </a:cubicBezTo>
                        <a:cubicBezTo>
                          <a:pt x="399" y="1161"/>
                          <a:pt x="399" y="1161"/>
                          <a:pt x="399" y="1161"/>
                        </a:cubicBezTo>
                        <a:cubicBezTo>
                          <a:pt x="399" y="1143"/>
                          <a:pt x="408" y="1129"/>
                          <a:pt x="419" y="1129"/>
                        </a:cubicBezTo>
                        <a:cubicBezTo>
                          <a:pt x="429" y="1129"/>
                          <a:pt x="438" y="1143"/>
                          <a:pt x="438" y="1161"/>
                        </a:cubicBezTo>
                        <a:cubicBezTo>
                          <a:pt x="438" y="1821"/>
                          <a:pt x="438" y="1821"/>
                          <a:pt x="438" y="1821"/>
                        </a:cubicBezTo>
                        <a:cubicBezTo>
                          <a:pt x="438" y="1838"/>
                          <a:pt x="452" y="1852"/>
                          <a:pt x="470" y="1852"/>
                        </a:cubicBezTo>
                        <a:cubicBezTo>
                          <a:pt x="594" y="1852"/>
                          <a:pt x="594" y="1852"/>
                          <a:pt x="594" y="1852"/>
                        </a:cubicBezTo>
                        <a:cubicBezTo>
                          <a:pt x="612" y="1852"/>
                          <a:pt x="627" y="1838"/>
                          <a:pt x="628" y="1821"/>
                        </a:cubicBezTo>
                        <a:cubicBezTo>
                          <a:pt x="700" y="857"/>
                          <a:pt x="700" y="857"/>
                          <a:pt x="700" y="857"/>
                        </a:cubicBezTo>
                        <a:cubicBezTo>
                          <a:pt x="702" y="840"/>
                          <a:pt x="715" y="819"/>
                          <a:pt x="731" y="811"/>
                        </a:cubicBezTo>
                        <a:lnTo>
                          <a:pt x="805" y="77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Freeform 242"/>
                  <p:cNvSpPr>
                    <a:spLocks noEditPoints="1"/>
                  </p:cNvSpPr>
                  <p:nvPr/>
                </p:nvSpPr>
                <p:spPr bwMode="auto">
                  <a:xfrm>
                    <a:off x="3737834" y="7270256"/>
                    <a:ext cx="1019175" cy="596900"/>
                  </a:xfrm>
                  <a:custGeom>
                    <a:avLst/>
                    <a:gdLst>
                      <a:gd name="T0" fmla="*/ 16 w 2848"/>
                      <a:gd name="T1" fmla="*/ 381 h 1671"/>
                      <a:gd name="T2" fmla="*/ 183 w 2848"/>
                      <a:gd name="T3" fmla="*/ 485 h 1671"/>
                      <a:gd name="T4" fmla="*/ 302 w 2848"/>
                      <a:gd name="T5" fmla="*/ 505 h 1671"/>
                      <a:gd name="T6" fmla="*/ 284 w 2848"/>
                      <a:gd name="T7" fmla="*/ 516 h 1671"/>
                      <a:gd name="T8" fmla="*/ 94 w 2848"/>
                      <a:gd name="T9" fmla="*/ 815 h 1671"/>
                      <a:gd name="T10" fmla="*/ 123 w 2848"/>
                      <a:gd name="T11" fmla="*/ 1104 h 1671"/>
                      <a:gd name="T12" fmla="*/ 123 w 2848"/>
                      <a:gd name="T13" fmla="*/ 1567 h 1671"/>
                      <a:gd name="T14" fmla="*/ 227 w 2848"/>
                      <a:gd name="T15" fmla="*/ 1671 h 1671"/>
                      <a:gd name="T16" fmla="*/ 506 w 2848"/>
                      <a:gd name="T17" fmla="*/ 1671 h 1671"/>
                      <a:gd name="T18" fmla="*/ 610 w 2848"/>
                      <a:gd name="T19" fmla="*/ 1567 h 1671"/>
                      <a:gd name="T20" fmla="*/ 610 w 2848"/>
                      <a:gd name="T21" fmla="*/ 1395 h 1671"/>
                      <a:gd name="T22" fmla="*/ 2238 w 2848"/>
                      <a:gd name="T23" fmla="*/ 1395 h 1671"/>
                      <a:gd name="T24" fmla="*/ 2238 w 2848"/>
                      <a:gd name="T25" fmla="*/ 1567 h 1671"/>
                      <a:gd name="T26" fmla="*/ 2342 w 2848"/>
                      <a:gd name="T27" fmla="*/ 1671 h 1671"/>
                      <a:gd name="T28" fmla="*/ 2621 w 2848"/>
                      <a:gd name="T29" fmla="*/ 1671 h 1671"/>
                      <a:gd name="T30" fmla="*/ 2725 w 2848"/>
                      <a:gd name="T31" fmla="*/ 1567 h 1671"/>
                      <a:gd name="T32" fmla="*/ 2725 w 2848"/>
                      <a:gd name="T33" fmla="*/ 1104 h 1671"/>
                      <a:gd name="T34" fmla="*/ 2754 w 2848"/>
                      <a:gd name="T35" fmla="*/ 815 h 1671"/>
                      <a:gd name="T36" fmla="*/ 2564 w 2848"/>
                      <a:gd name="T37" fmla="*/ 516 h 1671"/>
                      <a:gd name="T38" fmla="*/ 2546 w 2848"/>
                      <a:gd name="T39" fmla="*/ 505 h 1671"/>
                      <a:gd name="T40" fmla="*/ 2664 w 2848"/>
                      <a:gd name="T41" fmla="*/ 485 h 1671"/>
                      <a:gd name="T42" fmla="*/ 2832 w 2848"/>
                      <a:gd name="T43" fmla="*/ 381 h 1671"/>
                      <a:gd name="T44" fmla="*/ 2686 w 2848"/>
                      <a:gd name="T45" fmla="*/ 319 h 1671"/>
                      <a:gd name="T46" fmla="*/ 2488 w 2848"/>
                      <a:gd name="T47" fmla="*/ 457 h 1671"/>
                      <a:gd name="T48" fmla="*/ 2085 w 2848"/>
                      <a:gd name="T49" fmla="*/ 61 h 1671"/>
                      <a:gd name="T50" fmla="*/ 1424 w 2848"/>
                      <a:gd name="T51" fmla="*/ 0 h 1671"/>
                      <a:gd name="T52" fmla="*/ 762 w 2848"/>
                      <a:gd name="T53" fmla="*/ 61 h 1671"/>
                      <a:gd name="T54" fmla="*/ 360 w 2848"/>
                      <a:gd name="T55" fmla="*/ 457 h 1671"/>
                      <a:gd name="T56" fmla="*/ 162 w 2848"/>
                      <a:gd name="T57" fmla="*/ 319 h 1671"/>
                      <a:gd name="T58" fmla="*/ 16 w 2848"/>
                      <a:gd name="T59" fmla="*/ 381 h 1671"/>
                      <a:gd name="T60" fmla="*/ 2380 w 2848"/>
                      <a:gd name="T61" fmla="*/ 458 h 1671"/>
                      <a:gd name="T62" fmla="*/ 1424 w 2848"/>
                      <a:gd name="T63" fmla="*/ 525 h 1671"/>
                      <a:gd name="T64" fmla="*/ 468 w 2848"/>
                      <a:gd name="T65" fmla="*/ 458 h 1671"/>
                      <a:gd name="T66" fmla="*/ 546 w 2848"/>
                      <a:gd name="T67" fmla="*/ 372 h 1671"/>
                      <a:gd name="T68" fmla="*/ 782 w 2848"/>
                      <a:gd name="T69" fmla="*/ 140 h 1671"/>
                      <a:gd name="T70" fmla="*/ 1424 w 2848"/>
                      <a:gd name="T71" fmla="*/ 81 h 1671"/>
                      <a:gd name="T72" fmla="*/ 2066 w 2848"/>
                      <a:gd name="T73" fmla="*/ 140 h 1671"/>
                      <a:gd name="T74" fmla="*/ 2302 w 2848"/>
                      <a:gd name="T75" fmla="*/ 372 h 1671"/>
                      <a:gd name="T76" fmla="*/ 2380 w 2848"/>
                      <a:gd name="T77" fmla="*/ 458 h 1671"/>
                      <a:gd name="T78" fmla="*/ 2085 w 2848"/>
                      <a:gd name="T79" fmla="*/ 844 h 1671"/>
                      <a:gd name="T80" fmla="*/ 2686 w 2848"/>
                      <a:gd name="T81" fmla="*/ 683 h 1671"/>
                      <a:gd name="T82" fmla="*/ 2551 w 2848"/>
                      <a:gd name="T83" fmla="*/ 964 h 1671"/>
                      <a:gd name="T84" fmla="*/ 2085 w 2848"/>
                      <a:gd name="T85" fmla="*/ 844 h 1671"/>
                      <a:gd name="T86" fmla="*/ 640 w 2848"/>
                      <a:gd name="T87" fmla="*/ 1203 h 1671"/>
                      <a:gd name="T88" fmla="*/ 1424 w 2848"/>
                      <a:gd name="T89" fmla="*/ 1068 h 1671"/>
                      <a:gd name="T90" fmla="*/ 2208 w 2848"/>
                      <a:gd name="T91" fmla="*/ 1203 h 1671"/>
                      <a:gd name="T92" fmla="*/ 1424 w 2848"/>
                      <a:gd name="T93" fmla="*/ 1255 h 1671"/>
                      <a:gd name="T94" fmla="*/ 640 w 2848"/>
                      <a:gd name="T95" fmla="*/ 1203 h 1671"/>
                      <a:gd name="T96" fmla="*/ 763 w 2848"/>
                      <a:gd name="T97" fmla="*/ 844 h 1671"/>
                      <a:gd name="T98" fmla="*/ 297 w 2848"/>
                      <a:gd name="T99" fmla="*/ 964 h 1671"/>
                      <a:gd name="T100" fmla="*/ 162 w 2848"/>
                      <a:gd name="T101" fmla="*/ 683 h 1671"/>
                      <a:gd name="T102" fmla="*/ 763 w 2848"/>
                      <a:gd name="T103" fmla="*/ 844 h 16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2848" h="1671">
                        <a:moveTo>
                          <a:pt x="16" y="381"/>
                        </a:moveTo>
                        <a:cubicBezTo>
                          <a:pt x="31" y="485"/>
                          <a:pt x="89" y="484"/>
                          <a:pt x="183" y="485"/>
                        </a:cubicBezTo>
                        <a:cubicBezTo>
                          <a:pt x="236" y="486"/>
                          <a:pt x="278" y="490"/>
                          <a:pt x="302" y="505"/>
                        </a:cubicBezTo>
                        <a:cubicBezTo>
                          <a:pt x="296" y="510"/>
                          <a:pt x="289" y="514"/>
                          <a:pt x="284" y="516"/>
                        </a:cubicBezTo>
                        <a:cubicBezTo>
                          <a:pt x="177" y="564"/>
                          <a:pt x="94" y="550"/>
                          <a:pt x="94" y="815"/>
                        </a:cubicBezTo>
                        <a:cubicBezTo>
                          <a:pt x="94" y="911"/>
                          <a:pt x="107" y="1013"/>
                          <a:pt x="123" y="1104"/>
                        </a:cubicBezTo>
                        <a:cubicBezTo>
                          <a:pt x="123" y="1567"/>
                          <a:pt x="123" y="1567"/>
                          <a:pt x="123" y="1567"/>
                        </a:cubicBezTo>
                        <a:cubicBezTo>
                          <a:pt x="123" y="1624"/>
                          <a:pt x="170" y="1671"/>
                          <a:pt x="227" y="1671"/>
                        </a:cubicBezTo>
                        <a:cubicBezTo>
                          <a:pt x="506" y="1671"/>
                          <a:pt x="506" y="1671"/>
                          <a:pt x="506" y="1671"/>
                        </a:cubicBezTo>
                        <a:cubicBezTo>
                          <a:pt x="564" y="1671"/>
                          <a:pt x="610" y="1624"/>
                          <a:pt x="610" y="1567"/>
                        </a:cubicBezTo>
                        <a:cubicBezTo>
                          <a:pt x="610" y="1395"/>
                          <a:pt x="610" y="1395"/>
                          <a:pt x="610" y="1395"/>
                        </a:cubicBezTo>
                        <a:cubicBezTo>
                          <a:pt x="2238" y="1395"/>
                          <a:pt x="2238" y="1395"/>
                          <a:pt x="2238" y="1395"/>
                        </a:cubicBezTo>
                        <a:cubicBezTo>
                          <a:pt x="2238" y="1567"/>
                          <a:pt x="2238" y="1567"/>
                          <a:pt x="2238" y="1567"/>
                        </a:cubicBezTo>
                        <a:cubicBezTo>
                          <a:pt x="2238" y="1624"/>
                          <a:pt x="2284" y="1671"/>
                          <a:pt x="2342" y="1671"/>
                        </a:cubicBezTo>
                        <a:cubicBezTo>
                          <a:pt x="2621" y="1671"/>
                          <a:pt x="2621" y="1671"/>
                          <a:pt x="2621" y="1671"/>
                        </a:cubicBezTo>
                        <a:cubicBezTo>
                          <a:pt x="2678" y="1671"/>
                          <a:pt x="2725" y="1624"/>
                          <a:pt x="2725" y="1567"/>
                        </a:cubicBezTo>
                        <a:cubicBezTo>
                          <a:pt x="2725" y="1104"/>
                          <a:pt x="2725" y="1104"/>
                          <a:pt x="2725" y="1104"/>
                        </a:cubicBezTo>
                        <a:cubicBezTo>
                          <a:pt x="2741" y="1013"/>
                          <a:pt x="2754" y="911"/>
                          <a:pt x="2754" y="815"/>
                        </a:cubicBezTo>
                        <a:cubicBezTo>
                          <a:pt x="2754" y="550"/>
                          <a:pt x="2671" y="564"/>
                          <a:pt x="2564" y="516"/>
                        </a:cubicBezTo>
                        <a:cubicBezTo>
                          <a:pt x="2558" y="514"/>
                          <a:pt x="2552" y="510"/>
                          <a:pt x="2546" y="505"/>
                        </a:cubicBezTo>
                        <a:cubicBezTo>
                          <a:pt x="2570" y="490"/>
                          <a:pt x="2612" y="486"/>
                          <a:pt x="2664" y="485"/>
                        </a:cubicBezTo>
                        <a:cubicBezTo>
                          <a:pt x="2759" y="484"/>
                          <a:pt x="2817" y="485"/>
                          <a:pt x="2832" y="381"/>
                        </a:cubicBezTo>
                        <a:cubicBezTo>
                          <a:pt x="2838" y="343"/>
                          <a:pt x="2848" y="299"/>
                          <a:pt x="2686" y="319"/>
                        </a:cubicBezTo>
                        <a:cubicBezTo>
                          <a:pt x="2550" y="335"/>
                          <a:pt x="2532" y="346"/>
                          <a:pt x="2488" y="457"/>
                        </a:cubicBezTo>
                        <a:cubicBezTo>
                          <a:pt x="2363" y="335"/>
                          <a:pt x="2174" y="82"/>
                          <a:pt x="2085" y="61"/>
                        </a:cubicBezTo>
                        <a:cubicBezTo>
                          <a:pt x="1973" y="34"/>
                          <a:pt x="1743" y="0"/>
                          <a:pt x="1424" y="0"/>
                        </a:cubicBezTo>
                        <a:cubicBezTo>
                          <a:pt x="1105" y="0"/>
                          <a:pt x="875" y="34"/>
                          <a:pt x="762" y="61"/>
                        </a:cubicBezTo>
                        <a:cubicBezTo>
                          <a:pt x="674" y="82"/>
                          <a:pt x="485" y="335"/>
                          <a:pt x="360" y="457"/>
                        </a:cubicBezTo>
                        <a:cubicBezTo>
                          <a:pt x="316" y="346"/>
                          <a:pt x="298" y="335"/>
                          <a:pt x="162" y="319"/>
                        </a:cubicBezTo>
                        <a:cubicBezTo>
                          <a:pt x="0" y="299"/>
                          <a:pt x="10" y="343"/>
                          <a:pt x="16" y="381"/>
                        </a:cubicBezTo>
                        <a:close/>
                        <a:moveTo>
                          <a:pt x="2380" y="458"/>
                        </a:moveTo>
                        <a:cubicBezTo>
                          <a:pt x="2115" y="501"/>
                          <a:pt x="1776" y="525"/>
                          <a:pt x="1424" y="525"/>
                        </a:cubicBezTo>
                        <a:cubicBezTo>
                          <a:pt x="1072" y="525"/>
                          <a:pt x="733" y="501"/>
                          <a:pt x="468" y="458"/>
                        </a:cubicBezTo>
                        <a:cubicBezTo>
                          <a:pt x="493" y="432"/>
                          <a:pt x="519" y="403"/>
                          <a:pt x="546" y="372"/>
                        </a:cubicBezTo>
                        <a:cubicBezTo>
                          <a:pt x="614" y="296"/>
                          <a:pt x="740" y="155"/>
                          <a:pt x="782" y="140"/>
                        </a:cubicBezTo>
                        <a:cubicBezTo>
                          <a:pt x="840" y="126"/>
                          <a:pt x="1056" y="81"/>
                          <a:pt x="1424" y="81"/>
                        </a:cubicBezTo>
                        <a:cubicBezTo>
                          <a:pt x="1792" y="81"/>
                          <a:pt x="2007" y="126"/>
                          <a:pt x="2066" y="140"/>
                        </a:cubicBezTo>
                        <a:cubicBezTo>
                          <a:pt x="2108" y="155"/>
                          <a:pt x="2234" y="296"/>
                          <a:pt x="2302" y="372"/>
                        </a:cubicBezTo>
                        <a:cubicBezTo>
                          <a:pt x="2329" y="403"/>
                          <a:pt x="2355" y="432"/>
                          <a:pt x="2380" y="458"/>
                        </a:cubicBezTo>
                        <a:close/>
                        <a:moveTo>
                          <a:pt x="2085" y="844"/>
                        </a:moveTo>
                        <a:cubicBezTo>
                          <a:pt x="1858" y="834"/>
                          <a:pt x="2439" y="673"/>
                          <a:pt x="2686" y="683"/>
                        </a:cubicBezTo>
                        <a:cubicBezTo>
                          <a:pt x="2686" y="683"/>
                          <a:pt x="2724" y="964"/>
                          <a:pt x="2551" y="964"/>
                        </a:cubicBezTo>
                        <a:cubicBezTo>
                          <a:pt x="2395" y="964"/>
                          <a:pt x="2234" y="851"/>
                          <a:pt x="2085" y="844"/>
                        </a:cubicBezTo>
                        <a:close/>
                        <a:moveTo>
                          <a:pt x="640" y="1203"/>
                        </a:moveTo>
                        <a:cubicBezTo>
                          <a:pt x="640" y="1152"/>
                          <a:pt x="991" y="1068"/>
                          <a:pt x="1424" y="1068"/>
                        </a:cubicBezTo>
                        <a:cubicBezTo>
                          <a:pt x="1857" y="1068"/>
                          <a:pt x="2208" y="1152"/>
                          <a:pt x="2208" y="1203"/>
                        </a:cubicBezTo>
                        <a:cubicBezTo>
                          <a:pt x="2208" y="1255"/>
                          <a:pt x="1857" y="1255"/>
                          <a:pt x="1424" y="1255"/>
                        </a:cubicBezTo>
                        <a:cubicBezTo>
                          <a:pt x="991" y="1255"/>
                          <a:pt x="640" y="1255"/>
                          <a:pt x="640" y="1203"/>
                        </a:cubicBezTo>
                        <a:close/>
                        <a:moveTo>
                          <a:pt x="763" y="844"/>
                        </a:moveTo>
                        <a:cubicBezTo>
                          <a:pt x="614" y="851"/>
                          <a:pt x="453" y="964"/>
                          <a:pt x="297" y="964"/>
                        </a:cubicBezTo>
                        <a:cubicBezTo>
                          <a:pt x="124" y="964"/>
                          <a:pt x="162" y="683"/>
                          <a:pt x="162" y="683"/>
                        </a:cubicBezTo>
                        <a:cubicBezTo>
                          <a:pt x="409" y="673"/>
                          <a:pt x="990" y="834"/>
                          <a:pt x="763" y="844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7" name="Freeform 243"/>
                  <p:cNvSpPr>
                    <a:spLocks noEditPoints="1"/>
                  </p:cNvSpPr>
                  <p:nvPr/>
                </p:nvSpPr>
                <p:spPr bwMode="auto">
                  <a:xfrm>
                    <a:off x="3212371" y="7328994"/>
                    <a:ext cx="504825" cy="220663"/>
                  </a:xfrm>
                  <a:custGeom>
                    <a:avLst/>
                    <a:gdLst>
                      <a:gd name="T0" fmla="*/ 1402 w 1413"/>
                      <a:gd name="T1" fmla="*/ 261 h 616"/>
                      <a:gd name="T2" fmla="*/ 1319 w 1413"/>
                      <a:gd name="T3" fmla="*/ 178 h 616"/>
                      <a:gd name="T4" fmla="*/ 699 w 1413"/>
                      <a:gd name="T5" fmla="*/ 178 h 616"/>
                      <a:gd name="T6" fmla="*/ 699 w 1413"/>
                      <a:gd name="T7" fmla="*/ 111 h 616"/>
                      <a:gd name="T8" fmla="*/ 589 w 1413"/>
                      <a:gd name="T9" fmla="*/ 0 h 616"/>
                      <a:gd name="T10" fmla="*/ 235 w 1413"/>
                      <a:gd name="T11" fmla="*/ 0 h 616"/>
                      <a:gd name="T12" fmla="*/ 0 w 1413"/>
                      <a:gd name="T13" fmla="*/ 304 h 616"/>
                      <a:gd name="T14" fmla="*/ 262 w 1413"/>
                      <a:gd name="T15" fmla="*/ 616 h 616"/>
                      <a:gd name="T16" fmla="*/ 589 w 1413"/>
                      <a:gd name="T17" fmla="*/ 616 h 616"/>
                      <a:gd name="T18" fmla="*/ 699 w 1413"/>
                      <a:gd name="T19" fmla="*/ 506 h 616"/>
                      <a:gd name="T20" fmla="*/ 699 w 1413"/>
                      <a:gd name="T21" fmla="*/ 438 h 616"/>
                      <a:gd name="T22" fmla="*/ 818 w 1413"/>
                      <a:gd name="T23" fmla="*/ 438 h 616"/>
                      <a:gd name="T24" fmla="*/ 921 w 1413"/>
                      <a:gd name="T25" fmla="*/ 336 h 616"/>
                      <a:gd name="T26" fmla="*/ 977 w 1413"/>
                      <a:gd name="T27" fmla="*/ 391 h 616"/>
                      <a:gd name="T28" fmla="*/ 1033 w 1413"/>
                      <a:gd name="T29" fmla="*/ 336 h 616"/>
                      <a:gd name="T30" fmla="*/ 1089 w 1413"/>
                      <a:gd name="T31" fmla="*/ 391 h 616"/>
                      <a:gd name="T32" fmla="*/ 1144 w 1413"/>
                      <a:gd name="T33" fmla="*/ 336 h 616"/>
                      <a:gd name="T34" fmla="*/ 1200 w 1413"/>
                      <a:gd name="T35" fmla="*/ 391 h 616"/>
                      <a:gd name="T36" fmla="*/ 1256 w 1413"/>
                      <a:gd name="T37" fmla="*/ 336 h 616"/>
                      <a:gd name="T38" fmla="*/ 1312 w 1413"/>
                      <a:gd name="T39" fmla="*/ 391 h 616"/>
                      <a:gd name="T40" fmla="*/ 1402 w 1413"/>
                      <a:gd name="T41" fmla="*/ 301 h 616"/>
                      <a:gd name="T42" fmla="*/ 1402 w 1413"/>
                      <a:gd name="T43" fmla="*/ 261 h 616"/>
                      <a:gd name="T44" fmla="*/ 221 w 1413"/>
                      <a:gd name="T45" fmla="*/ 408 h 616"/>
                      <a:gd name="T46" fmla="*/ 131 w 1413"/>
                      <a:gd name="T47" fmla="*/ 317 h 616"/>
                      <a:gd name="T48" fmla="*/ 221 w 1413"/>
                      <a:gd name="T49" fmla="*/ 227 h 616"/>
                      <a:gd name="T50" fmla="*/ 311 w 1413"/>
                      <a:gd name="T51" fmla="*/ 317 h 616"/>
                      <a:gd name="T52" fmla="*/ 221 w 1413"/>
                      <a:gd name="T53" fmla="*/ 408 h 6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1413" h="616">
                        <a:moveTo>
                          <a:pt x="1402" y="261"/>
                        </a:moveTo>
                        <a:cubicBezTo>
                          <a:pt x="1319" y="178"/>
                          <a:pt x="1319" y="178"/>
                          <a:pt x="1319" y="178"/>
                        </a:cubicBezTo>
                        <a:cubicBezTo>
                          <a:pt x="699" y="178"/>
                          <a:pt x="699" y="178"/>
                          <a:pt x="699" y="178"/>
                        </a:cubicBezTo>
                        <a:cubicBezTo>
                          <a:pt x="699" y="111"/>
                          <a:pt x="699" y="111"/>
                          <a:pt x="699" y="111"/>
                        </a:cubicBezTo>
                        <a:cubicBezTo>
                          <a:pt x="699" y="50"/>
                          <a:pt x="649" y="0"/>
                          <a:pt x="589" y="0"/>
                        </a:cubicBezTo>
                        <a:cubicBezTo>
                          <a:pt x="235" y="0"/>
                          <a:pt x="235" y="0"/>
                          <a:pt x="235" y="0"/>
                        </a:cubicBezTo>
                        <a:cubicBezTo>
                          <a:pt x="92" y="0"/>
                          <a:pt x="0" y="174"/>
                          <a:pt x="0" y="304"/>
                        </a:cubicBezTo>
                        <a:cubicBezTo>
                          <a:pt x="0" y="441"/>
                          <a:pt x="92" y="616"/>
                          <a:pt x="262" y="616"/>
                        </a:cubicBezTo>
                        <a:cubicBezTo>
                          <a:pt x="589" y="616"/>
                          <a:pt x="589" y="616"/>
                          <a:pt x="589" y="616"/>
                        </a:cubicBezTo>
                        <a:cubicBezTo>
                          <a:pt x="649" y="616"/>
                          <a:pt x="699" y="567"/>
                          <a:pt x="699" y="506"/>
                        </a:cubicBezTo>
                        <a:cubicBezTo>
                          <a:pt x="699" y="438"/>
                          <a:pt x="699" y="438"/>
                          <a:pt x="699" y="438"/>
                        </a:cubicBezTo>
                        <a:cubicBezTo>
                          <a:pt x="818" y="438"/>
                          <a:pt x="818" y="438"/>
                          <a:pt x="818" y="438"/>
                        </a:cubicBezTo>
                        <a:cubicBezTo>
                          <a:pt x="921" y="336"/>
                          <a:pt x="921" y="336"/>
                          <a:pt x="921" y="336"/>
                        </a:cubicBezTo>
                        <a:cubicBezTo>
                          <a:pt x="977" y="391"/>
                          <a:pt x="977" y="391"/>
                          <a:pt x="977" y="391"/>
                        </a:cubicBezTo>
                        <a:cubicBezTo>
                          <a:pt x="1033" y="336"/>
                          <a:pt x="1033" y="336"/>
                          <a:pt x="1033" y="336"/>
                        </a:cubicBezTo>
                        <a:cubicBezTo>
                          <a:pt x="1089" y="391"/>
                          <a:pt x="1089" y="391"/>
                          <a:pt x="1089" y="391"/>
                        </a:cubicBezTo>
                        <a:cubicBezTo>
                          <a:pt x="1144" y="336"/>
                          <a:pt x="1144" y="336"/>
                          <a:pt x="1144" y="336"/>
                        </a:cubicBezTo>
                        <a:cubicBezTo>
                          <a:pt x="1200" y="391"/>
                          <a:pt x="1200" y="391"/>
                          <a:pt x="1200" y="391"/>
                        </a:cubicBezTo>
                        <a:cubicBezTo>
                          <a:pt x="1256" y="336"/>
                          <a:pt x="1256" y="336"/>
                          <a:pt x="1256" y="336"/>
                        </a:cubicBezTo>
                        <a:cubicBezTo>
                          <a:pt x="1312" y="391"/>
                          <a:pt x="1312" y="391"/>
                          <a:pt x="1312" y="391"/>
                        </a:cubicBezTo>
                        <a:cubicBezTo>
                          <a:pt x="1402" y="301"/>
                          <a:pt x="1402" y="301"/>
                          <a:pt x="1402" y="301"/>
                        </a:cubicBezTo>
                        <a:cubicBezTo>
                          <a:pt x="1413" y="290"/>
                          <a:pt x="1413" y="272"/>
                          <a:pt x="1402" y="261"/>
                        </a:cubicBezTo>
                        <a:close/>
                        <a:moveTo>
                          <a:pt x="221" y="408"/>
                        </a:moveTo>
                        <a:cubicBezTo>
                          <a:pt x="171" y="408"/>
                          <a:pt x="131" y="367"/>
                          <a:pt x="131" y="317"/>
                        </a:cubicBezTo>
                        <a:cubicBezTo>
                          <a:pt x="131" y="268"/>
                          <a:pt x="171" y="227"/>
                          <a:pt x="221" y="227"/>
                        </a:cubicBezTo>
                        <a:cubicBezTo>
                          <a:pt x="271" y="227"/>
                          <a:pt x="311" y="268"/>
                          <a:pt x="311" y="317"/>
                        </a:cubicBezTo>
                        <a:cubicBezTo>
                          <a:pt x="311" y="367"/>
                          <a:pt x="271" y="408"/>
                          <a:pt x="221" y="408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24" name="Freeform: Shape 623"/>
                <p:cNvSpPr>
                  <a:spLocks noChangeAspect="1"/>
                </p:cNvSpPr>
                <p:nvPr/>
              </p:nvSpPr>
              <p:spPr>
                <a:xfrm>
                  <a:off x="4402592" y="6079939"/>
                  <a:ext cx="2619661" cy="502920"/>
                </a:xfrm>
                <a:custGeom>
                  <a:avLst/>
                  <a:gdLst>
                    <a:gd name="connsiteX0" fmla="*/ 2452352 w 2552253"/>
                    <a:gd name="connsiteY0" fmla="*/ 374787 h 489979"/>
                    <a:gd name="connsiteX1" fmla="*/ 2420875 w 2552253"/>
                    <a:gd name="connsiteY1" fmla="*/ 379363 h 489979"/>
                    <a:gd name="connsiteX2" fmla="*/ 2395649 w 2552253"/>
                    <a:gd name="connsiteY2" fmla="*/ 387679 h 489979"/>
                    <a:gd name="connsiteX3" fmla="*/ 2388393 w 2552253"/>
                    <a:gd name="connsiteY3" fmla="*/ 406376 h 489979"/>
                    <a:gd name="connsiteX4" fmla="*/ 2395146 w 2552253"/>
                    <a:gd name="connsiteY4" fmla="*/ 423119 h 489979"/>
                    <a:gd name="connsiteX5" fmla="*/ 2413954 w 2552253"/>
                    <a:gd name="connsiteY5" fmla="*/ 429705 h 489979"/>
                    <a:gd name="connsiteX6" fmla="*/ 2441413 w 2552253"/>
                    <a:gd name="connsiteY6" fmla="*/ 417482 h 489979"/>
                    <a:gd name="connsiteX7" fmla="*/ 2452352 w 2552253"/>
                    <a:gd name="connsiteY7" fmla="*/ 385949 h 489979"/>
                    <a:gd name="connsiteX8" fmla="*/ 1985627 w 2552253"/>
                    <a:gd name="connsiteY8" fmla="*/ 374787 h 489979"/>
                    <a:gd name="connsiteX9" fmla="*/ 1954150 w 2552253"/>
                    <a:gd name="connsiteY9" fmla="*/ 379363 h 489979"/>
                    <a:gd name="connsiteX10" fmla="*/ 1928924 w 2552253"/>
                    <a:gd name="connsiteY10" fmla="*/ 387679 h 489979"/>
                    <a:gd name="connsiteX11" fmla="*/ 1921668 w 2552253"/>
                    <a:gd name="connsiteY11" fmla="*/ 406376 h 489979"/>
                    <a:gd name="connsiteX12" fmla="*/ 1928421 w 2552253"/>
                    <a:gd name="connsiteY12" fmla="*/ 423119 h 489979"/>
                    <a:gd name="connsiteX13" fmla="*/ 1947229 w 2552253"/>
                    <a:gd name="connsiteY13" fmla="*/ 429705 h 489979"/>
                    <a:gd name="connsiteX14" fmla="*/ 1974688 w 2552253"/>
                    <a:gd name="connsiteY14" fmla="*/ 417482 h 489979"/>
                    <a:gd name="connsiteX15" fmla="*/ 1985627 w 2552253"/>
                    <a:gd name="connsiteY15" fmla="*/ 385949 h 489979"/>
                    <a:gd name="connsiteX16" fmla="*/ 1042652 w 2552253"/>
                    <a:gd name="connsiteY16" fmla="*/ 374787 h 489979"/>
                    <a:gd name="connsiteX17" fmla="*/ 1011175 w 2552253"/>
                    <a:gd name="connsiteY17" fmla="*/ 379363 h 489979"/>
                    <a:gd name="connsiteX18" fmla="*/ 985949 w 2552253"/>
                    <a:gd name="connsiteY18" fmla="*/ 387679 h 489979"/>
                    <a:gd name="connsiteX19" fmla="*/ 978693 w 2552253"/>
                    <a:gd name="connsiteY19" fmla="*/ 406376 h 489979"/>
                    <a:gd name="connsiteX20" fmla="*/ 985446 w 2552253"/>
                    <a:gd name="connsiteY20" fmla="*/ 423119 h 489979"/>
                    <a:gd name="connsiteX21" fmla="*/ 1004255 w 2552253"/>
                    <a:gd name="connsiteY21" fmla="*/ 429705 h 489979"/>
                    <a:gd name="connsiteX22" fmla="*/ 1031713 w 2552253"/>
                    <a:gd name="connsiteY22" fmla="*/ 417482 h 489979"/>
                    <a:gd name="connsiteX23" fmla="*/ 1042652 w 2552253"/>
                    <a:gd name="connsiteY23" fmla="*/ 385949 h 489979"/>
                    <a:gd name="connsiteX24" fmla="*/ 309227 w 2552253"/>
                    <a:gd name="connsiteY24" fmla="*/ 374787 h 489979"/>
                    <a:gd name="connsiteX25" fmla="*/ 277750 w 2552253"/>
                    <a:gd name="connsiteY25" fmla="*/ 379363 h 489979"/>
                    <a:gd name="connsiteX26" fmla="*/ 252524 w 2552253"/>
                    <a:gd name="connsiteY26" fmla="*/ 387679 h 489979"/>
                    <a:gd name="connsiteX27" fmla="*/ 245268 w 2552253"/>
                    <a:gd name="connsiteY27" fmla="*/ 406376 h 489979"/>
                    <a:gd name="connsiteX28" fmla="*/ 252021 w 2552253"/>
                    <a:gd name="connsiteY28" fmla="*/ 423119 h 489979"/>
                    <a:gd name="connsiteX29" fmla="*/ 270830 w 2552253"/>
                    <a:gd name="connsiteY29" fmla="*/ 429705 h 489979"/>
                    <a:gd name="connsiteX30" fmla="*/ 298288 w 2552253"/>
                    <a:gd name="connsiteY30" fmla="*/ 417482 h 489979"/>
                    <a:gd name="connsiteX31" fmla="*/ 309227 w 2552253"/>
                    <a:gd name="connsiteY31" fmla="*/ 385949 h 489979"/>
                    <a:gd name="connsiteX32" fmla="*/ 2140818 w 2552253"/>
                    <a:gd name="connsiteY32" fmla="*/ 328576 h 489979"/>
                    <a:gd name="connsiteX33" fmla="*/ 2114196 w 2552253"/>
                    <a:gd name="connsiteY33" fmla="*/ 339347 h 489979"/>
                    <a:gd name="connsiteX34" fmla="*/ 2101192 w 2552253"/>
                    <a:gd name="connsiteY34" fmla="*/ 370211 h 489979"/>
                    <a:gd name="connsiteX35" fmla="*/ 2174639 w 2552253"/>
                    <a:gd name="connsiteY35" fmla="*/ 370211 h 489979"/>
                    <a:gd name="connsiteX36" fmla="*/ 2165151 w 2552253"/>
                    <a:gd name="connsiteY36" fmla="*/ 339515 h 489979"/>
                    <a:gd name="connsiteX37" fmla="*/ 2140818 w 2552253"/>
                    <a:gd name="connsiteY37" fmla="*/ 328576 h 489979"/>
                    <a:gd name="connsiteX38" fmla="*/ 1617017 w 2552253"/>
                    <a:gd name="connsiteY38" fmla="*/ 328575 h 489979"/>
                    <a:gd name="connsiteX39" fmla="*/ 1586098 w 2552253"/>
                    <a:gd name="connsiteY39" fmla="*/ 341969 h 489979"/>
                    <a:gd name="connsiteX40" fmla="*/ 1575159 w 2552253"/>
                    <a:gd name="connsiteY40" fmla="*/ 373447 h 489979"/>
                    <a:gd name="connsiteX41" fmla="*/ 1575159 w 2552253"/>
                    <a:gd name="connsiteY41" fmla="*/ 387846 h 489979"/>
                    <a:gd name="connsiteX42" fmla="*/ 1585986 w 2552253"/>
                    <a:gd name="connsiteY42" fmla="*/ 417369 h 489979"/>
                    <a:gd name="connsiteX43" fmla="*/ 1614450 w 2552253"/>
                    <a:gd name="connsiteY43" fmla="*/ 429704 h 489979"/>
                    <a:gd name="connsiteX44" fmla="*/ 1642913 w 2552253"/>
                    <a:gd name="connsiteY44" fmla="*/ 414691 h 489979"/>
                    <a:gd name="connsiteX45" fmla="*/ 1653852 w 2552253"/>
                    <a:gd name="connsiteY45" fmla="*/ 375232 h 489979"/>
                    <a:gd name="connsiteX46" fmla="*/ 1643806 w 2552253"/>
                    <a:gd name="connsiteY46" fmla="*/ 341188 h 489979"/>
                    <a:gd name="connsiteX47" fmla="*/ 1617017 w 2552253"/>
                    <a:gd name="connsiteY47" fmla="*/ 328575 h 489979"/>
                    <a:gd name="connsiteX48" fmla="*/ 1331267 w 2552253"/>
                    <a:gd name="connsiteY48" fmla="*/ 328575 h 489979"/>
                    <a:gd name="connsiteX49" fmla="*/ 1300348 w 2552253"/>
                    <a:gd name="connsiteY49" fmla="*/ 341969 h 489979"/>
                    <a:gd name="connsiteX50" fmla="*/ 1289409 w 2552253"/>
                    <a:gd name="connsiteY50" fmla="*/ 373447 h 489979"/>
                    <a:gd name="connsiteX51" fmla="*/ 1289409 w 2552253"/>
                    <a:gd name="connsiteY51" fmla="*/ 387846 h 489979"/>
                    <a:gd name="connsiteX52" fmla="*/ 1300236 w 2552253"/>
                    <a:gd name="connsiteY52" fmla="*/ 417369 h 489979"/>
                    <a:gd name="connsiteX53" fmla="*/ 1328700 w 2552253"/>
                    <a:gd name="connsiteY53" fmla="*/ 429704 h 489979"/>
                    <a:gd name="connsiteX54" fmla="*/ 1357163 w 2552253"/>
                    <a:gd name="connsiteY54" fmla="*/ 414691 h 489979"/>
                    <a:gd name="connsiteX55" fmla="*/ 1368102 w 2552253"/>
                    <a:gd name="connsiteY55" fmla="*/ 375232 h 489979"/>
                    <a:gd name="connsiteX56" fmla="*/ 1358056 w 2552253"/>
                    <a:gd name="connsiteY56" fmla="*/ 341188 h 489979"/>
                    <a:gd name="connsiteX57" fmla="*/ 1331267 w 2552253"/>
                    <a:gd name="connsiteY57" fmla="*/ 328575 h 489979"/>
                    <a:gd name="connsiteX58" fmla="*/ 647179 w 2552253"/>
                    <a:gd name="connsiteY58" fmla="*/ 328575 h 489979"/>
                    <a:gd name="connsiteX59" fmla="*/ 616818 w 2552253"/>
                    <a:gd name="connsiteY59" fmla="*/ 342751 h 489979"/>
                    <a:gd name="connsiteX60" fmla="*/ 605321 w 2552253"/>
                    <a:gd name="connsiteY60" fmla="*/ 380255 h 489979"/>
                    <a:gd name="connsiteX61" fmla="*/ 615869 w 2552253"/>
                    <a:gd name="connsiteY61" fmla="*/ 416700 h 489979"/>
                    <a:gd name="connsiteX62" fmla="*/ 643718 w 2552253"/>
                    <a:gd name="connsiteY62" fmla="*/ 429704 h 489979"/>
                    <a:gd name="connsiteX63" fmla="*/ 673075 w 2552253"/>
                    <a:gd name="connsiteY63" fmla="*/ 417760 h 489979"/>
                    <a:gd name="connsiteX64" fmla="*/ 684014 w 2552253"/>
                    <a:gd name="connsiteY64" fmla="*/ 388515 h 489979"/>
                    <a:gd name="connsiteX65" fmla="*/ 684014 w 2552253"/>
                    <a:gd name="connsiteY65" fmla="*/ 365856 h 489979"/>
                    <a:gd name="connsiteX66" fmla="*/ 673800 w 2552253"/>
                    <a:gd name="connsiteY66" fmla="*/ 339625 h 489979"/>
                    <a:gd name="connsiteX67" fmla="*/ 647179 w 2552253"/>
                    <a:gd name="connsiteY67" fmla="*/ 328575 h 489979"/>
                    <a:gd name="connsiteX68" fmla="*/ 1796467 w 2552253"/>
                    <a:gd name="connsiteY68" fmla="*/ 321989 h 489979"/>
                    <a:gd name="connsiteX69" fmla="*/ 1807964 w 2552253"/>
                    <a:gd name="connsiteY69" fmla="*/ 321989 h 489979"/>
                    <a:gd name="connsiteX70" fmla="*/ 1842008 w 2552253"/>
                    <a:gd name="connsiteY70" fmla="*/ 412960 h 489979"/>
                    <a:gd name="connsiteX71" fmla="*/ 1845468 w 2552253"/>
                    <a:gd name="connsiteY71" fmla="*/ 424904 h 489979"/>
                    <a:gd name="connsiteX72" fmla="*/ 1845915 w 2552253"/>
                    <a:gd name="connsiteY72" fmla="*/ 424904 h 489979"/>
                    <a:gd name="connsiteX73" fmla="*/ 1849152 w 2552253"/>
                    <a:gd name="connsiteY73" fmla="*/ 413407 h 489979"/>
                    <a:gd name="connsiteX74" fmla="*/ 1884312 w 2552253"/>
                    <a:gd name="connsiteY74" fmla="*/ 321989 h 489979"/>
                    <a:gd name="connsiteX75" fmla="*/ 1895474 w 2552253"/>
                    <a:gd name="connsiteY75" fmla="*/ 321989 h 489979"/>
                    <a:gd name="connsiteX76" fmla="*/ 1850045 w 2552253"/>
                    <a:gd name="connsiteY76" fmla="*/ 436289 h 489979"/>
                    <a:gd name="connsiteX77" fmla="*/ 1840669 w 2552253"/>
                    <a:gd name="connsiteY77" fmla="*/ 436289 h 489979"/>
                    <a:gd name="connsiteX78" fmla="*/ 1764915 w 2552253"/>
                    <a:gd name="connsiteY78" fmla="*/ 321989 h 489979"/>
                    <a:gd name="connsiteX79" fmla="*/ 1775184 w 2552253"/>
                    <a:gd name="connsiteY79" fmla="*/ 321989 h 489979"/>
                    <a:gd name="connsiteX80" fmla="*/ 1775184 w 2552253"/>
                    <a:gd name="connsiteY80" fmla="*/ 436289 h 489979"/>
                    <a:gd name="connsiteX81" fmla="*/ 1764915 w 2552253"/>
                    <a:gd name="connsiteY81" fmla="*/ 436289 h 489979"/>
                    <a:gd name="connsiteX82" fmla="*/ 1386892 w 2552253"/>
                    <a:gd name="connsiteY82" fmla="*/ 321989 h 489979"/>
                    <a:gd name="connsiteX83" fmla="*/ 1398389 w 2552253"/>
                    <a:gd name="connsiteY83" fmla="*/ 321989 h 489979"/>
                    <a:gd name="connsiteX84" fmla="*/ 1432880 w 2552253"/>
                    <a:gd name="connsiteY84" fmla="*/ 415081 h 489979"/>
                    <a:gd name="connsiteX85" fmla="*/ 1434442 w 2552253"/>
                    <a:gd name="connsiteY85" fmla="*/ 419658 h 489979"/>
                    <a:gd name="connsiteX86" fmla="*/ 1435447 w 2552253"/>
                    <a:gd name="connsiteY86" fmla="*/ 423453 h 489979"/>
                    <a:gd name="connsiteX87" fmla="*/ 1435893 w 2552253"/>
                    <a:gd name="connsiteY87" fmla="*/ 423453 h 489979"/>
                    <a:gd name="connsiteX88" fmla="*/ 1438572 w 2552253"/>
                    <a:gd name="connsiteY88" fmla="*/ 415751 h 489979"/>
                    <a:gd name="connsiteX89" fmla="*/ 1475407 w 2552253"/>
                    <a:gd name="connsiteY89" fmla="*/ 321989 h 489979"/>
                    <a:gd name="connsiteX90" fmla="*/ 1486569 w 2552253"/>
                    <a:gd name="connsiteY90" fmla="*/ 321989 h 489979"/>
                    <a:gd name="connsiteX91" fmla="*/ 1430870 w 2552253"/>
                    <a:gd name="connsiteY91" fmla="*/ 459618 h 489979"/>
                    <a:gd name="connsiteX92" fmla="*/ 1417029 w 2552253"/>
                    <a:gd name="connsiteY92" fmla="*/ 482500 h 489979"/>
                    <a:gd name="connsiteX93" fmla="*/ 1397496 w 2552253"/>
                    <a:gd name="connsiteY93" fmla="*/ 489979 h 489979"/>
                    <a:gd name="connsiteX94" fmla="*/ 1388566 w 2552253"/>
                    <a:gd name="connsiteY94" fmla="*/ 488416 h 489979"/>
                    <a:gd name="connsiteX95" fmla="*/ 1388566 w 2552253"/>
                    <a:gd name="connsiteY95" fmla="*/ 478147 h 489979"/>
                    <a:gd name="connsiteX96" fmla="*/ 1397942 w 2552253"/>
                    <a:gd name="connsiteY96" fmla="*/ 479710 h 489979"/>
                    <a:gd name="connsiteX97" fmla="*/ 1419597 w 2552253"/>
                    <a:gd name="connsiteY97" fmla="*/ 460734 h 489979"/>
                    <a:gd name="connsiteX98" fmla="*/ 1430201 w 2552253"/>
                    <a:gd name="connsiteY98" fmla="*/ 435396 h 489979"/>
                    <a:gd name="connsiteX99" fmla="*/ 431415 w 2552253"/>
                    <a:gd name="connsiteY99" fmla="*/ 321989 h 489979"/>
                    <a:gd name="connsiteX100" fmla="*/ 441684 w 2552253"/>
                    <a:gd name="connsiteY100" fmla="*/ 321989 h 489979"/>
                    <a:gd name="connsiteX101" fmla="*/ 441684 w 2552253"/>
                    <a:gd name="connsiteY101" fmla="*/ 436289 h 489979"/>
                    <a:gd name="connsiteX102" fmla="*/ 431415 w 2552253"/>
                    <a:gd name="connsiteY102" fmla="*/ 436289 h 489979"/>
                    <a:gd name="connsiteX103" fmla="*/ 2540868 w 2552253"/>
                    <a:gd name="connsiteY103" fmla="*/ 319757 h 489979"/>
                    <a:gd name="connsiteX104" fmla="*/ 2552253 w 2552253"/>
                    <a:gd name="connsiteY104" fmla="*/ 321766 h 489979"/>
                    <a:gd name="connsiteX105" fmla="*/ 2552253 w 2552253"/>
                    <a:gd name="connsiteY105" fmla="*/ 332705 h 489979"/>
                    <a:gd name="connsiteX106" fmla="*/ 2540198 w 2552253"/>
                    <a:gd name="connsiteY106" fmla="*/ 329021 h 489979"/>
                    <a:gd name="connsiteX107" fmla="*/ 2517539 w 2552253"/>
                    <a:gd name="connsiteY107" fmla="*/ 342974 h 489979"/>
                    <a:gd name="connsiteX108" fmla="*/ 2508386 w 2552253"/>
                    <a:gd name="connsiteY108" fmla="*/ 382599 h 489979"/>
                    <a:gd name="connsiteX109" fmla="*/ 2508386 w 2552253"/>
                    <a:gd name="connsiteY109" fmla="*/ 436289 h 489979"/>
                    <a:gd name="connsiteX110" fmla="*/ 2498340 w 2552253"/>
                    <a:gd name="connsiteY110" fmla="*/ 436289 h 489979"/>
                    <a:gd name="connsiteX111" fmla="*/ 2498340 w 2552253"/>
                    <a:gd name="connsiteY111" fmla="*/ 321989 h 489979"/>
                    <a:gd name="connsiteX112" fmla="*/ 2508386 w 2552253"/>
                    <a:gd name="connsiteY112" fmla="*/ 321989 h 489979"/>
                    <a:gd name="connsiteX113" fmla="*/ 2508386 w 2552253"/>
                    <a:gd name="connsiteY113" fmla="*/ 347327 h 489979"/>
                    <a:gd name="connsiteX114" fmla="*/ 2508832 w 2552253"/>
                    <a:gd name="connsiteY114" fmla="*/ 347327 h 489979"/>
                    <a:gd name="connsiteX115" fmla="*/ 2521222 w 2552253"/>
                    <a:gd name="connsiteY115" fmla="*/ 327012 h 489979"/>
                    <a:gd name="connsiteX116" fmla="*/ 2540868 w 2552253"/>
                    <a:gd name="connsiteY116" fmla="*/ 319757 h 489979"/>
                    <a:gd name="connsiteX117" fmla="*/ 1731243 w 2552253"/>
                    <a:gd name="connsiteY117" fmla="*/ 319757 h 489979"/>
                    <a:gd name="connsiteX118" fmla="*/ 1742628 w 2552253"/>
                    <a:gd name="connsiteY118" fmla="*/ 321766 h 489979"/>
                    <a:gd name="connsiteX119" fmla="*/ 1742628 w 2552253"/>
                    <a:gd name="connsiteY119" fmla="*/ 332705 h 489979"/>
                    <a:gd name="connsiteX120" fmla="*/ 1730573 w 2552253"/>
                    <a:gd name="connsiteY120" fmla="*/ 329021 h 489979"/>
                    <a:gd name="connsiteX121" fmla="*/ 1707914 w 2552253"/>
                    <a:gd name="connsiteY121" fmla="*/ 342974 h 489979"/>
                    <a:gd name="connsiteX122" fmla="*/ 1698761 w 2552253"/>
                    <a:gd name="connsiteY122" fmla="*/ 382599 h 489979"/>
                    <a:gd name="connsiteX123" fmla="*/ 1698761 w 2552253"/>
                    <a:gd name="connsiteY123" fmla="*/ 436289 h 489979"/>
                    <a:gd name="connsiteX124" fmla="*/ 1688715 w 2552253"/>
                    <a:gd name="connsiteY124" fmla="*/ 436289 h 489979"/>
                    <a:gd name="connsiteX125" fmla="*/ 1688715 w 2552253"/>
                    <a:gd name="connsiteY125" fmla="*/ 321989 h 489979"/>
                    <a:gd name="connsiteX126" fmla="*/ 1698761 w 2552253"/>
                    <a:gd name="connsiteY126" fmla="*/ 321989 h 489979"/>
                    <a:gd name="connsiteX127" fmla="*/ 1698761 w 2552253"/>
                    <a:gd name="connsiteY127" fmla="*/ 347327 h 489979"/>
                    <a:gd name="connsiteX128" fmla="*/ 1699207 w 2552253"/>
                    <a:gd name="connsiteY128" fmla="*/ 347327 h 489979"/>
                    <a:gd name="connsiteX129" fmla="*/ 1711597 w 2552253"/>
                    <a:gd name="connsiteY129" fmla="*/ 327012 h 489979"/>
                    <a:gd name="connsiteX130" fmla="*/ 1731243 w 2552253"/>
                    <a:gd name="connsiteY130" fmla="*/ 319757 h 489979"/>
                    <a:gd name="connsiteX131" fmla="*/ 397743 w 2552253"/>
                    <a:gd name="connsiteY131" fmla="*/ 319757 h 489979"/>
                    <a:gd name="connsiteX132" fmla="*/ 409128 w 2552253"/>
                    <a:gd name="connsiteY132" fmla="*/ 321766 h 489979"/>
                    <a:gd name="connsiteX133" fmla="*/ 409128 w 2552253"/>
                    <a:gd name="connsiteY133" fmla="*/ 332705 h 489979"/>
                    <a:gd name="connsiteX134" fmla="*/ 397073 w 2552253"/>
                    <a:gd name="connsiteY134" fmla="*/ 329021 h 489979"/>
                    <a:gd name="connsiteX135" fmla="*/ 374414 w 2552253"/>
                    <a:gd name="connsiteY135" fmla="*/ 342974 h 489979"/>
                    <a:gd name="connsiteX136" fmla="*/ 365261 w 2552253"/>
                    <a:gd name="connsiteY136" fmla="*/ 382599 h 489979"/>
                    <a:gd name="connsiteX137" fmla="*/ 365261 w 2552253"/>
                    <a:gd name="connsiteY137" fmla="*/ 436289 h 489979"/>
                    <a:gd name="connsiteX138" fmla="*/ 355215 w 2552253"/>
                    <a:gd name="connsiteY138" fmla="*/ 436289 h 489979"/>
                    <a:gd name="connsiteX139" fmla="*/ 355215 w 2552253"/>
                    <a:gd name="connsiteY139" fmla="*/ 321989 h 489979"/>
                    <a:gd name="connsiteX140" fmla="*/ 365261 w 2552253"/>
                    <a:gd name="connsiteY140" fmla="*/ 321989 h 489979"/>
                    <a:gd name="connsiteX141" fmla="*/ 365261 w 2552253"/>
                    <a:gd name="connsiteY141" fmla="*/ 347327 h 489979"/>
                    <a:gd name="connsiteX142" fmla="*/ 365707 w 2552253"/>
                    <a:gd name="connsiteY142" fmla="*/ 347327 h 489979"/>
                    <a:gd name="connsiteX143" fmla="*/ 378097 w 2552253"/>
                    <a:gd name="connsiteY143" fmla="*/ 327012 h 489979"/>
                    <a:gd name="connsiteX144" fmla="*/ 397743 w 2552253"/>
                    <a:gd name="connsiteY144" fmla="*/ 319757 h 489979"/>
                    <a:gd name="connsiteX145" fmla="*/ 2425675 w 2552253"/>
                    <a:gd name="connsiteY145" fmla="*/ 319200 h 489979"/>
                    <a:gd name="connsiteX146" fmla="*/ 2452966 w 2552253"/>
                    <a:gd name="connsiteY146" fmla="*/ 330139 h 489979"/>
                    <a:gd name="connsiteX147" fmla="*/ 2462621 w 2552253"/>
                    <a:gd name="connsiteY147" fmla="*/ 361951 h 489979"/>
                    <a:gd name="connsiteX148" fmla="*/ 2462621 w 2552253"/>
                    <a:gd name="connsiteY148" fmla="*/ 436290 h 489979"/>
                    <a:gd name="connsiteX149" fmla="*/ 2452352 w 2552253"/>
                    <a:gd name="connsiteY149" fmla="*/ 436290 h 489979"/>
                    <a:gd name="connsiteX150" fmla="*/ 2452352 w 2552253"/>
                    <a:gd name="connsiteY150" fmla="*/ 413408 h 489979"/>
                    <a:gd name="connsiteX151" fmla="*/ 2451906 w 2552253"/>
                    <a:gd name="connsiteY151" fmla="*/ 413408 h 489979"/>
                    <a:gd name="connsiteX152" fmla="*/ 2436000 w 2552253"/>
                    <a:gd name="connsiteY152" fmla="*/ 432104 h 489979"/>
                    <a:gd name="connsiteX153" fmla="*/ 2412838 w 2552253"/>
                    <a:gd name="connsiteY153" fmla="*/ 439081 h 489979"/>
                    <a:gd name="connsiteX154" fmla="*/ 2387054 w 2552253"/>
                    <a:gd name="connsiteY154" fmla="*/ 429928 h 489979"/>
                    <a:gd name="connsiteX155" fmla="*/ 2377566 w 2552253"/>
                    <a:gd name="connsiteY155" fmla="*/ 406822 h 489979"/>
                    <a:gd name="connsiteX156" fmla="*/ 2417191 w 2552253"/>
                    <a:gd name="connsiteY156" fmla="*/ 370657 h 489979"/>
                    <a:gd name="connsiteX157" fmla="*/ 2452352 w 2552253"/>
                    <a:gd name="connsiteY157" fmla="*/ 365411 h 489979"/>
                    <a:gd name="connsiteX158" fmla="*/ 2424670 w 2552253"/>
                    <a:gd name="connsiteY158" fmla="*/ 328576 h 489979"/>
                    <a:gd name="connsiteX159" fmla="*/ 2387947 w 2552253"/>
                    <a:gd name="connsiteY159" fmla="*/ 343756 h 489979"/>
                    <a:gd name="connsiteX160" fmla="*/ 2387947 w 2552253"/>
                    <a:gd name="connsiteY160" fmla="*/ 331366 h 489979"/>
                    <a:gd name="connsiteX161" fmla="*/ 2405192 w 2552253"/>
                    <a:gd name="connsiteY161" fmla="*/ 322772 h 489979"/>
                    <a:gd name="connsiteX162" fmla="*/ 2425675 w 2552253"/>
                    <a:gd name="connsiteY162" fmla="*/ 319200 h 489979"/>
                    <a:gd name="connsiteX163" fmla="*/ 2328378 w 2552253"/>
                    <a:gd name="connsiteY163" fmla="*/ 319200 h 489979"/>
                    <a:gd name="connsiteX164" fmla="*/ 2353716 w 2552253"/>
                    <a:gd name="connsiteY164" fmla="*/ 324558 h 489979"/>
                    <a:gd name="connsiteX165" fmla="*/ 2353716 w 2552253"/>
                    <a:gd name="connsiteY165" fmla="*/ 336166 h 489979"/>
                    <a:gd name="connsiteX166" fmla="*/ 2326816 w 2552253"/>
                    <a:gd name="connsiteY166" fmla="*/ 328576 h 489979"/>
                    <a:gd name="connsiteX167" fmla="*/ 2294222 w 2552253"/>
                    <a:gd name="connsiteY167" fmla="*/ 343031 h 489979"/>
                    <a:gd name="connsiteX168" fmla="*/ 2281721 w 2552253"/>
                    <a:gd name="connsiteY168" fmla="*/ 380480 h 489979"/>
                    <a:gd name="connsiteX169" fmla="*/ 2293162 w 2552253"/>
                    <a:gd name="connsiteY169" fmla="*/ 416198 h 489979"/>
                    <a:gd name="connsiteX170" fmla="*/ 2323355 w 2552253"/>
                    <a:gd name="connsiteY170" fmla="*/ 429705 h 489979"/>
                    <a:gd name="connsiteX171" fmla="*/ 2353270 w 2552253"/>
                    <a:gd name="connsiteY171" fmla="*/ 420552 h 489979"/>
                    <a:gd name="connsiteX172" fmla="*/ 2353270 w 2552253"/>
                    <a:gd name="connsiteY172" fmla="*/ 431267 h 489979"/>
                    <a:gd name="connsiteX173" fmla="*/ 2322909 w 2552253"/>
                    <a:gd name="connsiteY173" fmla="*/ 439081 h 489979"/>
                    <a:gd name="connsiteX174" fmla="*/ 2285293 w 2552253"/>
                    <a:gd name="connsiteY174" fmla="*/ 423063 h 489979"/>
                    <a:gd name="connsiteX175" fmla="*/ 2271005 w 2552253"/>
                    <a:gd name="connsiteY175" fmla="*/ 381149 h 489979"/>
                    <a:gd name="connsiteX176" fmla="*/ 2287078 w 2552253"/>
                    <a:gd name="connsiteY176" fmla="*/ 336557 h 489979"/>
                    <a:gd name="connsiteX177" fmla="*/ 2328378 w 2552253"/>
                    <a:gd name="connsiteY177" fmla="*/ 319200 h 489979"/>
                    <a:gd name="connsiteX178" fmla="*/ 2141264 w 2552253"/>
                    <a:gd name="connsiteY178" fmla="*/ 319200 h 489979"/>
                    <a:gd name="connsiteX179" fmla="*/ 2173969 w 2552253"/>
                    <a:gd name="connsiteY179" fmla="*/ 334157 h 489979"/>
                    <a:gd name="connsiteX180" fmla="*/ 2185354 w 2552253"/>
                    <a:gd name="connsiteY180" fmla="*/ 375010 h 489979"/>
                    <a:gd name="connsiteX181" fmla="*/ 2185354 w 2552253"/>
                    <a:gd name="connsiteY181" fmla="*/ 379587 h 489979"/>
                    <a:gd name="connsiteX182" fmla="*/ 2100746 w 2552253"/>
                    <a:gd name="connsiteY182" fmla="*/ 379587 h 489979"/>
                    <a:gd name="connsiteX183" fmla="*/ 2111629 w 2552253"/>
                    <a:gd name="connsiteY183" fmla="*/ 416422 h 489979"/>
                    <a:gd name="connsiteX184" fmla="*/ 2141487 w 2552253"/>
                    <a:gd name="connsiteY184" fmla="*/ 429705 h 489979"/>
                    <a:gd name="connsiteX185" fmla="*/ 2178992 w 2552253"/>
                    <a:gd name="connsiteY185" fmla="*/ 415529 h 489979"/>
                    <a:gd name="connsiteX186" fmla="*/ 2178992 w 2552253"/>
                    <a:gd name="connsiteY186" fmla="*/ 426468 h 489979"/>
                    <a:gd name="connsiteX187" fmla="*/ 2139367 w 2552253"/>
                    <a:gd name="connsiteY187" fmla="*/ 439081 h 489979"/>
                    <a:gd name="connsiteX188" fmla="*/ 2103648 w 2552253"/>
                    <a:gd name="connsiteY188" fmla="*/ 423231 h 489979"/>
                    <a:gd name="connsiteX189" fmla="*/ 2090030 w 2552253"/>
                    <a:gd name="connsiteY189" fmla="*/ 378471 h 489979"/>
                    <a:gd name="connsiteX190" fmla="*/ 2104262 w 2552253"/>
                    <a:gd name="connsiteY190" fmla="*/ 336334 h 489979"/>
                    <a:gd name="connsiteX191" fmla="*/ 2141264 w 2552253"/>
                    <a:gd name="connsiteY191" fmla="*/ 319200 h 489979"/>
                    <a:gd name="connsiteX192" fmla="*/ 1958950 w 2552253"/>
                    <a:gd name="connsiteY192" fmla="*/ 319200 h 489979"/>
                    <a:gd name="connsiteX193" fmla="*/ 1986241 w 2552253"/>
                    <a:gd name="connsiteY193" fmla="*/ 330139 h 489979"/>
                    <a:gd name="connsiteX194" fmla="*/ 1995896 w 2552253"/>
                    <a:gd name="connsiteY194" fmla="*/ 361951 h 489979"/>
                    <a:gd name="connsiteX195" fmla="*/ 1995896 w 2552253"/>
                    <a:gd name="connsiteY195" fmla="*/ 436290 h 489979"/>
                    <a:gd name="connsiteX196" fmla="*/ 1985627 w 2552253"/>
                    <a:gd name="connsiteY196" fmla="*/ 436290 h 489979"/>
                    <a:gd name="connsiteX197" fmla="*/ 1985627 w 2552253"/>
                    <a:gd name="connsiteY197" fmla="*/ 413408 h 489979"/>
                    <a:gd name="connsiteX198" fmla="*/ 1985181 w 2552253"/>
                    <a:gd name="connsiteY198" fmla="*/ 413408 h 489979"/>
                    <a:gd name="connsiteX199" fmla="*/ 1969275 w 2552253"/>
                    <a:gd name="connsiteY199" fmla="*/ 432104 h 489979"/>
                    <a:gd name="connsiteX200" fmla="*/ 1946113 w 2552253"/>
                    <a:gd name="connsiteY200" fmla="*/ 439081 h 489979"/>
                    <a:gd name="connsiteX201" fmla="*/ 1920329 w 2552253"/>
                    <a:gd name="connsiteY201" fmla="*/ 429928 h 489979"/>
                    <a:gd name="connsiteX202" fmla="*/ 1910841 w 2552253"/>
                    <a:gd name="connsiteY202" fmla="*/ 406822 h 489979"/>
                    <a:gd name="connsiteX203" fmla="*/ 1950466 w 2552253"/>
                    <a:gd name="connsiteY203" fmla="*/ 370657 h 489979"/>
                    <a:gd name="connsiteX204" fmla="*/ 1985627 w 2552253"/>
                    <a:gd name="connsiteY204" fmla="*/ 365411 h 489979"/>
                    <a:gd name="connsiteX205" fmla="*/ 1957945 w 2552253"/>
                    <a:gd name="connsiteY205" fmla="*/ 328576 h 489979"/>
                    <a:gd name="connsiteX206" fmla="*/ 1921222 w 2552253"/>
                    <a:gd name="connsiteY206" fmla="*/ 343756 h 489979"/>
                    <a:gd name="connsiteX207" fmla="*/ 1921222 w 2552253"/>
                    <a:gd name="connsiteY207" fmla="*/ 331366 h 489979"/>
                    <a:gd name="connsiteX208" fmla="*/ 1938467 w 2552253"/>
                    <a:gd name="connsiteY208" fmla="*/ 322772 h 489979"/>
                    <a:gd name="connsiteX209" fmla="*/ 1958950 w 2552253"/>
                    <a:gd name="connsiteY209" fmla="*/ 319200 h 489979"/>
                    <a:gd name="connsiteX210" fmla="*/ 1015975 w 2552253"/>
                    <a:gd name="connsiteY210" fmla="*/ 319200 h 489979"/>
                    <a:gd name="connsiteX211" fmla="*/ 1043266 w 2552253"/>
                    <a:gd name="connsiteY211" fmla="*/ 330139 h 489979"/>
                    <a:gd name="connsiteX212" fmla="*/ 1052921 w 2552253"/>
                    <a:gd name="connsiteY212" fmla="*/ 361951 h 489979"/>
                    <a:gd name="connsiteX213" fmla="*/ 1052921 w 2552253"/>
                    <a:gd name="connsiteY213" fmla="*/ 436290 h 489979"/>
                    <a:gd name="connsiteX214" fmla="*/ 1042652 w 2552253"/>
                    <a:gd name="connsiteY214" fmla="*/ 436290 h 489979"/>
                    <a:gd name="connsiteX215" fmla="*/ 1042652 w 2552253"/>
                    <a:gd name="connsiteY215" fmla="*/ 413408 h 489979"/>
                    <a:gd name="connsiteX216" fmla="*/ 1042206 w 2552253"/>
                    <a:gd name="connsiteY216" fmla="*/ 413408 h 489979"/>
                    <a:gd name="connsiteX217" fmla="*/ 1026300 w 2552253"/>
                    <a:gd name="connsiteY217" fmla="*/ 432104 h 489979"/>
                    <a:gd name="connsiteX218" fmla="*/ 1003138 w 2552253"/>
                    <a:gd name="connsiteY218" fmla="*/ 439081 h 489979"/>
                    <a:gd name="connsiteX219" fmla="*/ 977354 w 2552253"/>
                    <a:gd name="connsiteY219" fmla="*/ 429928 h 489979"/>
                    <a:gd name="connsiteX220" fmla="*/ 967866 w 2552253"/>
                    <a:gd name="connsiteY220" fmla="*/ 406822 h 489979"/>
                    <a:gd name="connsiteX221" fmla="*/ 1007492 w 2552253"/>
                    <a:gd name="connsiteY221" fmla="*/ 370657 h 489979"/>
                    <a:gd name="connsiteX222" fmla="*/ 1042652 w 2552253"/>
                    <a:gd name="connsiteY222" fmla="*/ 365411 h 489979"/>
                    <a:gd name="connsiteX223" fmla="*/ 1014970 w 2552253"/>
                    <a:gd name="connsiteY223" fmla="*/ 328576 h 489979"/>
                    <a:gd name="connsiteX224" fmla="*/ 978247 w 2552253"/>
                    <a:gd name="connsiteY224" fmla="*/ 343756 h 489979"/>
                    <a:gd name="connsiteX225" fmla="*/ 978247 w 2552253"/>
                    <a:gd name="connsiteY225" fmla="*/ 331366 h 489979"/>
                    <a:gd name="connsiteX226" fmla="*/ 995492 w 2552253"/>
                    <a:gd name="connsiteY226" fmla="*/ 322772 h 489979"/>
                    <a:gd name="connsiteX227" fmla="*/ 1015975 w 2552253"/>
                    <a:gd name="connsiteY227" fmla="*/ 319200 h 489979"/>
                    <a:gd name="connsiteX228" fmla="*/ 282550 w 2552253"/>
                    <a:gd name="connsiteY228" fmla="*/ 319200 h 489979"/>
                    <a:gd name="connsiteX229" fmla="*/ 309841 w 2552253"/>
                    <a:gd name="connsiteY229" fmla="*/ 330139 h 489979"/>
                    <a:gd name="connsiteX230" fmla="*/ 319496 w 2552253"/>
                    <a:gd name="connsiteY230" fmla="*/ 361951 h 489979"/>
                    <a:gd name="connsiteX231" fmla="*/ 319496 w 2552253"/>
                    <a:gd name="connsiteY231" fmla="*/ 436290 h 489979"/>
                    <a:gd name="connsiteX232" fmla="*/ 309227 w 2552253"/>
                    <a:gd name="connsiteY232" fmla="*/ 436290 h 489979"/>
                    <a:gd name="connsiteX233" fmla="*/ 309227 w 2552253"/>
                    <a:gd name="connsiteY233" fmla="*/ 413408 h 489979"/>
                    <a:gd name="connsiteX234" fmla="*/ 308781 w 2552253"/>
                    <a:gd name="connsiteY234" fmla="*/ 413408 h 489979"/>
                    <a:gd name="connsiteX235" fmla="*/ 292875 w 2552253"/>
                    <a:gd name="connsiteY235" fmla="*/ 432104 h 489979"/>
                    <a:gd name="connsiteX236" fmla="*/ 269713 w 2552253"/>
                    <a:gd name="connsiteY236" fmla="*/ 439081 h 489979"/>
                    <a:gd name="connsiteX237" fmla="*/ 243929 w 2552253"/>
                    <a:gd name="connsiteY237" fmla="*/ 429928 h 489979"/>
                    <a:gd name="connsiteX238" fmla="*/ 234441 w 2552253"/>
                    <a:gd name="connsiteY238" fmla="*/ 406822 h 489979"/>
                    <a:gd name="connsiteX239" fmla="*/ 274067 w 2552253"/>
                    <a:gd name="connsiteY239" fmla="*/ 370657 h 489979"/>
                    <a:gd name="connsiteX240" fmla="*/ 309227 w 2552253"/>
                    <a:gd name="connsiteY240" fmla="*/ 365411 h 489979"/>
                    <a:gd name="connsiteX241" fmla="*/ 281545 w 2552253"/>
                    <a:gd name="connsiteY241" fmla="*/ 328576 h 489979"/>
                    <a:gd name="connsiteX242" fmla="*/ 244822 w 2552253"/>
                    <a:gd name="connsiteY242" fmla="*/ 343756 h 489979"/>
                    <a:gd name="connsiteX243" fmla="*/ 244822 w 2552253"/>
                    <a:gd name="connsiteY243" fmla="*/ 331366 h 489979"/>
                    <a:gd name="connsiteX244" fmla="*/ 262067 w 2552253"/>
                    <a:gd name="connsiteY244" fmla="*/ 322772 h 489979"/>
                    <a:gd name="connsiteX245" fmla="*/ 282550 w 2552253"/>
                    <a:gd name="connsiteY245" fmla="*/ 319200 h 489979"/>
                    <a:gd name="connsiteX246" fmla="*/ 1618357 w 2552253"/>
                    <a:gd name="connsiteY246" fmla="*/ 319199 h 489979"/>
                    <a:gd name="connsiteX247" fmla="*/ 1652345 w 2552253"/>
                    <a:gd name="connsiteY247" fmla="*/ 334212 h 489979"/>
                    <a:gd name="connsiteX248" fmla="*/ 1664568 w 2552253"/>
                    <a:gd name="connsiteY248" fmla="*/ 375009 h 489979"/>
                    <a:gd name="connsiteX249" fmla="*/ 1650559 w 2552253"/>
                    <a:gd name="connsiteY249" fmla="*/ 421388 h 489979"/>
                    <a:gd name="connsiteX250" fmla="*/ 1613557 w 2552253"/>
                    <a:gd name="connsiteY250" fmla="*/ 439080 h 489979"/>
                    <a:gd name="connsiteX251" fmla="*/ 1575606 w 2552253"/>
                    <a:gd name="connsiteY251" fmla="*/ 415974 h 489979"/>
                    <a:gd name="connsiteX252" fmla="*/ 1575159 w 2552253"/>
                    <a:gd name="connsiteY252" fmla="*/ 415974 h 489979"/>
                    <a:gd name="connsiteX253" fmla="*/ 1575159 w 2552253"/>
                    <a:gd name="connsiteY253" fmla="*/ 488863 h 489979"/>
                    <a:gd name="connsiteX254" fmla="*/ 1564890 w 2552253"/>
                    <a:gd name="connsiteY254" fmla="*/ 488863 h 489979"/>
                    <a:gd name="connsiteX255" fmla="*/ 1564890 w 2552253"/>
                    <a:gd name="connsiteY255" fmla="*/ 321989 h 489979"/>
                    <a:gd name="connsiteX256" fmla="*/ 1575159 w 2552253"/>
                    <a:gd name="connsiteY256" fmla="*/ 321989 h 489979"/>
                    <a:gd name="connsiteX257" fmla="*/ 1575159 w 2552253"/>
                    <a:gd name="connsiteY257" fmla="*/ 345541 h 489979"/>
                    <a:gd name="connsiteX258" fmla="*/ 1575606 w 2552253"/>
                    <a:gd name="connsiteY258" fmla="*/ 345541 h 489979"/>
                    <a:gd name="connsiteX259" fmla="*/ 1593186 w 2552253"/>
                    <a:gd name="connsiteY259" fmla="*/ 326063 h 489979"/>
                    <a:gd name="connsiteX260" fmla="*/ 1618357 w 2552253"/>
                    <a:gd name="connsiteY260" fmla="*/ 319199 h 489979"/>
                    <a:gd name="connsiteX261" fmla="*/ 1138423 w 2552253"/>
                    <a:gd name="connsiteY261" fmla="*/ 319199 h 489979"/>
                    <a:gd name="connsiteX262" fmla="*/ 1166775 w 2552253"/>
                    <a:gd name="connsiteY262" fmla="*/ 331533 h 489979"/>
                    <a:gd name="connsiteX263" fmla="*/ 1176597 w 2552253"/>
                    <a:gd name="connsiteY263" fmla="*/ 366749 h 489979"/>
                    <a:gd name="connsiteX264" fmla="*/ 1176597 w 2552253"/>
                    <a:gd name="connsiteY264" fmla="*/ 436289 h 489979"/>
                    <a:gd name="connsiteX265" fmla="*/ 1166328 w 2552253"/>
                    <a:gd name="connsiteY265" fmla="*/ 436289 h 489979"/>
                    <a:gd name="connsiteX266" fmla="*/ 1166328 w 2552253"/>
                    <a:gd name="connsiteY266" fmla="*/ 369763 h 489979"/>
                    <a:gd name="connsiteX267" fmla="*/ 1136637 w 2552253"/>
                    <a:gd name="connsiteY267" fmla="*/ 328575 h 489979"/>
                    <a:gd name="connsiteX268" fmla="*/ 1109513 w 2552253"/>
                    <a:gd name="connsiteY268" fmla="*/ 340686 h 489979"/>
                    <a:gd name="connsiteX269" fmla="*/ 1098909 w 2552253"/>
                    <a:gd name="connsiteY269" fmla="*/ 370656 h 489979"/>
                    <a:gd name="connsiteX270" fmla="*/ 1098909 w 2552253"/>
                    <a:gd name="connsiteY270" fmla="*/ 436289 h 489979"/>
                    <a:gd name="connsiteX271" fmla="*/ 1088640 w 2552253"/>
                    <a:gd name="connsiteY271" fmla="*/ 436289 h 489979"/>
                    <a:gd name="connsiteX272" fmla="*/ 1088640 w 2552253"/>
                    <a:gd name="connsiteY272" fmla="*/ 321989 h 489979"/>
                    <a:gd name="connsiteX273" fmla="*/ 1098909 w 2552253"/>
                    <a:gd name="connsiteY273" fmla="*/ 321989 h 489979"/>
                    <a:gd name="connsiteX274" fmla="*/ 1098909 w 2552253"/>
                    <a:gd name="connsiteY274" fmla="*/ 342751 h 489979"/>
                    <a:gd name="connsiteX275" fmla="*/ 1099356 w 2552253"/>
                    <a:gd name="connsiteY275" fmla="*/ 342751 h 489979"/>
                    <a:gd name="connsiteX276" fmla="*/ 1138423 w 2552253"/>
                    <a:gd name="connsiteY276" fmla="*/ 319199 h 489979"/>
                    <a:gd name="connsiteX277" fmla="*/ 646955 w 2552253"/>
                    <a:gd name="connsiteY277" fmla="*/ 319199 h 489979"/>
                    <a:gd name="connsiteX278" fmla="*/ 683567 w 2552253"/>
                    <a:gd name="connsiteY278" fmla="*/ 340072 h 489979"/>
                    <a:gd name="connsiteX279" fmla="*/ 684014 w 2552253"/>
                    <a:gd name="connsiteY279" fmla="*/ 340072 h 489979"/>
                    <a:gd name="connsiteX280" fmla="*/ 684014 w 2552253"/>
                    <a:gd name="connsiteY280" fmla="*/ 321989 h 489979"/>
                    <a:gd name="connsiteX281" fmla="*/ 694283 w 2552253"/>
                    <a:gd name="connsiteY281" fmla="*/ 321989 h 489979"/>
                    <a:gd name="connsiteX282" fmla="*/ 694283 w 2552253"/>
                    <a:gd name="connsiteY282" fmla="*/ 427806 h 489979"/>
                    <a:gd name="connsiteX283" fmla="*/ 680219 w 2552253"/>
                    <a:gd name="connsiteY283" fmla="*/ 475022 h 489979"/>
                    <a:gd name="connsiteX284" fmla="*/ 636463 w 2552253"/>
                    <a:gd name="connsiteY284" fmla="*/ 489979 h 489979"/>
                    <a:gd name="connsiteX285" fmla="*/ 602419 w 2552253"/>
                    <a:gd name="connsiteY285" fmla="*/ 481273 h 489979"/>
                    <a:gd name="connsiteX286" fmla="*/ 602419 w 2552253"/>
                    <a:gd name="connsiteY286" fmla="*/ 470557 h 489979"/>
                    <a:gd name="connsiteX287" fmla="*/ 636686 w 2552253"/>
                    <a:gd name="connsiteY287" fmla="*/ 480603 h 489979"/>
                    <a:gd name="connsiteX288" fmla="*/ 684014 w 2552253"/>
                    <a:gd name="connsiteY288" fmla="*/ 430597 h 489979"/>
                    <a:gd name="connsiteX289" fmla="*/ 684014 w 2552253"/>
                    <a:gd name="connsiteY289" fmla="*/ 415751 h 489979"/>
                    <a:gd name="connsiteX290" fmla="*/ 683567 w 2552253"/>
                    <a:gd name="connsiteY290" fmla="*/ 415751 h 489979"/>
                    <a:gd name="connsiteX291" fmla="*/ 642379 w 2552253"/>
                    <a:gd name="connsiteY291" fmla="*/ 439080 h 489979"/>
                    <a:gd name="connsiteX292" fmla="*/ 607944 w 2552253"/>
                    <a:gd name="connsiteY292" fmla="*/ 423788 h 489979"/>
                    <a:gd name="connsiteX293" fmla="*/ 594605 w 2552253"/>
                    <a:gd name="connsiteY293" fmla="*/ 381148 h 489979"/>
                    <a:gd name="connsiteX294" fmla="*/ 609004 w 2552253"/>
                    <a:gd name="connsiteY294" fmla="*/ 336500 h 489979"/>
                    <a:gd name="connsiteX295" fmla="*/ 646955 w 2552253"/>
                    <a:gd name="connsiteY295" fmla="*/ 319199 h 489979"/>
                    <a:gd name="connsiteX296" fmla="*/ 528823 w 2552253"/>
                    <a:gd name="connsiteY296" fmla="*/ 319199 h 489979"/>
                    <a:gd name="connsiteX297" fmla="*/ 557175 w 2552253"/>
                    <a:gd name="connsiteY297" fmla="*/ 331533 h 489979"/>
                    <a:gd name="connsiteX298" fmla="*/ 566998 w 2552253"/>
                    <a:gd name="connsiteY298" fmla="*/ 366749 h 489979"/>
                    <a:gd name="connsiteX299" fmla="*/ 566998 w 2552253"/>
                    <a:gd name="connsiteY299" fmla="*/ 436289 h 489979"/>
                    <a:gd name="connsiteX300" fmla="*/ 556728 w 2552253"/>
                    <a:gd name="connsiteY300" fmla="*/ 436289 h 489979"/>
                    <a:gd name="connsiteX301" fmla="*/ 556728 w 2552253"/>
                    <a:gd name="connsiteY301" fmla="*/ 369763 h 489979"/>
                    <a:gd name="connsiteX302" fmla="*/ 527037 w 2552253"/>
                    <a:gd name="connsiteY302" fmla="*/ 328575 h 489979"/>
                    <a:gd name="connsiteX303" fmla="*/ 499913 w 2552253"/>
                    <a:gd name="connsiteY303" fmla="*/ 340686 h 489979"/>
                    <a:gd name="connsiteX304" fmla="*/ 489309 w 2552253"/>
                    <a:gd name="connsiteY304" fmla="*/ 370656 h 489979"/>
                    <a:gd name="connsiteX305" fmla="*/ 489309 w 2552253"/>
                    <a:gd name="connsiteY305" fmla="*/ 436289 h 489979"/>
                    <a:gd name="connsiteX306" fmla="*/ 479040 w 2552253"/>
                    <a:gd name="connsiteY306" fmla="*/ 436289 h 489979"/>
                    <a:gd name="connsiteX307" fmla="*/ 479040 w 2552253"/>
                    <a:gd name="connsiteY307" fmla="*/ 321989 h 489979"/>
                    <a:gd name="connsiteX308" fmla="*/ 489309 w 2552253"/>
                    <a:gd name="connsiteY308" fmla="*/ 321989 h 489979"/>
                    <a:gd name="connsiteX309" fmla="*/ 489309 w 2552253"/>
                    <a:gd name="connsiteY309" fmla="*/ 342751 h 489979"/>
                    <a:gd name="connsiteX310" fmla="*/ 489756 w 2552253"/>
                    <a:gd name="connsiteY310" fmla="*/ 342751 h 489979"/>
                    <a:gd name="connsiteX311" fmla="*/ 528823 w 2552253"/>
                    <a:gd name="connsiteY311" fmla="*/ 319199 h 489979"/>
                    <a:gd name="connsiteX312" fmla="*/ 2046684 w 2552253"/>
                    <a:gd name="connsiteY312" fmla="*/ 288838 h 489979"/>
                    <a:gd name="connsiteX313" fmla="*/ 2046684 w 2552253"/>
                    <a:gd name="connsiteY313" fmla="*/ 321989 h 489979"/>
                    <a:gd name="connsiteX314" fmla="*/ 2076822 w 2552253"/>
                    <a:gd name="connsiteY314" fmla="*/ 321989 h 489979"/>
                    <a:gd name="connsiteX315" fmla="*/ 2076822 w 2552253"/>
                    <a:gd name="connsiteY315" fmla="*/ 331365 h 489979"/>
                    <a:gd name="connsiteX316" fmla="*/ 2046684 w 2552253"/>
                    <a:gd name="connsiteY316" fmla="*/ 331365 h 489979"/>
                    <a:gd name="connsiteX317" fmla="*/ 2046684 w 2552253"/>
                    <a:gd name="connsiteY317" fmla="*/ 406821 h 489979"/>
                    <a:gd name="connsiteX318" fmla="*/ 2050423 w 2552253"/>
                    <a:gd name="connsiteY318" fmla="*/ 423955 h 489979"/>
                    <a:gd name="connsiteX319" fmla="*/ 2063092 w 2552253"/>
                    <a:gd name="connsiteY319" fmla="*/ 429257 h 489979"/>
                    <a:gd name="connsiteX320" fmla="*/ 2076822 w 2552253"/>
                    <a:gd name="connsiteY320" fmla="*/ 425127 h 489979"/>
                    <a:gd name="connsiteX321" fmla="*/ 2076822 w 2552253"/>
                    <a:gd name="connsiteY321" fmla="*/ 434727 h 489979"/>
                    <a:gd name="connsiteX322" fmla="*/ 2061753 w 2552253"/>
                    <a:gd name="connsiteY322" fmla="*/ 438522 h 489979"/>
                    <a:gd name="connsiteX323" fmla="*/ 2036415 w 2552253"/>
                    <a:gd name="connsiteY323" fmla="*/ 408161 h 489979"/>
                    <a:gd name="connsiteX324" fmla="*/ 2036415 w 2552253"/>
                    <a:gd name="connsiteY324" fmla="*/ 331365 h 489979"/>
                    <a:gd name="connsiteX325" fmla="*/ 2015876 w 2552253"/>
                    <a:gd name="connsiteY325" fmla="*/ 331365 h 489979"/>
                    <a:gd name="connsiteX326" fmla="*/ 2015876 w 2552253"/>
                    <a:gd name="connsiteY326" fmla="*/ 321989 h 489979"/>
                    <a:gd name="connsiteX327" fmla="*/ 2036415 w 2552253"/>
                    <a:gd name="connsiteY327" fmla="*/ 321989 h 489979"/>
                    <a:gd name="connsiteX328" fmla="*/ 2036415 w 2552253"/>
                    <a:gd name="connsiteY328" fmla="*/ 292298 h 489979"/>
                    <a:gd name="connsiteX329" fmla="*/ 2041549 w 2552253"/>
                    <a:gd name="connsiteY329" fmla="*/ 290512 h 489979"/>
                    <a:gd name="connsiteX330" fmla="*/ 2046684 w 2552253"/>
                    <a:gd name="connsiteY330" fmla="*/ 288838 h 489979"/>
                    <a:gd name="connsiteX331" fmla="*/ 798909 w 2552253"/>
                    <a:gd name="connsiteY331" fmla="*/ 288838 h 489979"/>
                    <a:gd name="connsiteX332" fmla="*/ 798909 w 2552253"/>
                    <a:gd name="connsiteY332" fmla="*/ 321989 h 489979"/>
                    <a:gd name="connsiteX333" fmla="*/ 829047 w 2552253"/>
                    <a:gd name="connsiteY333" fmla="*/ 321989 h 489979"/>
                    <a:gd name="connsiteX334" fmla="*/ 829047 w 2552253"/>
                    <a:gd name="connsiteY334" fmla="*/ 331365 h 489979"/>
                    <a:gd name="connsiteX335" fmla="*/ 798909 w 2552253"/>
                    <a:gd name="connsiteY335" fmla="*/ 331365 h 489979"/>
                    <a:gd name="connsiteX336" fmla="*/ 798909 w 2552253"/>
                    <a:gd name="connsiteY336" fmla="*/ 406821 h 489979"/>
                    <a:gd name="connsiteX337" fmla="*/ 802648 w 2552253"/>
                    <a:gd name="connsiteY337" fmla="*/ 423955 h 489979"/>
                    <a:gd name="connsiteX338" fmla="*/ 815317 w 2552253"/>
                    <a:gd name="connsiteY338" fmla="*/ 429257 h 489979"/>
                    <a:gd name="connsiteX339" fmla="*/ 829047 w 2552253"/>
                    <a:gd name="connsiteY339" fmla="*/ 425127 h 489979"/>
                    <a:gd name="connsiteX340" fmla="*/ 829047 w 2552253"/>
                    <a:gd name="connsiteY340" fmla="*/ 434727 h 489979"/>
                    <a:gd name="connsiteX341" fmla="*/ 813978 w 2552253"/>
                    <a:gd name="connsiteY341" fmla="*/ 438522 h 489979"/>
                    <a:gd name="connsiteX342" fmla="*/ 788640 w 2552253"/>
                    <a:gd name="connsiteY342" fmla="*/ 408161 h 489979"/>
                    <a:gd name="connsiteX343" fmla="*/ 788640 w 2552253"/>
                    <a:gd name="connsiteY343" fmla="*/ 331365 h 489979"/>
                    <a:gd name="connsiteX344" fmla="*/ 768101 w 2552253"/>
                    <a:gd name="connsiteY344" fmla="*/ 331365 h 489979"/>
                    <a:gd name="connsiteX345" fmla="*/ 768101 w 2552253"/>
                    <a:gd name="connsiteY345" fmla="*/ 321989 h 489979"/>
                    <a:gd name="connsiteX346" fmla="*/ 788640 w 2552253"/>
                    <a:gd name="connsiteY346" fmla="*/ 321989 h 489979"/>
                    <a:gd name="connsiteX347" fmla="*/ 788640 w 2552253"/>
                    <a:gd name="connsiteY347" fmla="*/ 292298 h 489979"/>
                    <a:gd name="connsiteX348" fmla="*/ 793774 w 2552253"/>
                    <a:gd name="connsiteY348" fmla="*/ 290512 h 489979"/>
                    <a:gd name="connsiteX349" fmla="*/ 798909 w 2552253"/>
                    <a:gd name="connsiteY349" fmla="*/ 288838 h 489979"/>
                    <a:gd name="connsiteX350" fmla="*/ 1769938 w 2552253"/>
                    <a:gd name="connsiteY350" fmla="*/ 276225 h 489979"/>
                    <a:gd name="connsiteX351" fmla="*/ 1776021 w 2552253"/>
                    <a:gd name="connsiteY351" fmla="*/ 278457 h 489979"/>
                    <a:gd name="connsiteX352" fmla="*/ 1778644 w 2552253"/>
                    <a:gd name="connsiteY352" fmla="*/ 284485 h 489979"/>
                    <a:gd name="connsiteX353" fmla="*/ 1776077 w 2552253"/>
                    <a:gd name="connsiteY353" fmla="*/ 290624 h 489979"/>
                    <a:gd name="connsiteX354" fmla="*/ 1769938 w 2552253"/>
                    <a:gd name="connsiteY354" fmla="*/ 293191 h 489979"/>
                    <a:gd name="connsiteX355" fmla="*/ 1764022 w 2552253"/>
                    <a:gd name="connsiteY355" fmla="*/ 290735 h 489979"/>
                    <a:gd name="connsiteX356" fmla="*/ 1761455 w 2552253"/>
                    <a:gd name="connsiteY356" fmla="*/ 284485 h 489979"/>
                    <a:gd name="connsiteX357" fmla="*/ 1764078 w 2552253"/>
                    <a:gd name="connsiteY357" fmla="*/ 278513 h 489979"/>
                    <a:gd name="connsiteX358" fmla="*/ 1769938 w 2552253"/>
                    <a:gd name="connsiteY358" fmla="*/ 276225 h 489979"/>
                    <a:gd name="connsiteX359" fmla="*/ 436438 w 2552253"/>
                    <a:gd name="connsiteY359" fmla="*/ 276225 h 489979"/>
                    <a:gd name="connsiteX360" fmla="*/ 442521 w 2552253"/>
                    <a:gd name="connsiteY360" fmla="*/ 278457 h 489979"/>
                    <a:gd name="connsiteX361" fmla="*/ 445144 w 2552253"/>
                    <a:gd name="connsiteY361" fmla="*/ 284485 h 489979"/>
                    <a:gd name="connsiteX362" fmla="*/ 442577 w 2552253"/>
                    <a:gd name="connsiteY362" fmla="*/ 290624 h 489979"/>
                    <a:gd name="connsiteX363" fmla="*/ 436438 w 2552253"/>
                    <a:gd name="connsiteY363" fmla="*/ 293191 h 489979"/>
                    <a:gd name="connsiteX364" fmla="*/ 430522 w 2552253"/>
                    <a:gd name="connsiteY364" fmla="*/ 290735 h 489979"/>
                    <a:gd name="connsiteX365" fmla="*/ 427955 w 2552253"/>
                    <a:gd name="connsiteY365" fmla="*/ 284485 h 489979"/>
                    <a:gd name="connsiteX366" fmla="*/ 430578 w 2552253"/>
                    <a:gd name="connsiteY366" fmla="*/ 278513 h 489979"/>
                    <a:gd name="connsiteX367" fmla="*/ 436438 w 2552253"/>
                    <a:gd name="connsiteY367" fmla="*/ 276225 h 489979"/>
                    <a:gd name="connsiteX368" fmla="*/ 49224 w 2552253"/>
                    <a:gd name="connsiteY368" fmla="*/ 273546 h 489979"/>
                    <a:gd name="connsiteX369" fmla="*/ 77799 w 2552253"/>
                    <a:gd name="connsiteY369" fmla="*/ 278345 h 489979"/>
                    <a:gd name="connsiteX370" fmla="*/ 77799 w 2552253"/>
                    <a:gd name="connsiteY370" fmla="*/ 289954 h 489979"/>
                    <a:gd name="connsiteX371" fmla="*/ 47773 w 2552253"/>
                    <a:gd name="connsiteY371" fmla="*/ 283592 h 489979"/>
                    <a:gd name="connsiteX372" fmla="*/ 21933 w 2552253"/>
                    <a:gd name="connsiteY372" fmla="*/ 291852 h 489979"/>
                    <a:gd name="connsiteX373" fmla="*/ 12390 w 2552253"/>
                    <a:gd name="connsiteY373" fmla="*/ 312836 h 489979"/>
                    <a:gd name="connsiteX374" fmla="*/ 18919 w 2552253"/>
                    <a:gd name="connsiteY374" fmla="*/ 332370 h 489979"/>
                    <a:gd name="connsiteX375" fmla="*/ 47104 w 2552253"/>
                    <a:gd name="connsiteY375" fmla="*/ 352127 h 489979"/>
                    <a:gd name="connsiteX376" fmla="*/ 76962 w 2552253"/>
                    <a:gd name="connsiteY376" fmla="*/ 374730 h 489979"/>
                    <a:gd name="connsiteX377" fmla="*/ 84385 w 2552253"/>
                    <a:gd name="connsiteY377" fmla="*/ 397445 h 489979"/>
                    <a:gd name="connsiteX378" fmla="*/ 71605 w 2552253"/>
                    <a:gd name="connsiteY378" fmla="*/ 427471 h 489979"/>
                    <a:gd name="connsiteX379" fmla="*/ 35495 w 2552253"/>
                    <a:gd name="connsiteY379" fmla="*/ 439080 h 489979"/>
                    <a:gd name="connsiteX380" fmla="*/ 16464 w 2552253"/>
                    <a:gd name="connsiteY380" fmla="*/ 436512 h 489979"/>
                    <a:gd name="connsiteX381" fmla="*/ 0 w 2552253"/>
                    <a:gd name="connsiteY381" fmla="*/ 430597 h 489979"/>
                    <a:gd name="connsiteX382" fmla="*/ 0 w 2552253"/>
                    <a:gd name="connsiteY382" fmla="*/ 417983 h 489979"/>
                    <a:gd name="connsiteX383" fmla="*/ 34825 w 2552253"/>
                    <a:gd name="connsiteY383" fmla="*/ 428922 h 489979"/>
                    <a:gd name="connsiteX384" fmla="*/ 63289 w 2552253"/>
                    <a:gd name="connsiteY384" fmla="*/ 421165 h 489979"/>
                    <a:gd name="connsiteX385" fmla="*/ 73000 w 2552253"/>
                    <a:gd name="connsiteY385" fmla="*/ 399454 h 489979"/>
                    <a:gd name="connsiteX386" fmla="*/ 66470 w 2552253"/>
                    <a:gd name="connsiteY386" fmla="*/ 379865 h 489979"/>
                    <a:gd name="connsiteX387" fmla="*/ 38174 w 2552253"/>
                    <a:gd name="connsiteY387" fmla="*/ 359940 h 489979"/>
                    <a:gd name="connsiteX388" fmla="*/ 7367 w 2552253"/>
                    <a:gd name="connsiteY388" fmla="*/ 336221 h 489979"/>
                    <a:gd name="connsiteX389" fmla="*/ 893 w 2552253"/>
                    <a:gd name="connsiteY389" fmla="*/ 314176 h 489979"/>
                    <a:gd name="connsiteX390" fmla="*/ 14064 w 2552253"/>
                    <a:gd name="connsiteY390" fmla="*/ 285378 h 489979"/>
                    <a:gd name="connsiteX391" fmla="*/ 49224 w 2552253"/>
                    <a:gd name="connsiteY391" fmla="*/ 273546 h 489979"/>
                    <a:gd name="connsiteX392" fmla="*/ 850515 w 2552253"/>
                    <a:gd name="connsiteY392" fmla="*/ 267073 h 489979"/>
                    <a:gd name="connsiteX393" fmla="*/ 860784 w 2552253"/>
                    <a:gd name="connsiteY393" fmla="*/ 267073 h 489979"/>
                    <a:gd name="connsiteX394" fmla="*/ 860784 w 2552253"/>
                    <a:gd name="connsiteY394" fmla="*/ 342529 h 489979"/>
                    <a:gd name="connsiteX395" fmla="*/ 861231 w 2552253"/>
                    <a:gd name="connsiteY395" fmla="*/ 342529 h 489979"/>
                    <a:gd name="connsiteX396" fmla="*/ 900521 w 2552253"/>
                    <a:gd name="connsiteY396" fmla="*/ 319200 h 489979"/>
                    <a:gd name="connsiteX397" fmla="*/ 928761 w 2552253"/>
                    <a:gd name="connsiteY397" fmla="*/ 331143 h 489979"/>
                    <a:gd name="connsiteX398" fmla="*/ 938472 w 2552253"/>
                    <a:gd name="connsiteY398" fmla="*/ 365411 h 489979"/>
                    <a:gd name="connsiteX399" fmla="*/ 938472 w 2552253"/>
                    <a:gd name="connsiteY399" fmla="*/ 436290 h 489979"/>
                    <a:gd name="connsiteX400" fmla="*/ 928203 w 2552253"/>
                    <a:gd name="connsiteY400" fmla="*/ 436290 h 489979"/>
                    <a:gd name="connsiteX401" fmla="*/ 928203 w 2552253"/>
                    <a:gd name="connsiteY401" fmla="*/ 367755 h 489979"/>
                    <a:gd name="connsiteX402" fmla="*/ 920836 w 2552253"/>
                    <a:gd name="connsiteY402" fmla="*/ 338008 h 489979"/>
                    <a:gd name="connsiteX403" fmla="*/ 897842 w 2552253"/>
                    <a:gd name="connsiteY403" fmla="*/ 328576 h 489979"/>
                    <a:gd name="connsiteX404" fmla="*/ 871946 w 2552253"/>
                    <a:gd name="connsiteY404" fmla="*/ 340073 h 489979"/>
                    <a:gd name="connsiteX405" fmla="*/ 860784 w 2552253"/>
                    <a:gd name="connsiteY405" fmla="*/ 373001 h 489979"/>
                    <a:gd name="connsiteX406" fmla="*/ 860784 w 2552253"/>
                    <a:gd name="connsiteY406" fmla="*/ 436290 h 489979"/>
                    <a:gd name="connsiteX407" fmla="*/ 850515 w 2552253"/>
                    <a:gd name="connsiteY407" fmla="*/ 436290 h 489979"/>
                    <a:gd name="connsiteX408" fmla="*/ 117090 w 2552253"/>
                    <a:gd name="connsiteY408" fmla="*/ 267073 h 489979"/>
                    <a:gd name="connsiteX409" fmla="*/ 127359 w 2552253"/>
                    <a:gd name="connsiteY409" fmla="*/ 267073 h 489979"/>
                    <a:gd name="connsiteX410" fmla="*/ 127359 w 2552253"/>
                    <a:gd name="connsiteY410" fmla="*/ 342529 h 489979"/>
                    <a:gd name="connsiteX411" fmla="*/ 127806 w 2552253"/>
                    <a:gd name="connsiteY411" fmla="*/ 342529 h 489979"/>
                    <a:gd name="connsiteX412" fmla="*/ 167096 w 2552253"/>
                    <a:gd name="connsiteY412" fmla="*/ 319200 h 489979"/>
                    <a:gd name="connsiteX413" fmla="*/ 195337 w 2552253"/>
                    <a:gd name="connsiteY413" fmla="*/ 331143 h 489979"/>
                    <a:gd name="connsiteX414" fmla="*/ 205048 w 2552253"/>
                    <a:gd name="connsiteY414" fmla="*/ 365411 h 489979"/>
                    <a:gd name="connsiteX415" fmla="*/ 205048 w 2552253"/>
                    <a:gd name="connsiteY415" fmla="*/ 436290 h 489979"/>
                    <a:gd name="connsiteX416" fmla="*/ 194778 w 2552253"/>
                    <a:gd name="connsiteY416" fmla="*/ 436290 h 489979"/>
                    <a:gd name="connsiteX417" fmla="*/ 194778 w 2552253"/>
                    <a:gd name="connsiteY417" fmla="*/ 367755 h 489979"/>
                    <a:gd name="connsiteX418" fmla="*/ 187411 w 2552253"/>
                    <a:gd name="connsiteY418" fmla="*/ 338008 h 489979"/>
                    <a:gd name="connsiteX419" fmla="*/ 164417 w 2552253"/>
                    <a:gd name="connsiteY419" fmla="*/ 328576 h 489979"/>
                    <a:gd name="connsiteX420" fmla="*/ 138521 w 2552253"/>
                    <a:gd name="connsiteY420" fmla="*/ 340073 h 489979"/>
                    <a:gd name="connsiteX421" fmla="*/ 127359 w 2552253"/>
                    <a:gd name="connsiteY421" fmla="*/ 373001 h 489979"/>
                    <a:gd name="connsiteX422" fmla="*/ 127359 w 2552253"/>
                    <a:gd name="connsiteY422" fmla="*/ 436290 h 489979"/>
                    <a:gd name="connsiteX423" fmla="*/ 117090 w 2552253"/>
                    <a:gd name="connsiteY423" fmla="*/ 436290 h 489979"/>
                    <a:gd name="connsiteX424" fmla="*/ 1279140 w 2552253"/>
                    <a:gd name="connsiteY424" fmla="*/ 267072 h 489979"/>
                    <a:gd name="connsiteX425" fmla="*/ 1289409 w 2552253"/>
                    <a:gd name="connsiteY425" fmla="*/ 267072 h 489979"/>
                    <a:gd name="connsiteX426" fmla="*/ 1289409 w 2552253"/>
                    <a:gd name="connsiteY426" fmla="*/ 345541 h 489979"/>
                    <a:gd name="connsiteX427" fmla="*/ 1289856 w 2552253"/>
                    <a:gd name="connsiteY427" fmla="*/ 345541 h 489979"/>
                    <a:gd name="connsiteX428" fmla="*/ 1307436 w 2552253"/>
                    <a:gd name="connsiteY428" fmla="*/ 326063 h 489979"/>
                    <a:gd name="connsiteX429" fmla="*/ 1332607 w 2552253"/>
                    <a:gd name="connsiteY429" fmla="*/ 319199 h 489979"/>
                    <a:gd name="connsiteX430" fmla="*/ 1366595 w 2552253"/>
                    <a:gd name="connsiteY430" fmla="*/ 334212 h 489979"/>
                    <a:gd name="connsiteX431" fmla="*/ 1378818 w 2552253"/>
                    <a:gd name="connsiteY431" fmla="*/ 375009 h 489979"/>
                    <a:gd name="connsiteX432" fmla="*/ 1364642 w 2552253"/>
                    <a:gd name="connsiteY432" fmla="*/ 421388 h 489979"/>
                    <a:gd name="connsiteX433" fmla="*/ 1327807 w 2552253"/>
                    <a:gd name="connsiteY433" fmla="*/ 439080 h 489979"/>
                    <a:gd name="connsiteX434" fmla="*/ 1289856 w 2552253"/>
                    <a:gd name="connsiteY434" fmla="*/ 415974 h 489979"/>
                    <a:gd name="connsiteX435" fmla="*/ 1289409 w 2552253"/>
                    <a:gd name="connsiteY435" fmla="*/ 415974 h 489979"/>
                    <a:gd name="connsiteX436" fmla="*/ 1289409 w 2552253"/>
                    <a:gd name="connsiteY436" fmla="*/ 436289 h 489979"/>
                    <a:gd name="connsiteX437" fmla="*/ 1279140 w 2552253"/>
                    <a:gd name="connsiteY437" fmla="*/ 436289 h 489979"/>
                    <a:gd name="connsiteX438" fmla="*/ 2195177 w 2552253"/>
                    <a:gd name="connsiteY438" fmla="*/ 98562 h 489979"/>
                    <a:gd name="connsiteX439" fmla="*/ 2163700 w 2552253"/>
                    <a:gd name="connsiteY439" fmla="*/ 103138 h 489979"/>
                    <a:gd name="connsiteX440" fmla="*/ 2138474 w 2552253"/>
                    <a:gd name="connsiteY440" fmla="*/ 111454 h 489979"/>
                    <a:gd name="connsiteX441" fmla="*/ 2131218 w 2552253"/>
                    <a:gd name="connsiteY441" fmla="*/ 130151 h 489979"/>
                    <a:gd name="connsiteX442" fmla="*/ 2137971 w 2552253"/>
                    <a:gd name="connsiteY442" fmla="*/ 146894 h 489979"/>
                    <a:gd name="connsiteX443" fmla="*/ 2156779 w 2552253"/>
                    <a:gd name="connsiteY443" fmla="*/ 153480 h 489979"/>
                    <a:gd name="connsiteX444" fmla="*/ 2184238 w 2552253"/>
                    <a:gd name="connsiteY444" fmla="*/ 141257 h 489979"/>
                    <a:gd name="connsiteX445" fmla="*/ 2195177 w 2552253"/>
                    <a:gd name="connsiteY445" fmla="*/ 109724 h 489979"/>
                    <a:gd name="connsiteX446" fmla="*/ 1918952 w 2552253"/>
                    <a:gd name="connsiteY446" fmla="*/ 98562 h 489979"/>
                    <a:gd name="connsiteX447" fmla="*/ 1887475 w 2552253"/>
                    <a:gd name="connsiteY447" fmla="*/ 103138 h 489979"/>
                    <a:gd name="connsiteX448" fmla="*/ 1862249 w 2552253"/>
                    <a:gd name="connsiteY448" fmla="*/ 111454 h 489979"/>
                    <a:gd name="connsiteX449" fmla="*/ 1854993 w 2552253"/>
                    <a:gd name="connsiteY449" fmla="*/ 130151 h 489979"/>
                    <a:gd name="connsiteX450" fmla="*/ 1861746 w 2552253"/>
                    <a:gd name="connsiteY450" fmla="*/ 146894 h 489979"/>
                    <a:gd name="connsiteX451" fmla="*/ 1880554 w 2552253"/>
                    <a:gd name="connsiteY451" fmla="*/ 153480 h 489979"/>
                    <a:gd name="connsiteX452" fmla="*/ 1908013 w 2552253"/>
                    <a:gd name="connsiteY452" fmla="*/ 141257 h 489979"/>
                    <a:gd name="connsiteX453" fmla="*/ 1918952 w 2552253"/>
                    <a:gd name="connsiteY453" fmla="*/ 109724 h 489979"/>
                    <a:gd name="connsiteX454" fmla="*/ 1369293 w 2552253"/>
                    <a:gd name="connsiteY454" fmla="*/ 52351 h 489979"/>
                    <a:gd name="connsiteX455" fmla="*/ 1342671 w 2552253"/>
                    <a:gd name="connsiteY455" fmla="*/ 63122 h 489979"/>
                    <a:gd name="connsiteX456" fmla="*/ 1329667 w 2552253"/>
                    <a:gd name="connsiteY456" fmla="*/ 93986 h 489979"/>
                    <a:gd name="connsiteX457" fmla="*/ 1403114 w 2552253"/>
                    <a:gd name="connsiteY457" fmla="*/ 93986 h 489979"/>
                    <a:gd name="connsiteX458" fmla="*/ 1393626 w 2552253"/>
                    <a:gd name="connsiteY458" fmla="*/ 63290 h 489979"/>
                    <a:gd name="connsiteX459" fmla="*/ 1369293 w 2552253"/>
                    <a:gd name="connsiteY459" fmla="*/ 52351 h 489979"/>
                    <a:gd name="connsiteX460" fmla="*/ 925748 w 2552253"/>
                    <a:gd name="connsiteY460" fmla="*/ 52351 h 489979"/>
                    <a:gd name="connsiteX461" fmla="*/ 893545 w 2552253"/>
                    <a:gd name="connsiteY461" fmla="*/ 65969 h 489979"/>
                    <a:gd name="connsiteX462" fmla="*/ 881546 w 2552253"/>
                    <a:gd name="connsiteY462" fmla="*/ 103808 h 489979"/>
                    <a:gd name="connsiteX463" fmla="*/ 893266 w 2552253"/>
                    <a:gd name="connsiteY463" fmla="*/ 139862 h 489979"/>
                    <a:gd name="connsiteX464" fmla="*/ 925301 w 2552253"/>
                    <a:gd name="connsiteY464" fmla="*/ 153480 h 489979"/>
                    <a:gd name="connsiteX465" fmla="*/ 957113 w 2552253"/>
                    <a:gd name="connsiteY465" fmla="*/ 140085 h 489979"/>
                    <a:gd name="connsiteX466" fmla="*/ 968275 w 2552253"/>
                    <a:gd name="connsiteY466" fmla="*/ 102915 h 489979"/>
                    <a:gd name="connsiteX467" fmla="*/ 957169 w 2552253"/>
                    <a:gd name="connsiteY467" fmla="*/ 65411 h 489979"/>
                    <a:gd name="connsiteX468" fmla="*/ 925748 w 2552253"/>
                    <a:gd name="connsiteY468" fmla="*/ 52351 h 489979"/>
                    <a:gd name="connsiteX469" fmla="*/ 693018 w 2552253"/>
                    <a:gd name="connsiteY469" fmla="*/ 52351 h 489979"/>
                    <a:gd name="connsiteX470" fmla="*/ 666396 w 2552253"/>
                    <a:gd name="connsiteY470" fmla="*/ 63122 h 489979"/>
                    <a:gd name="connsiteX471" fmla="*/ 653392 w 2552253"/>
                    <a:gd name="connsiteY471" fmla="*/ 93986 h 489979"/>
                    <a:gd name="connsiteX472" fmla="*/ 726839 w 2552253"/>
                    <a:gd name="connsiteY472" fmla="*/ 93986 h 489979"/>
                    <a:gd name="connsiteX473" fmla="*/ 717351 w 2552253"/>
                    <a:gd name="connsiteY473" fmla="*/ 63290 h 489979"/>
                    <a:gd name="connsiteX474" fmla="*/ 693018 w 2552253"/>
                    <a:gd name="connsiteY474" fmla="*/ 52351 h 489979"/>
                    <a:gd name="connsiteX475" fmla="*/ 497123 w 2552253"/>
                    <a:gd name="connsiteY475" fmla="*/ 52351 h 489979"/>
                    <a:gd name="connsiteX476" fmla="*/ 464920 w 2552253"/>
                    <a:gd name="connsiteY476" fmla="*/ 65969 h 489979"/>
                    <a:gd name="connsiteX477" fmla="*/ 452921 w 2552253"/>
                    <a:gd name="connsiteY477" fmla="*/ 103808 h 489979"/>
                    <a:gd name="connsiteX478" fmla="*/ 464641 w 2552253"/>
                    <a:gd name="connsiteY478" fmla="*/ 139862 h 489979"/>
                    <a:gd name="connsiteX479" fmla="*/ 496676 w 2552253"/>
                    <a:gd name="connsiteY479" fmla="*/ 153480 h 489979"/>
                    <a:gd name="connsiteX480" fmla="*/ 528488 w 2552253"/>
                    <a:gd name="connsiteY480" fmla="*/ 140085 h 489979"/>
                    <a:gd name="connsiteX481" fmla="*/ 539650 w 2552253"/>
                    <a:gd name="connsiteY481" fmla="*/ 102915 h 489979"/>
                    <a:gd name="connsiteX482" fmla="*/ 528544 w 2552253"/>
                    <a:gd name="connsiteY482" fmla="*/ 65411 h 489979"/>
                    <a:gd name="connsiteX483" fmla="*/ 497123 w 2552253"/>
                    <a:gd name="connsiteY483" fmla="*/ 52351 h 489979"/>
                    <a:gd name="connsiteX484" fmla="*/ 1000571 w 2552253"/>
                    <a:gd name="connsiteY484" fmla="*/ 45765 h 489979"/>
                    <a:gd name="connsiteX485" fmla="*/ 1010952 w 2552253"/>
                    <a:gd name="connsiteY485" fmla="*/ 45765 h 489979"/>
                    <a:gd name="connsiteX486" fmla="*/ 1010952 w 2552253"/>
                    <a:gd name="connsiteY486" fmla="*/ 109278 h 489979"/>
                    <a:gd name="connsiteX487" fmla="*/ 1018598 w 2552253"/>
                    <a:gd name="connsiteY487" fmla="*/ 142987 h 489979"/>
                    <a:gd name="connsiteX488" fmla="*/ 1042652 w 2552253"/>
                    <a:gd name="connsiteY488" fmla="*/ 153480 h 489979"/>
                    <a:gd name="connsiteX489" fmla="*/ 1068492 w 2552253"/>
                    <a:gd name="connsiteY489" fmla="*/ 141759 h 489979"/>
                    <a:gd name="connsiteX490" fmla="*/ 1078371 w 2552253"/>
                    <a:gd name="connsiteY490" fmla="*/ 110505 h 489979"/>
                    <a:gd name="connsiteX491" fmla="*/ 1078371 w 2552253"/>
                    <a:gd name="connsiteY491" fmla="*/ 45765 h 489979"/>
                    <a:gd name="connsiteX492" fmla="*/ 1088640 w 2552253"/>
                    <a:gd name="connsiteY492" fmla="*/ 45765 h 489979"/>
                    <a:gd name="connsiteX493" fmla="*/ 1088640 w 2552253"/>
                    <a:gd name="connsiteY493" fmla="*/ 160065 h 489979"/>
                    <a:gd name="connsiteX494" fmla="*/ 1078371 w 2552253"/>
                    <a:gd name="connsiteY494" fmla="*/ 160065 h 489979"/>
                    <a:gd name="connsiteX495" fmla="*/ 1078371 w 2552253"/>
                    <a:gd name="connsiteY495" fmla="*/ 139304 h 489979"/>
                    <a:gd name="connsiteX496" fmla="*/ 1077924 w 2552253"/>
                    <a:gd name="connsiteY496" fmla="*/ 139304 h 489979"/>
                    <a:gd name="connsiteX497" fmla="*/ 1041089 w 2552253"/>
                    <a:gd name="connsiteY497" fmla="*/ 162856 h 489979"/>
                    <a:gd name="connsiteX498" fmla="*/ 1000571 w 2552253"/>
                    <a:gd name="connsiteY498" fmla="*/ 111845 h 489979"/>
                    <a:gd name="connsiteX499" fmla="*/ 1803015 w 2552253"/>
                    <a:gd name="connsiteY499" fmla="*/ 45764 h 489979"/>
                    <a:gd name="connsiteX500" fmla="*/ 1813284 w 2552253"/>
                    <a:gd name="connsiteY500" fmla="*/ 45764 h 489979"/>
                    <a:gd name="connsiteX501" fmla="*/ 1813284 w 2552253"/>
                    <a:gd name="connsiteY501" fmla="*/ 160064 h 489979"/>
                    <a:gd name="connsiteX502" fmla="*/ 1803015 w 2552253"/>
                    <a:gd name="connsiteY502" fmla="*/ 160064 h 489979"/>
                    <a:gd name="connsiteX503" fmla="*/ 1682167 w 2552253"/>
                    <a:gd name="connsiteY503" fmla="*/ 45764 h 489979"/>
                    <a:gd name="connsiteX504" fmla="*/ 1693664 w 2552253"/>
                    <a:gd name="connsiteY504" fmla="*/ 45764 h 489979"/>
                    <a:gd name="connsiteX505" fmla="*/ 1727708 w 2552253"/>
                    <a:gd name="connsiteY505" fmla="*/ 136735 h 489979"/>
                    <a:gd name="connsiteX506" fmla="*/ 1731168 w 2552253"/>
                    <a:gd name="connsiteY506" fmla="*/ 148679 h 489979"/>
                    <a:gd name="connsiteX507" fmla="*/ 1731615 w 2552253"/>
                    <a:gd name="connsiteY507" fmla="*/ 148679 h 489979"/>
                    <a:gd name="connsiteX508" fmla="*/ 1734852 w 2552253"/>
                    <a:gd name="connsiteY508" fmla="*/ 137182 h 489979"/>
                    <a:gd name="connsiteX509" fmla="*/ 1770012 w 2552253"/>
                    <a:gd name="connsiteY509" fmla="*/ 45764 h 489979"/>
                    <a:gd name="connsiteX510" fmla="*/ 1781174 w 2552253"/>
                    <a:gd name="connsiteY510" fmla="*/ 45764 h 489979"/>
                    <a:gd name="connsiteX511" fmla="*/ 1735745 w 2552253"/>
                    <a:gd name="connsiteY511" fmla="*/ 160064 h 489979"/>
                    <a:gd name="connsiteX512" fmla="*/ 1726369 w 2552253"/>
                    <a:gd name="connsiteY512" fmla="*/ 160064 h 489979"/>
                    <a:gd name="connsiteX513" fmla="*/ 1424992 w 2552253"/>
                    <a:gd name="connsiteY513" fmla="*/ 45764 h 489979"/>
                    <a:gd name="connsiteX514" fmla="*/ 1436489 w 2552253"/>
                    <a:gd name="connsiteY514" fmla="*/ 45764 h 489979"/>
                    <a:gd name="connsiteX515" fmla="*/ 1470980 w 2552253"/>
                    <a:gd name="connsiteY515" fmla="*/ 138856 h 489979"/>
                    <a:gd name="connsiteX516" fmla="*/ 1472542 w 2552253"/>
                    <a:gd name="connsiteY516" fmla="*/ 143433 h 489979"/>
                    <a:gd name="connsiteX517" fmla="*/ 1473547 w 2552253"/>
                    <a:gd name="connsiteY517" fmla="*/ 147228 h 489979"/>
                    <a:gd name="connsiteX518" fmla="*/ 1473993 w 2552253"/>
                    <a:gd name="connsiteY518" fmla="*/ 147228 h 489979"/>
                    <a:gd name="connsiteX519" fmla="*/ 1476672 w 2552253"/>
                    <a:gd name="connsiteY519" fmla="*/ 139526 h 489979"/>
                    <a:gd name="connsiteX520" fmla="*/ 1513507 w 2552253"/>
                    <a:gd name="connsiteY520" fmla="*/ 45764 h 489979"/>
                    <a:gd name="connsiteX521" fmla="*/ 1524669 w 2552253"/>
                    <a:gd name="connsiteY521" fmla="*/ 45764 h 489979"/>
                    <a:gd name="connsiteX522" fmla="*/ 1468970 w 2552253"/>
                    <a:gd name="connsiteY522" fmla="*/ 183393 h 489979"/>
                    <a:gd name="connsiteX523" fmla="*/ 1455129 w 2552253"/>
                    <a:gd name="connsiteY523" fmla="*/ 206275 h 489979"/>
                    <a:gd name="connsiteX524" fmla="*/ 1435596 w 2552253"/>
                    <a:gd name="connsiteY524" fmla="*/ 213754 h 489979"/>
                    <a:gd name="connsiteX525" fmla="*/ 1426666 w 2552253"/>
                    <a:gd name="connsiteY525" fmla="*/ 212191 h 489979"/>
                    <a:gd name="connsiteX526" fmla="*/ 1426666 w 2552253"/>
                    <a:gd name="connsiteY526" fmla="*/ 201922 h 489979"/>
                    <a:gd name="connsiteX527" fmla="*/ 1436042 w 2552253"/>
                    <a:gd name="connsiteY527" fmla="*/ 203485 h 489979"/>
                    <a:gd name="connsiteX528" fmla="*/ 1457697 w 2552253"/>
                    <a:gd name="connsiteY528" fmla="*/ 184509 h 489979"/>
                    <a:gd name="connsiteX529" fmla="*/ 1468301 w 2552253"/>
                    <a:gd name="connsiteY529" fmla="*/ 159171 h 489979"/>
                    <a:gd name="connsiteX530" fmla="*/ 831465 w 2552253"/>
                    <a:gd name="connsiteY530" fmla="*/ 45764 h 489979"/>
                    <a:gd name="connsiteX531" fmla="*/ 841734 w 2552253"/>
                    <a:gd name="connsiteY531" fmla="*/ 45764 h 489979"/>
                    <a:gd name="connsiteX532" fmla="*/ 841734 w 2552253"/>
                    <a:gd name="connsiteY532" fmla="*/ 156827 h 489979"/>
                    <a:gd name="connsiteX533" fmla="*/ 801327 w 2552253"/>
                    <a:gd name="connsiteY533" fmla="*/ 213754 h 489979"/>
                    <a:gd name="connsiteX534" fmla="*/ 785031 w 2552253"/>
                    <a:gd name="connsiteY534" fmla="*/ 209847 h 489979"/>
                    <a:gd name="connsiteX535" fmla="*/ 785031 w 2552253"/>
                    <a:gd name="connsiteY535" fmla="*/ 199132 h 489979"/>
                    <a:gd name="connsiteX536" fmla="*/ 802444 w 2552253"/>
                    <a:gd name="connsiteY536" fmla="*/ 204378 h 489979"/>
                    <a:gd name="connsiteX537" fmla="*/ 831465 w 2552253"/>
                    <a:gd name="connsiteY537" fmla="*/ 158725 h 489979"/>
                    <a:gd name="connsiteX538" fmla="*/ 2283693 w 2552253"/>
                    <a:gd name="connsiteY538" fmla="*/ 43532 h 489979"/>
                    <a:gd name="connsiteX539" fmla="*/ 2295078 w 2552253"/>
                    <a:gd name="connsiteY539" fmla="*/ 45541 h 489979"/>
                    <a:gd name="connsiteX540" fmla="*/ 2295078 w 2552253"/>
                    <a:gd name="connsiteY540" fmla="*/ 56480 h 489979"/>
                    <a:gd name="connsiteX541" fmla="*/ 2283023 w 2552253"/>
                    <a:gd name="connsiteY541" fmla="*/ 52796 h 489979"/>
                    <a:gd name="connsiteX542" fmla="*/ 2260364 w 2552253"/>
                    <a:gd name="connsiteY542" fmla="*/ 66749 h 489979"/>
                    <a:gd name="connsiteX543" fmla="*/ 2251211 w 2552253"/>
                    <a:gd name="connsiteY543" fmla="*/ 106374 h 489979"/>
                    <a:gd name="connsiteX544" fmla="*/ 2251211 w 2552253"/>
                    <a:gd name="connsiteY544" fmla="*/ 160064 h 489979"/>
                    <a:gd name="connsiteX545" fmla="*/ 2241165 w 2552253"/>
                    <a:gd name="connsiteY545" fmla="*/ 160064 h 489979"/>
                    <a:gd name="connsiteX546" fmla="*/ 2241165 w 2552253"/>
                    <a:gd name="connsiteY546" fmla="*/ 45764 h 489979"/>
                    <a:gd name="connsiteX547" fmla="*/ 2251211 w 2552253"/>
                    <a:gd name="connsiteY547" fmla="*/ 45764 h 489979"/>
                    <a:gd name="connsiteX548" fmla="*/ 2251211 w 2552253"/>
                    <a:gd name="connsiteY548" fmla="*/ 71102 h 489979"/>
                    <a:gd name="connsiteX549" fmla="*/ 2251657 w 2552253"/>
                    <a:gd name="connsiteY549" fmla="*/ 71102 h 489979"/>
                    <a:gd name="connsiteX550" fmla="*/ 2264047 w 2552253"/>
                    <a:gd name="connsiteY550" fmla="*/ 50787 h 489979"/>
                    <a:gd name="connsiteX551" fmla="*/ 2283693 w 2552253"/>
                    <a:gd name="connsiteY551" fmla="*/ 43532 h 489979"/>
                    <a:gd name="connsiteX552" fmla="*/ 1169268 w 2552253"/>
                    <a:gd name="connsiteY552" fmla="*/ 43532 h 489979"/>
                    <a:gd name="connsiteX553" fmla="*/ 1180653 w 2552253"/>
                    <a:gd name="connsiteY553" fmla="*/ 45541 h 489979"/>
                    <a:gd name="connsiteX554" fmla="*/ 1180653 w 2552253"/>
                    <a:gd name="connsiteY554" fmla="*/ 56480 h 489979"/>
                    <a:gd name="connsiteX555" fmla="*/ 1168598 w 2552253"/>
                    <a:gd name="connsiteY555" fmla="*/ 52796 h 489979"/>
                    <a:gd name="connsiteX556" fmla="*/ 1145939 w 2552253"/>
                    <a:gd name="connsiteY556" fmla="*/ 66749 h 489979"/>
                    <a:gd name="connsiteX557" fmla="*/ 1136786 w 2552253"/>
                    <a:gd name="connsiteY557" fmla="*/ 106374 h 489979"/>
                    <a:gd name="connsiteX558" fmla="*/ 1136786 w 2552253"/>
                    <a:gd name="connsiteY558" fmla="*/ 160064 h 489979"/>
                    <a:gd name="connsiteX559" fmla="*/ 1126740 w 2552253"/>
                    <a:gd name="connsiteY559" fmla="*/ 160064 h 489979"/>
                    <a:gd name="connsiteX560" fmla="*/ 1126740 w 2552253"/>
                    <a:gd name="connsiteY560" fmla="*/ 45764 h 489979"/>
                    <a:gd name="connsiteX561" fmla="*/ 1136786 w 2552253"/>
                    <a:gd name="connsiteY561" fmla="*/ 45764 h 489979"/>
                    <a:gd name="connsiteX562" fmla="*/ 1136786 w 2552253"/>
                    <a:gd name="connsiteY562" fmla="*/ 71102 h 489979"/>
                    <a:gd name="connsiteX563" fmla="*/ 1137232 w 2552253"/>
                    <a:gd name="connsiteY563" fmla="*/ 71102 h 489979"/>
                    <a:gd name="connsiteX564" fmla="*/ 1149622 w 2552253"/>
                    <a:gd name="connsiteY564" fmla="*/ 50787 h 489979"/>
                    <a:gd name="connsiteX565" fmla="*/ 1169268 w 2552253"/>
                    <a:gd name="connsiteY565" fmla="*/ 43532 h 489979"/>
                    <a:gd name="connsiteX566" fmla="*/ 616818 w 2552253"/>
                    <a:gd name="connsiteY566" fmla="*/ 43532 h 489979"/>
                    <a:gd name="connsiteX567" fmla="*/ 628203 w 2552253"/>
                    <a:gd name="connsiteY567" fmla="*/ 45541 h 489979"/>
                    <a:gd name="connsiteX568" fmla="*/ 628203 w 2552253"/>
                    <a:gd name="connsiteY568" fmla="*/ 56480 h 489979"/>
                    <a:gd name="connsiteX569" fmla="*/ 616148 w 2552253"/>
                    <a:gd name="connsiteY569" fmla="*/ 52796 h 489979"/>
                    <a:gd name="connsiteX570" fmla="*/ 593489 w 2552253"/>
                    <a:gd name="connsiteY570" fmla="*/ 66749 h 489979"/>
                    <a:gd name="connsiteX571" fmla="*/ 584336 w 2552253"/>
                    <a:gd name="connsiteY571" fmla="*/ 106374 h 489979"/>
                    <a:gd name="connsiteX572" fmla="*/ 584336 w 2552253"/>
                    <a:gd name="connsiteY572" fmla="*/ 160064 h 489979"/>
                    <a:gd name="connsiteX573" fmla="*/ 574290 w 2552253"/>
                    <a:gd name="connsiteY573" fmla="*/ 160064 h 489979"/>
                    <a:gd name="connsiteX574" fmla="*/ 574290 w 2552253"/>
                    <a:gd name="connsiteY574" fmla="*/ 45764 h 489979"/>
                    <a:gd name="connsiteX575" fmla="*/ 584336 w 2552253"/>
                    <a:gd name="connsiteY575" fmla="*/ 45764 h 489979"/>
                    <a:gd name="connsiteX576" fmla="*/ 584336 w 2552253"/>
                    <a:gd name="connsiteY576" fmla="*/ 71102 h 489979"/>
                    <a:gd name="connsiteX577" fmla="*/ 584782 w 2552253"/>
                    <a:gd name="connsiteY577" fmla="*/ 71102 h 489979"/>
                    <a:gd name="connsiteX578" fmla="*/ 597172 w 2552253"/>
                    <a:gd name="connsiteY578" fmla="*/ 50787 h 489979"/>
                    <a:gd name="connsiteX579" fmla="*/ 616818 w 2552253"/>
                    <a:gd name="connsiteY579" fmla="*/ 43532 h 489979"/>
                    <a:gd name="connsiteX580" fmla="*/ 2168500 w 2552253"/>
                    <a:gd name="connsiteY580" fmla="*/ 42975 h 489979"/>
                    <a:gd name="connsiteX581" fmla="*/ 2195791 w 2552253"/>
                    <a:gd name="connsiteY581" fmla="*/ 53914 h 489979"/>
                    <a:gd name="connsiteX582" fmla="*/ 2205446 w 2552253"/>
                    <a:gd name="connsiteY582" fmla="*/ 85726 h 489979"/>
                    <a:gd name="connsiteX583" fmla="*/ 2205446 w 2552253"/>
                    <a:gd name="connsiteY583" fmla="*/ 160065 h 489979"/>
                    <a:gd name="connsiteX584" fmla="*/ 2195177 w 2552253"/>
                    <a:gd name="connsiteY584" fmla="*/ 160065 h 489979"/>
                    <a:gd name="connsiteX585" fmla="*/ 2195177 w 2552253"/>
                    <a:gd name="connsiteY585" fmla="*/ 137183 h 489979"/>
                    <a:gd name="connsiteX586" fmla="*/ 2194731 w 2552253"/>
                    <a:gd name="connsiteY586" fmla="*/ 137183 h 489979"/>
                    <a:gd name="connsiteX587" fmla="*/ 2178825 w 2552253"/>
                    <a:gd name="connsiteY587" fmla="*/ 155879 h 489979"/>
                    <a:gd name="connsiteX588" fmla="*/ 2155663 w 2552253"/>
                    <a:gd name="connsiteY588" fmla="*/ 162856 h 489979"/>
                    <a:gd name="connsiteX589" fmla="*/ 2129879 w 2552253"/>
                    <a:gd name="connsiteY589" fmla="*/ 153703 h 489979"/>
                    <a:gd name="connsiteX590" fmla="*/ 2120391 w 2552253"/>
                    <a:gd name="connsiteY590" fmla="*/ 130597 h 489979"/>
                    <a:gd name="connsiteX591" fmla="*/ 2160016 w 2552253"/>
                    <a:gd name="connsiteY591" fmla="*/ 94432 h 489979"/>
                    <a:gd name="connsiteX592" fmla="*/ 2195177 w 2552253"/>
                    <a:gd name="connsiteY592" fmla="*/ 89186 h 489979"/>
                    <a:gd name="connsiteX593" fmla="*/ 2167495 w 2552253"/>
                    <a:gd name="connsiteY593" fmla="*/ 52351 h 489979"/>
                    <a:gd name="connsiteX594" fmla="*/ 2130772 w 2552253"/>
                    <a:gd name="connsiteY594" fmla="*/ 67531 h 489979"/>
                    <a:gd name="connsiteX595" fmla="*/ 2130772 w 2552253"/>
                    <a:gd name="connsiteY595" fmla="*/ 55141 h 489979"/>
                    <a:gd name="connsiteX596" fmla="*/ 2148017 w 2552253"/>
                    <a:gd name="connsiteY596" fmla="*/ 46547 h 489979"/>
                    <a:gd name="connsiteX597" fmla="*/ 2168500 w 2552253"/>
                    <a:gd name="connsiteY597" fmla="*/ 42975 h 489979"/>
                    <a:gd name="connsiteX598" fmla="*/ 2071203 w 2552253"/>
                    <a:gd name="connsiteY598" fmla="*/ 42975 h 489979"/>
                    <a:gd name="connsiteX599" fmla="*/ 2096541 w 2552253"/>
                    <a:gd name="connsiteY599" fmla="*/ 48333 h 489979"/>
                    <a:gd name="connsiteX600" fmla="*/ 2096541 w 2552253"/>
                    <a:gd name="connsiteY600" fmla="*/ 59941 h 489979"/>
                    <a:gd name="connsiteX601" fmla="*/ 2069641 w 2552253"/>
                    <a:gd name="connsiteY601" fmla="*/ 52351 h 489979"/>
                    <a:gd name="connsiteX602" fmla="*/ 2037047 w 2552253"/>
                    <a:gd name="connsiteY602" fmla="*/ 66806 h 489979"/>
                    <a:gd name="connsiteX603" fmla="*/ 2024546 w 2552253"/>
                    <a:gd name="connsiteY603" fmla="*/ 104255 h 489979"/>
                    <a:gd name="connsiteX604" fmla="*/ 2035987 w 2552253"/>
                    <a:gd name="connsiteY604" fmla="*/ 139973 h 489979"/>
                    <a:gd name="connsiteX605" fmla="*/ 2066180 w 2552253"/>
                    <a:gd name="connsiteY605" fmla="*/ 153480 h 489979"/>
                    <a:gd name="connsiteX606" fmla="*/ 2096095 w 2552253"/>
                    <a:gd name="connsiteY606" fmla="*/ 144327 h 489979"/>
                    <a:gd name="connsiteX607" fmla="*/ 2096095 w 2552253"/>
                    <a:gd name="connsiteY607" fmla="*/ 155042 h 489979"/>
                    <a:gd name="connsiteX608" fmla="*/ 2065734 w 2552253"/>
                    <a:gd name="connsiteY608" fmla="*/ 162856 h 489979"/>
                    <a:gd name="connsiteX609" fmla="*/ 2028118 w 2552253"/>
                    <a:gd name="connsiteY609" fmla="*/ 146838 h 489979"/>
                    <a:gd name="connsiteX610" fmla="*/ 2013830 w 2552253"/>
                    <a:gd name="connsiteY610" fmla="*/ 104924 h 489979"/>
                    <a:gd name="connsiteX611" fmla="*/ 2029903 w 2552253"/>
                    <a:gd name="connsiteY611" fmla="*/ 60332 h 489979"/>
                    <a:gd name="connsiteX612" fmla="*/ 2071203 w 2552253"/>
                    <a:gd name="connsiteY612" fmla="*/ 42975 h 489979"/>
                    <a:gd name="connsiteX613" fmla="*/ 1892275 w 2552253"/>
                    <a:gd name="connsiteY613" fmla="*/ 42975 h 489979"/>
                    <a:gd name="connsiteX614" fmla="*/ 1919566 w 2552253"/>
                    <a:gd name="connsiteY614" fmla="*/ 53914 h 489979"/>
                    <a:gd name="connsiteX615" fmla="*/ 1929221 w 2552253"/>
                    <a:gd name="connsiteY615" fmla="*/ 85726 h 489979"/>
                    <a:gd name="connsiteX616" fmla="*/ 1929221 w 2552253"/>
                    <a:gd name="connsiteY616" fmla="*/ 160065 h 489979"/>
                    <a:gd name="connsiteX617" fmla="*/ 1918952 w 2552253"/>
                    <a:gd name="connsiteY617" fmla="*/ 160065 h 489979"/>
                    <a:gd name="connsiteX618" fmla="*/ 1918952 w 2552253"/>
                    <a:gd name="connsiteY618" fmla="*/ 137183 h 489979"/>
                    <a:gd name="connsiteX619" fmla="*/ 1918506 w 2552253"/>
                    <a:gd name="connsiteY619" fmla="*/ 137183 h 489979"/>
                    <a:gd name="connsiteX620" fmla="*/ 1902600 w 2552253"/>
                    <a:gd name="connsiteY620" fmla="*/ 155879 h 489979"/>
                    <a:gd name="connsiteX621" fmla="*/ 1879438 w 2552253"/>
                    <a:gd name="connsiteY621" fmla="*/ 162856 h 489979"/>
                    <a:gd name="connsiteX622" fmla="*/ 1853654 w 2552253"/>
                    <a:gd name="connsiteY622" fmla="*/ 153703 h 489979"/>
                    <a:gd name="connsiteX623" fmla="*/ 1844166 w 2552253"/>
                    <a:gd name="connsiteY623" fmla="*/ 130597 h 489979"/>
                    <a:gd name="connsiteX624" fmla="*/ 1883791 w 2552253"/>
                    <a:gd name="connsiteY624" fmla="*/ 94432 h 489979"/>
                    <a:gd name="connsiteX625" fmla="*/ 1918952 w 2552253"/>
                    <a:gd name="connsiteY625" fmla="*/ 89186 h 489979"/>
                    <a:gd name="connsiteX626" fmla="*/ 1891270 w 2552253"/>
                    <a:gd name="connsiteY626" fmla="*/ 52351 h 489979"/>
                    <a:gd name="connsiteX627" fmla="*/ 1854547 w 2552253"/>
                    <a:gd name="connsiteY627" fmla="*/ 67531 h 489979"/>
                    <a:gd name="connsiteX628" fmla="*/ 1854547 w 2552253"/>
                    <a:gd name="connsiteY628" fmla="*/ 55141 h 489979"/>
                    <a:gd name="connsiteX629" fmla="*/ 1871792 w 2552253"/>
                    <a:gd name="connsiteY629" fmla="*/ 46547 h 489979"/>
                    <a:gd name="connsiteX630" fmla="*/ 1892275 w 2552253"/>
                    <a:gd name="connsiteY630" fmla="*/ 42975 h 489979"/>
                    <a:gd name="connsiteX631" fmla="*/ 1577317 w 2552253"/>
                    <a:gd name="connsiteY631" fmla="*/ 42975 h 489979"/>
                    <a:gd name="connsiteX632" fmla="*/ 1602544 w 2552253"/>
                    <a:gd name="connsiteY632" fmla="*/ 49002 h 489979"/>
                    <a:gd name="connsiteX633" fmla="*/ 1602544 w 2552253"/>
                    <a:gd name="connsiteY633" fmla="*/ 60611 h 489979"/>
                    <a:gd name="connsiteX634" fmla="*/ 1576201 w 2552253"/>
                    <a:gd name="connsiteY634" fmla="*/ 52351 h 489979"/>
                    <a:gd name="connsiteX635" fmla="*/ 1558007 w 2552253"/>
                    <a:gd name="connsiteY635" fmla="*/ 58211 h 489979"/>
                    <a:gd name="connsiteX636" fmla="*/ 1551086 w 2552253"/>
                    <a:gd name="connsiteY636" fmla="*/ 73447 h 489979"/>
                    <a:gd name="connsiteX637" fmla="*/ 1555439 w 2552253"/>
                    <a:gd name="connsiteY637" fmla="*/ 86674 h 489979"/>
                    <a:gd name="connsiteX638" fmla="*/ 1574638 w 2552253"/>
                    <a:gd name="connsiteY638" fmla="*/ 98339 h 489979"/>
                    <a:gd name="connsiteX639" fmla="*/ 1599195 w 2552253"/>
                    <a:gd name="connsiteY639" fmla="*/ 113240 h 489979"/>
                    <a:gd name="connsiteX640" fmla="*/ 1605892 w 2552253"/>
                    <a:gd name="connsiteY640" fmla="*/ 131490 h 489979"/>
                    <a:gd name="connsiteX641" fmla="*/ 1595679 w 2552253"/>
                    <a:gd name="connsiteY641" fmla="*/ 153982 h 489979"/>
                    <a:gd name="connsiteX642" fmla="*/ 1567495 w 2552253"/>
                    <a:gd name="connsiteY642" fmla="*/ 162856 h 489979"/>
                    <a:gd name="connsiteX643" fmla="*/ 1539924 w 2552253"/>
                    <a:gd name="connsiteY643" fmla="*/ 155042 h 489979"/>
                    <a:gd name="connsiteX644" fmla="*/ 1539924 w 2552253"/>
                    <a:gd name="connsiteY644" fmla="*/ 142652 h 489979"/>
                    <a:gd name="connsiteX645" fmla="*/ 1553988 w 2552253"/>
                    <a:gd name="connsiteY645" fmla="*/ 150577 h 489979"/>
                    <a:gd name="connsiteX646" fmla="*/ 1568276 w 2552253"/>
                    <a:gd name="connsiteY646" fmla="*/ 153480 h 489979"/>
                    <a:gd name="connsiteX647" fmla="*/ 1595177 w 2552253"/>
                    <a:gd name="connsiteY647" fmla="*/ 131490 h 489979"/>
                    <a:gd name="connsiteX648" fmla="*/ 1589261 w 2552253"/>
                    <a:gd name="connsiteY648" fmla="*/ 118542 h 489979"/>
                    <a:gd name="connsiteX649" fmla="*/ 1570062 w 2552253"/>
                    <a:gd name="connsiteY649" fmla="*/ 107492 h 489979"/>
                    <a:gd name="connsiteX650" fmla="*/ 1547012 w 2552253"/>
                    <a:gd name="connsiteY650" fmla="*/ 92702 h 489979"/>
                    <a:gd name="connsiteX651" fmla="*/ 1540371 w 2552253"/>
                    <a:gd name="connsiteY651" fmla="*/ 74117 h 489979"/>
                    <a:gd name="connsiteX652" fmla="*/ 1551030 w 2552253"/>
                    <a:gd name="connsiteY652" fmla="*/ 51570 h 489979"/>
                    <a:gd name="connsiteX653" fmla="*/ 1577317 w 2552253"/>
                    <a:gd name="connsiteY653" fmla="*/ 42975 h 489979"/>
                    <a:gd name="connsiteX654" fmla="*/ 1369739 w 2552253"/>
                    <a:gd name="connsiteY654" fmla="*/ 42975 h 489979"/>
                    <a:gd name="connsiteX655" fmla="*/ 1402444 w 2552253"/>
                    <a:gd name="connsiteY655" fmla="*/ 57932 h 489979"/>
                    <a:gd name="connsiteX656" fmla="*/ 1413830 w 2552253"/>
                    <a:gd name="connsiteY656" fmla="*/ 98785 h 489979"/>
                    <a:gd name="connsiteX657" fmla="*/ 1413830 w 2552253"/>
                    <a:gd name="connsiteY657" fmla="*/ 103362 h 489979"/>
                    <a:gd name="connsiteX658" fmla="*/ 1329221 w 2552253"/>
                    <a:gd name="connsiteY658" fmla="*/ 103362 h 489979"/>
                    <a:gd name="connsiteX659" fmla="*/ 1340104 w 2552253"/>
                    <a:gd name="connsiteY659" fmla="*/ 140197 h 489979"/>
                    <a:gd name="connsiteX660" fmla="*/ 1369962 w 2552253"/>
                    <a:gd name="connsiteY660" fmla="*/ 153480 h 489979"/>
                    <a:gd name="connsiteX661" fmla="*/ 1407467 w 2552253"/>
                    <a:gd name="connsiteY661" fmla="*/ 139304 h 489979"/>
                    <a:gd name="connsiteX662" fmla="*/ 1407467 w 2552253"/>
                    <a:gd name="connsiteY662" fmla="*/ 150243 h 489979"/>
                    <a:gd name="connsiteX663" fmla="*/ 1367842 w 2552253"/>
                    <a:gd name="connsiteY663" fmla="*/ 162856 h 489979"/>
                    <a:gd name="connsiteX664" fmla="*/ 1332123 w 2552253"/>
                    <a:gd name="connsiteY664" fmla="*/ 147006 h 489979"/>
                    <a:gd name="connsiteX665" fmla="*/ 1318505 w 2552253"/>
                    <a:gd name="connsiteY665" fmla="*/ 102246 h 489979"/>
                    <a:gd name="connsiteX666" fmla="*/ 1332737 w 2552253"/>
                    <a:gd name="connsiteY666" fmla="*/ 60109 h 489979"/>
                    <a:gd name="connsiteX667" fmla="*/ 1369739 w 2552253"/>
                    <a:gd name="connsiteY667" fmla="*/ 42975 h 489979"/>
                    <a:gd name="connsiteX668" fmla="*/ 926194 w 2552253"/>
                    <a:gd name="connsiteY668" fmla="*/ 42975 h 489979"/>
                    <a:gd name="connsiteX669" fmla="*/ 964815 w 2552253"/>
                    <a:gd name="connsiteY669" fmla="*/ 58937 h 489979"/>
                    <a:gd name="connsiteX670" fmla="*/ 978991 w 2552253"/>
                    <a:gd name="connsiteY670" fmla="*/ 103138 h 489979"/>
                    <a:gd name="connsiteX671" fmla="*/ 964536 w 2552253"/>
                    <a:gd name="connsiteY671" fmla="*/ 146336 h 489979"/>
                    <a:gd name="connsiteX672" fmla="*/ 924966 w 2552253"/>
                    <a:gd name="connsiteY672" fmla="*/ 162856 h 489979"/>
                    <a:gd name="connsiteX673" fmla="*/ 885397 w 2552253"/>
                    <a:gd name="connsiteY673" fmla="*/ 146392 h 489979"/>
                    <a:gd name="connsiteX674" fmla="*/ 870830 w 2552253"/>
                    <a:gd name="connsiteY674" fmla="*/ 103585 h 489979"/>
                    <a:gd name="connsiteX675" fmla="*/ 886066 w 2552253"/>
                    <a:gd name="connsiteY675" fmla="*/ 59048 h 489979"/>
                    <a:gd name="connsiteX676" fmla="*/ 926194 w 2552253"/>
                    <a:gd name="connsiteY676" fmla="*/ 42975 h 489979"/>
                    <a:gd name="connsiteX677" fmla="*/ 693464 w 2552253"/>
                    <a:gd name="connsiteY677" fmla="*/ 42975 h 489979"/>
                    <a:gd name="connsiteX678" fmla="*/ 726169 w 2552253"/>
                    <a:gd name="connsiteY678" fmla="*/ 57932 h 489979"/>
                    <a:gd name="connsiteX679" fmla="*/ 737555 w 2552253"/>
                    <a:gd name="connsiteY679" fmla="*/ 98785 h 489979"/>
                    <a:gd name="connsiteX680" fmla="*/ 737555 w 2552253"/>
                    <a:gd name="connsiteY680" fmla="*/ 103362 h 489979"/>
                    <a:gd name="connsiteX681" fmla="*/ 652946 w 2552253"/>
                    <a:gd name="connsiteY681" fmla="*/ 103362 h 489979"/>
                    <a:gd name="connsiteX682" fmla="*/ 663829 w 2552253"/>
                    <a:gd name="connsiteY682" fmla="*/ 140197 h 489979"/>
                    <a:gd name="connsiteX683" fmla="*/ 693687 w 2552253"/>
                    <a:gd name="connsiteY683" fmla="*/ 153480 h 489979"/>
                    <a:gd name="connsiteX684" fmla="*/ 731192 w 2552253"/>
                    <a:gd name="connsiteY684" fmla="*/ 139304 h 489979"/>
                    <a:gd name="connsiteX685" fmla="*/ 731192 w 2552253"/>
                    <a:gd name="connsiteY685" fmla="*/ 150243 h 489979"/>
                    <a:gd name="connsiteX686" fmla="*/ 691567 w 2552253"/>
                    <a:gd name="connsiteY686" fmla="*/ 162856 h 489979"/>
                    <a:gd name="connsiteX687" fmla="*/ 655848 w 2552253"/>
                    <a:gd name="connsiteY687" fmla="*/ 147006 h 489979"/>
                    <a:gd name="connsiteX688" fmla="*/ 642230 w 2552253"/>
                    <a:gd name="connsiteY688" fmla="*/ 102246 h 489979"/>
                    <a:gd name="connsiteX689" fmla="*/ 656462 w 2552253"/>
                    <a:gd name="connsiteY689" fmla="*/ 60109 h 489979"/>
                    <a:gd name="connsiteX690" fmla="*/ 693464 w 2552253"/>
                    <a:gd name="connsiteY690" fmla="*/ 42975 h 489979"/>
                    <a:gd name="connsiteX691" fmla="*/ 497569 w 2552253"/>
                    <a:gd name="connsiteY691" fmla="*/ 42975 h 489979"/>
                    <a:gd name="connsiteX692" fmla="*/ 536190 w 2552253"/>
                    <a:gd name="connsiteY692" fmla="*/ 58937 h 489979"/>
                    <a:gd name="connsiteX693" fmla="*/ 550366 w 2552253"/>
                    <a:gd name="connsiteY693" fmla="*/ 103138 h 489979"/>
                    <a:gd name="connsiteX694" fmla="*/ 535911 w 2552253"/>
                    <a:gd name="connsiteY694" fmla="*/ 146336 h 489979"/>
                    <a:gd name="connsiteX695" fmla="*/ 496341 w 2552253"/>
                    <a:gd name="connsiteY695" fmla="*/ 162856 h 489979"/>
                    <a:gd name="connsiteX696" fmla="*/ 456772 w 2552253"/>
                    <a:gd name="connsiteY696" fmla="*/ 146392 h 489979"/>
                    <a:gd name="connsiteX697" fmla="*/ 442205 w 2552253"/>
                    <a:gd name="connsiteY697" fmla="*/ 103585 h 489979"/>
                    <a:gd name="connsiteX698" fmla="*/ 457441 w 2552253"/>
                    <a:gd name="connsiteY698" fmla="*/ 59048 h 489979"/>
                    <a:gd name="connsiteX699" fmla="*/ 497569 w 2552253"/>
                    <a:gd name="connsiteY699" fmla="*/ 42975 h 489979"/>
                    <a:gd name="connsiteX700" fmla="*/ 1252723 w 2552253"/>
                    <a:gd name="connsiteY700" fmla="*/ 42974 h 489979"/>
                    <a:gd name="connsiteX701" fmla="*/ 1281075 w 2552253"/>
                    <a:gd name="connsiteY701" fmla="*/ 55308 h 489979"/>
                    <a:gd name="connsiteX702" fmla="*/ 1290897 w 2552253"/>
                    <a:gd name="connsiteY702" fmla="*/ 90524 h 489979"/>
                    <a:gd name="connsiteX703" fmla="*/ 1290897 w 2552253"/>
                    <a:gd name="connsiteY703" fmla="*/ 160064 h 489979"/>
                    <a:gd name="connsiteX704" fmla="*/ 1280628 w 2552253"/>
                    <a:gd name="connsiteY704" fmla="*/ 160064 h 489979"/>
                    <a:gd name="connsiteX705" fmla="*/ 1280628 w 2552253"/>
                    <a:gd name="connsiteY705" fmla="*/ 93538 h 489979"/>
                    <a:gd name="connsiteX706" fmla="*/ 1250937 w 2552253"/>
                    <a:gd name="connsiteY706" fmla="*/ 52350 h 489979"/>
                    <a:gd name="connsiteX707" fmla="*/ 1223813 w 2552253"/>
                    <a:gd name="connsiteY707" fmla="*/ 64461 h 489979"/>
                    <a:gd name="connsiteX708" fmla="*/ 1213209 w 2552253"/>
                    <a:gd name="connsiteY708" fmla="*/ 94431 h 489979"/>
                    <a:gd name="connsiteX709" fmla="*/ 1213209 w 2552253"/>
                    <a:gd name="connsiteY709" fmla="*/ 160064 h 489979"/>
                    <a:gd name="connsiteX710" fmla="*/ 1202940 w 2552253"/>
                    <a:gd name="connsiteY710" fmla="*/ 160064 h 489979"/>
                    <a:gd name="connsiteX711" fmla="*/ 1202940 w 2552253"/>
                    <a:gd name="connsiteY711" fmla="*/ 45764 h 489979"/>
                    <a:gd name="connsiteX712" fmla="*/ 1213209 w 2552253"/>
                    <a:gd name="connsiteY712" fmla="*/ 45764 h 489979"/>
                    <a:gd name="connsiteX713" fmla="*/ 1213209 w 2552253"/>
                    <a:gd name="connsiteY713" fmla="*/ 66526 h 489979"/>
                    <a:gd name="connsiteX714" fmla="*/ 1213656 w 2552253"/>
                    <a:gd name="connsiteY714" fmla="*/ 66526 h 489979"/>
                    <a:gd name="connsiteX715" fmla="*/ 1252723 w 2552253"/>
                    <a:gd name="connsiteY715" fmla="*/ 42974 h 489979"/>
                    <a:gd name="connsiteX716" fmla="*/ 1808038 w 2552253"/>
                    <a:gd name="connsiteY716" fmla="*/ 0 h 489979"/>
                    <a:gd name="connsiteX717" fmla="*/ 1814121 w 2552253"/>
                    <a:gd name="connsiteY717" fmla="*/ 2232 h 489979"/>
                    <a:gd name="connsiteX718" fmla="*/ 1816744 w 2552253"/>
                    <a:gd name="connsiteY718" fmla="*/ 8260 h 489979"/>
                    <a:gd name="connsiteX719" fmla="*/ 1814177 w 2552253"/>
                    <a:gd name="connsiteY719" fmla="*/ 14399 h 489979"/>
                    <a:gd name="connsiteX720" fmla="*/ 1808038 w 2552253"/>
                    <a:gd name="connsiteY720" fmla="*/ 16966 h 489979"/>
                    <a:gd name="connsiteX721" fmla="*/ 1802122 w 2552253"/>
                    <a:gd name="connsiteY721" fmla="*/ 14510 h 489979"/>
                    <a:gd name="connsiteX722" fmla="*/ 1799555 w 2552253"/>
                    <a:gd name="connsiteY722" fmla="*/ 8260 h 489979"/>
                    <a:gd name="connsiteX723" fmla="*/ 1802178 w 2552253"/>
                    <a:gd name="connsiteY723" fmla="*/ 2288 h 489979"/>
                    <a:gd name="connsiteX724" fmla="*/ 1808038 w 2552253"/>
                    <a:gd name="connsiteY724" fmla="*/ 0 h 489979"/>
                    <a:gd name="connsiteX725" fmla="*/ 836488 w 2552253"/>
                    <a:gd name="connsiteY725" fmla="*/ 0 h 489979"/>
                    <a:gd name="connsiteX726" fmla="*/ 842571 w 2552253"/>
                    <a:gd name="connsiteY726" fmla="*/ 2232 h 489979"/>
                    <a:gd name="connsiteX727" fmla="*/ 845194 w 2552253"/>
                    <a:gd name="connsiteY727" fmla="*/ 8260 h 489979"/>
                    <a:gd name="connsiteX728" fmla="*/ 842627 w 2552253"/>
                    <a:gd name="connsiteY728" fmla="*/ 14399 h 489979"/>
                    <a:gd name="connsiteX729" fmla="*/ 836488 w 2552253"/>
                    <a:gd name="connsiteY729" fmla="*/ 16966 h 489979"/>
                    <a:gd name="connsiteX730" fmla="*/ 830572 w 2552253"/>
                    <a:gd name="connsiteY730" fmla="*/ 14510 h 489979"/>
                    <a:gd name="connsiteX731" fmla="*/ 828005 w 2552253"/>
                    <a:gd name="connsiteY731" fmla="*/ 8260 h 489979"/>
                    <a:gd name="connsiteX732" fmla="*/ 830628 w 2552253"/>
                    <a:gd name="connsiteY732" fmla="*/ 2288 h 489979"/>
                    <a:gd name="connsiteX733" fmla="*/ 836488 w 2552253"/>
                    <a:gd name="connsiteY733" fmla="*/ 0 h 489979"/>
                    <a:gd name="connsiteX734" fmla="*/ 262198 w 2552253"/>
                    <a:gd name="connsiteY734" fmla="*/ 0 h 489979"/>
                    <a:gd name="connsiteX735" fmla="*/ 272467 w 2552253"/>
                    <a:gd name="connsiteY735" fmla="*/ 0 h 489979"/>
                    <a:gd name="connsiteX736" fmla="*/ 332184 w 2552253"/>
                    <a:gd name="connsiteY736" fmla="*/ 128922 h 489979"/>
                    <a:gd name="connsiteX737" fmla="*/ 333412 w 2552253"/>
                    <a:gd name="connsiteY737" fmla="*/ 131936 h 489979"/>
                    <a:gd name="connsiteX738" fmla="*/ 334863 w 2552253"/>
                    <a:gd name="connsiteY738" fmla="*/ 135731 h 489979"/>
                    <a:gd name="connsiteX739" fmla="*/ 337207 w 2552253"/>
                    <a:gd name="connsiteY739" fmla="*/ 142205 h 489979"/>
                    <a:gd name="connsiteX740" fmla="*/ 337877 w 2552253"/>
                    <a:gd name="connsiteY740" fmla="*/ 142205 h 489979"/>
                    <a:gd name="connsiteX741" fmla="*/ 339104 w 2552253"/>
                    <a:gd name="connsiteY741" fmla="*/ 138633 h 489979"/>
                    <a:gd name="connsiteX742" fmla="*/ 342900 w 2552253"/>
                    <a:gd name="connsiteY742" fmla="*/ 128029 h 489979"/>
                    <a:gd name="connsiteX743" fmla="*/ 401724 w 2552253"/>
                    <a:gd name="connsiteY743" fmla="*/ 0 h 489979"/>
                    <a:gd name="connsiteX744" fmla="*/ 411547 w 2552253"/>
                    <a:gd name="connsiteY744" fmla="*/ 0 h 489979"/>
                    <a:gd name="connsiteX745" fmla="*/ 411547 w 2552253"/>
                    <a:gd name="connsiteY745" fmla="*/ 160064 h 489979"/>
                    <a:gd name="connsiteX746" fmla="*/ 400943 w 2552253"/>
                    <a:gd name="connsiteY746" fmla="*/ 160064 h 489979"/>
                    <a:gd name="connsiteX747" fmla="*/ 400943 w 2552253"/>
                    <a:gd name="connsiteY747" fmla="*/ 46434 h 489979"/>
                    <a:gd name="connsiteX748" fmla="*/ 402170 w 2552253"/>
                    <a:gd name="connsiteY748" fmla="*/ 22882 h 489979"/>
                    <a:gd name="connsiteX749" fmla="*/ 401724 w 2552253"/>
                    <a:gd name="connsiteY749" fmla="*/ 22882 h 489979"/>
                    <a:gd name="connsiteX750" fmla="*/ 395920 w 2552253"/>
                    <a:gd name="connsiteY750" fmla="*/ 36835 h 489979"/>
                    <a:gd name="connsiteX751" fmla="*/ 338993 w 2552253"/>
                    <a:gd name="connsiteY751" fmla="*/ 160064 h 489979"/>
                    <a:gd name="connsiteX752" fmla="*/ 335421 w 2552253"/>
                    <a:gd name="connsiteY752" fmla="*/ 160064 h 489979"/>
                    <a:gd name="connsiteX753" fmla="*/ 278271 w 2552253"/>
                    <a:gd name="connsiteY753" fmla="*/ 37504 h 489979"/>
                    <a:gd name="connsiteX754" fmla="*/ 273025 w 2552253"/>
                    <a:gd name="connsiteY754" fmla="*/ 22435 h 489979"/>
                    <a:gd name="connsiteX755" fmla="*/ 272467 w 2552253"/>
                    <a:gd name="connsiteY755" fmla="*/ 22435 h 489979"/>
                    <a:gd name="connsiteX756" fmla="*/ 273248 w 2552253"/>
                    <a:gd name="connsiteY756" fmla="*/ 43755 h 489979"/>
                    <a:gd name="connsiteX757" fmla="*/ 273248 w 2552253"/>
                    <a:gd name="connsiteY757" fmla="*/ 160064 h 489979"/>
                    <a:gd name="connsiteX758" fmla="*/ 262198 w 2552253"/>
                    <a:gd name="connsiteY758" fmla="*/ 160064 h 4899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</a:cxnLst>
                  <a:rect l="l" t="t" r="r" b="b"/>
                  <a:pathLst>
                    <a:path w="2552253" h="489979">
                      <a:moveTo>
                        <a:pt x="2452352" y="374787"/>
                      </a:moveTo>
                      <a:lnTo>
                        <a:pt x="2420875" y="379363"/>
                      </a:lnTo>
                      <a:cubicBezTo>
                        <a:pt x="2408894" y="381075"/>
                        <a:pt x="2400485" y="383847"/>
                        <a:pt x="2395649" y="387679"/>
                      </a:cubicBezTo>
                      <a:cubicBezTo>
                        <a:pt x="2390812" y="391512"/>
                        <a:pt x="2388393" y="397744"/>
                        <a:pt x="2388393" y="406376"/>
                      </a:cubicBezTo>
                      <a:cubicBezTo>
                        <a:pt x="2388393" y="413147"/>
                        <a:pt x="2390644" y="418729"/>
                        <a:pt x="2395146" y="423119"/>
                      </a:cubicBezTo>
                      <a:cubicBezTo>
                        <a:pt x="2399648" y="427509"/>
                        <a:pt x="2405918" y="429705"/>
                        <a:pt x="2413954" y="429705"/>
                      </a:cubicBezTo>
                      <a:cubicBezTo>
                        <a:pt x="2424968" y="429705"/>
                        <a:pt x="2434121" y="425630"/>
                        <a:pt x="2441413" y="417482"/>
                      </a:cubicBezTo>
                      <a:cubicBezTo>
                        <a:pt x="2448706" y="409334"/>
                        <a:pt x="2452352" y="398823"/>
                        <a:pt x="2452352" y="385949"/>
                      </a:cubicBezTo>
                      <a:close/>
                      <a:moveTo>
                        <a:pt x="1985627" y="374787"/>
                      </a:moveTo>
                      <a:lnTo>
                        <a:pt x="1954150" y="379363"/>
                      </a:lnTo>
                      <a:cubicBezTo>
                        <a:pt x="1942169" y="381075"/>
                        <a:pt x="1933760" y="383847"/>
                        <a:pt x="1928924" y="387679"/>
                      </a:cubicBezTo>
                      <a:cubicBezTo>
                        <a:pt x="1924087" y="391512"/>
                        <a:pt x="1921668" y="397744"/>
                        <a:pt x="1921668" y="406376"/>
                      </a:cubicBezTo>
                      <a:cubicBezTo>
                        <a:pt x="1921668" y="413147"/>
                        <a:pt x="1923919" y="418729"/>
                        <a:pt x="1928421" y="423119"/>
                      </a:cubicBezTo>
                      <a:cubicBezTo>
                        <a:pt x="1932923" y="427509"/>
                        <a:pt x="1939193" y="429705"/>
                        <a:pt x="1947229" y="429705"/>
                      </a:cubicBezTo>
                      <a:cubicBezTo>
                        <a:pt x="1958243" y="429705"/>
                        <a:pt x="1967396" y="425630"/>
                        <a:pt x="1974688" y="417482"/>
                      </a:cubicBezTo>
                      <a:cubicBezTo>
                        <a:pt x="1981981" y="409334"/>
                        <a:pt x="1985627" y="398823"/>
                        <a:pt x="1985627" y="385949"/>
                      </a:cubicBezTo>
                      <a:close/>
                      <a:moveTo>
                        <a:pt x="1042652" y="374787"/>
                      </a:moveTo>
                      <a:lnTo>
                        <a:pt x="1011175" y="379363"/>
                      </a:lnTo>
                      <a:cubicBezTo>
                        <a:pt x="999194" y="381075"/>
                        <a:pt x="990786" y="383847"/>
                        <a:pt x="985949" y="387679"/>
                      </a:cubicBezTo>
                      <a:cubicBezTo>
                        <a:pt x="981112" y="391512"/>
                        <a:pt x="978693" y="397744"/>
                        <a:pt x="978693" y="406376"/>
                      </a:cubicBezTo>
                      <a:cubicBezTo>
                        <a:pt x="978693" y="413147"/>
                        <a:pt x="980944" y="418729"/>
                        <a:pt x="985446" y="423119"/>
                      </a:cubicBezTo>
                      <a:cubicBezTo>
                        <a:pt x="989948" y="427509"/>
                        <a:pt x="996218" y="429705"/>
                        <a:pt x="1004255" y="429705"/>
                      </a:cubicBezTo>
                      <a:cubicBezTo>
                        <a:pt x="1015268" y="429705"/>
                        <a:pt x="1024421" y="425630"/>
                        <a:pt x="1031713" y="417482"/>
                      </a:cubicBezTo>
                      <a:cubicBezTo>
                        <a:pt x="1039006" y="409334"/>
                        <a:pt x="1042652" y="398823"/>
                        <a:pt x="1042652" y="385949"/>
                      </a:cubicBezTo>
                      <a:close/>
                      <a:moveTo>
                        <a:pt x="309227" y="374787"/>
                      </a:moveTo>
                      <a:lnTo>
                        <a:pt x="277750" y="379363"/>
                      </a:lnTo>
                      <a:cubicBezTo>
                        <a:pt x="265769" y="381075"/>
                        <a:pt x="257361" y="383847"/>
                        <a:pt x="252524" y="387679"/>
                      </a:cubicBezTo>
                      <a:cubicBezTo>
                        <a:pt x="247687" y="391512"/>
                        <a:pt x="245268" y="397744"/>
                        <a:pt x="245268" y="406376"/>
                      </a:cubicBezTo>
                      <a:cubicBezTo>
                        <a:pt x="245268" y="413147"/>
                        <a:pt x="247519" y="418729"/>
                        <a:pt x="252021" y="423119"/>
                      </a:cubicBezTo>
                      <a:cubicBezTo>
                        <a:pt x="256523" y="427509"/>
                        <a:pt x="262793" y="429705"/>
                        <a:pt x="270830" y="429705"/>
                      </a:cubicBezTo>
                      <a:cubicBezTo>
                        <a:pt x="281843" y="429705"/>
                        <a:pt x="290996" y="425630"/>
                        <a:pt x="298288" y="417482"/>
                      </a:cubicBezTo>
                      <a:cubicBezTo>
                        <a:pt x="305581" y="409334"/>
                        <a:pt x="309227" y="398823"/>
                        <a:pt x="309227" y="385949"/>
                      </a:cubicBezTo>
                      <a:close/>
                      <a:moveTo>
                        <a:pt x="2140818" y="328576"/>
                      </a:moveTo>
                      <a:cubicBezTo>
                        <a:pt x="2130102" y="328576"/>
                        <a:pt x="2121228" y="332166"/>
                        <a:pt x="2114196" y="339347"/>
                      </a:cubicBezTo>
                      <a:cubicBezTo>
                        <a:pt x="2107164" y="346528"/>
                        <a:pt x="2102829" y="356816"/>
                        <a:pt x="2101192" y="370211"/>
                      </a:cubicBezTo>
                      <a:lnTo>
                        <a:pt x="2174639" y="370211"/>
                      </a:lnTo>
                      <a:cubicBezTo>
                        <a:pt x="2174192" y="357039"/>
                        <a:pt x="2171030" y="346807"/>
                        <a:pt x="2165151" y="339515"/>
                      </a:cubicBezTo>
                      <a:cubicBezTo>
                        <a:pt x="2159272" y="332222"/>
                        <a:pt x="2151161" y="328576"/>
                        <a:pt x="2140818" y="328576"/>
                      </a:cubicBezTo>
                      <a:close/>
                      <a:moveTo>
                        <a:pt x="1617017" y="328575"/>
                      </a:moveTo>
                      <a:cubicBezTo>
                        <a:pt x="1603697" y="328575"/>
                        <a:pt x="1593391" y="333040"/>
                        <a:pt x="1586098" y="341969"/>
                      </a:cubicBezTo>
                      <a:cubicBezTo>
                        <a:pt x="1578805" y="350899"/>
                        <a:pt x="1575159" y="361391"/>
                        <a:pt x="1575159" y="373447"/>
                      </a:cubicBezTo>
                      <a:lnTo>
                        <a:pt x="1575159" y="387846"/>
                      </a:lnTo>
                      <a:cubicBezTo>
                        <a:pt x="1575159" y="399305"/>
                        <a:pt x="1578768" y="409147"/>
                        <a:pt x="1585986" y="417369"/>
                      </a:cubicBezTo>
                      <a:cubicBezTo>
                        <a:pt x="1593205" y="425592"/>
                        <a:pt x="1602692" y="429704"/>
                        <a:pt x="1614450" y="429704"/>
                      </a:cubicBezTo>
                      <a:cubicBezTo>
                        <a:pt x="1626133" y="429704"/>
                        <a:pt x="1635621" y="424699"/>
                        <a:pt x="1642913" y="414691"/>
                      </a:cubicBezTo>
                      <a:cubicBezTo>
                        <a:pt x="1650206" y="404682"/>
                        <a:pt x="1653852" y="391529"/>
                        <a:pt x="1653852" y="375232"/>
                      </a:cubicBezTo>
                      <a:cubicBezTo>
                        <a:pt x="1653852" y="360945"/>
                        <a:pt x="1650503" y="349597"/>
                        <a:pt x="1643806" y="341188"/>
                      </a:cubicBezTo>
                      <a:cubicBezTo>
                        <a:pt x="1637109" y="332779"/>
                        <a:pt x="1628179" y="328575"/>
                        <a:pt x="1617017" y="328575"/>
                      </a:cubicBezTo>
                      <a:close/>
                      <a:moveTo>
                        <a:pt x="1331267" y="328575"/>
                      </a:moveTo>
                      <a:cubicBezTo>
                        <a:pt x="1317947" y="328575"/>
                        <a:pt x="1307641" y="333040"/>
                        <a:pt x="1300348" y="341969"/>
                      </a:cubicBezTo>
                      <a:cubicBezTo>
                        <a:pt x="1293055" y="350899"/>
                        <a:pt x="1289409" y="361391"/>
                        <a:pt x="1289409" y="373447"/>
                      </a:cubicBezTo>
                      <a:lnTo>
                        <a:pt x="1289409" y="387846"/>
                      </a:lnTo>
                      <a:cubicBezTo>
                        <a:pt x="1289409" y="399305"/>
                        <a:pt x="1293018" y="409147"/>
                        <a:pt x="1300236" y="417369"/>
                      </a:cubicBezTo>
                      <a:cubicBezTo>
                        <a:pt x="1307455" y="425592"/>
                        <a:pt x="1316942" y="429704"/>
                        <a:pt x="1328700" y="429704"/>
                      </a:cubicBezTo>
                      <a:cubicBezTo>
                        <a:pt x="1340383" y="429704"/>
                        <a:pt x="1349871" y="424699"/>
                        <a:pt x="1357163" y="414691"/>
                      </a:cubicBezTo>
                      <a:cubicBezTo>
                        <a:pt x="1364456" y="404682"/>
                        <a:pt x="1368102" y="391529"/>
                        <a:pt x="1368102" y="375232"/>
                      </a:cubicBezTo>
                      <a:cubicBezTo>
                        <a:pt x="1368102" y="360945"/>
                        <a:pt x="1364753" y="349597"/>
                        <a:pt x="1358056" y="341188"/>
                      </a:cubicBezTo>
                      <a:cubicBezTo>
                        <a:pt x="1351359" y="332779"/>
                        <a:pt x="1342429" y="328575"/>
                        <a:pt x="1331267" y="328575"/>
                      </a:cubicBezTo>
                      <a:close/>
                      <a:moveTo>
                        <a:pt x="647179" y="328575"/>
                      </a:moveTo>
                      <a:cubicBezTo>
                        <a:pt x="634603" y="328575"/>
                        <a:pt x="624482" y="333300"/>
                        <a:pt x="616818" y="342751"/>
                      </a:cubicBezTo>
                      <a:cubicBezTo>
                        <a:pt x="609153" y="352201"/>
                        <a:pt x="605321" y="364703"/>
                        <a:pt x="605321" y="380255"/>
                      </a:cubicBezTo>
                      <a:cubicBezTo>
                        <a:pt x="605321" y="395882"/>
                        <a:pt x="608837" y="408030"/>
                        <a:pt x="615869" y="416700"/>
                      </a:cubicBezTo>
                      <a:cubicBezTo>
                        <a:pt x="622901" y="425369"/>
                        <a:pt x="632184" y="429704"/>
                        <a:pt x="643718" y="429704"/>
                      </a:cubicBezTo>
                      <a:cubicBezTo>
                        <a:pt x="655997" y="429704"/>
                        <a:pt x="665782" y="425722"/>
                        <a:pt x="673075" y="417760"/>
                      </a:cubicBezTo>
                      <a:cubicBezTo>
                        <a:pt x="680367" y="409798"/>
                        <a:pt x="684014" y="400050"/>
                        <a:pt x="684014" y="388515"/>
                      </a:cubicBezTo>
                      <a:lnTo>
                        <a:pt x="684014" y="365856"/>
                      </a:lnTo>
                      <a:cubicBezTo>
                        <a:pt x="684014" y="355736"/>
                        <a:pt x="680609" y="346992"/>
                        <a:pt x="673800" y="339625"/>
                      </a:cubicBezTo>
                      <a:cubicBezTo>
                        <a:pt x="666991" y="332258"/>
                        <a:pt x="658118" y="328575"/>
                        <a:pt x="647179" y="328575"/>
                      </a:cubicBezTo>
                      <a:close/>
                      <a:moveTo>
                        <a:pt x="1796467" y="321989"/>
                      </a:moveTo>
                      <a:lnTo>
                        <a:pt x="1807964" y="321989"/>
                      </a:lnTo>
                      <a:lnTo>
                        <a:pt x="1842008" y="412960"/>
                      </a:lnTo>
                      <a:cubicBezTo>
                        <a:pt x="1843645" y="417351"/>
                        <a:pt x="1844798" y="421332"/>
                        <a:pt x="1845468" y="424904"/>
                      </a:cubicBezTo>
                      <a:lnTo>
                        <a:pt x="1845915" y="424904"/>
                      </a:lnTo>
                      <a:cubicBezTo>
                        <a:pt x="1846882" y="420216"/>
                        <a:pt x="1847961" y="416383"/>
                        <a:pt x="1849152" y="413407"/>
                      </a:cubicBezTo>
                      <a:lnTo>
                        <a:pt x="1884312" y="321989"/>
                      </a:lnTo>
                      <a:lnTo>
                        <a:pt x="1895474" y="321989"/>
                      </a:lnTo>
                      <a:lnTo>
                        <a:pt x="1850045" y="436289"/>
                      </a:lnTo>
                      <a:lnTo>
                        <a:pt x="1840669" y="436289"/>
                      </a:lnTo>
                      <a:close/>
                      <a:moveTo>
                        <a:pt x="1764915" y="321989"/>
                      </a:moveTo>
                      <a:lnTo>
                        <a:pt x="1775184" y="321989"/>
                      </a:lnTo>
                      <a:lnTo>
                        <a:pt x="1775184" y="436289"/>
                      </a:lnTo>
                      <a:lnTo>
                        <a:pt x="1764915" y="436289"/>
                      </a:lnTo>
                      <a:close/>
                      <a:moveTo>
                        <a:pt x="1386892" y="321989"/>
                      </a:moveTo>
                      <a:lnTo>
                        <a:pt x="1398389" y="321989"/>
                      </a:lnTo>
                      <a:lnTo>
                        <a:pt x="1432880" y="415081"/>
                      </a:lnTo>
                      <a:cubicBezTo>
                        <a:pt x="1433624" y="417090"/>
                        <a:pt x="1434145" y="418616"/>
                        <a:pt x="1434442" y="419658"/>
                      </a:cubicBezTo>
                      <a:cubicBezTo>
                        <a:pt x="1434740" y="421072"/>
                        <a:pt x="1435075" y="422337"/>
                        <a:pt x="1435447" y="423453"/>
                      </a:cubicBezTo>
                      <a:lnTo>
                        <a:pt x="1435893" y="423453"/>
                      </a:lnTo>
                      <a:lnTo>
                        <a:pt x="1438572" y="415751"/>
                      </a:lnTo>
                      <a:lnTo>
                        <a:pt x="1475407" y="321989"/>
                      </a:lnTo>
                      <a:lnTo>
                        <a:pt x="1486569" y="321989"/>
                      </a:lnTo>
                      <a:lnTo>
                        <a:pt x="1430870" y="459618"/>
                      </a:lnTo>
                      <a:cubicBezTo>
                        <a:pt x="1426703" y="469887"/>
                        <a:pt x="1422089" y="477515"/>
                        <a:pt x="1417029" y="482500"/>
                      </a:cubicBezTo>
                      <a:cubicBezTo>
                        <a:pt x="1411969" y="487486"/>
                        <a:pt x="1405458" y="489979"/>
                        <a:pt x="1397496" y="489979"/>
                      </a:cubicBezTo>
                      <a:cubicBezTo>
                        <a:pt x="1394147" y="489979"/>
                        <a:pt x="1391170" y="489458"/>
                        <a:pt x="1388566" y="488416"/>
                      </a:cubicBezTo>
                      <a:lnTo>
                        <a:pt x="1388566" y="478147"/>
                      </a:lnTo>
                      <a:cubicBezTo>
                        <a:pt x="1391245" y="479189"/>
                        <a:pt x="1394370" y="479710"/>
                        <a:pt x="1397942" y="479710"/>
                      </a:cubicBezTo>
                      <a:cubicBezTo>
                        <a:pt x="1407095" y="479710"/>
                        <a:pt x="1414313" y="473385"/>
                        <a:pt x="1419597" y="460734"/>
                      </a:cubicBezTo>
                      <a:lnTo>
                        <a:pt x="1430201" y="435396"/>
                      </a:lnTo>
                      <a:close/>
                      <a:moveTo>
                        <a:pt x="431415" y="321989"/>
                      </a:moveTo>
                      <a:lnTo>
                        <a:pt x="441684" y="321989"/>
                      </a:lnTo>
                      <a:lnTo>
                        <a:pt x="441684" y="436289"/>
                      </a:lnTo>
                      <a:lnTo>
                        <a:pt x="431415" y="436289"/>
                      </a:lnTo>
                      <a:close/>
                      <a:moveTo>
                        <a:pt x="2540868" y="319757"/>
                      </a:moveTo>
                      <a:cubicBezTo>
                        <a:pt x="2545109" y="319757"/>
                        <a:pt x="2548904" y="320427"/>
                        <a:pt x="2552253" y="321766"/>
                      </a:cubicBezTo>
                      <a:lnTo>
                        <a:pt x="2552253" y="332705"/>
                      </a:lnTo>
                      <a:cubicBezTo>
                        <a:pt x="2548830" y="330249"/>
                        <a:pt x="2544812" y="329021"/>
                        <a:pt x="2540198" y="329021"/>
                      </a:cubicBezTo>
                      <a:cubicBezTo>
                        <a:pt x="2531194" y="329021"/>
                        <a:pt x="2523641" y="333672"/>
                        <a:pt x="2517539" y="342974"/>
                      </a:cubicBezTo>
                      <a:cubicBezTo>
                        <a:pt x="2511437" y="352276"/>
                        <a:pt x="2508386" y="365484"/>
                        <a:pt x="2508386" y="382599"/>
                      </a:cubicBezTo>
                      <a:lnTo>
                        <a:pt x="2508386" y="436289"/>
                      </a:lnTo>
                      <a:lnTo>
                        <a:pt x="2498340" y="436289"/>
                      </a:lnTo>
                      <a:lnTo>
                        <a:pt x="2498340" y="321989"/>
                      </a:lnTo>
                      <a:lnTo>
                        <a:pt x="2508386" y="321989"/>
                      </a:lnTo>
                      <a:lnTo>
                        <a:pt x="2508386" y="347327"/>
                      </a:lnTo>
                      <a:lnTo>
                        <a:pt x="2508832" y="347327"/>
                      </a:lnTo>
                      <a:cubicBezTo>
                        <a:pt x="2511437" y="338621"/>
                        <a:pt x="2515567" y="331849"/>
                        <a:pt x="2521222" y="327012"/>
                      </a:cubicBezTo>
                      <a:cubicBezTo>
                        <a:pt x="2526878" y="322175"/>
                        <a:pt x="2533426" y="319757"/>
                        <a:pt x="2540868" y="319757"/>
                      </a:cubicBezTo>
                      <a:close/>
                      <a:moveTo>
                        <a:pt x="1731243" y="319757"/>
                      </a:moveTo>
                      <a:cubicBezTo>
                        <a:pt x="1735484" y="319757"/>
                        <a:pt x="1739279" y="320427"/>
                        <a:pt x="1742628" y="321766"/>
                      </a:cubicBezTo>
                      <a:lnTo>
                        <a:pt x="1742628" y="332705"/>
                      </a:lnTo>
                      <a:cubicBezTo>
                        <a:pt x="1739205" y="330249"/>
                        <a:pt x="1735187" y="329021"/>
                        <a:pt x="1730573" y="329021"/>
                      </a:cubicBezTo>
                      <a:cubicBezTo>
                        <a:pt x="1721569" y="329021"/>
                        <a:pt x="1714016" y="333672"/>
                        <a:pt x="1707914" y="342974"/>
                      </a:cubicBezTo>
                      <a:cubicBezTo>
                        <a:pt x="1701812" y="352276"/>
                        <a:pt x="1698761" y="365484"/>
                        <a:pt x="1698761" y="382599"/>
                      </a:cubicBezTo>
                      <a:lnTo>
                        <a:pt x="1698761" y="436289"/>
                      </a:lnTo>
                      <a:lnTo>
                        <a:pt x="1688715" y="436289"/>
                      </a:lnTo>
                      <a:lnTo>
                        <a:pt x="1688715" y="321989"/>
                      </a:lnTo>
                      <a:lnTo>
                        <a:pt x="1698761" y="321989"/>
                      </a:lnTo>
                      <a:lnTo>
                        <a:pt x="1698761" y="347327"/>
                      </a:lnTo>
                      <a:lnTo>
                        <a:pt x="1699207" y="347327"/>
                      </a:lnTo>
                      <a:cubicBezTo>
                        <a:pt x="1701812" y="338621"/>
                        <a:pt x="1705942" y="331849"/>
                        <a:pt x="1711597" y="327012"/>
                      </a:cubicBezTo>
                      <a:cubicBezTo>
                        <a:pt x="1717253" y="322175"/>
                        <a:pt x="1723801" y="319757"/>
                        <a:pt x="1731243" y="319757"/>
                      </a:cubicBezTo>
                      <a:close/>
                      <a:moveTo>
                        <a:pt x="397743" y="319757"/>
                      </a:moveTo>
                      <a:cubicBezTo>
                        <a:pt x="401984" y="319757"/>
                        <a:pt x="405780" y="320427"/>
                        <a:pt x="409128" y="321766"/>
                      </a:cubicBezTo>
                      <a:lnTo>
                        <a:pt x="409128" y="332705"/>
                      </a:lnTo>
                      <a:cubicBezTo>
                        <a:pt x="405705" y="330249"/>
                        <a:pt x="401687" y="329021"/>
                        <a:pt x="397073" y="329021"/>
                      </a:cubicBezTo>
                      <a:cubicBezTo>
                        <a:pt x="388069" y="329021"/>
                        <a:pt x="380516" y="333672"/>
                        <a:pt x="374414" y="342974"/>
                      </a:cubicBezTo>
                      <a:cubicBezTo>
                        <a:pt x="368312" y="352276"/>
                        <a:pt x="365261" y="365484"/>
                        <a:pt x="365261" y="382599"/>
                      </a:cubicBezTo>
                      <a:lnTo>
                        <a:pt x="365261" y="436289"/>
                      </a:lnTo>
                      <a:lnTo>
                        <a:pt x="355215" y="436289"/>
                      </a:lnTo>
                      <a:lnTo>
                        <a:pt x="355215" y="321989"/>
                      </a:lnTo>
                      <a:lnTo>
                        <a:pt x="365261" y="321989"/>
                      </a:lnTo>
                      <a:lnTo>
                        <a:pt x="365261" y="347327"/>
                      </a:lnTo>
                      <a:lnTo>
                        <a:pt x="365707" y="347327"/>
                      </a:lnTo>
                      <a:cubicBezTo>
                        <a:pt x="368312" y="338621"/>
                        <a:pt x="372442" y="331849"/>
                        <a:pt x="378097" y="327012"/>
                      </a:cubicBezTo>
                      <a:cubicBezTo>
                        <a:pt x="383753" y="322175"/>
                        <a:pt x="390301" y="319757"/>
                        <a:pt x="397743" y="319757"/>
                      </a:cubicBezTo>
                      <a:close/>
                      <a:moveTo>
                        <a:pt x="2425675" y="319200"/>
                      </a:moveTo>
                      <a:cubicBezTo>
                        <a:pt x="2437432" y="319200"/>
                        <a:pt x="2446529" y="322846"/>
                        <a:pt x="2452966" y="330139"/>
                      </a:cubicBezTo>
                      <a:cubicBezTo>
                        <a:pt x="2459403" y="337431"/>
                        <a:pt x="2462621" y="348035"/>
                        <a:pt x="2462621" y="361951"/>
                      </a:cubicBezTo>
                      <a:lnTo>
                        <a:pt x="2462621" y="436290"/>
                      </a:lnTo>
                      <a:lnTo>
                        <a:pt x="2452352" y="436290"/>
                      </a:lnTo>
                      <a:lnTo>
                        <a:pt x="2452352" y="413408"/>
                      </a:lnTo>
                      <a:lnTo>
                        <a:pt x="2451906" y="413408"/>
                      </a:lnTo>
                      <a:cubicBezTo>
                        <a:pt x="2448259" y="421221"/>
                        <a:pt x="2442957" y="427454"/>
                        <a:pt x="2436000" y="432104"/>
                      </a:cubicBezTo>
                      <a:cubicBezTo>
                        <a:pt x="2429042" y="436755"/>
                        <a:pt x="2421321" y="439081"/>
                        <a:pt x="2412838" y="439081"/>
                      </a:cubicBezTo>
                      <a:cubicBezTo>
                        <a:pt x="2401974" y="439081"/>
                        <a:pt x="2393379" y="436030"/>
                        <a:pt x="2387054" y="429928"/>
                      </a:cubicBezTo>
                      <a:cubicBezTo>
                        <a:pt x="2380729" y="423826"/>
                        <a:pt x="2377566" y="416124"/>
                        <a:pt x="2377566" y="406822"/>
                      </a:cubicBezTo>
                      <a:cubicBezTo>
                        <a:pt x="2377566" y="386879"/>
                        <a:pt x="2390774" y="374824"/>
                        <a:pt x="2417191" y="370657"/>
                      </a:cubicBezTo>
                      <a:lnTo>
                        <a:pt x="2452352" y="365411"/>
                      </a:lnTo>
                      <a:cubicBezTo>
                        <a:pt x="2452352" y="340854"/>
                        <a:pt x="2443125" y="328576"/>
                        <a:pt x="2424670" y="328576"/>
                      </a:cubicBezTo>
                      <a:cubicBezTo>
                        <a:pt x="2412094" y="328576"/>
                        <a:pt x="2399853" y="333636"/>
                        <a:pt x="2387947" y="343756"/>
                      </a:cubicBezTo>
                      <a:lnTo>
                        <a:pt x="2387947" y="331366"/>
                      </a:lnTo>
                      <a:cubicBezTo>
                        <a:pt x="2392188" y="328018"/>
                        <a:pt x="2397937" y="325153"/>
                        <a:pt x="2405192" y="322772"/>
                      </a:cubicBezTo>
                      <a:cubicBezTo>
                        <a:pt x="2412448" y="320390"/>
                        <a:pt x="2419275" y="319200"/>
                        <a:pt x="2425675" y="319200"/>
                      </a:cubicBezTo>
                      <a:close/>
                      <a:moveTo>
                        <a:pt x="2328378" y="319200"/>
                      </a:moveTo>
                      <a:cubicBezTo>
                        <a:pt x="2337085" y="319200"/>
                        <a:pt x="2345531" y="320986"/>
                        <a:pt x="2353716" y="324558"/>
                      </a:cubicBezTo>
                      <a:lnTo>
                        <a:pt x="2353716" y="336166"/>
                      </a:lnTo>
                      <a:cubicBezTo>
                        <a:pt x="2345531" y="331106"/>
                        <a:pt x="2336564" y="328576"/>
                        <a:pt x="2326816" y="328576"/>
                      </a:cubicBezTo>
                      <a:cubicBezTo>
                        <a:pt x="2313421" y="328576"/>
                        <a:pt x="2302557" y="333394"/>
                        <a:pt x="2294222" y="343031"/>
                      </a:cubicBezTo>
                      <a:cubicBezTo>
                        <a:pt x="2285888" y="352667"/>
                        <a:pt x="2281721" y="365150"/>
                        <a:pt x="2281721" y="380480"/>
                      </a:cubicBezTo>
                      <a:cubicBezTo>
                        <a:pt x="2281721" y="395288"/>
                        <a:pt x="2285534" y="407194"/>
                        <a:pt x="2293162" y="416198"/>
                      </a:cubicBezTo>
                      <a:cubicBezTo>
                        <a:pt x="2300789" y="425203"/>
                        <a:pt x="2310854" y="429705"/>
                        <a:pt x="2323355" y="429705"/>
                      </a:cubicBezTo>
                      <a:cubicBezTo>
                        <a:pt x="2334815" y="429705"/>
                        <a:pt x="2344787" y="426654"/>
                        <a:pt x="2353270" y="420552"/>
                      </a:cubicBezTo>
                      <a:lnTo>
                        <a:pt x="2353270" y="431267"/>
                      </a:lnTo>
                      <a:cubicBezTo>
                        <a:pt x="2344787" y="436476"/>
                        <a:pt x="2334666" y="439081"/>
                        <a:pt x="2322909" y="439081"/>
                      </a:cubicBezTo>
                      <a:cubicBezTo>
                        <a:pt x="2307356" y="439081"/>
                        <a:pt x="2294818" y="433742"/>
                        <a:pt x="2285293" y="423063"/>
                      </a:cubicBezTo>
                      <a:cubicBezTo>
                        <a:pt x="2275768" y="412385"/>
                        <a:pt x="2271005" y="398413"/>
                        <a:pt x="2271005" y="381149"/>
                      </a:cubicBezTo>
                      <a:cubicBezTo>
                        <a:pt x="2271005" y="362992"/>
                        <a:pt x="2276363" y="348128"/>
                        <a:pt x="2287078" y="336557"/>
                      </a:cubicBezTo>
                      <a:cubicBezTo>
                        <a:pt x="2297794" y="324985"/>
                        <a:pt x="2311561" y="319200"/>
                        <a:pt x="2328378" y="319200"/>
                      </a:cubicBezTo>
                      <a:close/>
                      <a:moveTo>
                        <a:pt x="2141264" y="319200"/>
                      </a:moveTo>
                      <a:cubicBezTo>
                        <a:pt x="2155477" y="319200"/>
                        <a:pt x="2166379" y="324185"/>
                        <a:pt x="2173969" y="334157"/>
                      </a:cubicBezTo>
                      <a:cubicBezTo>
                        <a:pt x="2181559" y="344128"/>
                        <a:pt x="2185354" y="357746"/>
                        <a:pt x="2185354" y="375010"/>
                      </a:cubicBezTo>
                      <a:lnTo>
                        <a:pt x="2185354" y="379587"/>
                      </a:lnTo>
                      <a:lnTo>
                        <a:pt x="2100746" y="379587"/>
                      </a:lnTo>
                      <a:cubicBezTo>
                        <a:pt x="2100746" y="395288"/>
                        <a:pt x="2104373" y="407566"/>
                        <a:pt x="2111629" y="416422"/>
                      </a:cubicBezTo>
                      <a:cubicBezTo>
                        <a:pt x="2118884" y="425277"/>
                        <a:pt x="2128837" y="429705"/>
                        <a:pt x="2141487" y="429705"/>
                      </a:cubicBezTo>
                      <a:cubicBezTo>
                        <a:pt x="2154287" y="429705"/>
                        <a:pt x="2166788" y="424979"/>
                        <a:pt x="2178992" y="415529"/>
                      </a:cubicBezTo>
                      <a:lnTo>
                        <a:pt x="2178992" y="426468"/>
                      </a:lnTo>
                      <a:cubicBezTo>
                        <a:pt x="2167160" y="434876"/>
                        <a:pt x="2153952" y="439081"/>
                        <a:pt x="2139367" y="439081"/>
                      </a:cubicBezTo>
                      <a:cubicBezTo>
                        <a:pt x="2124633" y="439081"/>
                        <a:pt x="2112726" y="433797"/>
                        <a:pt x="2103648" y="423231"/>
                      </a:cubicBezTo>
                      <a:cubicBezTo>
                        <a:pt x="2094569" y="412664"/>
                        <a:pt x="2090030" y="397744"/>
                        <a:pt x="2090030" y="378471"/>
                      </a:cubicBezTo>
                      <a:cubicBezTo>
                        <a:pt x="2090030" y="361802"/>
                        <a:pt x="2094774" y="347756"/>
                        <a:pt x="2104262" y="336334"/>
                      </a:cubicBezTo>
                      <a:cubicBezTo>
                        <a:pt x="2113750" y="324911"/>
                        <a:pt x="2126084" y="319200"/>
                        <a:pt x="2141264" y="319200"/>
                      </a:cubicBezTo>
                      <a:close/>
                      <a:moveTo>
                        <a:pt x="1958950" y="319200"/>
                      </a:moveTo>
                      <a:cubicBezTo>
                        <a:pt x="1970707" y="319200"/>
                        <a:pt x="1979804" y="322846"/>
                        <a:pt x="1986241" y="330139"/>
                      </a:cubicBezTo>
                      <a:cubicBezTo>
                        <a:pt x="1992678" y="337431"/>
                        <a:pt x="1995896" y="348035"/>
                        <a:pt x="1995896" y="361951"/>
                      </a:cubicBezTo>
                      <a:lnTo>
                        <a:pt x="1995896" y="436290"/>
                      </a:lnTo>
                      <a:lnTo>
                        <a:pt x="1985627" y="436290"/>
                      </a:lnTo>
                      <a:lnTo>
                        <a:pt x="1985627" y="413408"/>
                      </a:lnTo>
                      <a:lnTo>
                        <a:pt x="1985181" y="413408"/>
                      </a:lnTo>
                      <a:cubicBezTo>
                        <a:pt x="1981534" y="421221"/>
                        <a:pt x="1976232" y="427454"/>
                        <a:pt x="1969275" y="432104"/>
                      </a:cubicBezTo>
                      <a:cubicBezTo>
                        <a:pt x="1962317" y="436755"/>
                        <a:pt x="1954596" y="439081"/>
                        <a:pt x="1946113" y="439081"/>
                      </a:cubicBezTo>
                      <a:cubicBezTo>
                        <a:pt x="1935249" y="439081"/>
                        <a:pt x="1926654" y="436030"/>
                        <a:pt x="1920329" y="429928"/>
                      </a:cubicBezTo>
                      <a:cubicBezTo>
                        <a:pt x="1914004" y="423826"/>
                        <a:pt x="1910841" y="416124"/>
                        <a:pt x="1910841" y="406822"/>
                      </a:cubicBezTo>
                      <a:cubicBezTo>
                        <a:pt x="1910841" y="386879"/>
                        <a:pt x="1924049" y="374824"/>
                        <a:pt x="1950466" y="370657"/>
                      </a:cubicBezTo>
                      <a:lnTo>
                        <a:pt x="1985627" y="365411"/>
                      </a:lnTo>
                      <a:cubicBezTo>
                        <a:pt x="1985627" y="340854"/>
                        <a:pt x="1976400" y="328576"/>
                        <a:pt x="1957945" y="328576"/>
                      </a:cubicBezTo>
                      <a:cubicBezTo>
                        <a:pt x="1945369" y="328576"/>
                        <a:pt x="1933128" y="333636"/>
                        <a:pt x="1921222" y="343756"/>
                      </a:cubicBezTo>
                      <a:lnTo>
                        <a:pt x="1921222" y="331366"/>
                      </a:lnTo>
                      <a:cubicBezTo>
                        <a:pt x="1925463" y="328018"/>
                        <a:pt x="1931212" y="325153"/>
                        <a:pt x="1938467" y="322772"/>
                      </a:cubicBezTo>
                      <a:cubicBezTo>
                        <a:pt x="1945723" y="320390"/>
                        <a:pt x="1952550" y="319200"/>
                        <a:pt x="1958950" y="319200"/>
                      </a:cubicBezTo>
                      <a:close/>
                      <a:moveTo>
                        <a:pt x="1015975" y="319200"/>
                      </a:moveTo>
                      <a:cubicBezTo>
                        <a:pt x="1027732" y="319200"/>
                        <a:pt x="1036829" y="322846"/>
                        <a:pt x="1043266" y="330139"/>
                      </a:cubicBezTo>
                      <a:cubicBezTo>
                        <a:pt x="1049703" y="337431"/>
                        <a:pt x="1052921" y="348035"/>
                        <a:pt x="1052921" y="361951"/>
                      </a:cubicBezTo>
                      <a:lnTo>
                        <a:pt x="1052921" y="436290"/>
                      </a:lnTo>
                      <a:lnTo>
                        <a:pt x="1042652" y="436290"/>
                      </a:lnTo>
                      <a:lnTo>
                        <a:pt x="1042652" y="413408"/>
                      </a:lnTo>
                      <a:lnTo>
                        <a:pt x="1042206" y="413408"/>
                      </a:lnTo>
                      <a:cubicBezTo>
                        <a:pt x="1038559" y="421221"/>
                        <a:pt x="1033257" y="427454"/>
                        <a:pt x="1026300" y="432104"/>
                      </a:cubicBezTo>
                      <a:cubicBezTo>
                        <a:pt x="1019342" y="436755"/>
                        <a:pt x="1011621" y="439081"/>
                        <a:pt x="1003138" y="439081"/>
                      </a:cubicBezTo>
                      <a:cubicBezTo>
                        <a:pt x="992274" y="439081"/>
                        <a:pt x="983679" y="436030"/>
                        <a:pt x="977354" y="429928"/>
                      </a:cubicBezTo>
                      <a:cubicBezTo>
                        <a:pt x="971029" y="423826"/>
                        <a:pt x="967866" y="416124"/>
                        <a:pt x="967866" y="406822"/>
                      </a:cubicBezTo>
                      <a:cubicBezTo>
                        <a:pt x="967866" y="386879"/>
                        <a:pt x="981075" y="374824"/>
                        <a:pt x="1007492" y="370657"/>
                      </a:cubicBezTo>
                      <a:lnTo>
                        <a:pt x="1042652" y="365411"/>
                      </a:lnTo>
                      <a:cubicBezTo>
                        <a:pt x="1042652" y="340854"/>
                        <a:pt x="1033425" y="328576"/>
                        <a:pt x="1014970" y="328576"/>
                      </a:cubicBezTo>
                      <a:cubicBezTo>
                        <a:pt x="1002394" y="328576"/>
                        <a:pt x="990153" y="333636"/>
                        <a:pt x="978247" y="343756"/>
                      </a:cubicBezTo>
                      <a:lnTo>
                        <a:pt x="978247" y="331366"/>
                      </a:lnTo>
                      <a:cubicBezTo>
                        <a:pt x="982488" y="328018"/>
                        <a:pt x="988237" y="325153"/>
                        <a:pt x="995492" y="322772"/>
                      </a:cubicBezTo>
                      <a:cubicBezTo>
                        <a:pt x="1002748" y="320390"/>
                        <a:pt x="1009575" y="319200"/>
                        <a:pt x="1015975" y="319200"/>
                      </a:cubicBezTo>
                      <a:close/>
                      <a:moveTo>
                        <a:pt x="282550" y="319200"/>
                      </a:moveTo>
                      <a:cubicBezTo>
                        <a:pt x="294307" y="319200"/>
                        <a:pt x="303404" y="322846"/>
                        <a:pt x="309841" y="330139"/>
                      </a:cubicBezTo>
                      <a:cubicBezTo>
                        <a:pt x="316278" y="337431"/>
                        <a:pt x="319496" y="348035"/>
                        <a:pt x="319496" y="361951"/>
                      </a:cubicBezTo>
                      <a:lnTo>
                        <a:pt x="319496" y="436290"/>
                      </a:lnTo>
                      <a:lnTo>
                        <a:pt x="309227" y="436290"/>
                      </a:lnTo>
                      <a:lnTo>
                        <a:pt x="309227" y="413408"/>
                      </a:lnTo>
                      <a:lnTo>
                        <a:pt x="308781" y="413408"/>
                      </a:lnTo>
                      <a:cubicBezTo>
                        <a:pt x="305134" y="421221"/>
                        <a:pt x="299832" y="427454"/>
                        <a:pt x="292875" y="432104"/>
                      </a:cubicBezTo>
                      <a:cubicBezTo>
                        <a:pt x="285917" y="436755"/>
                        <a:pt x="278197" y="439081"/>
                        <a:pt x="269713" y="439081"/>
                      </a:cubicBezTo>
                      <a:cubicBezTo>
                        <a:pt x="258849" y="439081"/>
                        <a:pt x="250254" y="436030"/>
                        <a:pt x="243929" y="429928"/>
                      </a:cubicBezTo>
                      <a:cubicBezTo>
                        <a:pt x="237604" y="423826"/>
                        <a:pt x="234441" y="416124"/>
                        <a:pt x="234441" y="406822"/>
                      </a:cubicBezTo>
                      <a:cubicBezTo>
                        <a:pt x="234441" y="386879"/>
                        <a:pt x="247650" y="374824"/>
                        <a:pt x="274067" y="370657"/>
                      </a:cubicBezTo>
                      <a:lnTo>
                        <a:pt x="309227" y="365411"/>
                      </a:lnTo>
                      <a:cubicBezTo>
                        <a:pt x="309227" y="340854"/>
                        <a:pt x="300000" y="328576"/>
                        <a:pt x="281545" y="328576"/>
                      </a:cubicBezTo>
                      <a:cubicBezTo>
                        <a:pt x="268969" y="328576"/>
                        <a:pt x="256728" y="333636"/>
                        <a:pt x="244822" y="343756"/>
                      </a:cubicBezTo>
                      <a:lnTo>
                        <a:pt x="244822" y="331366"/>
                      </a:lnTo>
                      <a:cubicBezTo>
                        <a:pt x="249063" y="328018"/>
                        <a:pt x="254812" y="325153"/>
                        <a:pt x="262067" y="322772"/>
                      </a:cubicBezTo>
                      <a:cubicBezTo>
                        <a:pt x="269323" y="320390"/>
                        <a:pt x="276150" y="319200"/>
                        <a:pt x="282550" y="319200"/>
                      </a:cubicBezTo>
                      <a:close/>
                      <a:moveTo>
                        <a:pt x="1618357" y="319199"/>
                      </a:moveTo>
                      <a:cubicBezTo>
                        <a:pt x="1632867" y="319199"/>
                        <a:pt x="1644197" y="324203"/>
                        <a:pt x="1652345" y="334212"/>
                      </a:cubicBezTo>
                      <a:cubicBezTo>
                        <a:pt x="1660494" y="344220"/>
                        <a:pt x="1664568" y="357820"/>
                        <a:pt x="1664568" y="375009"/>
                      </a:cubicBezTo>
                      <a:cubicBezTo>
                        <a:pt x="1664568" y="394134"/>
                        <a:pt x="1659898" y="409593"/>
                        <a:pt x="1650559" y="421388"/>
                      </a:cubicBezTo>
                      <a:cubicBezTo>
                        <a:pt x="1641220" y="433182"/>
                        <a:pt x="1628886" y="439080"/>
                        <a:pt x="1613557" y="439080"/>
                      </a:cubicBezTo>
                      <a:cubicBezTo>
                        <a:pt x="1596442" y="439080"/>
                        <a:pt x="1583791" y="431378"/>
                        <a:pt x="1575606" y="415974"/>
                      </a:cubicBezTo>
                      <a:lnTo>
                        <a:pt x="1575159" y="415974"/>
                      </a:lnTo>
                      <a:lnTo>
                        <a:pt x="1575159" y="488863"/>
                      </a:lnTo>
                      <a:lnTo>
                        <a:pt x="1564890" y="488863"/>
                      </a:lnTo>
                      <a:lnTo>
                        <a:pt x="1564890" y="321989"/>
                      </a:lnTo>
                      <a:lnTo>
                        <a:pt x="1575159" y="321989"/>
                      </a:lnTo>
                      <a:lnTo>
                        <a:pt x="1575159" y="345541"/>
                      </a:lnTo>
                      <a:lnTo>
                        <a:pt x="1575606" y="345541"/>
                      </a:lnTo>
                      <a:cubicBezTo>
                        <a:pt x="1579698" y="337132"/>
                        <a:pt x="1585559" y="330640"/>
                        <a:pt x="1593186" y="326063"/>
                      </a:cubicBezTo>
                      <a:cubicBezTo>
                        <a:pt x="1600813" y="321487"/>
                        <a:pt x="1609204" y="319199"/>
                        <a:pt x="1618357" y="319199"/>
                      </a:cubicBezTo>
                      <a:close/>
                      <a:moveTo>
                        <a:pt x="1138423" y="319199"/>
                      </a:moveTo>
                      <a:cubicBezTo>
                        <a:pt x="1150776" y="319199"/>
                        <a:pt x="1160226" y="323310"/>
                        <a:pt x="1166775" y="331533"/>
                      </a:cubicBezTo>
                      <a:cubicBezTo>
                        <a:pt x="1173323" y="339756"/>
                        <a:pt x="1176597" y="351494"/>
                        <a:pt x="1176597" y="366749"/>
                      </a:cubicBezTo>
                      <a:lnTo>
                        <a:pt x="1176597" y="436289"/>
                      </a:lnTo>
                      <a:lnTo>
                        <a:pt x="1166328" y="436289"/>
                      </a:lnTo>
                      <a:lnTo>
                        <a:pt x="1166328" y="369763"/>
                      </a:lnTo>
                      <a:cubicBezTo>
                        <a:pt x="1166328" y="342304"/>
                        <a:pt x="1156431" y="328575"/>
                        <a:pt x="1136637" y="328575"/>
                      </a:cubicBezTo>
                      <a:cubicBezTo>
                        <a:pt x="1125624" y="328575"/>
                        <a:pt x="1116583" y="332612"/>
                        <a:pt x="1109513" y="340686"/>
                      </a:cubicBezTo>
                      <a:cubicBezTo>
                        <a:pt x="1102444" y="348760"/>
                        <a:pt x="1098909" y="358750"/>
                        <a:pt x="1098909" y="370656"/>
                      </a:cubicBezTo>
                      <a:lnTo>
                        <a:pt x="1098909" y="436289"/>
                      </a:lnTo>
                      <a:lnTo>
                        <a:pt x="1088640" y="436289"/>
                      </a:lnTo>
                      <a:lnTo>
                        <a:pt x="1088640" y="321989"/>
                      </a:lnTo>
                      <a:lnTo>
                        <a:pt x="1098909" y="321989"/>
                      </a:lnTo>
                      <a:lnTo>
                        <a:pt x="1098909" y="342751"/>
                      </a:lnTo>
                      <a:lnTo>
                        <a:pt x="1099356" y="342751"/>
                      </a:lnTo>
                      <a:cubicBezTo>
                        <a:pt x="1107690" y="327049"/>
                        <a:pt x="1120713" y="319199"/>
                        <a:pt x="1138423" y="319199"/>
                      </a:cubicBezTo>
                      <a:close/>
                      <a:moveTo>
                        <a:pt x="646955" y="319199"/>
                      </a:moveTo>
                      <a:cubicBezTo>
                        <a:pt x="663773" y="319199"/>
                        <a:pt x="675977" y="326156"/>
                        <a:pt x="683567" y="340072"/>
                      </a:cubicBezTo>
                      <a:lnTo>
                        <a:pt x="684014" y="340072"/>
                      </a:lnTo>
                      <a:lnTo>
                        <a:pt x="684014" y="321989"/>
                      </a:lnTo>
                      <a:lnTo>
                        <a:pt x="694283" y="321989"/>
                      </a:lnTo>
                      <a:lnTo>
                        <a:pt x="694283" y="427806"/>
                      </a:lnTo>
                      <a:cubicBezTo>
                        <a:pt x="694283" y="449312"/>
                        <a:pt x="689595" y="465050"/>
                        <a:pt x="680219" y="475022"/>
                      </a:cubicBezTo>
                      <a:cubicBezTo>
                        <a:pt x="670842" y="484993"/>
                        <a:pt x="656257" y="489979"/>
                        <a:pt x="636463" y="489979"/>
                      </a:cubicBezTo>
                      <a:cubicBezTo>
                        <a:pt x="625450" y="489979"/>
                        <a:pt x="614102" y="487077"/>
                        <a:pt x="602419" y="481273"/>
                      </a:cubicBezTo>
                      <a:lnTo>
                        <a:pt x="602419" y="470557"/>
                      </a:lnTo>
                      <a:cubicBezTo>
                        <a:pt x="614474" y="477254"/>
                        <a:pt x="625896" y="480603"/>
                        <a:pt x="636686" y="480603"/>
                      </a:cubicBezTo>
                      <a:cubicBezTo>
                        <a:pt x="668238" y="480603"/>
                        <a:pt x="684014" y="463934"/>
                        <a:pt x="684014" y="430597"/>
                      </a:cubicBezTo>
                      <a:lnTo>
                        <a:pt x="684014" y="415751"/>
                      </a:lnTo>
                      <a:lnTo>
                        <a:pt x="683567" y="415751"/>
                      </a:lnTo>
                      <a:cubicBezTo>
                        <a:pt x="674563" y="431303"/>
                        <a:pt x="660834" y="439080"/>
                        <a:pt x="642379" y="439080"/>
                      </a:cubicBezTo>
                      <a:cubicBezTo>
                        <a:pt x="628315" y="439080"/>
                        <a:pt x="616836" y="433982"/>
                        <a:pt x="607944" y="423788"/>
                      </a:cubicBezTo>
                      <a:cubicBezTo>
                        <a:pt x="599051" y="413593"/>
                        <a:pt x="594605" y="399380"/>
                        <a:pt x="594605" y="381148"/>
                      </a:cubicBezTo>
                      <a:cubicBezTo>
                        <a:pt x="594605" y="362917"/>
                        <a:pt x="599405" y="348034"/>
                        <a:pt x="609004" y="336500"/>
                      </a:cubicBezTo>
                      <a:cubicBezTo>
                        <a:pt x="618604" y="324966"/>
                        <a:pt x="631254" y="319199"/>
                        <a:pt x="646955" y="319199"/>
                      </a:cubicBezTo>
                      <a:close/>
                      <a:moveTo>
                        <a:pt x="528823" y="319199"/>
                      </a:moveTo>
                      <a:cubicBezTo>
                        <a:pt x="541176" y="319199"/>
                        <a:pt x="550626" y="323310"/>
                        <a:pt x="557175" y="331533"/>
                      </a:cubicBezTo>
                      <a:cubicBezTo>
                        <a:pt x="563723" y="339756"/>
                        <a:pt x="566998" y="351494"/>
                        <a:pt x="566998" y="366749"/>
                      </a:cubicBezTo>
                      <a:lnTo>
                        <a:pt x="566998" y="436289"/>
                      </a:lnTo>
                      <a:lnTo>
                        <a:pt x="556728" y="436289"/>
                      </a:lnTo>
                      <a:lnTo>
                        <a:pt x="556728" y="369763"/>
                      </a:lnTo>
                      <a:cubicBezTo>
                        <a:pt x="556728" y="342304"/>
                        <a:pt x="546831" y="328575"/>
                        <a:pt x="527037" y="328575"/>
                      </a:cubicBezTo>
                      <a:cubicBezTo>
                        <a:pt x="516024" y="328575"/>
                        <a:pt x="506983" y="332612"/>
                        <a:pt x="499913" y="340686"/>
                      </a:cubicBezTo>
                      <a:cubicBezTo>
                        <a:pt x="492844" y="348760"/>
                        <a:pt x="489309" y="358750"/>
                        <a:pt x="489309" y="370656"/>
                      </a:cubicBezTo>
                      <a:lnTo>
                        <a:pt x="489309" y="436289"/>
                      </a:lnTo>
                      <a:lnTo>
                        <a:pt x="479040" y="436289"/>
                      </a:lnTo>
                      <a:lnTo>
                        <a:pt x="479040" y="321989"/>
                      </a:lnTo>
                      <a:lnTo>
                        <a:pt x="489309" y="321989"/>
                      </a:lnTo>
                      <a:lnTo>
                        <a:pt x="489309" y="342751"/>
                      </a:lnTo>
                      <a:lnTo>
                        <a:pt x="489756" y="342751"/>
                      </a:lnTo>
                      <a:cubicBezTo>
                        <a:pt x="498090" y="327049"/>
                        <a:pt x="511113" y="319199"/>
                        <a:pt x="528823" y="319199"/>
                      </a:cubicBezTo>
                      <a:close/>
                      <a:moveTo>
                        <a:pt x="2046684" y="288838"/>
                      </a:moveTo>
                      <a:lnTo>
                        <a:pt x="2046684" y="321989"/>
                      </a:lnTo>
                      <a:lnTo>
                        <a:pt x="2076822" y="321989"/>
                      </a:lnTo>
                      <a:lnTo>
                        <a:pt x="2076822" y="331365"/>
                      </a:lnTo>
                      <a:lnTo>
                        <a:pt x="2046684" y="331365"/>
                      </a:lnTo>
                      <a:lnTo>
                        <a:pt x="2046684" y="406821"/>
                      </a:lnTo>
                      <a:cubicBezTo>
                        <a:pt x="2046684" y="414709"/>
                        <a:pt x="2047930" y="420420"/>
                        <a:pt x="2050423" y="423955"/>
                      </a:cubicBezTo>
                      <a:cubicBezTo>
                        <a:pt x="2052916" y="427490"/>
                        <a:pt x="2057139" y="429257"/>
                        <a:pt x="2063092" y="429257"/>
                      </a:cubicBezTo>
                      <a:cubicBezTo>
                        <a:pt x="2067334" y="429257"/>
                        <a:pt x="2071910" y="427880"/>
                        <a:pt x="2076822" y="425127"/>
                      </a:cubicBezTo>
                      <a:lnTo>
                        <a:pt x="2076822" y="434727"/>
                      </a:lnTo>
                      <a:cubicBezTo>
                        <a:pt x="2071464" y="437257"/>
                        <a:pt x="2066441" y="438522"/>
                        <a:pt x="2061753" y="438522"/>
                      </a:cubicBezTo>
                      <a:cubicBezTo>
                        <a:pt x="2044861" y="438522"/>
                        <a:pt x="2036415" y="428401"/>
                        <a:pt x="2036415" y="408161"/>
                      </a:cubicBezTo>
                      <a:lnTo>
                        <a:pt x="2036415" y="331365"/>
                      </a:lnTo>
                      <a:lnTo>
                        <a:pt x="2015876" y="331365"/>
                      </a:lnTo>
                      <a:lnTo>
                        <a:pt x="2015876" y="321989"/>
                      </a:lnTo>
                      <a:lnTo>
                        <a:pt x="2036415" y="321989"/>
                      </a:lnTo>
                      <a:lnTo>
                        <a:pt x="2036415" y="292298"/>
                      </a:lnTo>
                      <a:cubicBezTo>
                        <a:pt x="2038052" y="291703"/>
                        <a:pt x="2039763" y="291107"/>
                        <a:pt x="2041549" y="290512"/>
                      </a:cubicBezTo>
                      <a:cubicBezTo>
                        <a:pt x="2043335" y="289991"/>
                        <a:pt x="2045047" y="289433"/>
                        <a:pt x="2046684" y="288838"/>
                      </a:cubicBezTo>
                      <a:close/>
                      <a:moveTo>
                        <a:pt x="798909" y="288838"/>
                      </a:moveTo>
                      <a:lnTo>
                        <a:pt x="798909" y="321989"/>
                      </a:lnTo>
                      <a:lnTo>
                        <a:pt x="829047" y="321989"/>
                      </a:lnTo>
                      <a:lnTo>
                        <a:pt x="829047" y="331365"/>
                      </a:lnTo>
                      <a:lnTo>
                        <a:pt x="798909" y="331365"/>
                      </a:lnTo>
                      <a:lnTo>
                        <a:pt x="798909" y="406821"/>
                      </a:lnTo>
                      <a:cubicBezTo>
                        <a:pt x="798909" y="414709"/>
                        <a:pt x="800155" y="420420"/>
                        <a:pt x="802648" y="423955"/>
                      </a:cubicBezTo>
                      <a:cubicBezTo>
                        <a:pt x="805141" y="427490"/>
                        <a:pt x="809364" y="429257"/>
                        <a:pt x="815317" y="429257"/>
                      </a:cubicBezTo>
                      <a:cubicBezTo>
                        <a:pt x="819559" y="429257"/>
                        <a:pt x="824135" y="427880"/>
                        <a:pt x="829047" y="425127"/>
                      </a:cubicBezTo>
                      <a:lnTo>
                        <a:pt x="829047" y="434727"/>
                      </a:lnTo>
                      <a:cubicBezTo>
                        <a:pt x="823689" y="437257"/>
                        <a:pt x="818666" y="438522"/>
                        <a:pt x="813978" y="438522"/>
                      </a:cubicBezTo>
                      <a:cubicBezTo>
                        <a:pt x="797086" y="438522"/>
                        <a:pt x="788640" y="428401"/>
                        <a:pt x="788640" y="408161"/>
                      </a:cubicBezTo>
                      <a:lnTo>
                        <a:pt x="788640" y="331365"/>
                      </a:lnTo>
                      <a:lnTo>
                        <a:pt x="768101" y="331365"/>
                      </a:lnTo>
                      <a:lnTo>
                        <a:pt x="768101" y="321989"/>
                      </a:lnTo>
                      <a:lnTo>
                        <a:pt x="788640" y="321989"/>
                      </a:lnTo>
                      <a:lnTo>
                        <a:pt x="788640" y="292298"/>
                      </a:lnTo>
                      <a:cubicBezTo>
                        <a:pt x="790277" y="291703"/>
                        <a:pt x="791988" y="291107"/>
                        <a:pt x="793774" y="290512"/>
                      </a:cubicBezTo>
                      <a:cubicBezTo>
                        <a:pt x="795560" y="289991"/>
                        <a:pt x="797272" y="289433"/>
                        <a:pt x="798909" y="288838"/>
                      </a:cubicBezTo>
                      <a:close/>
                      <a:moveTo>
                        <a:pt x="1769938" y="276225"/>
                      </a:moveTo>
                      <a:cubicBezTo>
                        <a:pt x="1772245" y="276225"/>
                        <a:pt x="1774273" y="276969"/>
                        <a:pt x="1776021" y="278457"/>
                      </a:cubicBezTo>
                      <a:cubicBezTo>
                        <a:pt x="1777770" y="279945"/>
                        <a:pt x="1778644" y="281954"/>
                        <a:pt x="1778644" y="284485"/>
                      </a:cubicBezTo>
                      <a:cubicBezTo>
                        <a:pt x="1778644" y="286866"/>
                        <a:pt x="1777789" y="288912"/>
                        <a:pt x="1776077" y="290624"/>
                      </a:cubicBezTo>
                      <a:cubicBezTo>
                        <a:pt x="1774366" y="292335"/>
                        <a:pt x="1772319" y="293191"/>
                        <a:pt x="1769938" y="293191"/>
                      </a:cubicBezTo>
                      <a:cubicBezTo>
                        <a:pt x="1767706" y="293191"/>
                        <a:pt x="1765734" y="292372"/>
                        <a:pt x="1764022" y="290735"/>
                      </a:cubicBezTo>
                      <a:cubicBezTo>
                        <a:pt x="1762311" y="289098"/>
                        <a:pt x="1761455" y="287015"/>
                        <a:pt x="1761455" y="284485"/>
                      </a:cubicBezTo>
                      <a:cubicBezTo>
                        <a:pt x="1761455" y="282029"/>
                        <a:pt x="1762329" y="280038"/>
                        <a:pt x="1764078" y="278513"/>
                      </a:cubicBezTo>
                      <a:cubicBezTo>
                        <a:pt x="1765827" y="276987"/>
                        <a:pt x="1767780" y="276225"/>
                        <a:pt x="1769938" y="276225"/>
                      </a:cubicBezTo>
                      <a:close/>
                      <a:moveTo>
                        <a:pt x="436438" y="276225"/>
                      </a:moveTo>
                      <a:cubicBezTo>
                        <a:pt x="438745" y="276225"/>
                        <a:pt x="440773" y="276969"/>
                        <a:pt x="442521" y="278457"/>
                      </a:cubicBezTo>
                      <a:cubicBezTo>
                        <a:pt x="444270" y="279945"/>
                        <a:pt x="445144" y="281954"/>
                        <a:pt x="445144" y="284485"/>
                      </a:cubicBezTo>
                      <a:cubicBezTo>
                        <a:pt x="445144" y="286866"/>
                        <a:pt x="444289" y="288912"/>
                        <a:pt x="442577" y="290624"/>
                      </a:cubicBezTo>
                      <a:cubicBezTo>
                        <a:pt x="440866" y="292335"/>
                        <a:pt x="438819" y="293191"/>
                        <a:pt x="436438" y="293191"/>
                      </a:cubicBezTo>
                      <a:cubicBezTo>
                        <a:pt x="434206" y="293191"/>
                        <a:pt x="432234" y="292372"/>
                        <a:pt x="430522" y="290735"/>
                      </a:cubicBezTo>
                      <a:cubicBezTo>
                        <a:pt x="428811" y="289098"/>
                        <a:pt x="427955" y="287015"/>
                        <a:pt x="427955" y="284485"/>
                      </a:cubicBezTo>
                      <a:cubicBezTo>
                        <a:pt x="427955" y="282029"/>
                        <a:pt x="428829" y="280038"/>
                        <a:pt x="430578" y="278513"/>
                      </a:cubicBezTo>
                      <a:cubicBezTo>
                        <a:pt x="432327" y="276987"/>
                        <a:pt x="434280" y="276225"/>
                        <a:pt x="436438" y="276225"/>
                      </a:cubicBezTo>
                      <a:close/>
                      <a:moveTo>
                        <a:pt x="49224" y="273546"/>
                      </a:moveTo>
                      <a:cubicBezTo>
                        <a:pt x="58749" y="273546"/>
                        <a:pt x="68274" y="275146"/>
                        <a:pt x="77799" y="278345"/>
                      </a:cubicBezTo>
                      <a:lnTo>
                        <a:pt x="77799" y="289954"/>
                      </a:lnTo>
                      <a:cubicBezTo>
                        <a:pt x="68423" y="285712"/>
                        <a:pt x="58415" y="283592"/>
                        <a:pt x="47773" y="283592"/>
                      </a:cubicBezTo>
                      <a:cubicBezTo>
                        <a:pt x="36909" y="283592"/>
                        <a:pt x="28296" y="286345"/>
                        <a:pt x="21933" y="291852"/>
                      </a:cubicBezTo>
                      <a:cubicBezTo>
                        <a:pt x="15571" y="297358"/>
                        <a:pt x="12390" y="304353"/>
                        <a:pt x="12390" y="312836"/>
                      </a:cubicBezTo>
                      <a:cubicBezTo>
                        <a:pt x="12390" y="321022"/>
                        <a:pt x="14566" y="327533"/>
                        <a:pt x="18919" y="332370"/>
                      </a:cubicBezTo>
                      <a:cubicBezTo>
                        <a:pt x="23273" y="337207"/>
                        <a:pt x="32667" y="343793"/>
                        <a:pt x="47104" y="352127"/>
                      </a:cubicBezTo>
                      <a:cubicBezTo>
                        <a:pt x="62061" y="360610"/>
                        <a:pt x="72014" y="368145"/>
                        <a:pt x="76962" y="374730"/>
                      </a:cubicBezTo>
                      <a:cubicBezTo>
                        <a:pt x="81911" y="381316"/>
                        <a:pt x="84385" y="388887"/>
                        <a:pt x="84385" y="397445"/>
                      </a:cubicBezTo>
                      <a:cubicBezTo>
                        <a:pt x="84385" y="409723"/>
                        <a:pt x="80125" y="419732"/>
                        <a:pt x="71605" y="427471"/>
                      </a:cubicBezTo>
                      <a:cubicBezTo>
                        <a:pt x="63084" y="435210"/>
                        <a:pt x="51048" y="439080"/>
                        <a:pt x="35495" y="439080"/>
                      </a:cubicBezTo>
                      <a:cubicBezTo>
                        <a:pt x="29988" y="439080"/>
                        <a:pt x="23645" y="438224"/>
                        <a:pt x="16464" y="436512"/>
                      </a:cubicBezTo>
                      <a:cubicBezTo>
                        <a:pt x="9283" y="434801"/>
                        <a:pt x="3795" y="432829"/>
                        <a:pt x="0" y="430597"/>
                      </a:cubicBezTo>
                      <a:lnTo>
                        <a:pt x="0" y="417983"/>
                      </a:lnTo>
                      <a:cubicBezTo>
                        <a:pt x="11459" y="425276"/>
                        <a:pt x="23068" y="428922"/>
                        <a:pt x="34825" y="428922"/>
                      </a:cubicBezTo>
                      <a:cubicBezTo>
                        <a:pt x="47327" y="428922"/>
                        <a:pt x="56815" y="426336"/>
                        <a:pt x="63289" y="421165"/>
                      </a:cubicBezTo>
                      <a:cubicBezTo>
                        <a:pt x="69763" y="415993"/>
                        <a:pt x="73000" y="408756"/>
                        <a:pt x="73000" y="399454"/>
                      </a:cubicBezTo>
                      <a:cubicBezTo>
                        <a:pt x="73000" y="391269"/>
                        <a:pt x="70823" y="384739"/>
                        <a:pt x="66470" y="379865"/>
                      </a:cubicBezTo>
                      <a:cubicBezTo>
                        <a:pt x="62117" y="374991"/>
                        <a:pt x="52685" y="368349"/>
                        <a:pt x="38174" y="359940"/>
                      </a:cubicBezTo>
                      <a:cubicBezTo>
                        <a:pt x="21952" y="350490"/>
                        <a:pt x="11683" y="342583"/>
                        <a:pt x="7367" y="336221"/>
                      </a:cubicBezTo>
                      <a:cubicBezTo>
                        <a:pt x="3051" y="329859"/>
                        <a:pt x="893" y="322510"/>
                        <a:pt x="893" y="314176"/>
                      </a:cubicBezTo>
                      <a:cubicBezTo>
                        <a:pt x="893" y="302865"/>
                        <a:pt x="5283" y="293265"/>
                        <a:pt x="14064" y="285378"/>
                      </a:cubicBezTo>
                      <a:cubicBezTo>
                        <a:pt x="22845" y="277490"/>
                        <a:pt x="34565" y="273546"/>
                        <a:pt x="49224" y="273546"/>
                      </a:cubicBezTo>
                      <a:close/>
                      <a:moveTo>
                        <a:pt x="850515" y="267073"/>
                      </a:moveTo>
                      <a:lnTo>
                        <a:pt x="860784" y="267073"/>
                      </a:lnTo>
                      <a:lnTo>
                        <a:pt x="860784" y="342529"/>
                      </a:lnTo>
                      <a:lnTo>
                        <a:pt x="861231" y="342529"/>
                      </a:lnTo>
                      <a:cubicBezTo>
                        <a:pt x="870235" y="326976"/>
                        <a:pt x="883332" y="319200"/>
                        <a:pt x="900521" y="319200"/>
                      </a:cubicBezTo>
                      <a:cubicBezTo>
                        <a:pt x="912874" y="319200"/>
                        <a:pt x="922287" y="323181"/>
                        <a:pt x="928761" y="331143"/>
                      </a:cubicBezTo>
                      <a:cubicBezTo>
                        <a:pt x="935235" y="339105"/>
                        <a:pt x="938472" y="350528"/>
                        <a:pt x="938472" y="365411"/>
                      </a:cubicBezTo>
                      <a:lnTo>
                        <a:pt x="938472" y="436290"/>
                      </a:lnTo>
                      <a:lnTo>
                        <a:pt x="928203" y="436290"/>
                      </a:lnTo>
                      <a:lnTo>
                        <a:pt x="928203" y="367755"/>
                      </a:lnTo>
                      <a:cubicBezTo>
                        <a:pt x="928203" y="354212"/>
                        <a:pt x="925748" y="344296"/>
                        <a:pt x="920836" y="338008"/>
                      </a:cubicBezTo>
                      <a:cubicBezTo>
                        <a:pt x="915925" y="331720"/>
                        <a:pt x="908260" y="328576"/>
                        <a:pt x="897842" y="328576"/>
                      </a:cubicBezTo>
                      <a:cubicBezTo>
                        <a:pt x="888020" y="328576"/>
                        <a:pt x="879388" y="332408"/>
                        <a:pt x="871946" y="340073"/>
                      </a:cubicBezTo>
                      <a:cubicBezTo>
                        <a:pt x="864505" y="347737"/>
                        <a:pt x="860784" y="358714"/>
                        <a:pt x="860784" y="373001"/>
                      </a:cubicBezTo>
                      <a:lnTo>
                        <a:pt x="860784" y="436290"/>
                      </a:lnTo>
                      <a:lnTo>
                        <a:pt x="850515" y="436290"/>
                      </a:lnTo>
                      <a:close/>
                      <a:moveTo>
                        <a:pt x="117090" y="267073"/>
                      </a:moveTo>
                      <a:lnTo>
                        <a:pt x="127359" y="267073"/>
                      </a:lnTo>
                      <a:lnTo>
                        <a:pt x="127359" y="342529"/>
                      </a:lnTo>
                      <a:lnTo>
                        <a:pt x="127806" y="342529"/>
                      </a:lnTo>
                      <a:cubicBezTo>
                        <a:pt x="136810" y="326976"/>
                        <a:pt x="149907" y="319200"/>
                        <a:pt x="167096" y="319200"/>
                      </a:cubicBezTo>
                      <a:cubicBezTo>
                        <a:pt x="179449" y="319200"/>
                        <a:pt x="188862" y="323181"/>
                        <a:pt x="195337" y="331143"/>
                      </a:cubicBezTo>
                      <a:cubicBezTo>
                        <a:pt x="201811" y="339105"/>
                        <a:pt x="205048" y="350528"/>
                        <a:pt x="205048" y="365411"/>
                      </a:cubicBezTo>
                      <a:lnTo>
                        <a:pt x="205048" y="436290"/>
                      </a:lnTo>
                      <a:lnTo>
                        <a:pt x="194778" y="436290"/>
                      </a:lnTo>
                      <a:lnTo>
                        <a:pt x="194778" y="367755"/>
                      </a:lnTo>
                      <a:cubicBezTo>
                        <a:pt x="194778" y="354212"/>
                        <a:pt x="192323" y="344296"/>
                        <a:pt x="187411" y="338008"/>
                      </a:cubicBezTo>
                      <a:cubicBezTo>
                        <a:pt x="182500" y="331720"/>
                        <a:pt x="174835" y="328576"/>
                        <a:pt x="164417" y="328576"/>
                      </a:cubicBezTo>
                      <a:cubicBezTo>
                        <a:pt x="154595" y="328576"/>
                        <a:pt x="145963" y="332408"/>
                        <a:pt x="138521" y="340073"/>
                      </a:cubicBezTo>
                      <a:cubicBezTo>
                        <a:pt x="131080" y="347737"/>
                        <a:pt x="127359" y="358714"/>
                        <a:pt x="127359" y="373001"/>
                      </a:cubicBezTo>
                      <a:lnTo>
                        <a:pt x="127359" y="436290"/>
                      </a:lnTo>
                      <a:lnTo>
                        <a:pt x="117090" y="436290"/>
                      </a:lnTo>
                      <a:close/>
                      <a:moveTo>
                        <a:pt x="1279140" y="267072"/>
                      </a:moveTo>
                      <a:lnTo>
                        <a:pt x="1289409" y="267072"/>
                      </a:lnTo>
                      <a:lnTo>
                        <a:pt x="1289409" y="345541"/>
                      </a:lnTo>
                      <a:lnTo>
                        <a:pt x="1289856" y="345541"/>
                      </a:lnTo>
                      <a:cubicBezTo>
                        <a:pt x="1293948" y="337132"/>
                        <a:pt x="1299809" y="330640"/>
                        <a:pt x="1307436" y="326063"/>
                      </a:cubicBezTo>
                      <a:cubicBezTo>
                        <a:pt x="1315063" y="321487"/>
                        <a:pt x="1323454" y="319199"/>
                        <a:pt x="1332607" y="319199"/>
                      </a:cubicBezTo>
                      <a:cubicBezTo>
                        <a:pt x="1347117" y="319199"/>
                        <a:pt x="1358447" y="324203"/>
                        <a:pt x="1366595" y="334212"/>
                      </a:cubicBezTo>
                      <a:cubicBezTo>
                        <a:pt x="1374744" y="344220"/>
                        <a:pt x="1378818" y="357820"/>
                        <a:pt x="1378818" y="375009"/>
                      </a:cubicBezTo>
                      <a:cubicBezTo>
                        <a:pt x="1378818" y="394134"/>
                        <a:pt x="1374092" y="409593"/>
                        <a:pt x="1364642" y="421388"/>
                      </a:cubicBezTo>
                      <a:cubicBezTo>
                        <a:pt x="1355191" y="433182"/>
                        <a:pt x="1342913" y="439080"/>
                        <a:pt x="1327807" y="439080"/>
                      </a:cubicBezTo>
                      <a:cubicBezTo>
                        <a:pt x="1310692" y="439080"/>
                        <a:pt x="1298041" y="431378"/>
                        <a:pt x="1289856" y="415974"/>
                      </a:cubicBezTo>
                      <a:lnTo>
                        <a:pt x="1289409" y="415974"/>
                      </a:lnTo>
                      <a:lnTo>
                        <a:pt x="1289409" y="436289"/>
                      </a:lnTo>
                      <a:lnTo>
                        <a:pt x="1279140" y="436289"/>
                      </a:lnTo>
                      <a:close/>
                      <a:moveTo>
                        <a:pt x="2195177" y="98562"/>
                      </a:moveTo>
                      <a:lnTo>
                        <a:pt x="2163700" y="103138"/>
                      </a:lnTo>
                      <a:cubicBezTo>
                        <a:pt x="2151719" y="104850"/>
                        <a:pt x="2143310" y="107622"/>
                        <a:pt x="2138474" y="111454"/>
                      </a:cubicBezTo>
                      <a:cubicBezTo>
                        <a:pt x="2133637" y="115287"/>
                        <a:pt x="2131218" y="121519"/>
                        <a:pt x="2131218" y="130151"/>
                      </a:cubicBezTo>
                      <a:cubicBezTo>
                        <a:pt x="2131218" y="136922"/>
                        <a:pt x="2133469" y="142504"/>
                        <a:pt x="2137971" y="146894"/>
                      </a:cubicBezTo>
                      <a:cubicBezTo>
                        <a:pt x="2142473" y="151284"/>
                        <a:pt x="2148743" y="153480"/>
                        <a:pt x="2156779" y="153480"/>
                      </a:cubicBezTo>
                      <a:cubicBezTo>
                        <a:pt x="2167793" y="153480"/>
                        <a:pt x="2176946" y="149405"/>
                        <a:pt x="2184238" y="141257"/>
                      </a:cubicBezTo>
                      <a:cubicBezTo>
                        <a:pt x="2191531" y="133109"/>
                        <a:pt x="2195177" y="122598"/>
                        <a:pt x="2195177" y="109724"/>
                      </a:cubicBezTo>
                      <a:close/>
                      <a:moveTo>
                        <a:pt x="1918952" y="98562"/>
                      </a:moveTo>
                      <a:lnTo>
                        <a:pt x="1887475" y="103138"/>
                      </a:lnTo>
                      <a:cubicBezTo>
                        <a:pt x="1875494" y="104850"/>
                        <a:pt x="1867085" y="107622"/>
                        <a:pt x="1862249" y="111454"/>
                      </a:cubicBezTo>
                      <a:cubicBezTo>
                        <a:pt x="1857412" y="115287"/>
                        <a:pt x="1854993" y="121519"/>
                        <a:pt x="1854993" y="130151"/>
                      </a:cubicBezTo>
                      <a:cubicBezTo>
                        <a:pt x="1854993" y="136922"/>
                        <a:pt x="1857244" y="142504"/>
                        <a:pt x="1861746" y="146894"/>
                      </a:cubicBezTo>
                      <a:cubicBezTo>
                        <a:pt x="1866248" y="151284"/>
                        <a:pt x="1872518" y="153480"/>
                        <a:pt x="1880554" y="153480"/>
                      </a:cubicBezTo>
                      <a:cubicBezTo>
                        <a:pt x="1891568" y="153480"/>
                        <a:pt x="1900721" y="149405"/>
                        <a:pt x="1908013" y="141257"/>
                      </a:cubicBezTo>
                      <a:cubicBezTo>
                        <a:pt x="1915306" y="133109"/>
                        <a:pt x="1918952" y="122598"/>
                        <a:pt x="1918952" y="109724"/>
                      </a:cubicBezTo>
                      <a:close/>
                      <a:moveTo>
                        <a:pt x="1369293" y="52351"/>
                      </a:moveTo>
                      <a:cubicBezTo>
                        <a:pt x="1358577" y="52351"/>
                        <a:pt x="1349703" y="55941"/>
                        <a:pt x="1342671" y="63122"/>
                      </a:cubicBezTo>
                      <a:cubicBezTo>
                        <a:pt x="1335639" y="70303"/>
                        <a:pt x="1331304" y="80591"/>
                        <a:pt x="1329667" y="93986"/>
                      </a:cubicBezTo>
                      <a:lnTo>
                        <a:pt x="1403114" y="93986"/>
                      </a:lnTo>
                      <a:cubicBezTo>
                        <a:pt x="1402667" y="80814"/>
                        <a:pt x="1399505" y="70582"/>
                        <a:pt x="1393626" y="63290"/>
                      </a:cubicBezTo>
                      <a:cubicBezTo>
                        <a:pt x="1387747" y="55997"/>
                        <a:pt x="1379636" y="52351"/>
                        <a:pt x="1369293" y="52351"/>
                      </a:cubicBezTo>
                      <a:close/>
                      <a:moveTo>
                        <a:pt x="925748" y="52351"/>
                      </a:moveTo>
                      <a:cubicBezTo>
                        <a:pt x="912279" y="52351"/>
                        <a:pt x="901544" y="56890"/>
                        <a:pt x="893545" y="65969"/>
                      </a:cubicBezTo>
                      <a:cubicBezTo>
                        <a:pt x="885545" y="75047"/>
                        <a:pt x="881546" y="87660"/>
                        <a:pt x="881546" y="103808"/>
                      </a:cubicBezTo>
                      <a:cubicBezTo>
                        <a:pt x="881546" y="118765"/>
                        <a:pt x="885453" y="130783"/>
                        <a:pt x="893266" y="139862"/>
                      </a:cubicBezTo>
                      <a:cubicBezTo>
                        <a:pt x="901079" y="148940"/>
                        <a:pt x="911758" y="153480"/>
                        <a:pt x="925301" y="153480"/>
                      </a:cubicBezTo>
                      <a:cubicBezTo>
                        <a:pt x="939068" y="153480"/>
                        <a:pt x="949672" y="149015"/>
                        <a:pt x="957113" y="140085"/>
                      </a:cubicBezTo>
                      <a:cubicBezTo>
                        <a:pt x="964555" y="131155"/>
                        <a:pt x="968275" y="118765"/>
                        <a:pt x="968275" y="102915"/>
                      </a:cubicBezTo>
                      <a:cubicBezTo>
                        <a:pt x="968275" y="86619"/>
                        <a:pt x="964573" y="74117"/>
                        <a:pt x="957169" y="65411"/>
                      </a:cubicBezTo>
                      <a:cubicBezTo>
                        <a:pt x="949765" y="56704"/>
                        <a:pt x="939291" y="52351"/>
                        <a:pt x="925748" y="52351"/>
                      </a:cubicBezTo>
                      <a:close/>
                      <a:moveTo>
                        <a:pt x="693018" y="52351"/>
                      </a:moveTo>
                      <a:cubicBezTo>
                        <a:pt x="682302" y="52351"/>
                        <a:pt x="673428" y="55941"/>
                        <a:pt x="666396" y="63122"/>
                      </a:cubicBezTo>
                      <a:cubicBezTo>
                        <a:pt x="659364" y="70303"/>
                        <a:pt x="655029" y="80591"/>
                        <a:pt x="653392" y="93986"/>
                      </a:cubicBezTo>
                      <a:lnTo>
                        <a:pt x="726839" y="93986"/>
                      </a:lnTo>
                      <a:cubicBezTo>
                        <a:pt x="726392" y="80814"/>
                        <a:pt x="723230" y="70582"/>
                        <a:pt x="717351" y="63290"/>
                      </a:cubicBezTo>
                      <a:cubicBezTo>
                        <a:pt x="711472" y="55997"/>
                        <a:pt x="703361" y="52351"/>
                        <a:pt x="693018" y="52351"/>
                      </a:cubicBezTo>
                      <a:close/>
                      <a:moveTo>
                        <a:pt x="497123" y="52351"/>
                      </a:moveTo>
                      <a:cubicBezTo>
                        <a:pt x="483654" y="52351"/>
                        <a:pt x="472920" y="56890"/>
                        <a:pt x="464920" y="65969"/>
                      </a:cubicBezTo>
                      <a:cubicBezTo>
                        <a:pt x="456921" y="75047"/>
                        <a:pt x="452921" y="87660"/>
                        <a:pt x="452921" y="103808"/>
                      </a:cubicBezTo>
                      <a:cubicBezTo>
                        <a:pt x="452921" y="118765"/>
                        <a:pt x="456827" y="130783"/>
                        <a:pt x="464641" y="139862"/>
                      </a:cubicBezTo>
                      <a:cubicBezTo>
                        <a:pt x="472454" y="148940"/>
                        <a:pt x="483133" y="153480"/>
                        <a:pt x="496676" y="153480"/>
                      </a:cubicBezTo>
                      <a:cubicBezTo>
                        <a:pt x="510443" y="153480"/>
                        <a:pt x="521047" y="149015"/>
                        <a:pt x="528488" y="140085"/>
                      </a:cubicBezTo>
                      <a:cubicBezTo>
                        <a:pt x="535930" y="131155"/>
                        <a:pt x="539650" y="118765"/>
                        <a:pt x="539650" y="102915"/>
                      </a:cubicBezTo>
                      <a:cubicBezTo>
                        <a:pt x="539650" y="86619"/>
                        <a:pt x="535948" y="74117"/>
                        <a:pt x="528544" y="65411"/>
                      </a:cubicBezTo>
                      <a:cubicBezTo>
                        <a:pt x="521140" y="56704"/>
                        <a:pt x="510666" y="52351"/>
                        <a:pt x="497123" y="52351"/>
                      </a:cubicBezTo>
                      <a:close/>
                      <a:moveTo>
                        <a:pt x="1000571" y="45765"/>
                      </a:moveTo>
                      <a:lnTo>
                        <a:pt x="1010952" y="45765"/>
                      </a:lnTo>
                      <a:lnTo>
                        <a:pt x="1010952" y="109278"/>
                      </a:lnTo>
                      <a:cubicBezTo>
                        <a:pt x="1010952" y="124756"/>
                        <a:pt x="1013500" y="135992"/>
                        <a:pt x="1018598" y="142987"/>
                      </a:cubicBezTo>
                      <a:cubicBezTo>
                        <a:pt x="1023695" y="149982"/>
                        <a:pt x="1031713" y="153480"/>
                        <a:pt x="1042652" y="153480"/>
                      </a:cubicBezTo>
                      <a:cubicBezTo>
                        <a:pt x="1053293" y="153480"/>
                        <a:pt x="1061907" y="149573"/>
                        <a:pt x="1068492" y="141759"/>
                      </a:cubicBezTo>
                      <a:cubicBezTo>
                        <a:pt x="1075078" y="133946"/>
                        <a:pt x="1078371" y="123528"/>
                        <a:pt x="1078371" y="110505"/>
                      </a:cubicBezTo>
                      <a:lnTo>
                        <a:pt x="1078371" y="45765"/>
                      </a:lnTo>
                      <a:lnTo>
                        <a:pt x="1088640" y="45765"/>
                      </a:lnTo>
                      <a:lnTo>
                        <a:pt x="1088640" y="160065"/>
                      </a:lnTo>
                      <a:lnTo>
                        <a:pt x="1078371" y="160065"/>
                      </a:lnTo>
                      <a:lnTo>
                        <a:pt x="1078371" y="139304"/>
                      </a:lnTo>
                      <a:lnTo>
                        <a:pt x="1077924" y="139304"/>
                      </a:lnTo>
                      <a:cubicBezTo>
                        <a:pt x="1069962" y="155005"/>
                        <a:pt x="1057684" y="162856"/>
                        <a:pt x="1041089" y="162856"/>
                      </a:cubicBezTo>
                      <a:cubicBezTo>
                        <a:pt x="1014077" y="162856"/>
                        <a:pt x="1000571" y="145852"/>
                        <a:pt x="1000571" y="111845"/>
                      </a:cubicBezTo>
                      <a:close/>
                      <a:moveTo>
                        <a:pt x="1803015" y="45764"/>
                      </a:moveTo>
                      <a:lnTo>
                        <a:pt x="1813284" y="45764"/>
                      </a:lnTo>
                      <a:lnTo>
                        <a:pt x="1813284" y="160064"/>
                      </a:lnTo>
                      <a:lnTo>
                        <a:pt x="1803015" y="160064"/>
                      </a:lnTo>
                      <a:close/>
                      <a:moveTo>
                        <a:pt x="1682167" y="45764"/>
                      </a:moveTo>
                      <a:lnTo>
                        <a:pt x="1693664" y="45764"/>
                      </a:lnTo>
                      <a:lnTo>
                        <a:pt x="1727708" y="136735"/>
                      </a:lnTo>
                      <a:cubicBezTo>
                        <a:pt x="1729345" y="141126"/>
                        <a:pt x="1730499" y="145107"/>
                        <a:pt x="1731168" y="148679"/>
                      </a:cubicBezTo>
                      <a:lnTo>
                        <a:pt x="1731615" y="148679"/>
                      </a:lnTo>
                      <a:cubicBezTo>
                        <a:pt x="1732582" y="143991"/>
                        <a:pt x="1733661" y="140158"/>
                        <a:pt x="1734852" y="137182"/>
                      </a:cubicBezTo>
                      <a:lnTo>
                        <a:pt x="1770012" y="45764"/>
                      </a:lnTo>
                      <a:lnTo>
                        <a:pt x="1781174" y="45764"/>
                      </a:lnTo>
                      <a:lnTo>
                        <a:pt x="1735745" y="160064"/>
                      </a:lnTo>
                      <a:lnTo>
                        <a:pt x="1726369" y="160064"/>
                      </a:lnTo>
                      <a:close/>
                      <a:moveTo>
                        <a:pt x="1424992" y="45764"/>
                      </a:moveTo>
                      <a:lnTo>
                        <a:pt x="1436489" y="45764"/>
                      </a:lnTo>
                      <a:lnTo>
                        <a:pt x="1470980" y="138856"/>
                      </a:lnTo>
                      <a:cubicBezTo>
                        <a:pt x="1471724" y="140865"/>
                        <a:pt x="1472245" y="142391"/>
                        <a:pt x="1472542" y="143433"/>
                      </a:cubicBezTo>
                      <a:cubicBezTo>
                        <a:pt x="1472840" y="144847"/>
                        <a:pt x="1473175" y="146112"/>
                        <a:pt x="1473547" y="147228"/>
                      </a:cubicBezTo>
                      <a:lnTo>
                        <a:pt x="1473993" y="147228"/>
                      </a:lnTo>
                      <a:lnTo>
                        <a:pt x="1476672" y="139526"/>
                      </a:lnTo>
                      <a:lnTo>
                        <a:pt x="1513507" y="45764"/>
                      </a:lnTo>
                      <a:lnTo>
                        <a:pt x="1524669" y="45764"/>
                      </a:lnTo>
                      <a:lnTo>
                        <a:pt x="1468970" y="183393"/>
                      </a:lnTo>
                      <a:cubicBezTo>
                        <a:pt x="1464803" y="193662"/>
                        <a:pt x="1460189" y="201290"/>
                        <a:pt x="1455129" y="206275"/>
                      </a:cubicBezTo>
                      <a:cubicBezTo>
                        <a:pt x="1450069" y="211261"/>
                        <a:pt x="1443558" y="213754"/>
                        <a:pt x="1435596" y="213754"/>
                      </a:cubicBezTo>
                      <a:cubicBezTo>
                        <a:pt x="1432247" y="213754"/>
                        <a:pt x="1429270" y="213233"/>
                        <a:pt x="1426666" y="212191"/>
                      </a:cubicBezTo>
                      <a:lnTo>
                        <a:pt x="1426666" y="201922"/>
                      </a:lnTo>
                      <a:cubicBezTo>
                        <a:pt x="1429345" y="202964"/>
                        <a:pt x="1432470" y="203485"/>
                        <a:pt x="1436042" y="203485"/>
                      </a:cubicBezTo>
                      <a:cubicBezTo>
                        <a:pt x="1445195" y="203485"/>
                        <a:pt x="1452413" y="197160"/>
                        <a:pt x="1457697" y="184509"/>
                      </a:cubicBezTo>
                      <a:lnTo>
                        <a:pt x="1468301" y="159171"/>
                      </a:lnTo>
                      <a:close/>
                      <a:moveTo>
                        <a:pt x="831465" y="45764"/>
                      </a:moveTo>
                      <a:lnTo>
                        <a:pt x="841734" y="45764"/>
                      </a:lnTo>
                      <a:lnTo>
                        <a:pt x="841734" y="156827"/>
                      </a:lnTo>
                      <a:cubicBezTo>
                        <a:pt x="841734" y="194778"/>
                        <a:pt x="828265" y="213754"/>
                        <a:pt x="801327" y="213754"/>
                      </a:cubicBezTo>
                      <a:cubicBezTo>
                        <a:pt x="795970" y="213754"/>
                        <a:pt x="790537" y="212452"/>
                        <a:pt x="785031" y="209847"/>
                      </a:cubicBezTo>
                      <a:lnTo>
                        <a:pt x="785031" y="199132"/>
                      </a:lnTo>
                      <a:cubicBezTo>
                        <a:pt x="790984" y="202629"/>
                        <a:pt x="796788" y="204378"/>
                        <a:pt x="802444" y="204378"/>
                      </a:cubicBezTo>
                      <a:cubicBezTo>
                        <a:pt x="821791" y="204378"/>
                        <a:pt x="831465" y="189160"/>
                        <a:pt x="831465" y="158725"/>
                      </a:cubicBezTo>
                      <a:close/>
                      <a:moveTo>
                        <a:pt x="2283693" y="43532"/>
                      </a:moveTo>
                      <a:cubicBezTo>
                        <a:pt x="2287934" y="43532"/>
                        <a:pt x="2291729" y="44202"/>
                        <a:pt x="2295078" y="45541"/>
                      </a:cubicBezTo>
                      <a:lnTo>
                        <a:pt x="2295078" y="56480"/>
                      </a:lnTo>
                      <a:cubicBezTo>
                        <a:pt x="2291655" y="54024"/>
                        <a:pt x="2287637" y="52796"/>
                        <a:pt x="2283023" y="52796"/>
                      </a:cubicBezTo>
                      <a:cubicBezTo>
                        <a:pt x="2274019" y="52796"/>
                        <a:pt x="2266466" y="57447"/>
                        <a:pt x="2260364" y="66749"/>
                      </a:cubicBezTo>
                      <a:cubicBezTo>
                        <a:pt x="2254262" y="76051"/>
                        <a:pt x="2251211" y="89259"/>
                        <a:pt x="2251211" y="106374"/>
                      </a:cubicBezTo>
                      <a:lnTo>
                        <a:pt x="2251211" y="160064"/>
                      </a:lnTo>
                      <a:lnTo>
                        <a:pt x="2241165" y="160064"/>
                      </a:lnTo>
                      <a:lnTo>
                        <a:pt x="2241165" y="45764"/>
                      </a:lnTo>
                      <a:lnTo>
                        <a:pt x="2251211" y="45764"/>
                      </a:lnTo>
                      <a:lnTo>
                        <a:pt x="2251211" y="71102"/>
                      </a:lnTo>
                      <a:lnTo>
                        <a:pt x="2251657" y="71102"/>
                      </a:lnTo>
                      <a:cubicBezTo>
                        <a:pt x="2254262" y="62396"/>
                        <a:pt x="2258392" y="55624"/>
                        <a:pt x="2264047" y="50787"/>
                      </a:cubicBezTo>
                      <a:cubicBezTo>
                        <a:pt x="2269703" y="45950"/>
                        <a:pt x="2276251" y="43532"/>
                        <a:pt x="2283693" y="43532"/>
                      </a:cubicBezTo>
                      <a:close/>
                      <a:moveTo>
                        <a:pt x="1169268" y="43532"/>
                      </a:moveTo>
                      <a:cubicBezTo>
                        <a:pt x="1173509" y="43532"/>
                        <a:pt x="1177304" y="44202"/>
                        <a:pt x="1180653" y="45541"/>
                      </a:cubicBezTo>
                      <a:lnTo>
                        <a:pt x="1180653" y="56480"/>
                      </a:lnTo>
                      <a:cubicBezTo>
                        <a:pt x="1177230" y="54024"/>
                        <a:pt x="1173212" y="52796"/>
                        <a:pt x="1168598" y="52796"/>
                      </a:cubicBezTo>
                      <a:cubicBezTo>
                        <a:pt x="1159594" y="52796"/>
                        <a:pt x="1152041" y="57447"/>
                        <a:pt x="1145939" y="66749"/>
                      </a:cubicBezTo>
                      <a:cubicBezTo>
                        <a:pt x="1139837" y="76051"/>
                        <a:pt x="1136786" y="89259"/>
                        <a:pt x="1136786" y="106374"/>
                      </a:cubicBezTo>
                      <a:lnTo>
                        <a:pt x="1136786" y="160064"/>
                      </a:lnTo>
                      <a:lnTo>
                        <a:pt x="1126740" y="160064"/>
                      </a:lnTo>
                      <a:lnTo>
                        <a:pt x="1126740" y="45764"/>
                      </a:lnTo>
                      <a:lnTo>
                        <a:pt x="1136786" y="45764"/>
                      </a:lnTo>
                      <a:lnTo>
                        <a:pt x="1136786" y="71102"/>
                      </a:lnTo>
                      <a:lnTo>
                        <a:pt x="1137232" y="71102"/>
                      </a:lnTo>
                      <a:cubicBezTo>
                        <a:pt x="1139837" y="62396"/>
                        <a:pt x="1143967" y="55624"/>
                        <a:pt x="1149622" y="50787"/>
                      </a:cubicBezTo>
                      <a:cubicBezTo>
                        <a:pt x="1155278" y="45950"/>
                        <a:pt x="1161826" y="43532"/>
                        <a:pt x="1169268" y="43532"/>
                      </a:cubicBezTo>
                      <a:close/>
                      <a:moveTo>
                        <a:pt x="616818" y="43532"/>
                      </a:moveTo>
                      <a:cubicBezTo>
                        <a:pt x="621059" y="43532"/>
                        <a:pt x="624854" y="44202"/>
                        <a:pt x="628203" y="45541"/>
                      </a:cubicBezTo>
                      <a:lnTo>
                        <a:pt x="628203" y="56480"/>
                      </a:lnTo>
                      <a:cubicBezTo>
                        <a:pt x="624780" y="54024"/>
                        <a:pt x="620762" y="52796"/>
                        <a:pt x="616148" y="52796"/>
                      </a:cubicBezTo>
                      <a:cubicBezTo>
                        <a:pt x="607144" y="52796"/>
                        <a:pt x="599591" y="57447"/>
                        <a:pt x="593489" y="66749"/>
                      </a:cubicBezTo>
                      <a:cubicBezTo>
                        <a:pt x="587387" y="76051"/>
                        <a:pt x="584336" y="89259"/>
                        <a:pt x="584336" y="106374"/>
                      </a:cubicBezTo>
                      <a:lnTo>
                        <a:pt x="584336" y="160064"/>
                      </a:lnTo>
                      <a:lnTo>
                        <a:pt x="574290" y="160064"/>
                      </a:lnTo>
                      <a:lnTo>
                        <a:pt x="574290" y="45764"/>
                      </a:lnTo>
                      <a:lnTo>
                        <a:pt x="584336" y="45764"/>
                      </a:lnTo>
                      <a:lnTo>
                        <a:pt x="584336" y="71102"/>
                      </a:lnTo>
                      <a:lnTo>
                        <a:pt x="584782" y="71102"/>
                      </a:lnTo>
                      <a:cubicBezTo>
                        <a:pt x="587387" y="62396"/>
                        <a:pt x="591517" y="55624"/>
                        <a:pt x="597172" y="50787"/>
                      </a:cubicBezTo>
                      <a:cubicBezTo>
                        <a:pt x="602828" y="45950"/>
                        <a:pt x="609376" y="43532"/>
                        <a:pt x="616818" y="43532"/>
                      </a:cubicBezTo>
                      <a:close/>
                      <a:moveTo>
                        <a:pt x="2168500" y="42975"/>
                      </a:moveTo>
                      <a:cubicBezTo>
                        <a:pt x="2180257" y="42975"/>
                        <a:pt x="2189354" y="46621"/>
                        <a:pt x="2195791" y="53914"/>
                      </a:cubicBezTo>
                      <a:cubicBezTo>
                        <a:pt x="2202228" y="61206"/>
                        <a:pt x="2205446" y="71810"/>
                        <a:pt x="2205446" y="85726"/>
                      </a:cubicBezTo>
                      <a:lnTo>
                        <a:pt x="2205446" y="160065"/>
                      </a:lnTo>
                      <a:lnTo>
                        <a:pt x="2195177" y="160065"/>
                      </a:lnTo>
                      <a:lnTo>
                        <a:pt x="2195177" y="137183"/>
                      </a:lnTo>
                      <a:lnTo>
                        <a:pt x="2194731" y="137183"/>
                      </a:lnTo>
                      <a:cubicBezTo>
                        <a:pt x="2191084" y="144996"/>
                        <a:pt x="2185782" y="151229"/>
                        <a:pt x="2178825" y="155879"/>
                      </a:cubicBezTo>
                      <a:cubicBezTo>
                        <a:pt x="2171867" y="160530"/>
                        <a:pt x="2164146" y="162856"/>
                        <a:pt x="2155663" y="162856"/>
                      </a:cubicBezTo>
                      <a:cubicBezTo>
                        <a:pt x="2144799" y="162856"/>
                        <a:pt x="2136204" y="159805"/>
                        <a:pt x="2129879" y="153703"/>
                      </a:cubicBezTo>
                      <a:cubicBezTo>
                        <a:pt x="2123554" y="147601"/>
                        <a:pt x="2120391" y="139899"/>
                        <a:pt x="2120391" y="130597"/>
                      </a:cubicBezTo>
                      <a:cubicBezTo>
                        <a:pt x="2120391" y="110654"/>
                        <a:pt x="2133599" y="98599"/>
                        <a:pt x="2160016" y="94432"/>
                      </a:cubicBezTo>
                      <a:lnTo>
                        <a:pt x="2195177" y="89186"/>
                      </a:lnTo>
                      <a:cubicBezTo>
                        <a:pt x="2195177" y="64629"/>
                        <a:pt x="2185950" y="52351"/>
                        <a:pt x="2167495" y="52351"/>
                      </a:cubicBezTo>
                      <a:cubicBezTo>
                        <a:pt x="2154919" y="52351"/>
                        <a:pt x="2142678" y="57411"/>
                        <a:pt x="2130772" y="67531"/>
                      </a:cubicBezTo>
                      <a:lnTo>
                        <a:pt x="2130772" y="55141"/>
                      </a:lnTo>
                      <a:cubicBezTo>
                        <a:pt x="2135013" y="51793"/>
                        <a:pt x="2140762" y="48928"/>
                        <a:pt x="2148017" y="46547"/>
                      </a:cubicBezTo>
                      <a:cubicBezTo>
                        <a:pt x="2155273" y="44165"/>
                        <a:pt x="2162100" y="42975"/>
                        <a:pt x="2168500" y="42975"/>
                      </a:cubicBezTo>
                      <a:close/>
                      <a:moveTo>
                        <a:pt x="2071203" y="42975"/>
                      </a:moveTo>
                      <a:cubicBezTo>
                        <a:pt x="2079910" y="42975"/>
                        <a:pt x="2088356" y="44761"/>
                        <a:pt x="2096541" y="48333"/>
                      </a:cubicBezTo>
                      <a:lnTo>
                        <a:pt x="2096541" y="59941"/>
                      </a:lnTo>
                      <a:cubicBezTo>
                        <a:pt x="2088356" y="54881"/>
                        <a:pt x="2079389" y="52351"/>
                        <a:pt x="2069641" y="52351"/>
                      </a:cubicBezTo>
                      <a:cubicBezTo>
                        <a:pt x="2056246" y="52351"/>
                        <a:pt x="2045382" y="57169"/>
                        <a:pt x="2037047" y="66806"/>
                      </a:cubicBezTo>
                      <a:cubicBezTo>
                        <a:pt x="2028713" y="76442"/>
                        <a:pt x="2024546" y="88925"/>
                        <a:pt x="2024546" y="104255"/>
                      </a:cubicBezTo>
                      <a:cubicBezTo>
                        <a:pt x="2024546" y="119063"/>
                        <a:pt x="2028359" y="130969"/>
                        <a:pt x="2035987" y="139973"/>
                      </a:cubicBezTo>
                      <a:cubicBezTo>
                        <a:pt x="2043614" y="148978"/>
                        <a:pt x="2053679" y="153480"/>
                        <a:pt x="2066180" y="153480"/>
                      </a:cubicBezTo>
                      <a:cubicBezTo>
                        <a:pt x="2077640" y="153480"/>
                        <a:pt x="2087612" y="150429"/>
                        <a:pt x="2096095" y="144327"/>
                      </a:cubicBezTo>
                      <a:lnTo>
                        <a:pt x="2096095" y="155042"/>
                      </a:lnTo>
                      <a:cubicBezTo>
                        <a:pt x="2087612" y="160251"/>
                        <a:pt x="2077491" y="162856"/>
                        <a:pt x="2065734" y="162856"/>
                      </a:cubicBezTo>
                      <a:cubicBezTo>
                        <a:pt x="2050181" y="162856"/>
                        <a:pt x="2037643" y="157517"/>
                        <a:pt x="2028118" y="146838"/>
                      </a:cubicBezTo>
                      <a:cubicBezTo>
                        <a:pt x="2018593" y="136160"/>
                        <a:pt x="2013830" y="122188"/>
                        <a:pt x="2013830" y="104924"/>
                      </a:cubicBezTo>
                      <a:cubicBezTo>
                        <a:pt x="2013830" y="86767"/>
                        <a:pt x="2019188" y="71903"/>
                        <a:pt x="2029903" y="60332"/>
                      </a:cubicBezTo>
                      <a:cubicBezTo>
                        <a:pt x="2040619" y="48760"/>
                        <a:pt x="2054386" y="42975"/>
                        <a:pt x="2071203" y="42975"/>
                      </a:cubicBezTo>
                      <a:close/>
                      <a:moveTo>
                        <a:pt x="1892275" y="42975"/>
                      </a:moveTo>
                      <a:cubicBezTo>
                        <a:pt x="1904032" y="42975"/>
                        <a:pt x="1913129" y="46621"/>
                        <a:pt x="1919566" y="53914"/>
                      </a:cubicBezTo>
                      <a:cubicBezTo>
                        <a:pt x="1926003" y="61206"/>
                        <a:pt x="1929221" y="71810"/>
                        <a:pt x="1929221" y="85726"/>
                      </a:cubicBezTo>
                      <a:lnTo>
                        <a:pt x="1929221" y="160065"/>
                      </a:lnTo>
                      <a:lnTo>
                        <a:pt x="1918952" y="160065"/>
                      </a:lnTo>
                      <a:lnTo>
                        <a:pt x="1918952" y="137183"/>
                      </a:lnTo>
                      <a:lnTo>
                        <a:pt x="1918506" y="137183"/>
                      </a:lnTo>
                      <a:cubicBezTo>
                        <a:pt x="1914859" y="144996"/>
                        <a:pt x="1909557" y="151229"/>
                        <a:pt x="1902600" y="155879"/>
                      </a:cubicBezTo>
                      <a:cubicBezTo>
                        <a:pt x="1895642" y="160530"/>
                        <a:pt x="1887921" y="162856"/>
                        <a:pt x="1879438" y="162856"/>
                      </a:cubicBezTo>
                      <a:cubicBezTo>
                        <a:pt x="1868574" y="162856"/>
                        <a:pt x="1859979" y="159805"/>
                        <a:pt x="1853654" y="153703"/>
                      </a:cubicBezTo>
                      <a:cubicBezTo>
                        <a:pt x="1847329" y="147601"/>
                        <a:pt x="1844166" y="139899"/>
                        <a:pt x="1844166" y="130597"/>
                      </a:cubicBezTo>
                      <a:cubicBezTo>
                        <a:pt x="1844166" y="110654"/>
                        <a:pt x="1857374" y="98599"/>
                        <a:pt x="1883791" y="94432"/>
                      </a:cubicBezTo>
                      <a:lnTo>
                        <a:pt x="1918952" y="89186"/>
                      </a:lnTo>
                      <a:cubicBezTo>
                        <a:pt x="1918952" y="64629"/>
                        <a:pt x="1909725" y="52351"/>
                        <a:pt x="1891270" y="52351"/>
                      </a:cubicBezTo>
                      <a:cubicBezTo>
                        <a:pt x="1878694" y="52351"/>
                        <a:pt x="1866453" y="57411"/>
                        <a:pt x="1854547" y="67531"/>
                      </a:cubicBezTo>
                      <a:lnTo>
                        <a:pt x="1854547" y="55141"/>
                      </a:lnTo>
                      <a:cubicBezTo>
                        <a:pt x="1858788" y="51793"/>
                        <a:pt x="1864537" y="48928"/>
                        <a:pt x="1871792" y="46547"/>
                      </a:cubicBezTo>
                      <a:cubicBezTo>
                        <a:pt x="1879048" y="44165"/>
                        <a:pt x="1885875" y="42975"/>
                        <a:pt x="1892275" y="42975"/>
                      </a:cubicBezTo>
                      <a:close/>
                      <a:moveTo>
                        <a:pt x="1577317" y="42975"/>
                      </a:moveTo>
                      <a:cubicBezTo>
                        <a:pt x="1587140" y="42975"/>
                        <a:pt x="1595549" y="44984"/>
                        <a:pt x="1602544" y="49002"/>
                      </a:cubicBezTo>
                      <a:lnTo>
                        <a:pt x="1602544" y="60611"/>
                      </a:lnTo>
                      <a:cubicBezTo>
                        <a:pt x="1594060" y="55104"/>
                        <a:pt x="1585280" y="52351"/>
                        <a:pt x="1576201" y="52351"/>
                      </a:cubicBezTo>
                      <a:cubicBezTo>
                        <a:pt x="1568685" y="52351"/>
                        <a:pt x="1562620" y="54304"/>
                        <a:pt x="1558007" y="58211"/>
                      </a:cubicBezTo>
                      <a:cubicBezTo>
                        <a:pt x="1553393" y="62118"/>
                        <a:pt x="1551086" y="67196"/>
                        <a:pt x="1551086" y="73447"/>
                      </a:cubicBezTo>
                      <a:cubicBezTo>
                        <a:pt x="1551086" y="78879"/>
                        <a:pt x="1552537" y="83289"/>
                        <a:pt x="1555439" y="86674"/>
                      </a:cubicBezTo>
                      <a:cubicBezTo>
                        <a:pt x="1558342" y="90060"/>
                        <a:pt x="1564741" y="93948"/>
                        <a:pt x="1574638" y="98339"/>
                      </a:cubicBezTo>
                      <a:cubicBezTo>
                        <a:pt x="1586545" y="103697"/>
                        <a:pt x="1594730" y="108664"/>
                        <a:pt x="1599195" y="113240"/>
                      </a:cubicBezTo>
                      <a:cubicBezTo>
                        <a:pt x="1603660" y="117817"/>
                        <a:pt x="1605892" y="123900"/>
                        <a:pt x="1605892" y="131490"/>
                      </a:cubicBezTo>
                      <a:cubicBezTo>
                        <a:pt x="1605892" y="140569"/>
                        <a:pt x="1602488" y="148066"/>
                        <a:pt x="1595679" y="153982"/>
                      </a:cubicBezTo>
                      <a:cubicBezTo>
                        <a:pt x="1588870" y="159898"/>
                        <a:pt x="1579475" y="162856"/>
                        <a:pt x="1567495" y="162856"/>
                      </a:cubicBezTo>
                      <a:cubicBezTo>
                        <a:pt x="1556481" y="162856"/>
                        <a:pt x="1547291" y="160251"/>
                        <a:pt x="1539924" y="155042"/>
                      </a:cubicBezTo>
                      <a:lnTo>
                        <a:pt x="1539924" y="142652"/>
                      </a:lnTo>
                      <a:cubicBezTo>
                        <a:pt x="1543794" y="146001"/>
                        <a:pt x="1548482" y="148643"/>
                        <a:pt x="1553988" y="150577"/>
                      </a:cubicBezTo>
                      <a:cubicBezTo>
                        <a:pt x="1559495" y="152512"/>
                        <a:pt x="1564258" y="153480"/>
                        <a:pt x="1568276" y="153480"/>
                      </a:cubicBezTo>
                      <a:cubicBezTo>
                        <a:pt x="1586210" y="153480"/>
                        <a:pt x="1595177" y="146150"/>
                        <a:pt x="1595177" y="131490"/>
                      </a:cubicBezTo>
                      <a:cubicBezTo>
                        <a:pt x="1595177" y="126430"/>
                        <a:pt x="1593205" y="122114"/>
                        <a:pt x="1589261" y="118542"/>
                      </a:cubicBezTo>
                      <a:cubicBezTo>
                        <a:pt x="1585317" y="114970"/>
                        <a:pt x="1578917" y="111287"/>
                        <a:pt x="1570062" y="107492"/>
                      </a:cubicBezTo>
                      <a:cubicBezTo>
                        <a:pt x="1559123" y="102729"/>
                        <a:pt x="1551440" y="97799"/>
                        <a:pt x="1547012" y="92702"/>
                      </a:cubicBezTo>
                      <a:cubicBezTo>
                        <a:pt x="1542584" y="87605"/>
                        <a:pt x="1540371" y="81410"/>
                        <a:pt x="1540371" y="74117"/>
                      </a:cubicBezTo>
                      <a:cubicBezTo>
                        <a:pt x="1540371" y="64815"/>
                        <a:pt x="1543924" y="57299"/>
                        <a:pt x="1551030" y="51570"/>
                      </a:cubicBezTo>
                      <a:cubicBezTo>
                        <a:pt x="1558137" y="45840"/>
                        <a:pt x="1566899" y="42975"/>
                        <a:pt x="1577317" y="42975"/>
                      </a:cubicBezTo>
                      <a:close/>
                      <a:moveTo>
                        <a:pt x="1369739" y="42975"/>
                      </a:moveTo>
                      <a:cubicBezTo>
                        <a:pt x="1383952" y="42975"/>
                        <a:pt x="1394854" y="47960"/>
                        <a:pt x="1402444" y="57932"/>
                      </a:cubicBezTo>
                      <a:cubicBezTo>
                        <a:pt x="1410034" y="67903"/>
                        <a:pt x="1413830" y="81521"/>
                        <a:pt x="1413830" y="98785"/>
                      </a:cubicBezTo>
                      <a:lnTo>
                        <a:pt x="1413830" y="103362"/>
                      </a:lnTo>
                      <a:lnTo>
                        <a:pt x="1329221" y="103362"/>
                      </a:lnTo>
                      <a:cubicBezTo>
                        <a:pt x="1329221" y="119063"/>
                        <a:pt x="1332848" y="131341"/>
                        <a:pt x="1340104" y="140197"/>
                      </a:cubicBezTo>
                      <a:cubicBezTo>
                        <a:pt x="1347359" y="149052"/>
                        <a:pt x="1357312" y="153480"/>
                        <a:pt x="1369962" y="153480"/>
                      </a:cubicBezTo>
                      <a:cubicBezTo>
                        <a:pt x="1382762" y="153480"/>
                        <a:pt x="1395263" y="148754"/>
                        <a:pt x="1407467" y="139304"/>
                      </a:cubicBezTo>
                      <a:lnTo>
                        <a:pt x="1407467" y="150243"/>
                      </a:lnTo>
                      <a:cubicBezTo>
                        <a:pt x="1395635" y="158651"/>
                        <a:pt x="1382427" y="162856"/>
                        <a:pt x="1367842" y="162856"/>
                      </a:cubicBezTo>
                      <a:cubicBezTo>
                        <a:pt x="1353108" y="162856"/>
                        <a:pt x="1341201" y="157572"/>
                        <a:pt x="1332123" y="147006"/>
                      </a:cubicBezTo>
                      <a:cubicBezTo>
                        <a:pt x="1323044" y="136439"/>
                        <a:pt x="1318505" y="121519"/>
                        <a:pt x="1318505" y="102246"/>
                      </a:cubicBezTo>
                      <a:cubicBezTo>
                        <a:pt x="1318505" y="85577"/>
                        <a:pt x="1323249" y="71531"/>
                        <a:pt x="1332737" y="60109"/>
                      </a:cubicBezTo>
                      <a:cubicBezTo>
                        <a:pt x="1342225" y="48686"/>
                        <a:pt x="1354559" y="42975"/>
                        <a:pt x="1369739" y="42975"/>
                      </a:cubicBezTo>
                      <a:close/>
                      <a:moveTo>
                        <a:pt x="926194" y="42975"/>
                      </a:moveTo>
                      <a:cubicBezTo>
                        <a:pt x="942491" y="42975"/>
                        <a:pt x="955364" y="48295"/>
                        <a:pt x="964815" y="58937"/>
                      </a:cubicBezTo>
                      <a:cubicBezTo>
                        <a:pt x="974266" y="69578"/>
                        <a:pt x="978991" y="84312"/>
                        <a:pt x="978991" y="103138"/>
                      </a:cubicBezTo>
                      <a:cubicBezTo>
                        <a:pt x="978991" y="120923"/>
                        <a:pt x="974173" y="135323"/>
                        <a:pt x="964536" y="146336"/>
                      </a:cubicBezTo>
                      <a:cubicBezTo>
                        <a:pt x="954899" y="157349"/>
                        <a:pt x="941709" y="162856"/>
                        <a:pt x="924966" y="162856"/>
                      </a:cubicBezTo>
                      <a:cubicBezTo>
                        <a:pt x="908298" y="162856"/>
                        <a:pt x="895108" y="157368"/>
                        <a:pt x="885397" y="146392"/>
                      </a:cubicBezTo>
                      <a:cubicBezTo>
                        <a:pt x="875686" y="135416"/>
                        <a:pt x="870830" y="121147"/>
                        <a:pt x="870830" y="103585"/>
                      </a:cubicBezTo>
                      <a:cubicBezTo>
                        <a:pt x="870830" y="84609"/>
                        <a:pt x="875909" y="69764"/>
                        <a:pt x="886066" y="59048"/>
                      </a:cubicBezTo>
                      <a:cubicBezTo>
                        <a:pt x="896224" y="48333"/>
                        <a:pt x="909600" y="42975"/>
                        <a:pt x="926194" y="42975"/>
                      </a:cubicBezTo>
                      <a:close/>
                      <a:moveTo>
                        <a:pt x="693464" y="42975"/>
                      </a:moveTo>
                      <a:cubicBezTo>
                        <a:pt x="707677" y="42975"/>
                        <a:pt x="718579" y="47960"/>
                        <a:pt x="726169" y="57932"/>
                      </a:cubicBezTo>
                      <a:cubicBezTo>
                        <a:pt x="733759" y="67903"/>
                        <a:pt x="737555" y="81521"/>
                        <a:pt x="737555" y="98785"/>
                      </a:cubicBezTo>
                      <a:lnTo>
                        <a:pt x="737555" y="103362"/>
                      </a:lnTo>
                      <a:lnTo>
                        <a:pt x="652946" y="103362"/>
                      </a:lnTo>
                      <a:cubicBezTo>
                        <a:pt x="652946" y="119063"/>
                        <a:pt x="656573" y="131341"/>
                        <a:pt x="663829" y="140197"/>
                      </a:cubicBezTo>
                      <a:cubicBezTo>
                        <a:pt x="671084" y="149052"/>
                        <a:pt x="681037" y="153480"/>
                        <a:pt x="693687" y="153480"/>
                      </a:cubicBezTo>
                      <a:cubicBezTo>
                        <a:pt x="706487" y="153480"/>
                        <a:pt x="718988" y="148754"/>
                        <a:pt x="731192" y="139304"/>
                      </a:cubicBezTo>
                      <a:lnTo>
                        <a:pt x="731192" y="150243"/>
                      </a:lnTo>
                      <a:cubicBezTo>
                        <a:pt x="719360" y="158651"/>
                        <a:pt x="706152" y="162856"/>
                        <a:pt x="691567" y="162856"/>
                      </a:cubicBezTo>
                      <a:cubicBezTo>
                        <a:pt x="676833" y="162856"/>
                        <a:pt x="664926" y="157572"/>
                        <a:pt x="655848" y="147006"/>
                      </a:cubicBezTo>
                      <a:cubicBezTo>
                        <a:pt x="646769" y="136439"/>
                        <a:pt x="642230" y="121519"/>
                        <a:pt x="642230" y="102246"/>
                      </a:cubicBezTo>
                      <a:cubicBezTo>
                        <a:pt x="642230" y="85577"/>
                        <a:pt x="646974" y="71531"/>
                        <a:pt x="656462" y="60109"/>
                      </a:cubicBezTo>
                      <a:cubicBezTo>
                        <a:pt x="665950" y="48686"/>
                        <a:pt x="678284" y="42975"/>
                        <a:pt x="693464" y="42975"/>
                      </a:cubicBezTo>
                      <a:close/>
                      <a:moveTo>
                        <a:pt x="497569" y="42975"/>
                      </a:moveTo>
                      <a:cubicBezTo>
                        <a:pt x="513866" y="42975"/>
                        <a:pt x="526739" y="48295"/>
                        <a:pt x="536190" y="58937"/>
                      </a:cubicBezTo>
                      <a:cubicBezTo>
                        <a:pt x="545641" y="69578"/>
                        <a:pt x="550366" y="84312"/>
                        <a:pt x="550366" y="103138"/>
                      </a:cubicBezTo>
                      <a:cubicBezTo>
                        <a:pt x="550366" y="120923"/>
                        <a:pt x="545548" y="135323"/>
                        <a:pt x="535911" y="146336"/>
                      </a:cubicBezTo>
                      <a:cubicBezTo>
                        <a:pt x="526274" y="157349"/>
                        <a:pt x="513085" y="162856"/>
                        <a:pt x="496341" y="162856"/>
                      </a:cubicBezTo>
                      <a:cubicBezTo>
                        <a:pt x="479673" y="162856"/>
                        <a:pt x="466483" y="157368"/>
                        <a:pt x="456772" y="146392"/>
                      </a:cubicBezTo>
                      <a:cubicBezTo>
                        <a:pt x="447061" y="135416"/>
                        <a:pt x="442205" y="121147"/>
                        <a:pt x="442205" y="103585"/>
                      </a:cubicBezTo>
                      <a:cubicBezTo>
                        <a:pt x="442205" y="84609"/>
                        <a:pt x="447284" y="69764"/>
                        <a:pt x="457441" y="59048"/>
                      </a:cubicBezTo>
                      <a:cubicBezTo>
                        <a:pt x="467599" y="48333"/>
                        <a:pt x="480975" y="42975"/>
                        <a:pt x="497569" y="42975"/>
                      </a:cubicBezTo>
                      <a:close/>
                      <a:moveTo>
                        <a:pt x="1252723" y="42974"/>
                      </a:moveTo>
                      <a:cubicBezTo>
                        <a:pt x="1265076" y="42974"/>
                        <a:pt x="1274526" y="47085"/>
                        <a:pt x="1281075" y="55308"/>
                      </a:cubicBezTo>
                      <a:cubicBezTo>
                        <a:pt x="1287623" y="63531"/>
                        <a:pt x="1290897" y="75269"/>
                        <a:pt x="1290897" y="90524"/>
                      </a:cubicBezTo>
                      <a:lnTo>
                        <a:pt x="1290897" y="160064"/>
                      </a:lnTo>
                      <a:lnTo>
                        <a:pt x="1280628" y="160064"/>
                      </a:lnTo>
                      <a:lnTo>
                        <a:pt x="1280628" y="93538"/>
                      </a:lnTo>
                      <a:cubicBezTo>
                        <a:pt x="1280628" y="66079"/>
                        <a:pt x="1270731" y="52350"/>
                        <a:pt x="1250937" y="52350"/>
                      </a:cubicBezTo>
                      <a:cubicBezTo>
                        <a:pt x="1239924" y="52350"/>
                        <a:pt x="1230883" y="56387"/>
                        <a:pt x="1223813" y="64461"/>
                      </a:cubicBezTo>
                      <a:cubicBezTo>
                        <a:pt x="1216744" y="72535"/>
                        <a:pt x="1213209" y="82525"/>
                        <a:pt x="1213209" y="94431"/>
                      </a:cubicBezTo>
                      <a:lnTo>
                        <a:pt x="1213209" y="160064"/>
                      </a:lnTo>
                      <a:lnTo>
                        <a:pt x="1202940" y="160064"/>
                      </a:lnTo>
                      <a:lnTo>
                        <a:pt x="1202940" y="45764"/>
                      </a:lnTo>
                      <a:lnTo>
                        <a:pt x="1213209" y="45764"/>
                      </a:lnTo>
                      <a:lnTo>
                        <a:pt x="1213209" y="66526"/>
                      </a:lnTo>
                      <a:lnTo>
                        <a:pt x="1213656" y="66526"/>
                      </a:lnTo>
                      <a:cubicBezTo>
                        <a:pt x="1221990" y="50824"/>
                        <a:pt x="1235013" y="42974"/>
                        <a:pt x="1252723" y="42974"/>
                      </a:cubicBezTo>
                      <a:close/>
                      <a:moveTo>
                        <a:pt x="1808038" y="0"/>
                      </a:moveTo>
                      <a:cubicBezTo>
                        <a:pt x="1810345" y="0"/>
                        <a:pt x="1812373" y="744"/>
                        <a:pt x="1814121" y="2232"/>
                      </a:cubicBezTo>
                      <a:cubicBezTo>
                        <a:pt x="1815870" y="3720"/>
                        <a:pt x="1816744" y="5729"/>
                        <a:pt x="1816744" y="8260"/>
                      </a:cubicBezTo>
                      <a:cubicBezTo>
                        <a:pt x="1816744" y="10641"/>
                        <a:pt x="1815889" y="12687"/>
                        <a:pt x="1814177" y="14399"/>
                      </a:cubicBezTo>
                      <a:cubicBezTo>
                        <a:pt x="1812466" y="16110"/>
                        <a:pt x="1810419" y="16966"/>
                        <a:pt x="1808038" y="16966"/>
                      </a:cubicBezTo>
                      <a:cubicBezTo>
                        <a:pt x="1805806" y="16966"/>
                        <a:pt x="1803834" y="16147"/>
                        <a:pt x="1802122" y="14510"/>
                      </a:cubicBezTo>
                      <a:cubicBezTo>
                        <a:pt x="1800410" y="12873"/>
                        <a:pt x="1799555" y="10790"/>
                        <a:pt x="1799555" y="8260"/>
                      </a:cubicBezTo>
                      <a:cubicBezTo>
                        <a:pt x="1799555" y="5804"/>
                        <a:pt x="1800429" y="3813"/>
                        <a:pt x="1802178" y="2288"/>
                      </a:cubicBezTo>
                      <a:cubicBezTo>
                        <a:pt x="1803927" y="762"/>
                        <a:pt x="1805880" y="0"/>
                        <a:pt x="1808038" y="0"/>
                      </a:cubicBezTo>
                      <a:close/>
                      <a:moveTo>
                        <a:pt x="836488" y="0"/>
                      </a:moveTo>
                      <a:cubicBezTo>
                        <a:pt x="838795" y="0"/>
                        <a:pt x="840823" y="744"/>
                        <a:pt x="842571" y="2232"/>
                      </a:cubicBezTo>
                      <a:cubicBezTo>
                        <a:pt x="844320" y="3720"/>
                        <a:pt x="845194" y="5729"/>
                        <a:pt x="845194" y="8260"/>
                      </a:cubicBezTo>
                      <a:cubicBezTo>
                        <a:pt x="845194" y="10641"/>
                        <a:pt x="844339" y="12687"/>
                        <a:pt x="842627" y="14399"/>
                      </a:cubicBezTo>
                      <a:cubicBezTo>
                        <a:pt x="840916" y="16110"/>
                        <a:pt x="838869" y="16966"/>
                        <a:pt x="836488" y="16966"/>
                      </a:cubicBezTo>
                      <a:cubicBezTo>
                        <a:pt x="834256" y="16966"/>
                        <a:pt x="832284" y="16147"/>
                        <a:pt x="830572" y="14510"/>
                      </a:cubicBezTo>
                      <a:cubicBezTo>
                        <a:pt x="828861" y="12873"/>
                        <a:pt x="828005" y="10790"/>
                        <a:pt x="828005" y="8260"/>
                      </a:cubicBezTo>
                      <a:cubicBezTo>
                        <a:pt x="828005" y="5804"/>
                        <a:pt x="828879" y="3813"/>
                        <a:pt x="830628" y="2288"/>
                      </a:cubicBezTo>
                      <a:cubicBezTo>
                        <a:pt x="832377" y="762"/>
                        <a:pt x="834330" y="0"/>
                        <a:pt x="836488" y="0"/>
                      </a:cubicBezTo>
                      <a:close/>
                      <a:moveTo>
                        <a:pt x="262198" y="0"/>
                      </a:moveTo>
                      <a:lnTo>
                        <a:pt x="272467" y="0"/>
                      </a:lnTo>
                      <a:lnTo>
                        <a:pt x="332184" y="128922"/>
                      </a:lnTo>
                      <a:cubicBezTo>
                        <a:pt x="332556" y="129666"/>
                        <a:pt x="332965" y="130671"/>
                        <a:pt x="333412" y="131936"/>
                      </a:cubicBezTo>
                      <a:cubicBezTo>
                        <a:pt x="333858" y="133201"/>
                        <a:pt x="334342" y="134466"/>
                        <a:pt x="334863" y="135731"/>
                      </a:cubicBezTo>
                      <a:cubicBezTo>
                        <a:pt x="335607" y="137666"/>
                        <a:pt x="336388" y="139824"/>
                        <a:pt x="337207" y="142205"/>
                      </a:cubicBezTo>
                      <a:lnTo>
                        <a:pt x="337877" y="142205"/>
                      </a:lnTo>
                      <a:lnTo>
                        <a:pt x="339104" y="138633"/>
                      </a:lnTo>
                      <a:cubicBezTo>
                        <a:pt x="339179" y="138335"/>
                        <a:pt x="340444" y="134801"/>
                        <a:pt x="342900" y="128029"/>
                      </a:cubicBezTo>
                      <a:lnTo>
                        <a:pt x="401724" y="0"/>
                      </a:lnTo>
                      <a:lnTo>
                        <a:pt x="411547" y="0"/>
                      </a:lnTo>
                      <a:lnTo>
                        <a:pt x="411547" y="160064"/>
                      </a:lnTo>
                      <a:lnTo>
                        <a:pt x="400943" y="160064"/>
                      </a:lnTo>
                      <a:lnTo>
                        <a:pt x="400943" y="46434"/>
                      </a:lnTo>
                      <a:cubicBezTo>
                        <a:pt x="400943" y="43681"/>
                        <a:pt x="401352" y="35830"/>
                        <a:pt x="402170" y="22882"/>
                      </a:cubicBezTo>
                      <a:lnTo>
                        <a:pt x="401724" y="22882"/>
                      </a:lnTo>
                      <a:cubicBezTo>
                        <a:pt x="399417" y="28909"/>
                        <a:pt x="397482" y="33560"/>
                        <a:pt x="395920" y="36835"/>
                      </a:cubicBezTo>
                      <a:lnTo>
                        <a:pt x="338993" y="160064"/>
                      </a:lnTo>
                      <a:lnTo>
                        <a:pt x="335421" y="160064"/>
                      </a:lnTo>
                      <a:lnTo>
                        <a:pt x="278271" y="37504"/>
                      </a:lnTo>
                      <a:cubicBezTo>
                        <a:pt x="276411" y="33560"/>
                        <a:pt x="274662" y="28537"/>
                        <a:pt x="273025" y="22435"/>
                      </a:cubicBezTo>
                      <a:lnTo>
                        <a:pt x="272467" y="22435"/>
                      </a:lnTo>
                      <a:cubicBezTo>
                        <a:pt x="272988" y="29579"/>
                        <a:pt x="273248" y="36686"/>
                        <a:pt x="273248" y="43755"/>
                      </a:cubicBezTo>
                      <a:lnTo>
                        <a:pt x="273248" y="160064"/>
                      </a:lnTo>
                      <a:lnTo>
                        <a:pt x="262198" y="160064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Практика </a:t>
                  </a:r>
                  <a:r>
                    <a:rPr lang="en-US" kern="0" dirty="0">
                      <a:solidFill>
                        <a:prstClr val="white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car-sharing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703" name="glasses"/>
              <p:cNvGrpSpPr/>
              <p:nvPr/>
            </p:nvGrpSpPr>
            <p:grpSpPr>
              <a:xfrm>
                <a:off x="42064065" y="2556128"/>
                <a:ext cx="3031033" cy="1737035"/>
                <a:chOff x="4436497" y="4838184"/>
                <a:chExt cx="3031033" cy="1737035"/>
              </a:xfrm>
            </p:grpSpPr>
            <p:grpSp>
              <p:nvGrpSpPr>
                <p:cNvPr id="163" name="Group 162"/>
                <p:cNvGrpSpPr/>
                <p:nvPr/>
              </p:nvGrpSpPr>
              <p:grpSpPr>
                <a:xfrm>
                  <a:off x="5195829" y="4838184"/>
                  <a:ext cx="1512372" cy="986892"/>
                  <a:chOff x="7966155" y="3552174"/>
                  <a:chExt cx="2157439" cy="1407828"/>
                </a:xfrm>
              </p:grpSpPr>
              <p:grpSp>
                <p:nvGrpSpPr>
                  <p:cNvPr id="164" name="Group 163"/>
                  <p:cNvGrpSpPr/>
                  <p:nvPr/>
                </p:nvGrpSpPr>
                <p:grpSpPr>
                  <a:xfrm>
                    <a:off x="8502628" y="3552174"/>
                    <a:ext cx="1084492" cy="632284"/>
                    <a:chOff x="6815446" y="3235516"/>
                    <a:chExt cx="641899" cy="374242"/>
                  </a:xfrm>
                  <a:solidFill>
                    <a:schemeClr val="bg1"/>
                  </a:solidFill>
                </p:grpSpPr>
                <p:sp>
                  <p:nvSpPr>
                    <p:cNvPr id="166" name="Freeform 36"/>
                    <p:cNvSpPr>
                      <a:spLocks/>
                    </p:cNvSpPr>
                    <p:nvPr/>
                  </p:nvSpPr>
                  <p:spPr bwMode="auto">
                    <a:xfrm>
                      <a:off x="7010982" y="3504777"/>
                      <a:ext cx="252432" cy="104981"/>
                    </a:xfrm>
                    <a:custGeom>
                      <a:avLst/>
                      <a:gdLst>
                        <a:gd name="T0" fmla="*/ 12 w 168"/>
                        <a:gd name="T1" fmla="*/ 22 h 70"/>
                        <a:gd name="T2" fmla="*/ 1 w 168"/>
                        <a:gd name="T3" fmla="*/ 41 h 70"/>
                        <a:gd name="T4" fmla="*/ 8 w 168"/>
                        <a:gd name="T5" fmla="*/ 61 h 70"/>
                        <a:gd name="T6" fmla="*/ 9 w 168"/>
                        <a:gd name="T7" fmla="*/ 61 h 70"/>
                        <a:gd name="T8" fmla="*/ 39 w 168"/>
                        <a:gd name="T9" fmla="*/ 64 h 70"/>
                        <a:gd name="T10" fmla="*/ 84 w 168"/>
                        <a:gd name="T11" fmla="*/ 50 h 70"/>
                        <a:gd name="T12" fmla="*/ 129 w 168"/>
                        <a:gd name="T13" fmla="*/ 64 h 70"/>
                        <a:gd name="T14" fmla="*/ 159 w 168"/>
                        <a:gd name="T15" fmla="*/ 61 h 70"/>
                        <a:gd name="T16" fmla="*/ 159 w 168"/>
                        <a:gd name="T17" fmla="*/ 61 h 70"/>
                        <a:gd name="T18" fmla="*/ 167 w 168"/>
                        <a:gd name="T19" fmla="*/ 41 h 70"/>
                        <a:gd name="T20" fmla="*/ 156 w 168"/>
                        <a:gd name="T21" fmla="*/ 22 h 70"/>
                        <a:gd name="T22" fmla="*/ 84 w 168"/>
                        <a:gd name="T23" fmla="*/ 0 h 70"/>
                        <a:gd name="T24" fmla="*/ 12 w 168"/>
                        <a:gd name="T25" fmla="*/ 22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68" h="70">
                          <a:moveTo>
                            <a:pt x="12" y="22"/>
                          </a:moveTo>
                          <a:cubicBezTo>
                            <a:pt x="5" y="26"/>
                            <a:pt x="1" y="33"/>
                            <a:pt x="1" y="41"/>
                          </a:cubicBezTo>
                          <a:cubicBezTo>
                            <a:pt x="0" y="48"/>
                            <a:pt x="3" y="56"/>
                            <a:pt x="8" y="61"/>
                          </a:cubicBezTo>
                          <a:cubicBezTo>
                            <a:pt x="9" y="61"/>
                            <a:pt x="9" y="61"/>
                            <a:pt x="9" y="61"/>
                          </a:cubicBezTo>
                          <a:cubicBezTo>
                            <a:pt x="17" y="69"/>
                            <a:pt x="29" y="70"/>
                            <a:pt x="39" y="64"/>
                          </a:cubicBezTo>
                          <a:cubicBezTo>
                            <a:pt x="53" y="55"/>
                            <a:pt x="68" y="50"/>
                            <a:pt x="84" y="50"/>
                          </a:cubicBezTo>
                          <a:cubicBezTo>
                            <a:pt x="100" y="50"/>
                            <a:pt x="115" y="55"/>
                            <a:pt x="129" y="64"/>
                          </a:cubicBezTo>
                          <a:cubicBezTo>
                            <a:pt x="138" y="70"/>
                            <a:pt x="151" y="69"/>
                            <a:pt x="159" y="61"/>
                          </a:cubicBezTo>
                          <a:cubicBezTo>
                            <a:pt x="159" y="61"/>
                            <a:pt x="159" y="61"/>
                            <a:pt x="159" y="61"/>
                          </a:cubicBezTo>
                          <a:cubicBezTo>
                            <a:pt x="165" y="56"/>
                            <a:pt x="168" y="48"/>
                            <a:pt x="167" y="41"/>
                          </a:cubicBezTo>
                          <a:cubicBezTo>
                            <a:pt x="166" y="33"/>
                            <a:pt x="162" y="26"/>
                            <a:pt x="156" y="22"/>
                          </a:cubicBezTo>
                          <a:cubicBezTo>
                            <a:pt x="134" y="8"/>
                            <a:pt x="109" y="0"/>
                            <a:pt x="84" y="0"/>
                          </a:cubicBezTo>
                          <a:cubicBezTo>
                            <a:pt x="58" y="0"/>
                            <a:pt x="34" y="8"/>
                            <a:pt x="12" y="2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67" name="Freeform 37"/>
                    <p:cNvSpPr>
                      <a:spLocks/>
                    </p:cNvSpPr>
                    <p:nvPr/>
                  </p:nvSpPr>
                  <p:spPr bwMode="auto">
                    <a:xfrm>
                      <a:off x="6913215" y="3370948"/>
                      <a:ext cx="446365" cy="149056"/>
                    </a:xfrm>
                    <a:custGeom>
                      <a:avLst/>
                      <a:gdLst>
                        <a:gd name="T0" fmla="*/ 149 w 297"/>
                        <a:gd name="T1" fmla="*/ 0 h 99"/>
                        <a:gd name="T2" fmla="*/ 9 w 297"/>
                        <a:gd name="T3" fmla="*/ 53 h 99"/>
                        <a:gd name="T4" fmla="*/ 0 w 297"/>
                        <a:gd name="T5" fmla="*/ 71 h 99"/>
                        <a:gd name="T6" fmla="*/ 8 w 297"/>
                        <a:gd name="T7" fmla="*/ 90 h 99"/>
                        <a:gd name="T8" fmla="*/ 8 w 297"/>
                        <a:gd name="T9" fmla="*/ 90 h 99"/>
                        <a:gd name="T10" fmla="*/ 41 w 297"/>
                        <a:gd name="T11" fmla="*/ 91 h 99"/>
                        <a:gd name="T12" fmla="*/ 149 w 297"/>
                        <a:gd name="T13" fmla="*/ 49 h 99"/>
                        <a:gd name="T14" fmla="*/ 256 w 297"/>
                        <a:gd name="T15" fmla="*/ 91 h 99"/>
                        <a:gd name="T16" fmla="*/ 289 w 297"/>
                        <a:gd name="T17" fmla="*/ 90 h 99"/>
                        <a:gd name="T18" fmla="*/ 289 w 297"/>
                        <a:gd name="T19" fmla="*/ 90 h 99"/>
                        <a:gd name="T20" fmla="*/ 297 w 297"/>
                        <a:gd name="T21" fmla="*/ 71 h 99"/>
                        <a:gd name="T22" fmla="*/ 288 w 297"/>
                        <a:gd name="T23" fmla="*/ 53 h 99"/>
                        <a:gd name="T24" fmla="*/ 149 w 297"/>
                        <a:gd name="T25" fmla="*/ 0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97" h="99">
                          <a:moveTo>
                            <a:pt x="149" y="0"/>
                          </a:moveTo>
                          <a:cubicBezTo>
                            <a:pt x="98" y="0"/>
                            <a:pt x="50" y="18"/>
                            <a:pt x="9" y="53"/>
                          </a:cubicBezTo>
                          <a:cubicBezTo>
                            <a:pt x="4" y="57"/>
                            <a:pt x="1" y="64"/>
                            <a:pt x="0" y="71"/>
                          </a:cubicBezTo>
                          <a:cubicBezTo>
                            <a:pt x="0" y="78"/>
                            <a:pt x="3" y="85"/>
                            <a:pt x="8" y="90"/>
                          </a:cubicBezTo>
                          <a:cubicBezTo>
                            <a:pt x="8" y="90"/>
                            <a:pt x="8" y="90"/>
                            <a:pt x="8" y="90"/>
                          </a:cubicBezTo>
                          <a:cubicBezTo>
                            <a:pt x="18" y="98"/>
                            <a:pt x="32" y="99"/>
                            <a:pt x="41" y="91"/>
                          </a:cubicBezTo>
                          <a:cubicBezTo>
                            <a:pt x="73" y="64"/>
                            <a:pt x="110" y="49"/>
                            <a:pt x="149" y="49"/>
                          </a:cubicBezTo>
                          <a:cubicBezTo>
                            <a:pt x="188" y="49"/>
                            <a:pt x="225" y="64"/>
                            <a:pt x="256" y="91"/>
                          </a:cubicBezTo>
                          <a:cubicBezTo>
                            <a:pt x="266" y="99"/>
                            <a:pt x="280" y="98"/>
                            <a:pt x="289" y="90"/>
                          </a:cubicBezTo>
                          <a:cubicBezTo>
                            <a:pt x="289" y="90"/>
                            <a:pt x="289" y="90"/>
                            <a:pt x="289" y="90"/>
                          </a:cubicBezTo>
                          <a:cubicBezTo>
                            <a:pt x="295" y="85"/>
                            <a:pt x="297" y="78"/>
                            <a:pt x="297" y="71"/>
                          </a:cubicBezTo>
                          <a:cubicBezTo>
                            <a:pt x="297" y="64"/>
                            <a:pt x="294" y="57"/>
                            <a:pt x="288" y="53"/>
                          </a:cubicBezTo>
                          <a:cubicBezTo>
                            <a:pt x="248" y="18"/>
                            <a:pt x="200" y="0"/>
                            <a:pt x="149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68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6815446" y="3235516"/>
                      <a:ext cx="641899" cy="193933"/>
                    </a:xfrm>
                    <a:custGeom>
                      <a:avLst/>
                      <a:gdLst>
                        <a:gd name="T0" fmla="*/ 214 w 427"/>
                        <a:gd name="T1" fmla="*/ 0 h 129"/>
                        <a:gd name="T2" fmla="*/ 8 w 427"/>
                        <a:gd name="T3" fmla="*/ 84 h 129"/>
                        <a:gd name="T4" fmla="*/ 0 w 427"/>
                        <a:gd name="T5" fmla="*/ 102 h 129"/>
                        <a:gd name="T6" fmla="*/ 8 w 427"/>
                        <a:gd name="T7" fmla="*/ 120 h 129"/>
                        <a:gd name="T8" fmla="*/ 9 w 427"/>
                        <a:gd name="T9" fmla="*/ 120 h 129"/>
                        <a:gd name="T10" fmla="*/ 43 w 427"/>
                        <a:gd name="T11" fmla="*/ 120 h 129"/>
                        <a:gd name="T12" fmla="*/ 214 w 427"/>
                        <a:gd name="T13" fmla="*/ 50 h 129"/>
                        <a:gd name="T14" fmla="*/ 385 w 427"/>
                        <a:gd name="T15" fmla="*/ 120 h 129"/>
                        <a:gd name="T16" fmla="*/ 419 w 427"/>
                        <a:gd name="T17" fmla="*/ 120 h 129"/>
                        <a:gd name="T18" fmla="*/ 419 w 427"/>
                        <a:gd name="T19" fmla="*/ 120 h 129"/>
                        <a:gd name="T20" fmla="*/ 427 w 427"/>
                        <a:gd name="T21" fmla="*/ 102 h 129"/>
                        <a:gd name="T22" fmla="*/ 419 w 427"/>
                        <a:gd name="T23" fmla="*/ 84 h 129"/>
                        <a:gd name="T24" fmla="*/ 214 w 427"/>
                        <a:gd name="T25" fmla="*/ 0 h 1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27" h="129">
                          <a:moveTo>
                            <a:pt x="214" y="0"/>
                          </a:moveTo>
                          <a:cubicBezTo>
                            <a:pt x="131" y="0"/>
                            <a:pt x="55" y="40"/>
                            <a:pt x="8" y="84"/>
                          </a:cubicBezTo>
                          <a:cubicBezTo>
                            <a:pt x="3" y="88"/>
                            <a:pt x="0" y="95"/>
                            <a:pt x="0" y="102"/>
                          </a:cubicBezTo>
                          <a:cubicBezTo>
                            <a:pt x="1" y="109"/>
                            <a:pt x="3" y="115"/>
                            <a:pt x="8" y="120"/>
                          </a:cubicBezTo>
                          <a:cubicBezTo>
                            <a:pt x="9" y="120"/>
                            <a:pt x="9" y="120"/>
                            <a:pt x="9" y="120"/>
                          </a:cubicBezTo>
                          <a:cubicBezTo>
                            <a:pt x="18" y="129"/>
                            <a:pt x="33" y="129"/>
                            <a:pt x="43" y="120"/>
                          </a:cubicBezTo>
                          <a:cubicBezTo>
                            <a:pt x="78" y="87"/>
                            <a:pt x="141" y="50"/>
                            <a:pt x="214" y="50"/>
                          </a:cubicBezTo>
                          <a:cubicBezTo>
                            <a:pt x="286" y="50"/>
                            <a:pt x="349" y="87"/>
                            <a:pt x="385" y="120"/>
                          </a:cubicBezTo>
                          <a:cubicBezTo>
                            <a:pt x="395" y="129"/>
                            <a:pt x="409" y="129"/>
                            <a:pt x="419" y="120"/>
                          </a:cubicBezTo>
                          <a:cubicBezTo>
                            <a:pt x="419" y="120"/>
                            <a:pt x="419" y="120"/>
                            <a:pt x="419" y="120"/>
                          </a:cubicBezTo>
                          <a:cubicBezTo>
                            <a:pt x="424" y="115"/>
                            <a:pt x="427" y="109"/>
                            <a:pt x="427" y="102"/>
                          </a:cubicBezTo>
                          <a:cubicBezTo>
                            <a:pt x="427" y="95"/>
                            <a:pt x="424" y="88"/>
                            <a:pt x="419" y="84"/>
                          </a:cubicBezTo>
                          <a:cubicBezTo>
                            <a:pt x="372" y="40"/>
                            <a:pt x="297" y="0"/>
                            <a:pt x="214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65" name="Freeform 20"/>
                  <p:cNvSpPr>
                    <a:spLocks noEditPoints="1"/>
                  </p:cNvSpPr>
                  <p:nvPr/>
                </p:nvSpPr>
                <p:spPr bwMode="auto">
                  <a:xfrm>
                    <a:off x="7966155" y="4233993"/>
                    <a:ext cx="2157439" cy="726009"/>
                  </a:xfrm>
                  <a:custGeom>
                    <a:avLst/>
                    <a:gdLst>
                      <a:gd name="T0" fmla="*/ 755 w 1902"/>
                      <a:gd name="T1" fmla="*/ 54 h 639"/>
                      <a:gd name="T2" fmla="*/ 952 w 1902"/>
                      <a:gd name="T3" fmla="*/ 103 h 639"/>
                      <a:gd name="T4" fmla="*/ 1147 w 1902"/>
                      <a:gd name="T5" fmla="*/ 54 h 639"/>
                      <a:gd name="T6" fmla="*/ 1872 w 1902"/>
                      <a:gd name="T7" fmla="*/ 43 h 639"/>
                      <a:gd name="T8" fmla="*/ 1900 w 1902"/>
                      <a:gd name="T9" fmla="*/ 76 h 639"/>
                      <a:gd name="T10" fmla="*/ 1886 w 1902"/>
                      <a:gd name="T11" fmla="*/ 173 h 639"/>
                      <a:gd name="T12" fmla="*/ 1852 w 1902"/>
                      <a:gd name="T13" fmla="*/ 201 h 639"/>
                      <a:gd name="T14" fmla="*/ 1812 w 1902"/>
                      <a:gd name="T15" fmla="*/ 241 h 639"/>
                      <a:gd name="T16" fmla="*/ 1752 w 1902"/>
                      <a:gd name="T17" fmla="*/ 499 h 639"/>
                      <a:gd name="T18" fmla="*/ 1661 w 1902"/>
                      <a:gd name="T19" fmla="*/ 597 h 639"/>
                      <a:gd name="T20" fmla="*/ 1269 w 1902"/>
                      <a:gd name="T21" fmla="*/ 609 h 639"/>
                      <a:gd name="T22" fmla="*/ 1140 w 1902"/>
                      <a:gd name="T23" fmla="*/ 527 h 639"/>
                      <a:gd name="T24" fmla="*/ 1032 w 1902"/>
                      <a:gd name="T25" fmla="*/ 280 h 639"/>
                      <a:gd name="T26" fmla="*/ 951 w 1902"/>
                      <a:gd name="T27" fmla="*/ 233 h 639"/>
                      <a:gd name="T28" fmla="*/ 870 w 1902"/>
                      <a:gd name="T29" fmla="*/ 280 h 639"/>
                      <a:gd name="T30" fmla="*/ 762 w 1902"/>
                      <a:gd name="T31" fmla="*/ 527 h 639"/>
                      <a:gd name="T32" fmla="*/ 633 w 1902"/>
                      <a:gd name="T33" fmla="*/ 609 h 639"/>
                      <a:gd name="T34" fmla="*/ 241 w 1902"/>
                      <a:gd name="T35" fmla="*/ 597 h 639"/>
                      <a:gd name="T36" fmla="*/ 150 w 1902"/>
                      <a:gd name="T37" fmla="*/ 499 h 639"/>
                      <a:gd name="T38" fmla="*/ 90 w 1902"/>
                      <a:gd name="T39" fmla="*/ 241 h 639"/>
                      <a:gd name="T40" fmla="*/ 50 w 1902"/>
                      <a:gd name="T41" fmla="*/ 201 h 639"/>
                      <a:gd name="T42" fmla="*/ 16 w 1902"/>
                      <a:gd name="T43" fmla="*/ 173 h 639"/>
                      <a:gd name="T44" fmla="*/ 2 w 1902"/>
                      <a:gd name="T45" fmla="*/ 76 h 639"/>
                      <a:gd name="T46" fmla="*/ 30 w 1902"/>
                      <a:gd name="T47" fmla="*/ 43 h 639"/>
                      <a:gd name="T48" fmla="*/ 755 w 1902"/>
                      <a:gd name="T49" fmla="*/ 54 h 639"/>
                      <a:gd name="T50" fmla="*/ 252 w 1902"/>
                      <a:gd name="T51" fmla="*/ 117 h 639"/>
                      <a:gd name="T52" fmla="*/ 177 w 1902"/>
                      <a:gd name="T53" fmla="*/ 225 h 639"/>
                      <a:gd name="T54" fmla="*/ 208 w 1902"/>
                      <a:gd name="T55" fmla="*/ 471 h 639"/>
                      <a:gd name="T56" fmla="*/ 287 w 1902"/>
                      <a:gd name="T57" fmla="*/ 547 h 639"/>
                      <a:gd name="T58" fmla="*/ 605 w 1902"/>
                      <a:gd name="T59" fmla="*/ 554 h 639"/>
                      <a:gd name="T60" fmla="*/ 777 w 1902"/>
                      <a:gd name="T61" fmla="*/ 252 h 639"/>
                      <a:gd name="T62" fmla="*/ 702 w 1902"/>
                      <a:gd name="T63" fmla="*/ 125 h 639"/>
                      <a:gd name="T64" fmla="*/ 252 w 1902"/>
                      <a:gd name="T65" fmla="*/ 117 h 639"/>
                      <a:gd name="T66" fmla="*/ 1650 w 1902"/>
                      <a:gd name="T67" fmla="*/ 117 h 639"/>
                      <a:gd name="T68" fmla="*/ 1200 w 1902"/>
                      <a:gd name="T69" fmla="*/ 125 h 639"/>
                      <a:gd name="T70" fmla="*/ 1125 w 1902"/>
                      <a:gd name="T71" fmla="*/ 252 h 639"/>
                      <a:gd name="T72" fmla="*/ 1297 w 1902"/>
                      <a:gd name="T73" fmla="*/ 554 h 639"/>
                      <a:gd name="T74" fmla="*/ 1615 w 1902"/>
                      <a:gd name="T75" fmla="*/ 547 h 639"/>
                      <a:gd name="T76" fmla="*/ 1694 w 1902"/>
                      <a:gd name="T77" fmla="*/ 471 h 639"/>
                      <a:gd name="T78" fmla="*/ 1725 w 1902"/>
                      <a:gd name="T79" fmla="*/ 225 h 639"/>
                      <a:gd name="T80" fmla="*/ 1650 w 1902"/>
                      <a:gd name="T81" fmla="*/ 117 h 6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</a:cxnLst>
                    <a:rect l="0" t="0" r="r" b="b"/>
                    <a:pathLst>
                      <a:path w="1902" h="639">
                        <a:moveTo>
                          <a:pt x="755" y="54"/>
                        </a:moveTo>
                        <a:cubicBezTo>
                          <a:pt x="833" y="73"/>
                          <a:pt x="853" y="102"/>
                          <a:pt x="952" y="103"/>
                        </a:cubicBezTo>
                        <a:cubicBezTo>
                          <a:pt x="1051" y="103"/>
                          <a:pt x="1070" y="73"/>
                          <a:pt x="1147" y="54"/>
                        </a:cubicBezTo>
                        <a:cubicBezTo>
                          <a:pt x="1362" y="0"/>
                          <a:pt x="1746" y="22"/>
                          <a:pt x="1872" y="43"/>
                        </a:cubicBezTo>
                        <a:cubicBezTo>
                          <a:pt x="1889" y="46"/>
                          <a:pt x="1902" y="60"/>
                          <a:pt x="1900" y="76"/>
                        </a:cubicBezTo>
                        <a:cubicBezTo>
                          <a:pt x="1886" y="173"/>
                          <a:pt x="1886" y="173"/>
                          <a:pt x="1886" y="173"/>
                        </a:cubicBezTo>
                        <a:cubicBezTo>
                          <a:pt x="1883" y="193"/>
                          <a:pt x="1871" y="202"/>
                          <a:pt x="1852" y="201"/>
                        </a:cubicBezTo>
                        <a:cubicBezTo>
                          <a:pt x="1829" y="201"/>
                          <a:pt x="1816" y="219"/>
                          <a:pt x="1812" y="241"/>
                        </a:cubicBezTo>
                        <a:cubicBezTo>
                          <a:pt x="1796" y="324"/>
                          <a:pt x="1776" y="433"/>
                          <a:pt x="1752" y="499"/>
                        </a:cubicBezTo>
                        <a:cubicBezTo>
                          <a:pt x="1733" y="551"/>
                          <a:pt x="1702" y="582"/>
                          <a:pt x="1661" y="597"/>
                        </a:cubicBezTo>
                        <a:cubicBezTo>
                          <a:pt x="1575" y="632"/>
                          <a:pt x="1378" y="639"/>
                          <a:pt x="1269" y="609"/>
                        </a:cubicBezTo>
                        <a:cubicBezTo>
                          <a:pt x="1217" y="595"/>
                          <a:pt x="1175" y="569"/>
                          <a:pt x="1140" y="527"/>
                        </a:cubicBezTo>
                        <a:cubicBezTo>
                          <a:pt x="1095" y="473"/>
                          <a:pt x="1055" y="371"/>
                          <a:pt x="1032" y="280"/>
                        </a:cubicBezTo>
                        <a:cubicBezTo>
                          <a:pt x="1022" y="246"/>
                          <a:pt x="983" y="233"/>
                          <a:pt x="951" y="233"/>
                        </a:cubicBezTo>
                        <a:cubicBezTo>
                          <a:pt x="919" y="233"/>
                          <a:pt x="880" y="246"/>
                          <a:pt x="870" y="280"/>
                        </a:cubicBezTo>
                        <a:cubicBezTo>
                          <a:pt x="847" y="371"/>
                          <a:pt x="807" y="473"/>
                          <a:pt x="762" y="527"/>
                        </a:cubicBezTo>
                        <a:cubicBezTo>
                          <a:pt x="727" y="569"/>
                          <a:pt x="685" y="595"/>
                          <a:pt x="633" y="609"/>
                        </a:cubicBezTo>
                        <a:cubicBezTo>
                          <a:pt x="524" y="639"/>
                          <a:pt x="327" y="632"/>
                          <a:pt x="241" y="597"/>
                        </a:cubicBezTo>
                        <a:cubicBezTo>
                          <a:pt x="200" y="582"/>
                          <a:pt x="169" y="551"/>
                          <a:pt x="150" y="499"/>
                        </a:cubicBezTo>
                        <a:cubicBezTo>
                          <a:pt x="126" y="433"/>
                          <a:pt x="106" y="324"/>
                          <a:pt x="90" y="241"/>
                        </a:cubicBezTo>
                        <a:cubicBezTo>
                          <a:pt x="86" y="219"/>
                          <a:pt x="73" y="201"/>
                          <a:pt x="50" y="201"/>
                        </a:cubicBezTo>
                        <a:cubicBezTo>
                          <a:pt x="31" y="202"/>
                          <a:pt x="19" y="193"/>
                          <a:pt x="16" y="173"/>
                        </a:cubicBezTo>
                        <a:cubicBezTo>
                          <a:pt x="2" y="76"/>
                          <a:pt x="2" y="76"/>
                          <a:pt x="2" y="76"/>
                        </a:cubicBezTo>
                        <a:cubicBezTo>
                          <a:pt x="0" y="60"/>
                          <a:pt x="13" y="46"/>
                          <a:pt x="30" y="43"/>
                        </a:cubicBezTo>
                        <a:cubicBezTo>
                          <a:pt x="156" y="22"/>
                          <a:pt x="540" y="0"/>
                          <a:pt x="755" y="54"/>
                        </a:cubicBezTo>
                        <a:close/>
                        <a:moveTo>
                          <a:pt x="252" y="117"/>
                        </a:moveTo>
                        <a:cubicBezTo>
                          <a:pt x="200" y="135"/>
                          <a:pt x="182" y="176"/>
                          <a:pt x="177" y="225"/>
                        </a:cubicBezTo>
                        <a:cubicBezTo>
                          <a:pt x="171" y="307"/>
                          <a:pt x="185" y="404"/>
                          <a:pt x="208" y="471"/>
                        </a:cubicBezTo>
                        <a:cubicBezTo>
                          <a:pt x="222" y="512"/>
                          <a:pt x="249" y="533"/>
                          <a:pt x="287" y="547"/>
                        </a:cubicBezTo>
                        <a:cubicBezTo>
                          <a:pt x="369" y="577"/>
                          <a:pt x="515" y="579"/>
                          <a:pt x="605" y="554"/>
                        </a:cubicBezTo>
                        <a:cubicBezTo>
                          <a:pt x="716" y="522"/>
                          <a:pt x="763" y="374"/>
                          <a:pt x="777" y="252"/>
                        </a:cubicBezTo>
                        <a:cubicBezTo>
                          <a:pt x="782" y="196"/>
                          <a:pt x="761" y="150"/>
                          <a:pt x="702" y="125"/>
                        </a:cubicBezTo>
                        <a:cubicBezTo>
                          <a:pt x="596" y="84"/>
                          <a:pt x="388" y="67"/>
                          <a:pt x="252" y="117"/>
                        </a:cubicBezTo>
                        <a:close/>
                        <a:moveTo>
                          <a:pt x="1650" y="117"/>
                        </a:moveTo>
                        <a:cubicBezTo>
                          <a:pt x="1514" y="67"/>
                          <a:pt x="1306" y="84"/>
                          <a:pt x="1200" y="125"/>
                        </a:cubicBezTo>
                        <a:cubicBezTo>
                          <a:pt x="1141" y="150"/>
                          <a:pt x="1120" y="196"/>
                          <a:pt x="1125" y="252"/>
                        </a:cubicBezTo>
                        <a:cubicBezTo>
                          <a:pt x="1139" y="374"/>
                          <a:pt x="1186" y="522"/>
                          <a:pt x="1297" y="554"/>
                        </a:cubicBezTo>
                        <a:cubicBezTo>
                          <a:pt x="1387" y="579"/>
                          <a:pt x="1533" y="577"/>
                          <a:pt x="1615" y="547"/>
                        </a:cubicBezTo>
                        <a:cubicBezTo>
                          <a:pt x="1653" y="533"/>
                          <a:pt x="1680" y="512"/>
                          <a:pt x="1694" y="471"/>
                        </a:cubicBezTo>
                        <a:cubicBezTo>
                          <a:pt x="1717" y="404"/>
                          <a:pt x="1731" y="307"/>
                          <a:pt x="1725" y="225"/>
                        </a:cubicBezTo>
                        <a:cubicBezTo>
                          <a:pt x="1720" y="176"/>
                          <a:pt x="1702" y="135"/>
                          <a:pt x="1650" y="117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02" name="Freeform: Shape 701"/>
                <p:cNvSpPr>
                  <a:spLocks noChangeAspect="1"/>
                </p:cNvSpPr>
                <p:nvPr/>
              </p:nvSpPr>
              <p:spPr>
                <a:xfrm>
                  <a:off x="4436497" y="6072299"/>
                  <a:ext cx="3031033" cy="502920"/>
                </a:xfrm>
                <a:custGeom>
                  <a:avLst/>
                  <a:gdLst>
                    <a:gd name="connsiteX0" fmla="*/ 2595227 w 2712206"/>
                    <a:gd name="connsiteY0" fmla="*/ 339514 h 450019"/>
                    <a:gd name="connsiteX1" fmla="*/ 2568605 w 2712206"/>
                    <a:gd name="connsiteY1" fmla="*/ 350285 h 450019"/>
                    <a:gd name="connsiteX2" fmla="*/ 2555601 w 2712206"/>
                    <a:gd name="connsiteY2" fmla="*/ 381149 h 450019"/>
                    <a:gd name="connsiteX3" fmla="*/ 2629048 w 2712206"/>
                    <a:gd name="connsiteY3" fmla="*/ 381149 h 450019"/>
                    <a:gd name="connsiteX4" fmla="*/ 2619560 w 2712206"/>
                    <a:gd name="connsiteY4" fmla="*/ 350453 h 450019"/>
                    <a:gd name="connsiteX5" fmla="*/ 2595227 w 2712206"/>
                    <a:gd name="connsiteY5" fmla="*/ 339514 h 450019"/>
                    <a:gd name="connsiteX6" fmla="*/ 2280902 w 2712206"/>
                    <a:gd name="connsiteY6" fmla="*/ 339514 h 450019"/>
                    <a:gd name="connsiteX7" fmla="*/ 2254280 w 2712206"/>
                    <a:gd name="connsiteY7" fmla="*/ 350285 h 450019"/>
                    <a:gd name="connsiteX8" fmla="*/ 2241277 w 2712206"/>
                    <a:gd name="connsiteY8" fmla="*/ 381149 h 450019"/>
                    <a:gd name="connsiteX9" fmla="*/ 2314723 w 2712206"/>
                    <a:gd name="connsiteY9" fmla="*/ 381149 h 450019"/>
                    <a:gd name="connsiteX10" fmla="*/ 2305235 w 2712206"/>
                    <a:gd name="connsiteY10" fmla="*/ 350453 h 450019"/>
                    <a:gd name="connsiteX11" fmla="*/ 2280902 w 2712206"/>
                    <a:gd name="connsiteY11" fmla="*/ 339514 h 450019"/>
                    <a:gd name="connsiteX12" fmla="*/ 1861802 w 2712206"/>
                    <a:gd name="connsiteY12" fmla="*/ 339514 h 450019"/>
                    <a:gd name="connsiteX13" fmla="*/ 1835180 w 2712206"/>
                    <a:gd name="connsiteY13" fmla="*/ 350285 h 450019"/>
                    <a:gd name="connsiteX14" fmla="*/ 1822177 w 2712206"/>
                    <a:gd name="connsiteY14" fmla="*/ 381149 h 450019"/>
                    <a:gd name="connsiteX15" fmla="*/ 1895623 w 2712206"/>
                    <a:gd name="connsiteY15" fmla="*/ 381149 h 450019"/>
                    <a:gd name="connsiteX16" fmla="*/ 1886135 w 2712206"/>
                    <a:gd name="connsiteY16" fmla="*/ 350453 h 450019"/>
                    <a:gd name="connsiteX17" fmla="*/ 1861802 w 2712206"/>
                    <a:gd name="connsiteY17" fmla="*/ 339514 h 450019"/>
                    <a:gd name="connsiteX18" fmla="*/ 1484932 w 2712206"/>
                    <a:gd name="connsiteY18" fmla="*/ 339514 h 450019"/>
                    <a:gd name="connsiteX19" fmla="*/ 1452729 w 2712206"/>
                    <a:gd name="connsiteY19" fmla="*/ 353132 h 450019"/>
                    <a:gd name="connsiteX20" fmla="*/ 1440730 w 2712206"/>
                    <a:gd name="connsiteY20" fmla="*/ 390971 h 450019"/>
                    <a:gd name="connsiteX21" fmla="*/ 1452450 w 2712206"/>
                    <a:gd name="connsiteY21" fmla="*/ 427025 h 450019"/>
                    <a:gd name="connsiteX22" fmla="*/ 1484486 w 2712206"/>
                    <a:gd name="connsiteY22" fmla="*/ 440643 h 450019"/>
                    <a:gd name="connsiteX23" fmla="*/ 1516298 w 2712206"/>
                    <a:gd name="connsiteY23" fmla="*/ 427248 h 450019"/>
                    <a:gd name="connsiteX24" fmla="*/ 1527460 w 2712206"/>
                    <a:gd name="connsiteY24" fmla="*/ 390078 h 450019"/>
                    <a:gd name="connsiteX25" fmla="*/ 1516353 w 2712206"/>
                    <a:gd name="connsiteY25" fmla="*/ 352574 h 450019"/>
                    <a:gd name="connsiteX26" fmla="*/ 1484932 w 2712206"/>
                    <a:gd name="connsiteY26" fmla="*/ 339514 h 450019"/>
                    <a:gd name="connsiteX27" fmla="*/ 1109326 w 2712206"/>
                    <a:gd name="connsiteY27" fmla="*/ 339514 h 450019"/>
                    <a:gd name="connsiteX28" fmla="*/ 1082705 w 2712206"/>
                    <a:gd name="connsiteY28" fmla="*/ 350285 h 450019"/>
                    <a:gd name="connsiteX29" fmla="*/ 1069701 w 2712206"/>
                    <a:gd name="connsiteY29" fmla="*/ 381149 h 450019"/>
                    <a:gd name="connsiteX30" fmla="*/ 1143147 w 2712206"/>
                    <a:gd name="connsiteY30" fmla="*/ 381149 h 450019"/>
                    <a:gd name="connsiteX31" fmla="*/ 1133660 w 2712206"/>
                    <a:gd name="connsiteY31" fmla="*/ 350453 h 450019"/>
                    <a:gd name="connsiteX32" fmla="*/ 1109326 w 2712206"/>
                    <a:gd name="connsiteY32" fmla="*/ 339514 h 450019"/>
                    <a:gd name="connsiteX33" fmla="*/ 823576 w 2712206"/>
                    <a:gd name="connsiteY33" fmla="*/ 339514 h 450019"/>
                    <a:gd name="connsiteX34" fmla="*/ 796955 w 2712206"/>
                    <a:gd name="connsiteY34" fmla="*/ 350285 h 450019"/>
                    <a:gd name="connsiteX35" fmla="*/ 783951 w 2712206"/>
                    <a:gd name="connsiteY35" fmla="*/ 381149 h 450019"/>
                    <a:gd name="connsiteX36" fmla="*/ 857397 w 2712206"/>
                    <a:gd name="connsiteY36" fmla="*/ 381149 h 450019"/>
                    <a:gd name="connsiteX37" fmla="*/ 847910 w 2712206"/>
                    <a:gd name="connsiteY37" fmla="*/ 350453 h 450019"/>
                    <a:gd name="connsiteX38" fmla="*/ 823576 w 2712206"/>
                    <a:gd name="connsiteY38" fmla="*/ 339514 h 450019"/>
                    <a:gd name="connsiteX39" fmla="*/ 456232 w 2712206"/>
                    <a:gd name="connsiteY39" fmla="*/ 339514 h 450019"/>
                    <a:gd name="connsiteX40" fmla="*/ 424030 w 2712206"/>
                    <a:gd name="connsiteY40" fmla="*/ 353132 h 450019"/>
                    <a:gd name="connsiteX41" fmla="*/ 412030 w 2712206"/>
                    <a:gd name="connsiteY41" fmla="*/ 390971 h 450019"/>
                    <a:gd name="connsiteX42" fmla="*/ 423751 w 2712206"/>
                    <a:gd name="connsiteY42" fmla="*/ 427025 h 450019"/>
                    <a:gd name="connsiteX43" fmla="*/ 455786 w 2712206"/>
                    <a:gd name="connsiteY43" fmla="*/ 440643 h 450019"/>
                    <a:gd name="connsiteX44" fmla="*/ 487598 w 2712206"/>
                    <a:gd name="connsiteY44" fmla="*/ 427248 h 450019"/>
                    <a:gd name="connsiteX45" fmla="*/ 498760 w 2712206"/>
                    <a:gd name="connsiteY45" fmla="*/ 390078 h 450019"/>
                    <a:gd name="connsiteX46" fmla="*/ 487654 w 2712206"/>
                    <a:gd name="connsiteY46" fmla="*/ 352574 h 450019"/>
                    <a:gd name="connsiteX47" fmla="*/ 456232 w 2712206"/>
                    <a:gd name="connsiteY47" fmla="*/ 339514 h 450019"/>
                    <a:gd name="connsiteX48" fmla="*/ 166351 w 2712206"/>
                    <a:gd name="connsiteY48" fmla="*/ 339514 h 450019"/>
                    <a:gd name="connsiteX49" fmla="*/ 139730 w 2712206"/>
                    <a:gd name="connsiteY49" fmla="*/ 350285 h 450019"/>
                    <a:gd name="connsiteX50" fmla="*/ 126726 w 2712206"/>
                    <a:gd name="connsiteY50" fmla="*/ 381149 h 450019"/>
                    <a:gd name="connsiteX51" fmla="*/ 200172 w 2712206"/>
                    <a:gd name="connsiteY51" fmla="*/ 381149 h 450019"/>
                    <a:gd name="connsiteX52" fmla="*/ 190685 w 2712206"/>
                    <a:gd name="connsiteY52" fmla="*/ 350453 h 450019"/>
                    <a:gd name="connsiteX53" fmla="*/ 166351 w 2712206"/>
                    <a:gd name="connsiteY53" fmla="*/ 339514 h 450019"/>
                    <a:gd name="connsiteX54" fmla="*/ 1224967 w 2712206"/>
                    <a:gd name="connsiteY54" fmla="*/ 339513 h 450019"/>
                    <a:gd name="connsiteX55" fmla="*/ 1195275 w 2712206"/>
                    <a:gd name="connsiteY55" fmla="*/ 353298 h 450019"/>
                    <a:gd name="connsiteX56" fmla="*/ 1183555 w 2712206"/>
                    <a:gd name="connsiteY56" fmla="*/ 391193 h 450019"/>
                    <a:gd name="connsiteX57" fmla="*/ 1194103 w 2712206"/>
                    <a:gd name="connsiteY57" fmla="*/ 427749 h 450019"/>
                    <a:gd name="connsiteX58" fmla="*/ 1221283 w 2712206"/>
                    <a:gd name="connsiteY58" fmla="*/ 440642 h 450019"/>
                    <a:gd name="connsiteX59" fmla="*/ 1251532 w 2712206"/>
                    <a:gd name="connsiteY59" fmla="*/ 428531 h 450019"/>
                    <a:gd name="connsiteX60" fmla="*/ 1262248 w 2712206"/>
                    <a:gd name="connsiteY60" fmla="*/ 399007 h 450019"/>
                    <a:gd name="connsiteX61" fmla="*/ 1262248 w 2712206"/>
                    <a:gd name="connsiteY61" fmla="*/ 377687 h 450019"/>
                    <a:gd name="connsiteX62" fmla="*/ 1252146 w 2712206"/>
                    <a:gd name="connsiteY62" fmla="*/ 350619 h 450019"/>
                    <a:gd name="connsiteX63" fmla="*/ 1224967 w 2712206"/>
                    <a:gd name="connsiteY63" fmla="*/ 339513 h 450019"/>
                    <a:gd name="connsiteX64" fmla="*/ 52127 w 2712206"/>
                    <a:gd name="connsiteY64" fmla="*/ 339513 h 450019"/>
                    <a:gd name="connsiteX65" fmla="*/ 21208 w 2712206"/>
                    <a:gd name="connsiteY65" fmla="*/ 352907 h 450019"/>
                    <a:gd name="connsiteX66" fmla="*/ 10269 w 2712206"/>
                    <a:gd name="connsiteY66" fmla="*/ 384385 h 450019"/>
                    <a:gd name="connsiteX67" fmla="*/ 10269 w 2712206"/>
                    <a:gd name="connsiteY67" fmla="*/ 398784 h 450019"/>
                    <a:gd name="connsiteX68" fmla="*/ 21096 w 2712206"/>
                    <a:gd name="connsiteY68" fmla="*/ 428307 h 450019"/>
                    <a:gd name="connsiteX69" fmla="*/ 49559 w 2712206"/>
                    <a:gd name="connsiteY69" fmla="*/ 440642 h 450019"/>
                    <a:gd name="connsiteX70" fmla="*/ 78023 w 2712206"/>
                    <a:gd name="connsiteY70" fmla="*/ 425629 h 450019"/>
                    <a:gd name="connsiteX71" fmla="*/ 88962 w 2712206"/>
                    <a:gd name="connsiteY71" fmla="*/ 386170 h 450019"/>
                    <a:gd name="connsiteX72" fmla="*/ 78916 w 2712206"/>
                    <a:gd name="connsiteY72" fmla="*/ 352126 h 450019"/>
                    <a:gd name="connsiteX73" fmla="*/ 52127 w 2712206"/>
                    <a:gd name="connsiteY73" fmla="*/ 339513 h 450019"/>
                    <a:gd name="connsiteX74" fmla="*/ 2395202 w 2712206"/>
                    <a:gd name="connsiteY74" fmla="*/ 330695 h 450019"/>
                    <a:gd name="connsiteX75" fmla="*/ 2406587 w 2712206"/>
                    <a:gd name="connsiteY75" fmla="*/ 332704 h 450019"/>
                    <a:gd name="connsiteX76" fmla="*/ 2406587 w 2712206"/>
                    <a:gd name="connsiteY76" fmla="*/ 343643 h 450019"/>
                    <a:gd name="connsiteX77" fmla="*/ 2394532 w 2712206"/>
                    <a:gd name="connsiteY77" fmla="*/ 339959 h 450019"/>
                    <a:gd name="connsiteX78" fmla="*/ 2371873 w 2712206"/>
                    <a:gd name="connsiteY78" fmla="*/ 353912 h 450019"/>
                    <a:gd name="connsiteX79" fmla="*/ 2362720 w 2712206"/>
                    <a:gd name="connsiteY79" fmla="*/ 393537 h 450019"/>
                    <a:gd name="connsiteX80" fmla="*/ 2362720 w 2712206"/>
                    <a:gd name="connsiteY80" fmla="*/ 447227 h 450019"/>
                    <a:gd name="connsiteX81" fmla="*/ 2352674 w 2712206"/>
                    <a:gd name="connsiteY81" fmla="*/ 447227 h 450019"/>
                    <a:gd name="connsiteX82" fmla="*/ 2352674 w 2712206"/>
                    <a:gd name="connsiteY82" fmla="*/ 332927 h 450019"/>
                    <a:gd name="connsiteX83" fmla="*/ 2362720 w 2712206"/>
                    <a:gd name="connsiteY83" fmla="*/ 332927 h 450019"/>
                    <a:gd name="connsiteX84" fmla="*/ 2362720 w 2712206"/>
                    <a:gd name="connsiteY84" fmla="*/ 358265 h 450019"/>
                    <a:gd name="connsiteX85" fmla="*/ 2363167 w 2712206"/>
                    <a:gd name="connsiteY85" fmla="*/ 358265 h 450019"/>
                    <a:gd name="connsiteX86" fmla="*/ 2375557 w 2712206"/>
                    <a:gd name="connsiteY86" fmla="*/ 337950 h 450019"/>
                    <a:gd name="connsiteX87" fmla="*/ 2395202 w 2712206"/>
                    <a:gd name="connsiteY87" fmla="*/ 330695 h 450019"/>
                    <a:gd name="connsiteX88" fmla="*/ 2595673 w 2712206"/>
                    <a:gd name="connsiteY88" fmla="*/ 330138 h 450019"/>
                    <a:gd name="connsiteX89" fmla="*/ 2628379 w 2712206"/>
                    <a:gd name="connsiteY89" fmla="*/ 345095 h 450019"/>
                    <a:gd name="connsiteX90" fmla="*/ 2639764 w 2712206"/>
                    <a:gd name="connsiteY90" fmla="*/ 385948 h 450019"/>
                    <a:gd name="connsiteX91" fmla="*/ 2639764 w 2712206"/>
                    <a:gd name="connsiteY91" fmla="*/ 390525 h 450019"/>
                    <a:gd name="connsiteX92" fmla="*/ 2555155 w 2712206"/>
                    <a:gd name="connsiteY92" fmla="*/ 390525 h 450019"/>
                    <a:gd name="connsiteX93" fmla="*/ 2566038 w 2712206"/>
                    <a:gd name="connsiteY93" fmla="*/ 427360 h 450019"/>
                    <a:gd name="connsiteX94" fmla="*/ 2595897 w 2712206"/>
                    <a:gd name="connsiteY94" fmla="*/ 440643 h 450019"/>
                    <a:gd name="connsiteX95" fmla="*/ 2633401 w 2712206"/>
                    <a:gd name="connsiteY95" fmla="*/ 426467 h 450019"/>
                    <a:gd name="connsiteX96" fmla="*/ 2633401 w 2712206"/>
                    <a:gd name="connsiteY96" fmla="*/ 437406 h 450019"/>
                    <a:gd name="connsiteX97" fmla="*/ 2593776 w 2712206"/>
                    <a:gd name="connsiteY97" fmla="*/ 450019 h 450019"/>
                    <a:gd name="connsiteX98" fmla="*/ 2558057 w 2712206"/>
                    <a:gd name="connsiteY98" fmla="*/ 434169 h 450019"/>
                    <a:gd name="connsiteX99" fmla="*/ 2544439 w 2712206"/>
                    <a:gd name="connsiteY99" fmla="*/ 389409 h 450019"/>
                    <a:gd name="connsiteX100" fmla="*/ 2558671 w 2712206"/>
                    <a:gd name="connsiteY100" fmla="*/ 347272 h 450019"/>
                    <a:gd name="connsiteX101" fmla="*/ 2595673 w 2712206"/>
                    <a:gd name="connsiteY101" fmla="*/ 330138 h 450019"/>
                    <a:gd name="connsiteX102" fmla="*/ 2281349 w 2712206"/>
                    <a:gd name="connsiteY102" fmla="*/ 330138 h 450019"/>
                    <a:gd name="connsiteX103" fmla="*/ 2314053 w 2712206"/>
                    <a:gd name="connsiteY103" fmla="*/ 345095 h 450019"/>
                    <a:gd name="connsiteX104" fmla="*/ 2325439 w 2712206"/>
                    <a:gd name="connsiteY104" fmla="*/ 385948 h 450019"/>
                    <a:gd name="connsiteX105" fmla="*/ 2325439 w 2712206"/>
                    <a:gd name="connsiteY105" fmla="*/ 390525 h 450019"/>
                    <a:gd name="connsiteX106" fmla="*/ 2240830 w 2712206"/>
                    <a:gd name="connsiteY106" fmla="*/ 390525 h 450019"/>
                    <a:gd name="connsiteX107" fmla="*/ 2251713 w 2712206"/>
                    <a:gd name="connsiteY107" fmla="*/ 427360 h 450019"/>
                    <a:gd name="connsiteX108" fmla="*/ 2281572 w 2712206"/>
                    <a:gd name="connsiteY108" fmla="*/ 440643 h 450019"/>
                    <a:gd name="connsiteX109" fmla="*/ 2319076 w 2712206"/>
                    <a:gd name="connsiteY109" fmla="*/ 426467 h 450019"/>
                    <a:gd name="connsiteX110" fmla="*/ 2319076 w 2712206"/>
                    <a:gd name="connsiteY110" fmla="*/ 437406 h 450019"/>
                    <a:gd name="connsiteX111" fmla="*/ 2279451 w 2712206"/>
                    <a:gd name="connsiteY111" fmla="*/ 450019 h 450019"/>
                    <a:gd name="connsiteX112" fmla="*/ 2243732 w 2712206"/>
                    <a:gd name="connsiteY112" fmla="*/ 434169 h 450019"/>
                    <a:gd name="connsiteX113" fmla="*/ 2230114 w 2712206"/>
                    <a:gd name="connsiteY113" fmla="*/ 389409 h 450019"/>
                    <a:gd name="connsiteX114" fmla="*/ 2244346 w 2712206"/>
                    <a:gd name="connsiteY114" fmla="*/ 347272 h 450019"/>
                    <a:gd name="connsiteX115" fmla="*/ 2281349 w 2712206"/>
                    <a:gd name="connsiteY115" fmla="*/ 330138 h 450019"/>
                    <a:gd name="connsiteX116" fmla="*/ 1862249 w 2712206"/>
                    <a:gd name="connsiteY116" fmla="*/ 330138 h 450019"/>
                    <a:gd name="connsiteX117" fmla="*/ 1894954 w 2712206"/>
                    <a:gd name="connsiteY117" fmla="*/ 345095 h 450019"/>
                    <a:gd name="connsiteX118" fmla="*/ 1906339 w 2712206"/>
                    <a:gd name="connsiteY118" fmla="*/ 385948 h 450019"/>
                    <a:gd name="connsiteX119" fmla="*/ 1906339 w 2712206"/>
                    <a:gd name="connsiteY119" fmla="*/ 390525 h 450019"/>
                    <a:gd name="connsiteX120" fmla="*/ 1821730 w 2712206"/>
                    <a:gd name="connsiteY120" fmla="*/ 390525 h 450019"/>
                    <a:gd name="connsiteX121" fmla="*/ 1832613 w 2712206"/>
                    <a:gd name="connsiteY121" fmla="*/ 427360 h 450019"/>
                    <a:gd name="connsiteX122" fmla="*/ 1862472 w 2712206"/>
                    <a:gd name="connsiteY122" fmla="*/ 440643 h 450019"/>
                    <a:gd name="connsiteX123" fmla="*/ 1899976 w 2712206"/>
                    <a:gd name="connsiteY123" fmla="*/ 426467 h 450019"/>
                    <a:gd name="connsiteX124" fmla="*/ 1899976 w 2712206"/>
                    <a:gd name="connsiteY124" fmla="*/ 437406 h 450019"/>
                    <a:gd name="connsiteX125" fmla="*/ 1860351 w 2712206"/>
                    <a:gd name="connsiteY125" fmla="*/ 450019 h 450019"/>
                    <a:gd name="connsiteX126" fmla="*/ 1824632 w 2712206"/>
                    <a:gd name="connsiteY126" fmla="*/ 434169 h 450019"/>
                    <a:gd name="connsiteX127" fmla="*/ 1811014 w 2712206"/>
                    <a:gd name="connsiteY127" fmla="*/ 389409 h 450019"/>
                    <a:gd name="connsiteX128" fmla="*/ 1825246 w 2712206"/>
                    <a:gd name="connsiteY128" fmla="*/ 347272 h 450019"/>
                    <a:gd name="connsiteX129" fmla="*/ 1862249 w 2712206"/>
                    <a:gd name="connsiteY129" fmla="*/ 330138 h 450019"/>
                    <a:gd name="connsiteX130" fmla="*/ 1485379 w 2712206"/>
                    <a:gd name="connsiteY130" fmla="*/ 330138 h 450019"/>
                    <a:gd name="connsiteX131" fmla="*/ 1523999 w 2712206"/>
                    <a:gd name="connsiteY131" fmla="*/ 346100 h 450019"/>
                    <a:gd name="connsiteX132" fmla="*/ 1538175 w 2712206"/>
                    <a:gd name="connsiteY132" fmla="*/ 390301 h 450019"/>
                    <a:gd name="connsiteX133" fmla="*/ 1523720 w 2712206"/>
                    <a:gd name="connsiteY133" fmla="*/ 433499 h 450019"/>
                    <a:gd name="connsiteX134" fmla="*/ 1484151 w 2712206"/>
                    <a:gd name="connsiteY134" fmla="*/ 450019 h 450019"/>
                    <a:gd name="connsiteX135" fmla="*/ 1444581 w 2712206"/>
                    <a:gd name="connsiteY135" fmla="*/ 433555 h 450019"/>
                    <a:gd name="connsiteX136" fmla="*/ 1430014 w 2712206"/>
                    <a:gd name="connsiteY136" fmla="*/ 390748 h 450019"/>
                    <a:gd name="connsiteX137" fmla="*/ 1445251 w 2712206"/>
                    <a:gd name="connsiteY137" fmla="*/ 346211 h 450019"/>
                    <a:gd name="connsiteX138" fmla="*/ 1485379 w 2712206"/>
                    <a:gd name="connsiteY138" fmla="*/ 330138 h 450019"/>
                    <a:gd name="connsiteX139" fmla="*/ 1109773 w 2712206"/>
                    <a:gd name="connsiteY139" fmla="*/ 330138 h 450019"/>
                    <a:gd name="connsiteX140" fmla="*/ 1142478 w 2712206"/>
                    <a:gd name="connsiteY140" fmla="*/ 345095 h 450019"/>
                    <a:gd name="connsiteX141" fmla="*/ 1153863 w 2712206"/>
                    <a:gd name="connsiteY141" fmla="*/ 385948 h 450019"/>
                    <a:gd name="connsiteX142" fmla="*/ 1153863 w 2712206"/>
                    <a:gd name="connsiteY142" fmla="*/ 390525 h 450019"/>
                    <a:gd name="connsiteX143" fmla="*/ 1069254 w 2712206"/>
                    <a:gd name="connsiteY143" fmla="*/ 390525 h 450019"/>
                    <a:gd name="connsiteX144" fmla="*/ 1080137 w 2712206"/>
                    <a:gd name="connsiteY144" fmla="*/ 427360 h 450019"/>
                    <a:gd name="connsiteX145" fmla="*/ 1109996 w 2712206"/>
                    <a:gd name="connsiteY145" fmla="*/ 440643 h 450019"/>
                    <a:gd name="connsiteX146" fmla="*/ 1147501 w 2712206"/>
                    <a:gd name="connsiteY146" fmla="*/ 426467 h 450019"/>
                    <a:gd name="connsiteX147" fmla="*/ 1147501 w 2712206"/>
                    <a:gd name="connsiteY147" fmla="*/ 437406 h 450019"/>
                    <a:gd name="connsiteX148" fmla="*/ 1107875 w 2712206"/>
                    <a:gd name="connsiteY148" fmla="*/ 450019 h 450019"/>
                    <a:gd name="connsiteX149" fmla="*/ 1072156 w 2712206"/>
                    <a:gd name="connsiteY149" fmla="*/ 434169 h 450019"/>
                    <a:gd name="connsiteX150" fmla="*/ 1058539 w 2712206"/>
                    <a:gd name="connsiteY150" fmla="*/ 389409 h 450019"/>
                    <a:gd name="connsiteX151" fmla="*/ 1072770 w 2712206"/>
                    <a:gd name="connsiteY151" fmla="*/ 347272 h 450019"/>
                    <a:gd name="connsiteX152" fmla="*/ 1109773 w 2712206"/>
                    <a:gd name="connsiteY152" fmla="*/ 330138 h 450019"/>
                    <a:gd name="connsiteX153" fmla="*/ 944463 w 2712206"/>
                    <a:gd name="connsiteY153" fmla="*/ 330138 h 450019"/>
                    <a:gd name="connsiteX154" fmla="*/ 969801 w 2712206"/>
                    <a:gd name="connsiteY154" fmla="*/ 335496 h 450019"/>
                    <a:gd name="connsiteX155" fmla="*/ 969801 w 2712206"/>
                    <a:gd name="connsiteY155" fmla="*/ 347104 h 450019"/>
                    <a:gd name="connsiteX156" fmla="*/ 942900 w 2712206"/>
                    <a:gd name="connsiteY156" fmla="*/ 339514 h 450019"/>
                    <a:gd name="connsiteX157" fmla="*/ 910307 w 2712206"/>
                    <a:gd name="connsiteY157" fmla="*/ 353969 h 450019"/>
                    <a:gd name="connsiteX158" fmla="*/ 897805 w 2712206"/>
                    <a:gd name="connsiteY158" fmla="*/ 391418 h 450019"/>
                    <a:gd name="connsiteX159" fmla="*/ 909246 w 2712206"/>
                    <a:gd name="connsiteY159" fmla="*/ 427136 h 450019"/>
                    <a:gd name="connsiteX160" fmla="*/ 939440 w 2712206"/>
                    <a:gd name="connsiteY160" fmla="*/ 440643 h 450019"/>
                    <a:gd name="connsiteX161" fmla="*/ 969354 w 2712206"/>
                    <a:gd name="connsiteY161" fmla="*/ 431490 h 450019"/>
                    <a:gd name="connsiteX162" fmla="*/ 969354 w 2712206"/>
                    <a:gd name="connsiteY162" fmla="*/ 442205 h 450019"/>
                    <a:gd name="connsiteX163" fmla="*/ 938993 w 2712206"/>
                    <a:gd name="connsiteY163" fmla="*/ 450019 h 450019"/>
                    <a:gd name="connsiteX164" fmla="*/ 901377 w 2712206"/>
                    <a:gd name="connsiteY164" fmla="*/ 434001 h 450019"/>
                    <a:gd name="connsiteX165" fmla="*/ 887090 w 2712206"/>
                    <a:gd name="connsiteY165" fmla="*/ 392087 h 450019"/>
                    <a:gd name="connsiteX166" fmla="*/ 903163 w 2712206"/>
                    <a:gd name="connsiteY166" fmla="*/ 347495 h 450019"/>
                    <a:gd name="connsiteX167" fmla="*/ 944463 w 2712206"/>
                    <a:gd name="connsiteY167" fmla="*/ 330138 h 450019"/>
                    <a:gd name="connsiteX168" fmla="*/ 824023 w 2712206"/>
                    <a:gd name="connsiteY168" fmla="*/ 330138 h 450019"/>
                    <a:gd name="connsiteX169" fmla="*/ 856728 w 2712206"/>
                    <a:gd name="connsiteY169" fmla="*/ 345095 h 450019"/>
                    <a:gd name="connsiteX170" fmla="*/ 868113 w 2712206"/>
                    <a:gd name="connsiteY170" fmla="*/ 385948 h 450019"/>
                    <a:gd name="connsiteX171" fmla="*/ 868113 w 2712206"/>
                    <a:gd name="connsiteY171" fmla="*/ 390525 h 450019"/>
                    <a:gd name="connsiteX172" fmla="*/ 783504 w 2712206"/>
                    <a:gd name="connsiteY172" fmla="*/ 390525 h 450019"/>
                    <a:gd name="connsiteX173" fmla="*/ 794387 w 2712206"/>
                    <a:gd name="connsiteY173" fmla="*/ 427360 h 450019"/>
                    <a:gd name="connsiteX174" fmla="*/ 824246 w 2712206"/>
                    <a:gd name="connsiteY174" fmla="*/ 440643 h 450019"/>
                    <a:gd name="connsiteX175" fmla="*/ 861751 w 2712206"/>
                    <a:gd name="connsiteY175" fmla="*/ 426467 h 450019"/>
                    <a:gd name="connsiteX176" fmla="*/ 861751 w 2712206"/>
                    <a:gd name="connsiteY176" fmla="*/ 437406 h 450019"/>
                    <a:gd name="connsiteX177" fmla="*/ 822125 w 2712206"/>
                    <a:gd name="connsiteY177" fmla="*/ 450019 h 450019"/>
                    <a:gd name="connsiteX178" fmla="*/ 786406 w 2712206"/>
                    <a:gd name="connsiteY178" fmla="*/ 434169 h 450019"/>
                    <a:gd name="connsiteX179" fmla="*/ 772789 w 2712206"/>
                    <a:gd name="connsiteY179" fmla="*/ 389409 h 450019"/>
                    <a:gd name="connsiteX180" fmla="*/ 787020 w 2712206"/>
                    <a:gd name="connsiteY180" fmla="*/ 347272 h 450019"/>
                    <a:gd name="connsiteX181" fmla="*/ 824023 w 2712206"/>
                    <a:gd name="connsiteY181" fmla="*/ 330138 h 450019"/>
                    <a:gd name="connsiteX182" fmla="*/ 456679 w 2712206"/>
                    <a:gd name="connsiteY182" fmla="*/ 330138 h 450019"/>
                    <a:gd name="connsiteX183" fmla="*/ 495300 w 2712206"/>
                    <a:gd name="connsiteY183" fmla="*/ 346100 h 450019"/>
                    <a:gd name="connsiteX184" fmla="*/ 509476 w 2712206"/>
                    <a:gd name="connsiteY184" fmla="*/ 390301 h 450019"/>
                    <a:gd name="connsiteX185" fmla="*/ 495021 w 2712206"/>
                    <a:gd name="connsiteY185" fmla="*/ 433499 h 450019"/>
                    <a:gd name="connsiteX186" fmla="*/ 455451 w 2712206"/>
                    <a:gd name="connsiteY186" fmla="*/ 450019 h 450019"/>
                    <a:gd name="connsiteX187" fmla="*/ 415881 w 2712206"/>
                    <a:gd name="connsiteY187" fmla="*/ 433555 h 450019"/>
                    <a:gd name="connsiteX188" fmla="*/ 401315 w 2712206"/>
                    <a:gd name="connsiteY188" fmla="*/ 390748 h 450019"/>
                    <a:gd name="connsiteX189" fmla="*/ 416551 w 2712206"/>
                    <a:gd name="connsiteY189" fmla="*/ 346211 h 450019"/>
                    <a:gd name="connsiteX190" fmla="*/ 456679 w 2712206"/>
                    <a:gd name="connsiteY190" fmla="*/ 330138 h 450019"/>
                    <a:gd name="connsiteX191" fmla="*/ 353913 w 2712206"/>
                    <a:gd name="connsiteY191" fmla="*/ 330138 h 450019"/>
                    <a:gd name="connsiteX192" fmla="*/ 379251 w 2712206"/>
                    <a:gd name="connsiteY192" fmla="*/ 335496 h 450019"/>
                    <a:gd name="connsiteX193" fmla="*/ 379251 w 2712206"/>
                    <a:gd name="connsiteY193" fmla="*/ 347104 h 450019"/>
                    <a:gd name="connsiteX194" fmla="*/ 352350 w 2712206"/>
                    <a:gd name="connsiteY194" fmla="*/ 339514 h 450019"/>
                    <a:gd name="connsiteX195" fmla="*/ 319757 w 2712206"/>
                    <a:gd name="connsiteY195" fmla="*/ 353969 h 450019"/>
                    <a:gd name="connsiteX196" fmla="*/ 307255 w 2712206"/>
                    <a:gd name="connsiteY196" fmla="*/ 391418 h 450019"/>
                    <a:gd name="connsiteX197" fmla="*/ 318696 w 2712206"/>
                    <a:gd name="connsiteY197" fmla="*/ 427136 h 450019"/>
                    <a:gd name="connsiteX198" fmla="*/ 348890 w 2712206"/>
                    <a:gd name="connsiteY198" fmla="*/ 440643 h 450019"/>
                    <a:gd name="connsiteX199" fmla="*/ 378804 w 2712206"/>
                    <a:gd name="connsiteY199" fmla="*/ 431490 h 450019"/>
                    <a:gd name="connsiteX200" fmla="*/ 378804 w 2712206"/>
                    <a:gd name="connsiteY200" fmla="*/ 442205 h 450019"/>
                    <a:gd name="connsiteX201" fmla="*/ 348443 w 2712206"/>
                    <a:gd name="connsiteY201" fmla="*/ 450019 h 450019"/>
                    <a:gd name="connsiteX202" fmla="*/ 310827 w 2712206"/>
                    <a:gd name="connsiteY202" fmla="*/ 434001 h 450019"/>
                    <a:gd name="connsiteX203" fmla="*/ 296540 w 2712206"/>
                    <a:gd name="connsiteY203" fmla="*/ 392087 h 450019"/>
                    <a:gd name="connsiteX204" fmla="*/ 312613 w 2712206"/>
                    <a:gd name="connsiteY204" fmla="*/ 347495 h 450019"/>
                    <a:gd name="connsiteX205" fmla="*/ 353913 w 2712206"/>
                    <a:gd name="connsiteY205" fmla="*/ 330138 h 450019"/>
                    <a:gd name="connsiteX206" fmla="*/ 166798 w 2712206"/>
                    <a:gd name="connsiteY206" fmla="*/ 330138 h 450019"/>
                    <a:gd name="connsiteX207" fmla="*/ 199503 w 2712206"/>
                    <a:gd name="connsiteY207" fmla="*/ 345095 h 450019"/>
                    <a:gd name="connsiteX208" fmla="*/ 210888 w 2712206"/>
                    <a:gd name="connsiteY208" fmla="*/ 385948 h 450019"/>
                    <a:gd name="connsiteX209" fmla="*/ 210888 w 2712206"/>
                    <a:gd name="connsiteY209" fmla="*/ 390525 h 450019"/>
                    <a:gd name="connsiteX210" fmla="*/ 126279 w 2712206"/>
                    <a:gd name="connsiteY210" fmla="*/ 390525 h 450019"/>
                    <a:gd name="connsiteX211" fmla="*/ 137162 w 2712206"/>
                    <a:gd name="connsiteY211" fmla="*/ 427360 h 450019"/>
                    <a:gd name="connsiteX212" fmla="*/ 167021 w 2712206"/>
                    <a:gd name="connsiteY212" fmla="*/ 440643 h 450019"/>
                    <a:gd name="connsiteX213" fmla="*/ 204526 w 2712206"/>
                    <a:gd name="connsiteY213" fmla="*/ 426467 h 450019"/>
                    <a:gd name="connsiteX214" fmla="*/ 204526 w 2712206"/>
                    <a:gd name="connsiteY214" fmla="*/ 437406 h 450019"/>
                    <a:gd name="connsiteX215" fmla="*/ 164900 w 2712206"/>
                    <a:gd name="connsiteY215" fmla="*/ 450019 h 450019"/>
                    <a:gd name="connsiteX216" fmla="*/ 129181 w 2712206"/>
                    <a:gd name="connsiteY216" fmla="*/ 434169 h 450019"/>
                    <a:gd name="connsiteX217" fmla="*/ 115564 w 2712206"/>
                    <a:gd name="connsiteY217" fmla="*/ 389409 h 450019"/>
                    <a:gd name="connsiteX218" fmla="*/ 129795 w 2712206"/>
                    <a:gd name="connsiteY218" fmla="*/ 347272 h 450019"/>
                    <a:gd name="connsiteX219" fmla="*/ 166798 w 2712206"/>
                    <a:gd name="connsiteY219" fmla="*/ 330138 h 450019"/>
                    <a:gd name="connsiteX220" fmla="*/ 2478656 w 2712206"/>
                    <a:gd name="connsiteY220" fmla="*/ 330137 h 450019"/>
                    <a:gd name="connsiteX221" fmla="*/ 2507008 w 2712206"/>
                    <a:gd name="connsiteY221" fmla="*/ 342471 h 450019"/>
                    <a:gd name="connsiteX222" fmla="*/ 2516831 w 2712206"/>
                    <a:gd name="connsiteY222" fmla="*/ 377687 h 450019"/>
                    <a:gd name="connsiteX223" fmla="*/ 2516831 w 2712206"/>
                    <a:gd name="connsiteY223" fmla="*/ 447227 h 450019"/>
                    <a:gd name="connsiteX224" fmla="*/ 2506562 w 2712206"/>
                    <a:gd name="connsiteY224" fmla="*/ 447227 h 450019"/>
                    <a:gd name="connsiteX225" fmla="*/ 2506562 w 2712206"/>
                    <a:gd name="connsiteY225" fmla="*/ 380701 h 450019"/>
                    <a:gd name="connsiteX226" fmla="*/ 2476870 w 2712206"/>
                    <a:gd name="connsiteY226" fmla="*/ 339513 h 450019"/>
                    <a:gd name="connsiteX227" fmla="*/ 2449746 w 2712206"/>
                    <a:gd name="connsiteY227" fmla="*/ 351624 h 450019"/>
                    <a:gd name="connsiteX228" fmla="*/ 2439142 w 2712206"/>
                    <a:gd name="connsiteY228" fmla="*/ 381594 h 450019"/>
                    <a:gd name="connsiteX229" fmla="*/ 2439142 w 2712206"/>
                    <a:gd name="connsiteY229" fmla="*/ 447227 h 450019"/>
                    <a:gd name="connsiteX230" fmla="*/ 2428873 w 2712206"/>
                    <a:gd name="connsiteY230" fmla="*/ 447227 h 450019"/>
                    <a:gd name="connsiteX231" fmla="*/ 2428873 w 2712206"/>
                    <a:gd name="connsiteY231" fmla="*/ 332927 h 450019"/>
                    <a:gd name="connsiteX232" fmla="*/ 2439142 w 2712206"/>
                    <a:gd name="connsiteY232" fmla="*/ 332927 h 450019"/>
                    <a:gd name="connsiteX233" fmla="*/ 2439142 w 2712206"/>
                    <a:gd name="connsiteY233" fmla="*/ 353689 h 450019"/>
                    <a:gd name="connsiteX234" fmla="*/ 2439589 w 2712206"/>
                    <a:gd name="connsiteY234" fmla="*/ 353689 h 450019"/>
                    <a:gd name="connsiteX235" fmla="*/ 2478656 w 2712206"/>
                    <a:gd name="connsiteY235" fmla="*/ 330137 h 450019"/>
                    <a:gd name="connsiteX236" fmla="*/ 2097656 w 2712206"/>
                    <a:gd name="connsiteY236" fmla="*/ 330137 h 450019"/>
                    <a:gd name="connsiteX237" fmla="*/ 2126008 w 2712206"/>
                    <a:gd name="connsiteY237" fmla="*/ 342471 h 450019"/>
                    <a:gd name="connsiteX238" fmla="*/ 2135831 w 2712206"/>
                    <a:gd name="connsiteY238" fmla="*/ 377687 h 450019"/>
                    <a:gd name="connsiteX239" fmla="*/ 2135831 w 2712206"/>
                    <a:gd name="connsiteY239" fmla="*/ 447227 h 450019"/>
                    <a:gd name="connsiteX240" fmla="*/ 2125562 w 2712206"/>
                    <a:gd name="connsiteY240" fmla="*/ 447227 h 450019"/>
                    <a:gd name="connsiteX241" fmla="*/ 2125562 w 2712206"/>
                    <a:gd name="connsiteY241" fmla="*/ 380701 h 450019"/>
                    <a:gd name="connsiteX242" fmla="*/ 2095871 w 2712206"/>
                    <a:gd name="connsiteY242" fmla="*/ 339513 h 450019"/>
                    <a:gd name="connsiteX243" fmla="*/ 2068747 w 2712206"/>
                    <a:gd name="connsiteY243" fmla="*/ 351624 h 450019"/>
                    <a:gd name="connsiteX244" fmla="*/ 2058143 w 2712206"/>
                    <a:gd name="connsiteY244" fmla="*/ 381594 h 450019"/>
                    <a:gd name="connsiteX245" fmla="*/ 2058143 w 2712206"/>
                    <a:gd name="connsiteY245" fmla="*/ 447227 h 450019"/>
                    <a:gd name="connsiteX246" fmla="*/ 2047873 w 2712206"/>
                    <a:gd name="connsiteY246" fmla="*/ 447227 h 450019"/>
                    <a:gd name="connsiteX247" fmla="*/ 2047873 w 2712206"/>
                    <a:gd name="connsiteY247" fmla="*/ 332927 h 450019"/>
                    <a:gd name="connsiteX248" fmla="*/ 2058143 w 2712206"/>
                    <a:gd name="connsiteY248" fmla="*/ 332927 h 450019"/>
                    <a:gd name="connsiteX249" fmla="*/ 2058143 w 2712206"/>
                    <a:gd name="connsiteY249" fmla="*/ 353689 h 450019"/>
                    <a:gd name="connsiteX250" fmla="*/ 2058589 w 2712206"/>
                    <a:gd name="connsiteY250" fmla="*/ 353689 h 450019"/>
                    <a:gd name="connsiteX251" fmla="*/ 2097656 w 2712206"/>
                    <a:gd name="connsiteY251" fmla="*/ 330137 h 450019"/>
                    <a:gd name="connsiteX252" fmla="*/ 707008 w 2712206"/>
                    <a:gd name="connsiteY252" fmla="*/ 330137 h 450019"/>
                    <a:gd name="connsiteX253" fmla="*/ 735359 w 2712206"/>
                    <a:gd name="connsiteY253" fmla="*/ 342471 h 450019"/>
                    <a:gd name="connsiteX254" fmla="*/ 745182 w 2712206"/>
                    <a:gd name="connsiteY254" fmla="*/ 377687 h 450019"/>
                    <a:gd name="connsiteX255" fmla="*/ 745182 w 2712206"/>
                    <a:gd name="connsiteY255" fmla="*/ 447227 h 450019"/>
                    <a:gd name="connsiteX256" fmla="*/ 734913 w 2712206"/>
                    <a:gd name="connsiteY256" fmla="*/ 447227 h 450019"/>
                    <a:gd name="connsiteX257" fmla="*/ 734913 w 2712206"/>
                    <a:gd name="connsiteY257" fmla="*/ 380701 h 450019"/>
                    <a:gd name="connsiteX258" fmla="*/ 705222 w 2712206"/>
                    <a:gd name="connsiteY258" fmla="*/ 339513 h 450019"/>
                    <a:gd name="connsiteX259" fmla="*/ 678098 w 2712206"/>
                    <a:gd name="connsiteY259" fmla="*/ 351624 h 450019"/>
                    <a:gd name="connsiteX260" fmla="*/ 667494 w 2712206"/>
                    <a:gd name="connsiteY260" fmla="*/ 381594 h 450019"/>
                    <a:gd name="connsiteX261" fmla="*/ 667494 w 2712206"/>
                    <a:gd name="connsiteY261" fmla="*/ 447227 h 450019"/>
                    <a:gd name="connsiteX262" fmla="*/ 657225 w 2712206"/>
                    <a:gd name="connsiteY262" fmla="*/ 447227 h 450019"/>
                    <a:gd name="connsiteX263" fmla="*/ 657225 w 2712206"/>
                    <a:gd name="connsiteY263" fmla="*/ 332927 h 450019"/>
                    <a:gd name="connsiteX264" fmla="*/ 667494 w 2712206"/>
                    <a:gd name="connsiteY264" fmla="*/ 332927 h 450019"/>
                    <a:gd name="connsiteX265" fmla="*/ 667494 w 2712206"/>
                    <a:gd name="connsiteY265" fmla="*/ 353689 h 450019"/>
                    <a:gd name="connsiteX266" fmla="*/ 667940 w 2712206"/>
                    <a:gd name="connsiteY266" fmla="*/ 353689 h 450019"/>
                    <a:gd name="connsiteX267" fmla="*/ 707008 w 2712206"/>
                    <a:gd name="connsiteY267" fmla="*/ 330137 h 450019"/>
                    <a:gd name="connsiteX268" fmla="*/ 583183 w 2712206"/>
                    <a:gd name="connsiteY268" fmla="*/ 330137 h 450019"/>
                    <a:gd name="connsiteX269" fmla="*/ 611534 w 2712206"/>
                    <a:gd name="connsiteY269" fmla="*/ 342471 h 450019"/>
                    <a:gd name="connsiteX270" fmla="*/ 621357 w 2712206"/>
                    <a:gd name="connsiteY270" fmla="*/ 377687 h 450019"/>
                    <a:gd name="connsiteX271" fmla="*/ 621357 w 2712206"/>
                    <a:gd name="connsiteY271" fmla="*/ 447227 h 450019"/>
                    <a:gd name="connsiteX272" fmla="*/ 611088 w 2712206"/>
                    <a:gd name="connsiteY272" fmla="*/ 447227 h 450019"/>
                    <a:gd name="connsiteX273" fmla="*/ 611088 w 2712206"/>
                    <a:gd name="connsiteY273" fmla="*/ 380701 h 450019"/>
                    <a:gd name="connsiteX274" fmla="*/ 581397 w 2712206"/>
                    <a:gd name="connsiteY274" fmla="*/ 339513 h 450019"/>
                    <a:gd name="connsiteX275" fmla="*/ 554273 w 2712206"/>
                    <a:gd name="connsiteY275" fmla="*/ 351624 h 450019"/>
                    <a:gd name="connsiteX276" fmla="*/ 543669 w 2712206"/>
                    <a:gd name="connsiteY276" fmla="*/ 381594 h 450019"/>
                    <a:gd name="connsiteX277" fmla="*/ 543669 w 2712206"/>
                    <a:gd name="connsiteY277" fmla="*/ 447227 h 450019"/>
                    <a:gd name="connsiteX278" fmla="*/ 533400 w 2712206"/>
                    <a:gd name="connsiteY278" fmla="*/ 447227 h 450019"/>
                    <a:gd name="connsiteX279" fmla="*/ 533400 w 2712206"/>
                    <a:gd name="connsiteY279" fmla="*/ 332927 h 450019"/>
                    <a:gd name="connsiteX280" fmla="*/ 543669 w 2712206"/>
                    <a:gd name="connsiteY280" fmla="*/ 332927 h 450019"/>
                    <a:gd name="connsiteX281" fmla="*/ 543669 w 2712206"/>
                    <a:gd name="connsiteY281" fmla="*/ 353689 h 450019"/>
                    <a:gd name="connsiteX282" fmla="*/ 544115 w 2712206"/>
                    <a:gd name="connsiteY282" fmla="*/ 353689 h 450019"/>
                    <a:gd name="connsiteX283" fmla="*/ 583183 w 2712206"/>
                    <a:gd name="connsiteY283" fmla="*/ 330137 h 450019"/>
                    <a:gd name="connsiteX284" fmla="*/ 2682068 w 2712206"/>
                    <a:gd name="connsiteY284" fmla="*/ 299776 h 450019"/>
                    <a:gd name="connsiteX285" fmla="*/ 2682068 w 2712206"/>
                    <a:gd name="connsiteY285" fmla="*/ 332927 h 450019"/>
                    <a:gd name="connsiteX286" fmla="*/ 2712206 w 2712206"/>
                    <a:gd name="connsiteY286" fmla="*/ 332927 h 450019"/>
                    <a:gd name="connsiteX287" fmla="*/ 2712206 w 2712206"/>
                    <a:gd name="connsiteY287" fmla="*/ 342303 h 450019"/>
                    <a:gd name="connsiteX288" fmla="*/ 2682068 w 2712206"/>
                    <a:gd name="connsiteY288" fmla="*/ 342303 h 450019"/>
                    <a:gd name="connsiteX289" fmla="*/ 2682068 w 2712206"/>
                    <a:gd name="connsiteY289" fmla="*/ 417759 h 450019"/>
                    <a:gd name="connsiteX290" fmla="*/ 2685807 w 2712206"/>
                    <a:gd name="connsiteY290" fmla="*/ 434893 h 450019"/>
                    <a:gd name="connsiteX291" fmla="*/ 2698477 w 2712206"/>
                    <a:gd name="connsiteY291" fmla="*/ 440195 h 450019"/>
                    <a:gd name="connsiteX292" fmla="*/ 2712206 w 2712206"/>
                    <a:gd name="connsiteY292" fmla="*/ 436065 h 450019"/>
                    <a:gd name="connsiteX293" fmla="*/ 2712206 w 2712206"/>
                    <a:gd name="connsiteY293" fmla="*/ 445665 h 450019"/>
                    <a:gd name="connsiteX294" fmla="*/ 2697137 w 2712206"/>
                    <a:gd name="connsiteY294" fmla="*/ 449460 h 450019"/>
                    <a:gd name="connsiteX295" fmla="*/ 2671799 w 2712206"/>
                    <a:gd name="connsiteY295" fmla="*/ 419099 h 450019"/>
                    <a:gd name="connsiteX296" fmla="*/ 2671799 w 2712206"/>
                    <a:gd name="connsiteY296" fmla="*/ 342303 h 450019"/>
                    <a:gd name="connsiteX297" fmla="*/ 2651261 w 2712206"/>
                    <a:gd name="connsiteY297" fmla="*/ 342303 h 450019"/>
                    <a:gd name="connsiteX298" fmla="*/ 2651261 w 2712206"/>
                    <a:gd name="connsiteY298" fmla="*/ 332927 h 450019"/>
                    <a:gd name="connsiteX299" fmla="*/ 2671799 w 2712206"/>
                    <a:gd name="connsiteY299" fmla="*/ 332927 h 450019"/>
                    <a:gd name="connsiteX300" fmla="*/ 2671799 w 2712206"/>
                    <a:gd name="connsiteY300" fmla="*/ 303236 h 450019"/>
                    <a:gd name="connsiteX301" fmla="*/ 2676933 w 2712206"/>
                    <a:gd name="connsiteY301" fmla="*/ 301450 h 450019"/>
                    <a:gd name="connsiteX302" fmla="*/ 2682068 w 2712206"/>
                    <a:gd name="connsiteY302" fmla="*/ 299776 h 450019"/>
                    <a:gd name="connsiteX303" fmla="*/ 2186768 w 2712206"/>
                    <a:gd name="connsiteY303" fmla="*/ 299776 h 450019"/>
                    <a:gd name="connsiteX304" fmla="*/ 2186768 w 2712206"/>
                    <a:gd name="connsiteY304" fmla="*/ 332927 h 450019"/>
                    <a:gd name="connsiteX305" fmla="*/ 2216906 w 2712206"/>
                    <a:gd name="connsiteY305" fmla="*/ 332927 h 450019"/>
                    <a:gd name="connsiteX306" fmla="*/ 2216906 w 2712206"/>
                    <a:gd name="connsiteY306" fmla="*/ 342303 h 450019"/>
                    <a:gd name="connsiteX307" fmla="*/ 2186768 w 2712206"/>
                    <a:gd name="connsiteY307" fmla="*/ 342303 h 450019"/>
                    <a:gd name="connsiteX308" fmla="*/ 2186768 w 2712206"/>
                    <a:gd name="connsiteY308" fmla="*/ 417759 h 450019"/>
                    <a:gd name="connsiteX309" fmla="*/ 2190508 w 2712206"/>
                    <a:gd name="connsiteY309" fmla="*/ 434893 h 450019"/>
                    <a:gd name="connsiteX310" fmla="*/ 2203177 w 2712206"/>
                    <a:gd name="connsiteY310" fmla="*/ 440195 h 450019"/>
                    <a:gd name="connsiteX311" fmla="*/ 2216906 w 2712206"/>
                    <a:gd name="connsiteY311" fmla="*/ 436065 h 450019"/>
                    <a:gd name="connsiteX312" fmla="*/ 2216906 w 2712206"/>
                    <a:gd name="connsiteY312" fmla="*/ 445665 h 450019"/>
                    <a:gd name="connsiteX313" fmla="*/ 2201837 w 2712206"/>
                    <a:gd name="connsiteY313" fmla="*/ 449460 h 450019"/>
                    <a:gd name="connsiteX314" fmla="*/ 2176499 w 2712206"/>
                    <a:gd name="connsiteY314" fmla="*/ 419099 h 450019"/>
                    <a:gd name="connsiteX315" fmla="*/ 2176499 w 2712206"/>
                    <a:gd name="connsiteY315" fmla="*/ 342303 h 450019"/>
                    <a:gd name="connsiteX316" fmla="*/ 2155961 w 2712206"/>
                    <a:gd name="connsiteY316" fmla="*/ 342303 h 450019"/>
                    <a:gd name="connsiteX317" fmla="*/ 2155961 w 2712206"/>
                    <a:gd name="connsiteY317" fmla="*/ 332927 h 450019"/>
                    <a:gd name="connsiteX318" fmla="*/ 2176499 w 2712206"/>
                    <a:gd name="connsiteY318" fmla="*/ 332927 h 450019"/>
                    <a:gd name="connsiteX319" fmla="*/ 2176499 w 2712206"/>
                    <a:gd name="connsiteY319" fmla="*/ 303236 h 450019"/>
                    <a:gd name="connsiteX320" fmla="*/ 2181634 w 2712206"/>
                    <a:gd name="connsiteY320" fmla="*/ 301450 h 450019"/>
                    <a:gd name="connsiteX321" fmla="*/ 2186768 w 2712206"/>
                    <a:gd name="connsiteY321" fmla="*/ 299776 h 450019"/>
                    <a:gd name="connsiteX322" fmla="*/ 1643843 w 2712206"/>
                    <a:gd name="connsiteY322" fmla="*/ 299776 h 450019"/>
                    <a:gd name="connsiteX323" fmla="*/ 1643843 w 2712206"/>
                    <a:gd name="connsiteY323" fmla="*/ 332927 h 450019"/>
                    <a:gd name="connsiteX324" fmla="*/ 1673981 w 2712206"/>
                    <a:gd name="connsiteY324" fmla="*/ 332927 h 450019"/>
                    <a:gd name="connsiteX325" fmla="*/ 1673981 w 2712206"/>
                    <a:gd name="connsiteY325" fmla="*/ 342303 h 450019"/>
                    <a:gd name="connsiteX326" fmla="*/ 1643843 w 2712206"/>
                    <a:gd name="connsiteY326" fmla="*/ 342303 h 450019"/>
                    <a:gd name="connsiteX327" fmla="*/ 1643843 w 2712206"/>
                    <a:gd name="connsiteY327" fmla="*/ 417759 h 450019"/>
                    <a:gd name="connsiteX328" fmla="*/ 1647583 w 2712206"/>
                    <a:gd name="connsiteY328" fmla="*/ 434893 h 450019"/>
                    <a:gd name="connsiteX329" fmla="*/ 1660252 w 2712206"/>
                    <a:gd name="connsiteY329" fmla="*/ 440195 h 450019"/>
                    <a:gd name="connsiteX330" fmla="*/ 1673981 w 2712206"/>
                    <a:gd name="connsiteY330" fmla="*/ 436065 h 450019"/>
                    <a:gd name="connsiteX331" fmla="*/ 1673981 w 2712206"/>
                    <a:gd name="connsiteY331" fmla="*/ 445665 h 450019"/>
                    <a:gd name="connsiteX332" fmla="*/ 1658912 w 2712206"/>
                    <a:gd name="connsiteY332" fmla="*/ 449460 h 450019"/>
                    <a:gd name="connsiteX333" fmla="*/ 1633574 w 2712206"/>
                    <a:gd name="connsiteY333" fmla="*/ 419099 h 450019"/>
                    <a:gd name="connsiteX334" fmla="*/ 1633574 w 2712206"/>
                    <a:gd name="connsiteY334" fmla="*/ 342303 h 450019"/>
                    <a:gd name="connsiteX335" fmla="*/ 1613036 w 2712206"/>
                    <a:gd name="connsiteY335" fmla="*/ 342303 h 450019"/>
                    <a:gd name="connsiteX336" fmla="*/ 1613036 w 2712206"/>
                    <a:gd name="connsiteY336" fmla="*/ 332927 h 450019"/>
                    <a:gd name="connsiteX337" fmla="*/ 1633574 w 2712206"/>
                    <a:gd name="connsiteY337" fmla="*/ 332927 h 450019"/>
                    <a:gd name="connsiteX338" fmla="*/ 1633574 w 2712206"/>
                    <a:gd name="connsiteY338" fmla="*/ 303236 h 450019"/>
                    <a:gd name="connsiteX339" fmla="*/ 1638709 w 2712206"/>
                    <a:gd name="connsiteY339" fmla="*/ 301450 h 450019"/>
                    <a:gd name="connsiteX340" fmla="*/ 1643843 w 2712206"/>
                    <a:gd name="connsiteY340" fmla="*/ 299776 h 450019"/>
                    <a:gd name="connsiteX341" fmla="*/ 1386668 w 2712206"/>
                    <a:gd name="connsiteY341" fmla="*/ 299776 h 450019"/>
                    <a:gd name="connsiteX342" fmla="*/ 1386668 w 2712206"/>
                    <a:gd name="connsiteY342" fmla="*/ 332927 h 450019"/>
                    <a:gd name="connsiteX343" fmla="*/ 1416806 w 2712206"/>
                    <a:gd name="connsiteY343" fmla="*/ 332927 h 450019"/>
                    <a:gd name="connsiteX344" fmla="*/ 1416806 w 2712206"/>
                    <a:gd name="connsiteY344" fmla="*/ 342303 h 450019"/>
                    <a:gd name="connsiteX345" fmla="*/ 1386668 w 2712206"/>
                    <a:gd name="connsiteY345" fmla="*/ 342303 h 450019"/>
                    <a:gd name="connsiteX346" fmla="*/ 1386668 w 2712206"/>
                    <a:gd name="connsiteY346" fmla="*/ 417759 h 450019"/>
                    <a:gd name="connsiteX347" fmla="*/ 1390408 w 2712206"/>
                    <a:gd name="connsiteY347" fmla="*/ 434893 h 450019"/>
                    <a:gd name="connsiteX348" fmla="*/ 1403077 w 2712206"/>
                    <a:gd name="connsiteY348" fmla="*/ 440195 h 450019"/>
                    <a:gd name="connsiteX349" fmla="*/ 1416806 w 2712206"/>
                    <a:gd name="connsiteY349" fmla="*/ 436065 h 450019"/>
                    <a:gd name="connsiteX350" fmla="*/ 1416806 w 2712206"/>
                    <a:gd name="connsiteY350" fmla="*/ 445665 h 450019"/>
                    <a:gd name="connsiteX351" fmla="*/ 1401737 w 2712206"/>
                    <a:gd name="connsiteY351" fmla="*/ 449460 h 450019"/>
                    <a:gd name="connsiteX352" fmla="*/ 1376399 w 2712206"/>
                    <a:gd name="connsiteY352" fmla="*/ 419099 h 450019"/>
                    <a:gd name="connsiteX353" fmla="*/ 1376399 w 2712206"/>
                    <a:gd name="connsiteY353" fmla="*/ 342303 h 450019"/>
                    <a:gd name="connsiteX354" fmla="*/ 1355861 w 2712206"/>
                    <a:gd name="connsiteY354" fmla="*/ 342303 h 450019"/>
                    <a:gd name="connsiteX355" fmla="*/ 1355861 w 2712206"/>
                    <a:gd name="connsiteY355" fmla="*/ 332927 h 450019"/>
                    <a:gd name="connsiteX356" fmla="*/ 1376399 w 2712206"/>
                    <a:gd name="connsiteY356" fmla="*/ 332927 h 450019"/>
                    <a:gd name="connsiteX357" fmla="*/ 1376399 w 2712206"/>
                    <a:gd name="connsiteY357" fmla="*/ 303236 h 450019"/>
                    <a:gd name="connsiteX358" fmla="*/ 1381534 w 2712206"/>
                    <a:gd name="connsiteY358" fmla="*/ 301450 h 450019"/>
                    <a:gd name="connsiteX359" fmla="*/ 1386668 w 2712206"/>
                    <a:gd name="connsiteY359" fmla="*/ 299776 h 450019"/>
                    <a:gd name="connsiteX360" fmla="*/ 1015193 w 2712206"/>
                    <a:gd name="connsiteY360" fmla="*/ 299776 h 450019"/>
                    <a:gd name="connsiteX361" fmla="*/ 1015193 w 2712206"/>
                    <a:gd name="connsiteY361" fmla="*/ 332927 h 450019"/>
                    <a:gd name="connsiteX362" fmla="*/ 1045331 w 2712206"/>
                    <a:gd name="connsiteY362" fmla="*/ 332927 h 450019"/>
                    <a:gd name="connsiteX363" fmla="*/ 1045331 w 2712206"/>
                    <a:gd name="connsiteY363" fmla="*/ 342303 h 450019"/>
                    <a:gd name="connsiteX364" fmla="*/ 1015193 w 2712206"/>
                    <a:gd name="connsiteY364" fmla="*/ 342303 h 450019"/>
                    <a:gd name="connsiteX365" fmla="*/ 1015193 w 2712206"/>
                    <a:gd name="connsiteY365" fmla="*/ 417759 h 450019"/>
                    <a:gd name="connsiteX366" fmla="*/ 1018933 w 2712206"/>
                    <a:gd name="connsiteY366" fmla="*/ 434893 h 450019"/>
                    <a:gd name="connsiteX367" fmla="*/ 1031602 w 2712206"/>
                    <a:gd name="connsiteY367" fmla="*/ 440195 h 450019"/>
                    <a:gd name="connsiteX368" fmla="*/ 1045331 w 2712206"/>
                    <a:gd name="connsiteY368" fmla="*/ 436065 h 450019"/>
                    <a:gd name="connsiteX369" fmla="*/ 1045331 w 2712206"/>
                    <a:gd name="connsiteY369" fmla="*/ 445665 h 450019"/>
                    <a:gd name="connsiteX370" fmla="*/ 1030262 w 2712206"/>
                    <a:gd name="connsiteY370" fmla="*/ 449460 h 450019"/>
                    <a:gd name="connsiteX371" fmla="*/ 1004924 w 2712206"/>
                    <a:gd name="connsiteY371" fmla="*/ 419099 h 450019"/>
                    <a:gd name="connsiteX372" fmla="*/ 1004924 w 2712206"/>
                    <a:gd name="connsiteY372" fmla="*/ 342303 h 450019"/>
                    <a:gd name="connsiteX373" fmla="*/ 984386 w 2712206"/>
                    <a:gd name="connsiteY373" fmla="*/ 342303 h 450019"/>
                    <a:gd name="connsiteX374" fmla="*/ 984386 w 2712206"/>
                    <a:gd name="connsiteY374" fmla="*/ 332927 h 450019"/>
                    <a:gd name="connsiteX375" fmla="*/ 1004924 w 2712206"/>
                    <a:gd name="connsiteY375" fmla="*/ 332927 h 450019"/>
                    <a:gd name="connsiteX376" fmla="*/ 1004924 w 2712206"/>
                    <a:gd name="connsiteY376" fmla="*/ 303236 h 450019"/>
                    <a:gd name="connsiteX377" fmla="*/ 1010059 w 2712206"/>
                    <a:gd name="connsiteY377" fmla="*/ 301450 h 450019"/>
                    <a:gd name="connsiteX378" fmla="*/ 1015193 w 2712206"/>
                    <a:gd name="connsiteY378" fmla="*/ 299776 h 450019"/>
                    <a:gd name="connsiteX379" fmla="*/ 2002481 w 2712206"/>
                    <a:gd name="connsiteY379" fmla="*/ 287163 h 450019"/>
                    <a:gd name="connsiteX380" fmla="*/ 2013531 w 2712206"/>
                    <a:gd name="connsiteY380" fmla="*/ 287163 h 450019"/>
                    <a:gd name="connsiteX381" fmla="*/ 2013531 w 2712206"/>
                    <a:gd name="connsiteY381" fmla="*/ 447227 h 450019"/>
                    <a:gd name="connsiteX382" fmla="*/ 2002481 w 2712206"/>
                    <a:gd name="connsiteY382" fmla="*/ 447227 h 450019"/>
                    <a:gd name="connsiteX383" fmla="*/ 1695448 w 2712206"/>
                    <a:gd name="connsiteY383" fmla="*/ 278011 h 450019"/>
                    <a:gd name="connsiteX384" fmla="*/ 1705718 w 2712206"/>
                    <a:gd name="connsiteY384" fmla="*/ 278011 h 450019"/>
                    <a:gd name="connsiteX385" fmla="*/ 1705718 w 2712206"/>
                    <a:gd name="connsiteY385" fmla="*/ 353467 h 450019"/>
                    <a:gd name="connsiteX386" fmla="*/ 1706164 w 2712206"/>
                    <a:gd name="connsiteY386" fmla="*/ 353467 h 450019"/>
                    <a:gd name="connsiteX387" fmla="*/ 1745455 w 2712206"/>
                    <a:gd name="connsiteY387" fmla="*/ 330138 h 450019"/>
                    <a:gd name="connsiteX388" fmla="*/ 1773695 w 2712206"/>
                    <a:gd name="connsiteY388" fmla="*/ 342081 h 450019"/>
                    <a:gd name="connsiteX389" fmla="*/ 1783406 w 2712206"/>
                    <a:gd name="connsiteY389" fmla="*/ 376349 h 450019"/>
                    <a:gd name="connsiteX390" fmla="*/ 1783406 w 2712206"/>
                    <a:gd name="connsiteY390" fmla="*/ 447228 h 450019"/>
                    <a:gd name="connsiteX391" fmla="*/ 1773137 w 2712206"/>
                    <a:gd name="connsiteY391" fmla="*/ 447228 h 450019"/>
                    <a:gd name="connsiteX392" fmla="*/ 1773137 w 2712206"/>
                    <a:gd name="connsiteY392" fmla="*/ 378693 h 450019"/>
                    <a:gd name="connsiteX393" fmla="*/ 1765770 w 2712206"/>
                    <a:gd name="connsiteY393" fmla="*/ 348946 h 450019"/>
                    <a:gd name="connsiteX394" fmla="*/ 1742776 w 2712206"/>
                    <a:gd name="connsiteY394" fmla="*/ 339514 h 450019"/>
                    <a:gd name="connsiteX395" fmla="*/ 1716880 w 2712206"/>
                    <a:gd name="connsiteY395" fmla="*/ 351011 h 450019"/>
                    <a:gd name="connsiteX396" fmla="*/ 1705718 w 2712206"/>
                    <a:gd name="connsiteY396" fmla="*/ 383939 h 450019"/>
                    <a:gd name="connsiteX397" fmla="*/ 1705718 w 2712206"/>
                    <a:gd name="connsiteY397" fmla="*/ 447228 h 450019"/>
                    <a:gd name="connsiteX398" fmla="*/ 1695448 w 2712206"/>
                    <a:gd name="connsiteY398" fmla="*/ 447228 h 450019"/>
                    <a:gd name="connsiteX399" fmla="*/ 1262248 w 2712206"/>
                    <a:gd name="connsiteY399" fmla="*/ 278010 h 450019"/>
                    <a:gd name="connsiteX400" fmla="*/ 1272517 w 2712206"/>
                    <a:gd name="connsiteY400" fmla="*/ 278010 h 450019"/>
                    <a:gd name="connsiteX401" fmla="*/ 1272517 w 2712206"/>
                    <a:gd name="connsiteY401" fmla="*/ 447227 h 450019"/>
                    <a:gd name="connsiteX402" fmla="*/ 1262248 w 2712206"/>
                    <a:gd name="connsiteY402" fmla="*/ 447227 h 450019"/>
                    <a:gd name="connsiteX403" fmla="*/ 1262248 w 2712206"/>
                    <a:gd name="connsiteY403" fmla="*/ 426466 h 450019"/>
                    <a:gd name="connsiteX404" fmla="*/ 1261801 w 2712206"/>
                    <a:gd name="connsiteY404" fmla="*/ 426466 h 450019"/>
                    <a:gd name="connsiteX405" fmla="*/ 1245282 w 2712206"/>
                    <a:gd name="connsiteY405" fmla="*/ 443655 h 450019"/>
                    <a:gd name="connsiteX406" fmla="*/ 1220613 w 2712206"/>
                    <a:gd name="connsiteY406" fmla="*/ 450018 h 450019"/>
                    <a:gd name="connsiteX407" fmla="*/ 1186178 w 2712206"/>
                    <a:gd name="connsiteY407" fmla="*/ 434614 h 450019"/>
                    <a:gd name="connsiteX408" fmla="*/ 1172840 w 2712206"/>
                    <a:gd name="connsiteY408" fmla="*/ 392086 h 450019"/>
                    <a:gd name="connsiteX409" fmla="*/ 1187406 w 2712206"/>
                    <a:gd name="connsiteY409" fmla="*/ 347271 h 450019"/>
                    <a:gd name="connsiteX410" fmla="*/ 1225190 w 2712206"/>
                    <a:gd name="connsiteY410" fmla="*/ 330137 h 450019"/>
                    <a:gd name="connsiteX411" fmla="*/ 1261801 w 2712206"/>
                    <a:gd name="connsiteY411" fmla="*/ 351233 h 450019"/>
                    <a:gd name="connsiteX412" fmla="*/ 1262248 w 2712206"/>
                    <a:gd name="connsiteY412" fmla="*/ 351233 h 450019"/>
                    <a:gd name="connsiteX413" fmla="*/ 0 w 2712206"/>
                    <a:gd name="connsiteY413" fmla="*/ 278010 h 450019"/>
                    <a:gd name="connsiteX414" fmla="*/ 10269 w 2712206"/>
                    <a:gd name="connsiteY414" fmla="*/ 278010 h 450019"/>
                    <a:gd name="connsiteX415" fmla="*/ 10269 w 2712206"/>
                    <a:gd name="connsiteY415" fmla="*/ 356479 h 450019"/>
                    <a:gd name="connsiteX416" fmla="*/ 10715 w 2712206"/>
                    <a:gd name="connsiteY416" fmla="*/ 356479 h 450019"/>
                    <a:gd name="connsiteX417" fmla="*/ 28296 w 2712206"/>
                    <a:gd name="connsiteY417" fmla="*/ 337001 h 450019"/>
                    <a:gd name="connsiteX418" fmla="*/ 53466 w 2712206"/>
                    <a:gd name="connsiteY418" fmla="*/ 330137 h 450019"/>
                    <a:gd name="connsiteX419" fmla="*/ 87455 w 2712206"/>
                    <a:gd name="connsiteY419" fmla="*/ 345150 h 450019"/>
                    <a:gd name="connsiteX420" fmla="*/ 99677 w 2712206"/>
                    <a:gd name="connsiteY420" fmla="*/ 385947 h 450019"/>
                    <a:gd name="connsiteX421" fmla="*/ 85501 w 2712206"/>
                    <a:gd name="connsiteY421" fmla="*/ 432326 h 450019"/>
                    <a:gd name="connsiteX422" fmla="*/ 48666 w 2712206"/>
                    <a:gd name="connsiteY422" fmla="*/ 450018 h 450019"/>
                    <a:gd name="connsiteX423" fmla="*/ 10715 w 2712206"/>
                    <a:gd name="connsiteY423" fmla="*/ 426912 h 450019"/>
                    <a:gd name="connsiteX424" fmla="*/ 10269 w 2712206"/>
                    <a:gd name="connsiteY424" fmla="*/ 426912 h 450019"/>
                    <a:gd name="connsiteX425" fmla="*/ 10269 w 2712206"/>
                    <a:gd name="connsiteY425" fmla="*/ 447227 h 450019"/>
                    <a:gd name="connsiteX426" fmla="*/ 0 w 2712206"/>
                    <a:gd name="connsiteY426" fmla="*/ 447227 h 450019"/>
                    <a:gd name="connsiteX427" fmla="*/ 1830436 w 2712206"/>
                    <a:gd name="connsiteY427" fmla="*/ 109500 h 450019"/>
                    <a:gd name="connsiteX428" fmla="*/ 1798958 w 2712206"/>
                    <a:gd name="connsiteY428" fmla="*/ 114076 h 450019"/>
                    <a:gd name="connsiteX429" fmla="*/ 1773732 w 2712206"/>
                    <a:gd name="connsiteY429" fmla="*/ 122392 h 450019"/>
                    <a:gd name="connsiteX430" fmla="*/ 1766477 w 2712206"/>
                    <a:gd name="connsiteY430" fmla="*/ 141089 h 450019"/>
                    <a:gd name="connsiteX431" fmla="*/ 1773230 w 2712206"/>
                    <a:gd name="connsiteY431" fmla="*/ 157832 h 450019"/>
                    <a:gd name="connsiteX432" fmla="*/ 1792038 w 2712206"/>
                    <a:gd name="connsiteY432" fmla="*/ 164418 h 450019"/>
                    <a:gd name="connsiteX433" fmla="*/ 1819497 w 2712206"/>
                    <a:gd name="connsiteY433" fmla="*/ 152195 h 450019"/>
                    <a:gd name="connsiteX434" fmla="*/ 1830436 w 2712206"/>
                    <a:gd name="connsiteY434" fmla="*/ 120662 h 450019"/>
                    <a:gd name="connsiteX435" fmla="*/ 1058912 w 2712206"/>
                    <a:gd name="connsiteY435" fmla="*/ 109500 h 450019"/>
                    <a:gd name="connsiteX436" fmla="*/ 1027435 w 2712206"/>
                    <a:gd name="connsiteY436" fmla="*/ 114076 h 450019"/>
                    <a:gd name="connsiteX437" fmla="*/ 1002208 w 2712206"/>
                    <a:gd name="connsiteY437" fmla="*/ 122392 h 450019"/>
                    <a:gd name="connsiteX438" fmla="*/ 994953 w 2712206"/>
                    <a:gd name="connsiteY438" fmla="*/ 141089 h 450019"/>
                    <a:gd name="connsiteX439" fmla="*/ 1001706 w 2712206"/>
                    <a:gd name="connsiteY439" fmla="*/ 157832 h 450019"/>
                    <a:gd name="connsiteX440" fmla="*/ 1020514 w 2712206"/>
                    <a:gd name="connsiteY440" fmla="*/ 164418 h 450019"/>
                    <a:gd name="connsiteX441" fmla="*/ 1047973 w 2712206"/>
                    <a:gd name="connsiteY441" fmla="*/ 152195 h 450019"/>
                    <a:gd name="connsiteX442" fmla="*/ 1058912 w 2712206"/>
                    <a:gd name="connsiteY442" fmla="*/ 120662 h 450019"/>
                    <a:gd name="connsiteX443" fmla="*/ 430634 w 2712206"/>
                    <a:gd name="connsiteY443" fmla="*/ 101016 h 450019"/>
                    <a:gd name="connsiteX444" fmla="*/ 410430 w 2712206"/>
                    <a:gd name="connsiteY444" fmla="*/ 109722 h 450019"/>
                    <a:gd name="connsiteX445" fmla="*/ 402952 w 2712206"/>
                    <a:gd name="connsiteY445" fmla="*/ 133498 h 450019"/>
                    <a:gd name="connsiteX446" fmla="*/ 410151 w 2712206"/>
                    <a:gd name="connsiteY446" fmla="*/ 156380 h 450019"/>
                    <a:gd name="connsiteX447" fmla="*/ 429964 w 2712206"/>
                    <a:gd name="connsiteY447" fmla="*/ 164863 h 450019"/>
                    <a:gd name="connsiteX448" fmla="*/ 450000 w 2712206"/>
                    <a:gd name="connsiteY448" fmla="*/ 156212 h 450019"/>
                    <a:gd name="connsiteX449" fmla="*/ 457200 w 2712206"/>
                    <a:gd name="connsiteY449" fmla="*/ 132828 h 450019"/>
                    <a:gd name="connsiteX450" fmla="*/ 450056 w 2712206"/>
                    <a:gd name="connsiteY450" fmla="*/ 109053 h 450019"/>
                    <a:gd name="connsiteX451" fmla="*/ 430634 w 2712206"/>
                    <a:gd name="connsiteY451" fmla="*/ 101016 h 450019"/>
                    <a:gd name="connsiteX452" fmla="*/ 430857 w 2712206"/>
                    <a:gd name="connsiteY452" fmla="*/ 91863 h 450019"/>
                    <a:gd name="connsiteX453" fmla="*/ 457423 w 2712206"/>
                    <a:gd name="connsiteY453" fmla="*/ 102802 h 450019"/>
                    <a:gd name="connsiteX454" fmla="*/ 467246 w 2712206"/>
                    <a:gd name="connsiteY454" fmla="*/ 133051 h 450019"/>
                    <a:gd name="connsiteX455" fmla="*/ 457032 w 2712206"/>
                    <a:gd name="connsiteY455" fmla="*/ 162128 h 450019"/>
                    <a:gd name="connsiteX456" fmla="*/ 429741 w 2712206"/>
                    <a:gd name="connsiteY456" fmla="*/ 173793 h 450019"/>
                    <a:gd name="connsiteX457" fmla="*/ 402673 w 2712206"/>
                    <a:gd name="connsiteY457" fmla="*/ 162519 h 450019"/>
                    <a:gd name="connsiteX458" fmla="*/ 392683 w 2712206"/>
                    <a:gd name="connsiteY458" fmla="*/ 133274 h 450019"/>
                    <a:gd name="connsiteX459" fmla="*/ 403398 w 2712206"/>
                    <a:gd name="connsiteY459" fmla="*/ 102690 h 450019"/>
                    <a:gd name="connsiteX460" fmla="*/ 430857 w 2712206"/>
                    <a:gd name="connsiteY460" fmla="*/ 91863 h 450019"/>
                    <a:gd name="connsiteX461" fmla="*/ 2090402 w 2712206"/>
                    <a:gd name="connsiteY461" fmla="*/ 63289 h 450019"/>
                    <a:gd name="connsiteX462" fmla="*/ 2063780 w 2712206"/>
                    <a:gd name="connsiteY462" fmla="*/ 74060 h 450019"/>
                    <a:gd name="connsiteX463" fmla="*/ 2050777 w 2712206"/>
                    <a:gd name="connsiteY463" fmla="*/ 104924 h 450019"/>
                    <a:gd name="connsiteX464" fmla="*/ 2124223 w 2712206"/>
                    <a:gd name="connsiteY464" fmla="*/ 104924 h 450019"/>
                    <a:gd name="connsiteX465" fmla="*/ 2114735 w 2712206"/>
                    <a:gd name="connsiteY465" fmla="*/ 74228 h 450019"/>
                    <a:gd name="connsiteX466" fmla="*/ 2090402 w 2712206"/>
                    <a:gd name="connsiteY466" fmla="*/ 63289 h 450019"/>
                    <a:gd name="connsiteX467" fmla="*/ 918826 w 2712206"/>
                    <a:gd name="connsiteY467" fmla="*/ 63289 h 450019"/>
                    <a:gd name="connsiteX468" fmla="*/ 892205 w 2712206"/>
                    <a:gd name="connsiteY468" fmla="*/ 74060 h 450019"/>
                    <a:gd name="connsiteX469" fmla="*/ 879201 w 2712206"/>
                    <a:gd name="connsiteY469" fmla="*/ 104924 h 450019"/>
                    <a:gd name="connsiteX470" fmla="*/ 952647 w 2712206"/>
                    <a:gd name="connsiteY470" fmla="*/ 104924 h 450019"/>
                    <a:gd name="connsiteX471" fmla="*/ 943160 w 2712206"/>
                    <a:gd name="connsiteY471" fmla="*/ 74228 h 450019"/>
                    <a:gd name="connsiteX472" fmla="*/ 918826 w 2712206"/>
                    <a:gd name="connsiteY472" fmla="*/ 63289 h 450019"/>
                    <a:gd name="connsiteX473" fmla="*/ 599107 w 2712206"/>
                    <a:gd name="connsiteY473" fmla="*/ 63289 h 450019"/>
                    <a:gd name="connsiteX474" fmla="*/ 566905 w 2712206"/>
                    <a:gd name="connsiteY474" fmla="*/ 76907 h 450019"/>
                    <a:gd name="connsiteX475" fmla="*/ 554905 w 2712206"/>
                    <a:gd name="connsiteY475" fmla="*/ 114746 h 450019"/>
                    <a:gd name="connsiteX476" fmla="*/ 566626 w 2712206"/>
                    <a:gd name="connsiteY476" fmla="*/ 150800 h 450019"/>
                    <a:gd name="connsiteX477" fmla="*/ 598661 w 2712206"/>
                    <a:gd name="connsiteY477" fmla="*/ 164418 h 450019"/>
                    <a:gd name="connsiteX478" fmla="*/ 630473 w 2712206"/>
                    <a:gd name="connsiteY478" fmla="*/ 151023 h 450019"/>
                    <a:gd name="connsiteX479" fmla="*/ 641635 w 2712206"/>
                    <a:gd name="connsiteY479" fmla="*/ 113853 h 450019"/>
                    <a:gd name="connsiteX480" fmla="*/ 630529 w 2712206"/>
                    <a:gd name="connsiteY480" fmla="*/ 76349 h 450019"/>
                    <a:gd name="connsiteX481" fmla="*/ 599107 w 2712206"/>
                    <a:gd name="connsiteY481" fmla="*/ 63289 h 450019"/>
                    <a:gd name="connsiteX482" fmla="*/ 1634987 w 2712206"/>
                    <a:gd name="connsiteY482" fmla="*/ 63288 h 450019"/>
                    <a:gd name="connsiteX483" fmla="*/ 1604626 w 2712206"/>
                    <a:gd name="connsiteY483" fmla="*/ 77464 h 450019"/>
                    <a:gd name="connsiteX484" fmla="*/ 1593129 w 2712206"/>
                    <a:gd name="connsiteY484" fmla="*/ 114968 h 450019"/>
                    <a:gd name="connsiteX485" fmla="*/ 1603677 w 2712206"/>
                    <a:gd name="connsiteY485" fmla="*/ 151413 h 450019"/>
                    <a:gd name="connsiteX486" fmla="*/ 1631527 w 2712206"/>
                    <a:gd name="connsiteY486" fmla="*/ 164417 h 450019"/>
                    <a:gd name="connsiteX487" fmla="*/ 1660883 w 2712206"/>
                    <a:gd name="connsiteY487" fmla="*/ 152473 h 450019"/>
                    <a:gd name="connsiteX488" fmla="*/ 1671822 w 2712206"/>
                    <a:gd name="connsiteY488" fmla="*/ 123228 h 450019"/>
                    <a:gd name="connsiteX489" fmla="*/ 1671822 w 2712206"/>
                    <a:gd name="connsiteY489" fmla="*/ 100569 h 450019"/>
                    <a:gd name="connsiteX490" fmla="*/ 1661609 w 2712206"/>
                    <a:gd name="connsiteY490" fmla="*/ 74338 h 450019"/>
                    <a:gd name="connsiteX491" fmla="*/ 1634987 w 2712206"/>
                    <a:gd name="connsiteY491" fmla="*/ 63288 h 450019"/>
                    <a:gd name="connsiteX492" fmla="*/ 1444487 w 2712206"/>
                    <a:gd name="connsiteY492" fmla="*/ 63288 h 450019"/>
                    <a:gd name="connsiteX493" fmla="*/ 1414126 w 2712206"/>
                    <a:gd name="connsiteY493" fmla="*/ 77464 h 450019"/>
                    <a:gd name="connsiteX494" fmla="*/ 1402629 w 2712206"/>
                    <a:gd name="connsiteY494" fmla="*/ 114968 h 450019"/>
                    <a:gd name="connsiteX495" fmla="*/ 1413177 w 2712206"/>
                    <a:gd name="connsiteY495" fmla="*/ 151413 h 450019"/>
                    <a:gd name="connsiteX496" fmla="*/ 1441027 w 2712206"/>
                    <a:gd name="connsiteY496" fmla="*/ 164417 h 450019"/>
                    <a:gd name="connsiteX497" fmla="*/ 1470383 w 2712206"/>
                    <a:gd name="connsiteY497" fmla="*/ 152473 h 450019"/>
                    <a:gd name="connsiteX498" fmla="*/ 1481322 w 2712206"/>
                    <a:gd name="connsiteY498" fmla="*/ 123228 h 450019"/>
                    <a:gd name="connsiteX499" fmla="*/ 1481322 w 2712206"/>
                    <a:gd name="connsiteY499" fmla="*/ 100569 h 450019"/>
                    <a:gd name="connsiteX500" fmla="*/ 1471109 w 2712206"/>
                    <a:gd name="connsiteY500" fmla="*/ 74338 h 450019"/>
                    <a:gd name="connsiteX501" fmla="*/ 1444487 w 2712206"/>
                    <a:gd name="connsiteY501" fmla="*/ 63288 h 450019"/>
                    <a:gd name="connsiteX502" fmla="*/ 1148767 w 2712206"/>
                    <a:gd name="connsiteY502" fmla="*/ 63288 h 450019"/>
                    <a:gd name="connsiteX503" fmla="*/ 1119075 w 2712206"/>
                    <a:gd name="connsiteY503" fmla="*/ 77073 h 450019"/>
                    <a:gd name="connsiteX504" fmla="*/ 1107355 w 2712206"/>
                    <a:gd name="connsiteY504" fmla="*/ 114968 h 450019"/>
                    <a:gd name="connsiteX505" fmla="*/ 1117904 w 2712206"/>
                    <a:gd name="connsiteY505" fmla="*/ 151524 h 450019"/>
                    <a:gd name="connsiteX506" fmla="*/ 1145083 w 2712206"/>
                    <a:gd name="connsiteY506" fmla="*/ 164417 h 450019"/>
                    <a:gd name="connsiteX507" fmla="*/ 1175332 w 2712206"/>
                    <a:gd name="connsiteY507" fmla="*/ 152306 h 450019"/>
                    <a:gd name="connsiteX508" fmla="*/ 1186048 w 2712206"/>
                    <a:gd name="connsiteY508" fmla="*/ 122782 h 450019"/>
                    <a:gd name="connsiteX509" fmla="*/ 1186048 w 2712206"/>
                    <a:gd name="connsiteY509" fmla="*/ 101462 h 450019"/>
                    <a:gd name="connsiteX510" fmla="*/ 1175946 w 2712206"/>
                    <a:gd name="connsiteY510" fmla="*/ 74394 h 450019"/>
                    <a:gd name="connsiteX511" fmla="*/ 1148767 w 2712206"/>
                    <a:gd name="connsiteY511" fmla="*/ 63288 h 450019"/>
                    <a:gd name="connsiteX512" fmla="*/ 2476498 w 2712206"/>
                    <a:gd name="connsiteY512" fmla="*/ 56702 h 450019"/>
                    <a:gd name="connsiteX513" fmla="*/ 2486768 w 2712206"/>
                    <a:gd name="connsiteY513" fmla="*/ 56702 h 450019"/>
                    <a:gd name="connsiteX514" fmla="*/ 2486768 w 2712206"/>
                    <a:gd name="connsiteY514" fmla="*/ 171002 h 450019"/>
                    <a:gd name="connsiteX515" fmla="*/ 2476498 w 2712206"/>
                    <a:gd name="connsiteY515" fmla="*/ 171002 h 450019"/>
                    <a:gd name="connsiteX516" fmla="*/ 2309923 w 2712206"/>
                    <a:gd name="connsiteY516" fmla="*/ 56702 h 450019"/>
                    <a:gd name="connsiteX517" fmla="*/ 2321309 w 2712206"/>
                    <a:gd name="connsiteY517" fmla="*/ 56702 h 450019"/>
                    <a:gd name="connsiteX518" fmla="*/ 2347875 w 2712206"/>
                    <a:gd name="connsiteY518" fmla="*/ 147897 h 450019"/>
                    <a:gd name="connsiteX519" fmla="*/ 2349437 w 2712206"/>
                    <a:gd name="connsiteY519" fmla="*/ 157496 h 450019"/>
                    <a:gd name="connsiteX520" fmla="*/ 2350330 w 2712206"/>
                    <a:gd name="connsiteY520" fmla="*/ 157496 h 450019"/>
                    <a:gd name="connsiteX521" fmla="*/ 2352451 w 2712206"/>
                    <a:gd name="connsiteY521" fmla="*/ 147897 h 450019"/>
                    <a:gd name="connsiteX522" fmla="*/ 2381473 w 2712206"/>
                    <a:gd name="connsiteY522" fmla="*/ 56702 h 450019"/>
                    <a:gd name="connsiteX523" fmla="*/ 2388505 w 2712206"/>
                    <a:gd name="connsiteY523" fmla="*/ 56702 h 450019"/>
                    <a:gd name="connsiteX524" fmla="*/ 2414401 w 2712206"/>
                    <a:gd name="connsiteY524" fmla="*/ 147897 h 450019"/>
                    <a:gd name="connsiteX525" fmla="*/ 2415963 w 2712206"/>
                    <a:gd name="connsiteY525" fmla="*/ 157496 h 450019"/>
                    <a:gd name="connsiteX526" fmla="*/ 2416857 w 2712206"/>
                    <a:gd name="connsiteY526" fmla="*/ 157496 h 450019"/>
                    <a:gd name="connsiteX527" fmla="*/ 2418754 w 2712206"/>
                    <a:gd name="connsiteY527" fmla="*/ 147897 h 450019"/>
                    <a:gd name="connsiteX528" fmla="*/ 2445878 w 2712206"/>
                    <a:gd name="connsiteY528" fmla="*/ 56702 h 450019"/>
                    <a:gd name="connsiteX529" fmla="*/ 2456482 w 2712206"/>
                    <a:gd name="connsiteY529" fmla="*/ 56702 h 450019"/>
                    <a:gd name="connsiteX530" fmla="*/ 2420987 w 2712206"/>
                    <a:gd name="connsiteY530" fmla="*/ 171002 h 450019"/>
                    <a:gd name="connsiteX531" fmla="*/ 2411387 w 2712206"/>
                    <a:gd name="connsiteY531" fmla="*/ 171002 h 450019"/>
                    <a:gd name="connsiteX532" fmla="*/ 2386495 w 2712206"/>
                    <a:gd name="connsiteY532" fmla="*/ 84831 h 450019"/>
                    <a:gd name="connsiteX533" fmla="*/ 2384709 w 2712206"/>
                    <a:gd name="connsiteY533" fmla="*/ 75231 h 450019"/>
                    <a:gd name="connsiteX534" fmla="*/ 2384151 w 2712206"/>
                    <a:gd name="connsiteY534" fmla="*/ 75231 h 450019"/>
                    <a:gd name="connsiteX535" fmla="*/ 2381919 w 2712206"/>
                    <a:gd name="connsiteY535" fmla="*/ 84608 h 450019"/>
                    <a:gd name="connsiteX536" fmla="*/ 2354014 w 2712206"/>
                    <a:gd name="connsiteY536" fmla="*/ 171002 h 450019"/>
                    <a:gd name="connsiteX537" fmla="*/ 2344414 w 2712206"/>
                    <a:gd name="connsiteY537" fmla="*/ 171002 h 450019"/>
                    <a:gd name="connsiteX538" fmla="*/ 1228723 w 2712206"/>
                    <a:gd name="connsiteY538" fmla="*/ 56702 h 450019"/>
                    <a:gd name="connsiteX539" fmla="*/ 1238993 w 2712206"/>
                    <a:gd name="connsiteY539" fmla="*/ 56702 h 450019"/>
                    <a:gd name="connsiteX540" fmla="*/ 1238993 w 2712206"/>
                    <a:gd name="connsiteY540" fmla="*/ 171002 h 450019"/>
                    <a:gd name="connsiteX541" fmla="*/ 1228723 w 2712206"/>
                    <a:gd name="connsiteY541" fmla="*/ 171002 h 450019"/>
                    <a:gd name="connsiteX542" fmla="*/ 842627 w 2712206"/>
                    <a:gd name="connsiteY542" fmla="*/ 54470 h 450019"/>
                    <a:gd name="connsiteX543" fmla="*/ 854013 w 2712206"/>
                    <a:gd name="connsiteY543" fmla="*/ 56479 h 450019"/>
                    <a:gd name="connsiteX544" fmla="*/ 854013 w 2712206"/>
                    <a:gd name="connsiteY544" fmla="*/ 67418 h 450019"/>
                    <a:gd name="connsiteX545" fmla="*/ 841957 w 2712206"/>
                    <a:gd name="connsiteY545" fmla="*/ 63734 h 450019"/>
                    <a:gd name="connsiteX546" fmla="*/ 819298 w 2712206"/>
                    <a:gd name="connsiteY546" fmla="*/ 77687 h 450019"/>
                    <a:gd name="connsiteX547" fmla="*/ 810146 w 2712206"/>
                    <a:gd name="connsiteY547" fmla="*/ 117312 h 450019"/>
                    <a:gd name="connsiteX548" fmla="*/ 810146 w 2712206"/>
                    <a:gd name="connsiteY548" fmla="*/ 171002 h 450019"/>
                    <a:gd name="connsiteX549" fmla="*/ 800100 w 2712206"/>
                    <a:gd name="connsiteY549" fmla="*/ 171002 h 450019"/>
                    <a:gd name="connsiteX550" fmla="*/ 800100 w 2712206"/>
                    <a:gd name="connsiteY550" fmla="*/ 56702 h 450019"/>
                    <a:gd name="connsiteX551" fmla="*/ 810146 w 2712206"/>
                    <a:gd name="connsiteY551" fmla="*/ 56702 h 450019"/>
                    <a:gd name="connsiteX552" fmla="*/ 810146 w 2712206"/>
                    <a:gd name="connsiteY552" fmla="*/ 82040 h 450019"/>
                    <a:gd name="connsiteX553" fmla="*/ 810592 w 2712206"/>
                    <a:gd name="connsiteY553" fmla="*/ 82040 h 450019"/>
                    <a:gd name="connsiteX554" fmla="*/ 822982 w 2712206"/>
                    <a:gd name="connsiteY554" fmla="*/ 61725 h 450019"/>
                    <a:gd name="connsiteX555" fmla="*/ 842627 w 2712206"/>
                    <a:gd name="connsiteY555" fmla="*/ 54470 h 450019"/>
                    <a:gd name="connsiteX556" fmla="*/ 2193651 w 2712206"/>
                    <a:gd name="connsiteY556" fmla="*/ 53913 h 450019"/>
                    <a:gd name="connsiteX557" fmla="*/ 2218877 w 2712206"/>
                    <a:gd name="connsiteY557" fmla="*/ 59940 h 450019"/>
                    <a:gd name="connsiteX558" fmla="*/ 2218877 w 2712206"/>
                    <a:gd name="connsiteY558" fmla="*/ 71549 h 450019"/>
                    <a:gd name="connsiteX559" fmla="*/ 2192534 w 2712206"/>
                    <a:gd name="connsiteY559" fmla="*/ 63289 h 450019"/>
                    <a:gd name="connsiteX560" fmla="*/ 2174340 w 2712206"/>
                    <a:gd name="connsiteY560" fmla="*/ 69149 h 450019"/>
                    <a:gd name="connsiteX561" fmla="*/ 2167420 w 2712206"/>
                    <a:gd name="connsiteY561" fmla="*/ 84385 h 450019"/>
                    <a:gd name="connsiteX562" fmla="*/ 2171773 w 2712206"/>
                    <a:gd name="connsiteY562" fmla="*/ 97612 h 450019"/>
                    <a:gd name="connsiteX563" fmla="*/ 2190972 w 2712206"/>
                    <a:gd name="connsiteY563" fmla="*/ 109277 h 450019"/>
                    <a:gd name="connsiteX564" fmla="*/ 2215528 w 2712206"/>
                    <a:gd name="connsiteY564" fmla="*/ 124178 h 450019"/>
                    <a:gd name="connsiteX565" fmla="*/ 2222226 w 2712206"/>
                    <a:gd name="connsiteY565" fmla="*/ 142428 h 450019"/>
                    <a:gd name="connsiteX566" fmla="*/ 2212012 w 2712206"/>
                    <a:gd name="connsiteY566" fmla="*/ 164920 h 450019"/>
                    <a:gd name="connsiteX567" fmla="*/ 2183828 w 2712206"/>
                    <a:gd name="connsiteY567" fmla="*/ 173794 h 450019"/>
                    <a:gd name="connsiteX568" fmla="*/ 2156258 w 2712206"/>
                    <a:gd name="connsiteY568" fmla="*/ 165980 h 450019"/>
                    <a:gd name="connsiteX569" fmla="*/ 2156258 w 2712206"/>
                    <a:gd name="connsiteY569" fmla="*/ 153590 h 450019"/>
                    <a:gd name="connsiteX570" fmla="*/ 2170322 w 2712206"/>
                    <a:gd name="connsiteY570" fmla="*/ 161515 h 450019"/>
                    <a:gd name="connsiteX571" fmla="*/ 2184609 w 2712206"/>
                    <a:gd name="connsiteY571" fmla="*/ 164418 h 450019"/>
                    <a:gd name="connsiteX572" fmla="*/ 2211510 w 2712206"/>
                    <a:gd name="connsiteY572" fmla="*/ 142428 h 450019"/>
                    <a:gd name="connsiteX573" fmla="*/ 2205594 w 2712206"/>
                    <a:gd name="connsiteY573" fmla="*/ 129480 h 450019"/>
                    <a:gd name="connsiteX574" fmla="*/ 2186395 w 2712206"/>
                    <a:gd name="connsiteY574" fmla="*/ 118430 h 450019"/>
                    <a:gd name="connsiteX575" fmla="*/ 2163345 w 2712206"/>
                    <a:gd name="connsiteY575" fmla="*/ 103640 h 450019"/>
                    <a:gd name="connsiteX576" fmla="*/ 2156704 w 2712206"/>
                    <a:gd name="connsiteY576" fmla="*/ 85055 h 450019"/>
                    <a:gd name="connsiteX577" fmla="*/ 2167364 w 2712206"/>
                    <a:gd name="connsiteY577" fmla="*/ 62508 h 450019"/>
                    <a:gd name="connsiteX578" fmla="*/ 2193651 w 2712206"/>
                    <a:gd name="connsiteY578" fmla="*/ 53913 h 450019"/>
                    <a:gd name="connsiteX579" fmla="*/ 2090849 w 2712206"/>
                    <a:gd name="connsiteY579" fmla="*/ 53913 h 450019"/>
                    <a:gd name="connsiteX580" fmla="*/ 2123554 w 2712206"/>
                    <a:gd name="connsiteY580" fmla="*/ 68870 h 450019"/>
                    <a:gd name="connsiteX581" fmla="*/ 2134939 w 2712206"/>
                    <a:gd name="connsiteY581" fmla="*/ 109723 h 450019"/>
                    <a:gd name="connsiteX582" fmla="*/ 2134939 w 2712206"/>
                    <a:gd name="connsiteY582" fmla="*/ 114300 h 450019"/>
                    <a:gd name="connsiteX583" fmla="*/ 2050330 w 2712206"/>
                    <a:gd name="connsiteY583" fmla="*/ 114300 h 450019"/>
                    <a:gd name="connsiteX584" fmla="*/ 2061213 w 2712206"/>
                    <a:gd name="connsiteY584" fmla="*/ 151135 h 450019"/>
                    <a:gd name="connsiteX585" fmla="*/ 2091072 w 2712206"/>
                    <a:gd name="connsiteY585" fmla="*/ 164418 h 450019"/>
                    <a:gd name="connsiteX586" fmla="*/ 2128576 w 2712206"/>
                    <a:gd name="connsiteY586" fmla="*/ 150242 h 450019"/>
                    <a:gd name="connsiteX587" fmla="*/ 2128576 w 2712206"/>
                    <a:gd name="connsiteY587" fmla="*/ 161181 h 450019"/>
                    <a:gd name="connsiteX588" fmla="*/ 2088951 w 2712206"/>
                    <a:gd name="connsiteY588" fmla="*/ 173794 h 450019"/>
                    <a:gd name="connsiteX589" fmla="*/ 2053232 w 2712206"/>
                    <a:gd name="connsiteY589" fmla="*/ 157944 h 450019"/>
                    <a:gd name="connsiteX590" fmla="*/ 2039614 w 2712206"/>
                    <a:gd name="connsiteY590" fmla="*/ 113184 h 450019"/>
                    <a:gd name="connsiteX591" fmla="*/ 2053846 w 2712206"/>
                    <a:gd name="connsiteY591" fmla="*/ 71047 h 450019"/>
                    <a:gd name="connsiteX592" fmla="*/ 2090849 w 2712206"/>
                    <a:gd name="connsiteY592" fmla="*/ 53913 h 450019"/>
                    <a:gd name="connsiteX593" fmla="*/ 1993626 w 2712206"/>
                    <a:gd name="connsiteY593" fmla="*/ 53913 h 450019"/>
                    <a:gd name="connsiteX594" fmla="*/ 2018852 w 2712206"/>
                    <a:gd name="connsiteY594" fmla="*/ 59940 h 450019"/>
                    <a:gd name="connsiteX595" fmla="*/ 2018852 w 2712206"/>
                    <a:gd name="connsiteY595" fmla="*/ 71549 h 450019"/>
                    <a:gd name="connsiteX596" fmla="*/ 1992509 w 2712206"/>
                    <a:gd name="connsiteY596" fmla="*/ 63289 h 450019"/>
                    <a:gd name="connsiteX597" fmla="*/ 1974315 w 2712206"/>
                    <a:gd name="connsiteY597" fmla="*/ 69149 h 450019"/>
                    <a:gd name="connsiteX598" fmla="*/ 1967395 w 2712206"/>
                    <a:gd name="connsiteY598" fmla="*/ 84385 h 450019"/>
                    <a:gd name="connsiteX599" fmla="*/ 1971748 w 2712206"/>
                    <a:gd name="connsiteY599" fmla="*/ 97612 h 450019"/>
                    <a:gd name="connsiteX600" fmla="*/ 1990947 w 2712206"/>
                    <a:gd name="connsiteY600" fmla="*/ 109277 h 450019"/>
                    <a:gd name="connsiteX601" fmla="*/ 2015503 w 2712206"/>
                    <a:gd name="connsiteY601" fmla="*/ 124178 h 450019"/>
                    <a:gd name="connsiteX602" fmla="*/ 2022201 w 2712206"/>
                    <a:gd name="connsiteY602" fmla="*/ 142428 h 450019"/>
                    <a:gd name="connsiteX603" fmla="*/ 2011987 w 2712206"/>
                    <a:gd name="connsiteY603" fmla="*/ 164920 h 450019"/>
                    <a:gd name="connsiteX604" fmla="*/ 1983803 w 2712206"/>
                    <a:gd name="connsiteY604" fmla="*/ 173794 h 450019"/>
                    <a:gd name="connsiteX605" fmla="*/ 1956233 w 2712206"/>
                    <a:gd name="connsiteY605" fmla="*/ 165980 h 450019"/>
                    <a:gd name="connsiteX606" fmla="*/ 1956233 w 2712206"/>
                    <a:gd name="connsiteY606" fmla="*/ 153590 h 450019"/>
                    <a:gd name="connsiteX607" fmla="*/ 1970297 w 2712206"/>
                    <a:gd name="connsiteY607" fmla="*/ 161515 h 450019"/>
                    <a:gd name="connsiteX608" fmla="*/ 1984584 w 2712206"/>
                    <a:gd name="connsiteY608" fmla="*/ 164418 h 450019"/>
                    <a:gd name="connsiteX609" fmla="*/ 2011485 w 2712206"/>
                    <a:gd name="connsiteY609" fmla="*/ 142428 h 450019"/>
                    <a:gd name="connsiteX610" fmla="*/ 2005569 w 2712206"/>
                    <a:gd name="connsiteY610" fmla="*/ 129480 h 450019"/>
                    <a:gd name="connsiteX611" fmla="*/ 1986370 w 2712206"/>
                    <a:gd name="connsiteY611" fmla="*/ 118430 h 450019"/>
                    <a:gd name="connsiteX612" fmla="*/ 1963320 w 2712206"/>
                    <a:gd name="connsiteY612" fmla="*/ 103640 h 450019"/>
                    <a:gd name="connsiteX613" fmla="*/ 1956679 w 2712206"/>
                    <a:gd name="connsiteY613" fmla="*/ 85055 h 450019"/>
                    <a:gd name="connsiteX614" fmla="*/ 1967339 w 2712206"/>
                    <a:gd name="connsiteY614" fmla="*/ 62508 h 450019"/>
                    <a:gd name="connsiteX615" fmla="*/ 1993626 w 2712206"/>
                    <a:gd name="connsiteY615" fmla="*/ 53913 h 450019"/>
                    <a:gd name="connsiteX616" fmla="*/ 1907901 w 2712206"/>
                    <a:gd name="connsiteY616" fmla="*/ 53913 h 450019"/>
                    <a:gd name="connsiteX617" fmla="*/ 1933127 w 2712206"/>
                    <a:gd name="connsiteY617" fmla="*/ 59940 h 450019"/>
                    <a:gd name="connsiteX618" fmla="*/ 1933127 w 2712206"/>
                    <a:gd name="connsiteY618" fmla="*/ 71549 h 450019"/>
                    <a:gd name="connsiteX619" fmla="*/ 1906784 w 2712206"/>
                    <a:gd name="connsiteY619" fmla="*/ 63289 h 450019"/>
                    <a:gd name="connsiteX620" fmla="*/ 1888590 w 2712206"/>
                    <a:gd name="connsiteY620" fmla="*/ 69149 h 450019"/>
                    <a:gd name="connsiteX621" fmla="*/ 1881670 w 2712206"/>
                    <a:gd name="connsiteY621" fmla="*/ 84385 h 450019"/>
                    <a:gd name="connsiteX622" fmla="*/ 1886023 w 2712206"/>
                    <a:gd name="connsiteY622" fmla="*/ 97612 h 450019"/>
                    <a:gd name="connsiteX623" fmla="*/ 1905222 w 2712206"/>
                    <a:gd name="connsiteY623" fmla="*/ 109277 h 450019"/>
                    <a:gd name="connsiteX624" fmla="*/ 1929778 w 2712206"/>
                    <a:gd name="connsiteY624" fmla="*/ 124178 h 450019"/>
                    <a:gd name="connsiteX625" fmla="*/ 1936476 w 2712206"/>
                    <a:gd name="connsiteY625" fmla="*/ 142428 h 450019"/>
                    <a:gd name="connsiteX626" fmla="*/ 1926262 w 2712206"/>
                    <a:gd name="connsiteY626" fmla="*/ 164920 h 450019"/>
                    <a:gd name="connsiteX627" fmla="*/ 1898078 w 2712206"/>
                    <a:gd name="connsiteY627" fmla="*/ 173794 h 450019"/>
                    <a:gd name="connsiteX628" fmla="*/ 1870508 w 2712206"/>
                    <a:gd name="connsiteY628" fmla="*/ 165980 h 450019"/>
                    <a:gd name="connsiteX629" fmla="*/ 1870508 w 2712206"/>
                    <a:gd name="connsiteY629" fmla="*/ 153590 h 450019"/>
                    <a:gd name="connsiteX630" fmla="*/ 1884572 w 2712206"/>
                    <a:gd name="connsiteY630" fmla="*/ 161515 h 450019"/>
                    <a:gd name="connsiteX631" fmla="*/ 1898859 w 2712206"/>
                    <a:gd name="connsiteY631" fmla="*/ 164418 h 450019"/>
                    <a:gd name="connsiteX632" fmla="*/ 1925760 w 2712206"/>
                    <a:gd name="connsiteY632" fmla="*/ 142428 h 450019"/>
                    <a:gd name="connsiteX633" fmla="*/ 1919844 w 2712206"/>
                    <a:gd name="connsiteY633" fmla="*/ 129480 h 450019"/>
                    <a:gd name="connsiteX634" fmla="*/ 1900645 w 2712206"/>
                    <a:gd name="connsiteY634" fmla="*/ 118430 h 450019"/>
                    <a:gd name="connsiteX635" fmla="*/ 1877595 w 2712206"/>
                    <a:gd name="connsiteY635" fmla="*/ 103640 h 450019"/>
                    <a:gd name="connsiteX636" fmla="*/ 1870954 w 2712206"/>
                    <a:gd name="connsiteY636" fmla="*/ 85055 h 450019"/>
                    <a:gd name="connsiteX637" fmla="*/ 1881614 w 2712206"/>
                    <a:gd name="connsiteY637" fmla="*/ 62508 h 450019"/>
                    <a:gd name="connsiteX638" fmla="*/ 1907901 w 2712206"/>
                    <a:gd name="connsiteY638" fmla="*/ 53913 h 450019"/>
                    <a:gd name="connsiteX639" fmla="*/ 1803758 w 2712206"/>
                    <a:gd name="connsiteY639" fmla="*/ 53913 h 450019"/>
                    <a:gd name="connsiteX640" fmla="*/ 1831049 w 2712206"/>
                    <a:gd name="connsiteY640" fmla="*/ 64852 h 450019"/>
                    <a:gd name="connsiteX641" fmla="*/ 1840705 w 2712206"/>
                    <a:gd name="connsiteY641" fmla="*/ 96664 h 450019"/>
                    <a:gd name="connsiteX642" fmla="*/ 1840705 w 2712206"/>
                    <a:gd name="connsiteY642" fmla="*/ 171003 h 450019"/>
                    <a:gd name="connsiteX643" fmla="*/ 1830436 w 2712206"/>
                    <a:gd name="connsiteY643" fmla="*/ 171003 h 450019"/>
                    <a:gd name="connsiteX644" fmla="*/ 1830436 w 2712206"/>
                    <a:gd name="connsiteY644" fmla="*/ 148121 h 450019"/>
                    <a:gd name="connsiteX645" fmla="*/ 1829989 w 2712206"/>
                    <a:gd name="connsiteY645" fmla="*/ 148121 h 450019"/>
                    <a:gd name="connsiteX646" fmla="*/ 1814083 w 2712206"/>
                    <a:gd name="connsiteY646" fmla="*/ 166817 h 450019"/>
                    <a:gd name="connsiteX647" fmla="*/ 1790922 w 2712206"/>
                    <a:gd name="connsiteY647" fmla="*/ 173794 h 450019"/>
                    <a:gd name="connsiteX648" fmla="*/ 1765137 w 2712206"/>
                    <a:gd name="connsiteY648" fmla="*/ 164641 h 450019"/>
                    <a:gd name="connsiteX649" fmla="*/ 1755649 w 2712206"/>
                    <a:gd name="connsiteY649" fmla="*/ 141535 h 450019"/>
                    <a:gd name="connsiteX650" fmla="*/ 1795275 w 2712206"/>
                    <a:gd name="connsiteY650" fmla="*/ 105370 h 450019"/>
                    <a:gd name="connsiteX651" fmla="*/ 1830436 w 2712206"/>
                    <a:gd name="connsiteY651" fmla="*/ 100124 h 450019"/>
                    <a:gd name="connsiteX652" fmla="*/ 1802754 w 2712206"/>
                    <a:gd name="connsiteY652" fmla="*/ 63289 h 450019"/>
                    <a:gd name="connsiteX653" fmla="*/ 1766030 w 2712206"/>
                    <a:gd name="connsiteY653" fmla="*/ 78469 h 450019"/>
                    <a:gd name="connsiteX654" fmla="*/ 1766030 w 2712206"/>
                    <a:gd name="connsiteY654" fmla="*/ 66079 h 450019"/>
                    <a:gd name="connsiteX655" fmla="*/ 1783276 w 2712206"/>
                    <a:gd name="connsiteY655" fmla="*/ 57485 h 450019"/>
                    <a:gd name="connsiteX656" fmla="*/ 1803758 w 2712206"/>
                    <a:gd name="connsiteY656" fmla="*/ 53913 h 450019"/>
                    <a:gd name="connsiteX657" fmla="*/ 1032234 w 2712206"/>
                    <a:gd name="connsiteY657" fmla="*/ 53913 h 450019"/>
                    <a:gd name="connsiteX658" fmla="*/ 1059526 w 2712206"/>
                    <a:gd name="connsiteY658" fmla="*/ 64852 h 450019"/>
                    <a:gd name="connsiteX659" fmla="*/ 1069181 w 2712206"/>
                    <a:gd name="connsiteY659" fmla="*/ 96664 h 450019"/>
                    <a:gd name="connsiteX660" fmla="*/ 1069181 w 2712206"/>
                    <a:gd name="connsiteY660" fmla="*/ 171003 h 450019"/>
                    <a:gd name="connsiteX661" fmla="*/ 1058912 w 2712206"/>
                    <a:gd name="connsiteY661" fmla="*/ 171003 h 450019"/>
                    <a:gd name="connsiteX662" fmla="*/ 1058912 w 2712206"/>
                    <a:gd name="connsiteY662" fmla="*/ 148121 h 450019"/>
                    <a:gd name="connsiteX663" fmla="*/ 1058465 w 2712206"/>
                    <a:gd name="connsiteY663" fmla="*/ 148121 h 450019"/>
                    <a:gd name="connsiteX664" fmla="*/ 1042559 w 2712206"/>
                    <a:gd name="connsiteY664" fmla="*/ 166817 h 450019"/>
                    <a:gd name="connsiteX665" fmla="*/ 1019398 w 2712206"/>
                    <a:gd name="connsiteY665" fmla="*/ 173794 h 450019"/>
                    <a:gd name="connsiteX666" fmla="*/ 993613 w 2712206"/>
                    <a:gd name="connsiteY666" fmla="*/ 164641 h 450019"/>
                    <a:gd name="connsiteX667" fmla="*/ 984126 w 2712206"/>
                    <a:gd name="connsiteY667" fmla="*/ 141535 h 450019"/>
                    <a:gd name="connsiteX668" fmla="*/ 1023751 w 2712206"/>
                    <a:gd name="connsiteY668" fmla="*/ 105370 h 450019"/>
                    <a:gd name="connsiteX669" fmla="*/ 1058912 w 2712206"/>
                    <a:gd name="connsiteY669" fmla="*/ 100124 h 450019"/>
                    <a:gd name="connsiteX670" fmla="*/ 1031230 w 2712206"/>
                    <a:gd name="connsiteY670" fmla="*/ 63289 h 450019"/>
                    <a:gd name="connsiteX671" fmla="*/ 994506 w 2712206"/>
                    <a:gd name="connsiteY671" fmla="*/ 78469 h 450019"/>
                    <a:gd name="connsiteX672" fmla="*/ 994506 w 2712206"/>
                    <a:gd name="connsiteY672" fmla="*/ 66079 h 450019"/>
                    <a:gd name="connsiteX673" fmla="*/ 1011752 w 2712206"/>
                    <a:gd name="connsiteY673" fmla="*/ 57485 h 450019"/>
                    <a:gd name="connsiteX674" fmla="*/ 1032234 w 2712206"/>
                    <a:gd name="connsiteY674" fmla="*/ 53913 h 450019"/>
                    <a:gd name="connsiteX675" fmla="*/ 919273 w 2712206"/>
                    <a:gd name="connsiteY675" fmla="*/ 53913 h 450019"/>
                    <a:gd name="connsiteX676" fmla="*/ 951978 w 2712206"/>
                    <a:gd name="connsiteY676" fmla="*/ 68870 h 450019"/>
                    <a:gd name="connsiteX677" fmla="*/ 963363 w 2712206"/>
                    <a:gd name="connsiteY677" fmla="*/ 109723 h 450019"/>
                    <a:gd name="connsiteX678" fmla="*/ 963363 w 2712206"/>
                    <a:gd name="connsiteY678" fmla="*/ 114300 h 450019"/>
                    <a:gd name="connsiteX679" fmla="*/ 878754 w 2712206"/>
                    <a:gd name="connsiteY679" fmla="*/ 114300 h 450019"/>
                    <a:gd name="connsiteX680" fmla="*/ 889637 w 2712206"/>
                    <a:gd name="connsiteY680" fmla="*/ 151135 h 450019"/>
                    <a:gd name="connsiteX681" fmla="*/ 919496 w 2712206"/>
                    <a:gd name="connsiteY681" fmla="*/ 164418 h 450019"/>
                    <a:gd name="connsiteX682" fmla="*/ 957001 w 2712206"/>
                    <a:gd name="connsiteY682" fmla="*/ 150242 h 450019"/>
                    <a:gd name="connsiteX683" fmla="*/ 957001 w 2712206"/>
                    <a:gd name="connsiteY683" fmla="*/ 161181 h 450019"/>
                    <a:gd name="connsiteX684" fmla="*/ 917375 w 2712206"/>
                    <a:gd name="connsiteY684" fmla="*/ 173794 h 450019"/>
                    <a:gd name="connsiteX685" fmla="*/ 881656 w 2712206"/>
                    <a:gd name="connsiteY685" fmla="*/ 157944 h 450019"/>
                    <a:gd name="connsiteX686" fmla="*/ 868039 w 2712206"/>
                    <a:gd name="connsiteY686" fmla="*/ 113184 h 450019"/>
                    <a:gd name="connsiteX687" fmla="*/ 882270 w 2712206"/>
                    <a:gd name="connsiteY687" fmla="*/ 71047 h 450019"/>
                    <a:gd name="connsiteX688" fmla="*/ 919273 w 2712206"/>
                    <a:gd name="connsiteY688" fmla="*/ 53913 h 450019"/>
                    <a:gd name="connsiteX689" fmla="*/ 599554 w 2712206"/>
                    <a:gd name="connsiteY689" fmla="*/ 53913 h 450019"/>
                    <a:gd name="connsiteX690" fmla="*/ 638175 w 2712206"/>
                    <a:gd name="connsiteY690" fmla="*/ 69875 h 450019"/>
                    <a:gd name="connsiteX691" fmla="*/ 652351 w 2712206"/>
                    <a:gd name="connsiteY691" fmla="*/ 114076 h 450019"/>
                    <a:gd name="connsiteX692" fmla="*/ 637896 w 2712206"/>
                    <a:gd name="connsiteY692" fmla="*/ 157274 h 450019"/>
                    <a:gd name="connsiteX693" fmla="*/ 598326 w 2712206"/>
                    <a:gd name="connsiteY693" fmla="*/ 173794 h 450019"/>
                    <a:gd name="connsiteX694" fmla="*/ 558756 w 2712206"/>
                    <a:gd name="connsiteY694" fmla="*/ 157330 h 450019"/>
                    <a:gd name="connsiteX695" fmla="*/ 544190 w 2712206"/>
                    <a:gd name="connsiteY695" fmla="*/ 114523 h 450019"/>
                    <a:gd name="connsiteX696" fmla="*/ 559426 w 2712206"/>
                    <a:gd name="connsiteY696" fmla="*/ 69986 h 450019"/>
                    <a:gd name="connsiteX697" fmla="*/ 599554 w 2712206"/>
                    <a:gd name="connsiteY697" fmla="*/ 53913 h 450019"/>
                    <a:gd name="connsiteX698" fmla="*/ 1634764 w 2712206"/>
                    <a:gd name="connsiteY698" fmla="*/ 53912 h 450019"/>
                    <a:gd name="connsiteX699" fmla="*/ 1671375 w 2712206"/>
                    <a:gd name="connsiteY699" fmla="*/ 74785 h 450019"/>
                    <a:gd name="connsiteX700" fmla="*/ 1671822 w 2712206"/>
                    <a:gd name="connsiteY700" fmla="*/ 74785 h 450019"/>
                    <a:gd name="connsiteX701" fmla="*/ 1671822 w 2712206"/>
                    <a:gd name="connsiteY701" fmla="*/ 56702 h 450019"/>
                    <a:gd name="connsiteX702" fmla="*/ 1682091 w 2712206"/>
                    <a:gd name="connsiteY702" fmla="*/ 56702 h 450019"/>
                    <a:gd name="connsiteX703" fmla="*/ 1682091 w 2712206"/>
                    <a:gd name="connsiteY703" fmla="*/ 162519 h 450019"/>
                    <a:gd name="connsiteX704" fmla="*/ 1668027 w 2712206"/>
                    <a:gd name="connsiteY704" fmla="*/ 209735 h 450019"/>
                    <a:gd name="connsiteX705" fmla="*/ 1624271 w 2712206"/>
                    <a:gd name="connsiteY705" fmla="*/ 224692 h 450019"/>
                    <a:gd name="connsiteX706" fmla="*/ 1590227 w 2712206"/>
                    <a:gd name="connsiteY706" fmla="*/ 215986 h 450019"/>
                    <a:gd name="connsiteX707" fmla="*/ 1590227 w 2712206"/>
                    <a:gd name="connsiteY707" fmla="*/ 205270 h 450019"/>
                    <a:gd name="connsiteX708" fmla="*/ 1624495 w 2712206"/>
                    <a:gd name="connsiteY708" fmla="*/ 215316 h 450019"/>
                    <a:gd name="connsiteX709" fmla="*/ 1671822 w 2712206"/>
                    <a:gd name="connsiteY709" fmla="*/ 165310 h 450019"/>
                    <a:gd name="connsiteX710" fmla="*/ 1671822 w 2712206"/>
                    <a:gd name="connsiteY710" fmla="*/ 150464 h 450019"/>
                    <a:gd name="connsiteX711" fmla="*/ 1671375 w 2712206"/>
                    <a:gd name="connsiteY711" fmla="*/ 150464 h 450019"/>
                    <a:gd name="connsiteX712" fmla="*/ 1630187 w 2712206"/>
                    <a:gd name="connsiteY712" fmla="*/ 173793 h 450019"/>
                    <a:gd name="connsiteX713" fmla="*/ 1595752 w 2712206"/>
                    <a:gd name="connsiteY713" fmla="*/ 158501 h 450019"/>
                    <a:gd name="connsiteX714" fmla="*/ 1582413 w 2712206"/>
                    <a:gd name="connsiteY714" fmla="*/ 115861 h 450019"/>
                    <a:gd name="connsiteX715" fmla="*/ 1596813 w 2712206"/>
                    <a:gd name="connsiteY715" fmla="*/ 71213 h 450019"/>
                    <a:gd name="connsiteX716" fmla="*/ 1634764 w 2712206"/>
                    <a:gd name="connsiteY716" fmla="*/ 53912 h 450019"/>
                    <a:gd name="connsiteX717" fmla="*/ 1444264 w 2712206"/>
                    <a:gd name="connsiteY717" fmla="*/ 53912 h 450019"/>
                    <a:gd name="connsiteX718" fmla="*/ 1480875 w 2712206"/>
                    <a:gd name="connsiteY718" fmla="*/ 74785 h 450019"/>
                    <a:gd name="connsiteX719" fmla="*/ 1481322 w 2712206"/>
                    <a:gd name="connsiteY719" fmla="*/ 74785 h 450019"/>
                    <a:gd name="connsiteX720" fmla="*/ 1481322 w 2712206"/>
                    <a:gd name="connsiteY720" fmla="*/ 56702 h 450019"/>
                    <a:gd name="connsiteX721" fmla="*/ 1491591 w 2712206"/>
                    <a:gd name="connsiteY721" fmla="*/ 56702 h 450019"/>
                    <a:gd name="connsiteX722" fmla="*/ 1491591 w 2712206"/>
                    <a:gd name="connsiteY722" fmla="*/ 162519 h 450019"/>
                    <a:gd name="connsiteX723" fmla="*/ 1477527 w 2712206"/>
                    <a:gd name="connsiteY723" fmla="*/ 209735 h 450019"/>
                    <a:gd name="connsiteX724" fmla="*/ 1433771 w 2712206"/>
                    <a:gd name="connsiteY724" fmla="*/ 224692 h 450019"/>
                    <a:gd name="connsiteX725" fmla="*/ 1399727 w 2712206"/>
                    <a:gd name="connsiteY725" fmla="*/ 215986 h 450019"/>
                    <a:gd name="connsiteX726" fmla="*/ 1399727 w 2712206"/>
                    <a:gd name="connsiteY726" fmla="*/ 205270 h 450019"/>
                    <a:gd name="connsiteX727" fmla="*/ 1433995 w 2712206"/>
                    <a:gd name="connsiteY727" fmla="*/ 215316 h 450019"/>
                    <a:gd name="connsiteX728" fmla="*/ 1481322 w 2712206"/>
                    <a:gd name="connsiteY728" fmla="*/ 165310 h 450019"/>
                    <a:gd name="connsiteX729" fmla="*/ 1481322 w 2712206"/>
                    <a:gd name="connsiteY729" fmla="*/ 150464 h 450019"/>
                    <a:gd name="connsiteX730" fmla="*/ 1480875 w 2712206"/>
                    <a:gd name="connsiteY730" fmla="*/ 150464 h 450019"/>
                    <a:gd name="connsiteX731" fmla="*/ 1439687 w 2712206"/>
                    <a:gd name="connsiteY731" fmla="*/ 173793 h 450019"/>
                    <a:gd name="connsiteX732" fmla="*/ 1405252 w 2712206"/>
                    <a:gd name="connsiteY732" fmla="*/ 158501 h 450019"/>
                    <a:gd name="connsiteX733" fmla="*/ 1391913 w 2712206"/>
                    <a:gd name="connsiteY733" fmla="*/ 115861 h 450019"/>
                    <a:gd name="connsiteX734" fmla="*/ 1406313 w 2712206"/>
                    <a:gd name="connsiteY734" fmla="*/ 71213 h 450019"/>
                    <a:gd name="connsiteX735" fmla="*/ 1444264 w 2712206"/>
                    <a:gd name="connsiteY735" fmla="*/ 53912 h 450019"/>
                    <a:gd name="connsiteX736" fmla="*/ 1326131 w 2712206"/>
                    <a:gd name="connsiteY736" fmla="*/ 53912 h 450019"/>
                    <a:gd name="connsiteX737" fmla="*/ 1354483 w 2712206"/>
                    <a:gd name="connsiteY737" fmla="*/ 66246 h 450019"/>
                    <a:gd name="connsiteX738" fmla="*/ 1364306 w 2712206"/>
                    <a:gd name="connsiteY738" fmla="*/ 101462 h 450019"/>
                    <a:gd name="connsiteX739" fmla="*/ 1364306 w 2712206"/>
                    <a:gd name="connsiteY739" fmla="*/ 171002 h 450019"/>
                    <a:gd name="connsiteX740" fmla="*/ 1354037 w 2712206"/>
                    <a:gd name="connsiteY740" fmla="*/ 171002 h 450019"/>
                    <a:gd name="connsiteX741" fmla="*/ 1354037 w 2712206"/>
                    <a:gd name="connsiteY741" fmla="*/ 104476 h 450019"/>
                    <a:gd name="connsiteX742" fmla="*/ 1324346 w 2712206"/>
                    <a:gd name="connsiteY742" fmla="*/ 63288 h 450019"/>
                    <a:gd name="connsiteX743" fmla="*/ 1297222 w 2712206"/>
                    <a:gd name="connsiteY743" fmla="*/ 75399 h 450019"/>
                    <a:gd name="connsiteX744" fmla="*/ 1286618 w 2712206"/>
                    <a:gd name="connsiteY744" fmla="*/ 105369 h 450019"/>
                    <a:gd name="connsiteX745" fmla="*/ 1286618 w 2712206"/>
                    <a:gd name="connsiteY745" fmla="*/ 171002 h 450019"/>
                    <a:gd name="connsiteX746" fmla="*/ 1276348 w 2712206"/>
                    <a:gd name="connsiteY746" fmla="*/ 171002 h 450019"/>
                    <a:gd name="connsiteX747" fmla="*/ 1276348 w 2712206"/>
                    <a:gd name="connsiteY747" fmla="*/ 56702 h 450019"/>
                    <a:gd name="connsiteX748" fmla="*/ 1286618 w 2712206"/>
                    <a:gd name="connsiteY748" fmla="*/ 56702 h 450019"/>
                    <a:gd name="connsiteX749" fmla="*/ 1286618 w 2712206"/>
                    <a:gd name="connsiteY749" fmla="*/ 77464 h 450019"/>
                    <a:gd name="connsiteX750" fmla="*/ 1287064 w 2712206"/>
                    <a:gd name="connsiteY750" fmla="*/ 77464 h 450019"/>
                    <a:gd name="connsiteX751" fmla="*/ 1326131 w 2712206"/>
                    <a:gd name="connsiteY751" fmla="*/ 53912 h 450019"/>
                    <a:gd name="connsiteX752" fmla="*/ 241881 w 2712206"/>
                    <a:gd name="connsiteY752" fmla="*/ 17635 h 450019"/>
                    <a:gd name="connsiteX753" fmla="*/ 213195 w 2712206"/>
                    <a:gd name="connsiteY753" fmla="*/ 36499 h 450019"/>
                    <a:gd name="connsiteX754" fmla="*/ 202926 w 2712206"/>
                    <a:gd name="connsiteY754" fmla="*/ 93091 h 450019"/>
                    <a:gd name="connsiteX755" fmla="*/ 212748 w 2712206"/>
                    <a:gd name="connsiteY755" fmla="*/ 145943 h 450019"/>
                    <a:gd name="connsiteX756" fmla="*/ 240654 w 2712206"/>
                    <a:gd name="connsiteY756" fmla="*/ 164417 h 450019"/>
                    <a:gd name="connsiteX757" fmla="*/ 268280 w 2712206"/>
                    <a:gd name="connsiteY757" fmla="*/ 145608 h 450019"/>
                    <a:gd name="connsiteX758" fmla="*/ 278158 w 2712206"/>
                    <a:gd name="connsiteY758" fmla="*/ 91863 h 450019"/>
                    <a:gd name="connsiteX759" fmla="*/ 241881 w 2712206"/>
                    <a:gd name="connsiteY759" fmla="*/ 17635 h 450019"/>
                    <a:gd name="connsiteX760" fmla="*/ 343123 w 2712206"/>
                    <a:gd name="connsiteY760" fmla="*/ 16965 h 450019"/>
                    <a:gd name="connsiteX761" fmla="*/ 322864 w 2712206"/>
                    <a:gd name="connsiteY761" fmla="*/ 25504 h 450019"/>
                    <a:gd name="connsiteX762" fmla="*/ 315441 w 2712206"/>
                    <a:gd name="connsiteY762" fmla="*/ 49335 h 450019"/>
                    <a:gd name="connsiteX763" fmla="*/ 322640 w 2712206"/>
                    <a:gd name="connsiteY763" fmla="*/ 72218 h 450019"/>
                    <a:gd name="connsiteX764" fmla="*/ 342453 w 2712206"/>
                    <a:gd name="connsiteY764" fmla="*/ 80701 h 450019"/>
                    <a:gd name="connsiteX765" fmla="*/ 362378 w 2712206"/>
                    <a:gd name="connsiteY765" fmla="*/ 71994 h 450019"/>
                    <a:gd name="connsiteX766" fmla="*/ 369577 w 2712206"/>
                    <a:gd name="connsiteY766" fmla="*/ 48666 h 450019"/>
                    <a:gd name="connsiteX767" fmla="*/ 362433 w 2712206"/>
                    <a:gd name="connsiteY767" fmla="*/ 24946 h 450019"/>
                    <a:gd name="connsiteX768" fmla="*/ 343123 w 2712206"/>
                    <a:gd name="connsiteY768" fmla="*/ 16965 h 450019"/>
                    <a:gd name="connsiteX769" fmla="*/ 427731 w 2712206"/>
                    <a:gd name="connsiteY769" fmla="*/ 11162 h 450019"/>
                    <a:gd name="connsiteX770" fmla="*/ 438446 w 2712206"/>
                    <a:gd name="connsiteY770" fmla="*/ 11162 h 450019"/>
                    <a:gd name="connsiteX771" fmla="*/ 342452 w 2712206"/>
                    <a:gd name="connsiteY771" fmla="*/ 174687 h 450019"/>
                    <a:gd name="connsiteX772" fmla="*/ 331402 w 2712206"/>
                    <a:gd name="connsiteY772" fmla="*/ 174687 h 450019"/>
                    <a:gd name="connsiteX773" fmla="*/ 2481521 w 2712206"/>
                    <a:gd name="connsiteY773" fmla="*/ 10938 h 450019"/>
                    <a:gd name="connsiteX774" fmla="*/ 2487604 w 2712206"/>
                    <a:gd name="connsiteY774" fmla="*/ 13170 h 450019"/>
                    <a:gd name="connsiteX775" fmla="*/ 2490228 w 2712206"/>
                    <a:gd name="connsiteY775" fmla="*/ 19198 h 450019"/>
                    <a:gd name="connsiteX776" fmla="*/ 2487660 w 2712206"/>
                    <a:gd name="connsiteY776" fmla="*/ 25337 h 450019"/>
                    <a:gd name="connsiteX777" fmla="*/ 2481521 w 2712206"/>
                    <a:gd name="connsiteY777" fmla="*/ 27904 h 450019"/>
                    <a:gd name="connsiteX778" fmla="*/ 2475605 w 2712206"/>
                    <a:gd name="connsiteY778" fmla="*/ 25448 h 450019"/>
                    <a:gd name="connsiteX779" fmla="*/ 2473038 w 2712206"/>
                    <a:gd name="connsiteY779" fmla="*/ 19198 h 450019"/>
                    <a:gd name="connsiteX780" fmla="*/ 2475661 w 2712206"/>
                    <a:gd name="connsiteY780" fmla="*/ 13226 h 450019"/>
                    <a:gd name="connsiteX781" fmla="*/ 2481521 w 2712206"/>
                    <a:gd name="connsiteY781" fmla="*/ 10938 h 450019"/>
                    <a:gd name="connsiteX782" fmla="*/ 1233746 w 2712206"/>
                    <a:gd name="connsiteY782" fmla="*/ 10938 h 450019"/>
                    <a:gd name="connsiteX783" fmla="*/ 1239830 w 2712206"/>
                    <a:gd name="connsiteY783" fmla="*/ 13170 h 450019"/>
                    <a:gd name="connsiteX784" fmla="*/ 1242453 w 2712206"/>
                    <a:gd name="connsiteY784" fmla="*/ 19198 h 450019"/>
                    <a:gd name="connsiteX785" fmla="*/ 1239886 w 2712206"/>
                    <a:gd name="connsiteY785" fmla="*/ 25337 h 450019"/>
                    <a:gd name="connsiteX786" fmla="*/ 1233746 w 2712206"/>
                    <a:gd name="connsiteY786" fmla="*/ 27904 h 450019"/>
                    <a:gd name="connsiteX787" fmla="*/ 1227831 w 2712206"/>
                    <a:gd name="connsiteY787" fmla="*/ 25448 h 450019"/>
                    <a:gd name="connsiteX788" fmla="*/ 1225263 w 2712206"/>
                    <a:gd name="connsiteY788" fmla="*/ 19198 h 450019"/>
                    <a:gd name="connsiteX789" fmla="*/ 1227886 w 2712206"/>
                    <a:gd name="connsiteY789" fmla="*/ 13226 h 450019"/>
                    <a:gd name="connsiteX790" fmla="*/ 1233746 w 2712206"/>
                    <a:gd name="connsiteY790" fmla="*/ 10938 h 450019"/>
                    <a:gd name="connsiteX791" fmla="*/ 242774 w 2712206"/>
                    <a:gd name="connsiteY791" fmla="*/ 8259 h 450019"/>
                    <a:gd name="connsiteX792" fmla="*/ 288986 w 2712206"/>
                    <a:gd name="connsiteY792" fmla="*/ 90300 h 450019"/>
                    <a:gd name="connsiteX793" fmla="*/ 275926 w 2712206"/>
                    <a:gd name="connsiteY793" fmla="*/ 152473 h 450019"/>
                    <a:gd name="connsiteX794" fmla="*/ 239314 w 2712206"/>
                    <a:gd name="connsiteY794" fmla="*/ 173793 h 450019"/>
                    <a:gd name="connsiteX795" fmla="*/ 204712 w 2712206"/>
                    <a:gd name="connsiteY795" fmla="*/ 153478 h 450019"/>
                    <a:gd name="connsiteX796" fmla="*/ 192210 w 2712206"/>
                    <a:gd name="connsiteY796" fmla="*/ 94430 h 450019"/>
                    <a:gd name="connsiteX797" fmla="*/ 205326 w 2712206"/>
                    <a:gd name="connsiteY797" fmla="*/ 29969 h 450019"/>
                    <a:gd name="connsiteX798" fmla="*/ 242774 w 2712206"/>
                    <a:gd name="connsiteY798" fmla="*/ 8259 h 450019"/>
                    <a:gd name="connsiteX799" fmla="*/ 343346 w 2712206"/>
                    <a:gd name="connsiteY799" fmla="*/ 7812 h 450019"/>
                    <a:gd name="connsiteX800" fmla="*/ 369912 w 2712206"/>
                    <a:gd name="connsiteY800" fmla="*/ 18639 h 450019"/>
                    <a:gd name="connsiteX801" fmla="*/ 379735 w 2712206"/>
                    <a:gd name="connsiteY801" fmla="*/ 48889 h 450019"/>
                    <a:gd name="connsiteX802" fmla="*/ 369521 w 2712206"/>
                    <a:gd name="connsiteY802" fmla="*/ 77966 h 450019"/>
                    <a:gd name="connsiteX803" fmla="*/ 342230 w 2712206"/>
                    <a:gd name="connsiteY803" fmla="*/ 89630 h 450019"/>
                    <a:gd name="connsiteX804" fmla="*/ 315106 w 2712206"/>
                    <a:gd name="connsiteY804" fmla="*/ 78357 h 450019"/>
                    <a:gd name="connsiteX805" fmla="*/ 305172 w 2712206"/>
                    <a:gd name="connsiteY805" fmla="*/ 49112 h 450019"/>
                    <a:gd name="connsiteX806" fmla="*/ 315720 w 2712206"/>
                    <a:gd name="connsiteY806" fmla="*/ 18695 h 450019"/>
                    <a:gd name="connsiteX807" fmla="*/ 343346 w 2712206"/>
                    <a:gd name="connsiteY807" fmla="*/ 7812 h 450019"/>
                    <a:gd name="connsiteX808" fmla="*/ 151134 w 2712206"/>
                    <a:gd name="connsiteY808" fmla="*/ 7366 h 450019"/>
                    <a:gd name="connsiteX809" fmla="*/ 154705 w 2712206"/>
                    <a:gd name="connsiteY809" fmla="*/ 7366 h 450019"/>
                    <a:gd name="connsiteX810" fmla="*/ 154705 w 2712206"/>
                    <a:gd name="connsiteY810" fmla="*/ 171002 h 450019"/>
                    <a:gd name="connsiteX811" fmla="*/ 144436 w 2712206"/>
                    <a:gd name="connsiteY811" fmla="*/ 171002 h 450019"/>
                    <a:gd name="connsiteX812" fmla="*/ 144436 w 2712206"/>
                    <a:gd name="connsiteY812" fmla="*/ 23551 h 450019"/>
                    <a:gd name="connsiteX813" fmla="*/ 126856 w 2712206"/>
                    <a:gd name="connsiteY813" fmla="*/ 36276 h 450019"/>
                    <a:gd name="connsiteX814" fmla="*/ 105257 w 2712206"/>
                    <a:gd name="connsiteY814" fmla="*/ 45763 h 450019"/>
                    <a:gd name="connsiteX815" fmla="*/ 105257 w 2712206"/>
                    <a:gd name="connsiteY815" fmla="*/ 36387 h 450019"/>
                    <a:gd name="connsiteX816" fmla="*/ 118317 w 2712206"/>
                    <a:gd name="connsiteY816" fmla="*/ 31085 h 450019"/>
                    <a:gd name="connsiteX817" fmla="*/ 129870 w 2712206"/>
                    <a:gd name="connsiteY817" fmla="*/ 24555 h 450019"/>
                    <a:gd name="connsiteX818" fmla="*/ 140585 w 2712206"/>
                    <a:gd name="connsiteY818" fmla="*/ 16686 h 450019"/>
                    <a:gd name="connsiteX819" fmla="*/ 151134 w 2712206"/>
                    <a:gd name="connsiteY819" fmla="*/ 7366 h 450019"/>
                    <a:gd name="connsiteX820" fmla="*/ 2571748 w 2712206"/>
                    <a:gd name="connsiteY820" fmla="*/ 1786 h 450019"/>
                    <a:gd name="connsiteX821" fmla="*/ 2582018 w 2712206"/>
                    <a:gd name="connsiteY821" fmla="*/ 1786 h 450019"/>
                    <a:gd name="connsiteX822" fmla="*/ 2582018 w 2712206"/>
                    <a:gd name="connsiteY822" fmla="*/ 171003 h 450019"/>
                    <a:gd name="connsiteX823" fmla="*/ 2571748 w 2712206"/>
                    <a:gd name="connsiteY823" fmla="*/ 171003 h 450019"/>
                    <a:gd name="connsiteX824" fmla="*/ 2524124 w 2712206"/>
                    <a:gd name="connsiteY824" fmla="*/ 1786 h 450019"/>
                    <a:gd name="connsiteX825" fmla="*/ 2534393 w 2712206"/>
                    <a:gd name="connsiteY825" fmla="*/ 1786 h 450019"/>
                    <a:gd name="connsiteX826" fmla="*/ 2534393 w 2712206"/>
                    <a:gd name="connsiteY826" fmla="*/ 171003 h 450019"/>
                    <a:gd name="connsiteX827" fmla="*/ 2524124 w 2712206"/>
                    <a:gd name="connsiteY827" fmla="*/ 171003 h 450019"/>
                    <a:gd name="connsiteX828" fmla="*/ 1714498 w 2712206"/>
                    <a:gd name="connsiteY828" fmla="*/ 1786 h 450019"/>
                    <a:gd name="connsiteX829" fmla="*/ 1724768 w 2712206"/>
                    <a:gd name="connsiteY829" fmla="*/ 1786 h 450019"/>
                    <a:gd name="connsiteX830" fmla="*/ 1724768 w 2712206"/>
                    <a:gd name="connsiteY830" fmla="*/ 171003 h 450019"/>
                    <a:gd name="connsiteX831" fmla="*/ 1714498 w 2712206"/>
                    <a:gd name="connsiteY831" fmla="*/ 171003 h 450019"/>
                    <a:gd name="connsiteX832" fmla="*/ 1186048 w 2712206"/>
                    <a:gd name="connsiteY832" fmla="*/ 1785 h 450019"/>
                    <a:gd name="connsiteX833" fmla="*/ 1196317 w 2712206"/>
                    <a:gd name="connsiteY833" fmla="*/ 1785 h 450019"/>
                    <a:gd name="connsiteX834" fmla="*/ 1196317 w 2712206"/>
                    <a:gd name="connsiteY834" fmla="*/ 171002 h 450019"/>
                    <a:gd name="connsiteX835" fmla="*/ 1186048 w 2712206"/>
                    <a:gd name="connsiteY835" fmla="*/ 171002 h 450019"/>
                    <a:gd name="connsiteX836" fmla="*/ 1186048 w 2712206"/>
                    <a:gd name="connsiteY836" fmla="*/ 150241 h 450019"/>
                    <a:gd name="connsiteX837" fmla="*/ 1185602 w 2712206"/>
                    <a:gd name="connsiteY837" fmla="*/ 150241 h 450019"/>
                    <a:gd name="connsiteX838" fmla="*/ 1169082 w 2712206"/>
                    <a:gd name="connsiteY838" fmla="*/ 167430 h 450019"/>
                    <a:gd name="connsiteX839" fmla="*/ 1144414 w 2712206"/>
                    <a:gd name="connsiteY839" fmla="*/ 173793 h 450019"/>
                    <a:gd name="connsiteX840" fmla="*/ 1109978 w 2712206"/>
                    <a:gd name="connsiteY840" fmla="*/ 158389 h 450019"/>
                    <a:gd name="connsiteX841" fmla="*/ 1096640 w 2712206"/>
                    <a:gd name="connsiteY841" fmla="*/ 115861 h 450019"/>
                    <a:gd name="connsiteX842" fmla="*/ 1111206 w 2712206"/>
                    <a:gd name="connsiteY842" fmla="*/ 71046 h 450019"/>
                    <a:gd name="connsiteX843" fmla="*/ 1148990 w 2712206"/>
                    <a:gd name="connsiteY843" fmla="*/ 53912 h 450019"/>
                    <a:gd name="connsiteX844" fmla="*/ 1185602 w 2712206"/>
                    <a:gd name="connsiteY844" fmla="*/ 75008 h 450019"/>
                    <a:gd name="connsiteX845" fmla="*/ 1186048 w 2712206"/>
                    <a:gd name="connsiteY845" fmla="*/ 75008 h 450019"/>
                    <a:gd name="connsiteX846" fmla="*/ 704701 w 2712206"/>
                    <a:gd name="connsiteY846" fmla="*/ 0 h 450019"/>
                    <a:gd name="connsiteX847" fmla="*/ 716756 w 2712206"/>
                    <a:gd name="connsiteY847" fmla="*/ 2121 h 450019"/>
                    <a:gd name="connsiteX848" fmla="*/ 716756 w 2712206"/>
                    <a:gd name="connsiteY848" fmla="*/ 12613 h 450019"/>
                    <a:gd name="connsiteX849" fmla="*/ 704254 w 2712206"/>
                    <a:gd name="connsiteY849" fmla="*/ 9376 h 450019"/>
                    <a:gd name="connsiteX850" fmla="*/ 683158 w 2712206"/>
                    <a:gd name="connsiteY850" fmla="*/ 37728 h 450019"/>
                    <a:gd name="connsiteX851" fmla="*/ 683158 w 2712206"/>
                    <a:gd name="connsiteY851" fmla="*/ 56703 h 450019"/>
                    <a:gd name="connsiteX852" fmla="*/ 713407 w 2712206"/>
                    <a:gd name="connsiteY852" fmla="*/ 56703 h 450019"/>
                    <a:gd name="connsiteX853" fmla="*/ 713407 w 2712206"/>
                    <a:gd name="connsiteY853" fmla="*/ 66079 h 450019"/>
                    <a:gd name="connsiteX854" fmla="*/ 683158 w 2712206"/>
                    <a:gd name="connsiteY854" fmla="*/ 66079 h 450019"/>
                    <a:gd name="connsiteX855" fmla="*/ 683158 w 2712206"/>
                    <a:gd name="connsiteY855" fmla="*/ 171003 h 450019"/>
                    <a:gd name="connsiteX856" fmla="*/ 672889 w 2712206"/>
                    <a:gd name="connsiteY856" fmla="*/ 171003 h 450019"/>
                    <a:gd name="connsiteX857" fmla="*/ 672889 w 2712206"/>
                    <a:gd name="connsiteY857" fmla="*/ 66079 h 450019"/>
                    <a:gd name="connsiteX858" fmla="*/ 652351 w 2712206"/>
                    <a:gd name="connsiteY858" fmla="*/ 66079 h 450019"/>
                    <a:gd name="connsiteX859" fmla="*/ 652351 w 2712206"/>
                    <a:gd name="connsiteY859" fmla="*/ 56703 h 450019"/>
                    <a:gd name="connsiteX860" fmla="*/ 672889 w 2712206"/>
                    <a:gd name="connsiteY860" fmla="*/ 56703 h 450019"/>
                    <a:gd name="connsiteX861" fmla="*/ 672889 w 2712206"/>
                    <a:gd name="connsiteY861" fmla="*/ 36835 h 450019"/>
                    <a:gd name="connsiteX862" fmla="*/ 681986 w 2712206"/>
                    <a:gd name="connsiteY862" fmla="*/ 9376 h 450019"/>
                    <a:gd name="connsiteX863" fmla="*/ 704701 w 2712206"/>
                    <a:gd name="connsiteY863" fmla="*/ 0 h 4500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</a:cxnLst>
                  <a:rect l="l" t="t" r="r" b="b"/>
                  <a:pathLst>
                    <a:path w="2712206" h="450019">
                      <a:moveTo>
                        <a:pt x="2595227" y="339514"/>
                      </a:moveTo>
                      <a:cubicBezTo>
                        <a:pt x="2584511" y="339514"/>
                        <a:pt x="2575637" y="343104"/>
                        <a:pt x="2568605" y="350285"/>
                      </a:cubicBezTo>
                      <a:cubicBezTo>
                        <a:pt x="2561573" y="357466"/>
                        <a:pt x="2557239" y="367754"/>
                        <a:pt x="2555601" y="381149"/>
                      </a:cubicBezTo>
                      <a:lnTo>
                        <a:pt x="2629048" y="381149"/>
                      </a:lnTo>
                      <a:cubicBezTo>
                        <a:pt x="2628602" y="367977"/>
                        <a:pt x="2625439" y="357745"/>
                        <a:pt x="2619560" y="350453"/>
                      </a:cubicBezTo>
                      <a:cubicBezTo>
                        <a:pt x="2613682" y="343160"/>
                        <a:pt x="2605571" y="339514"/>
                        <a:pt x="2595227" y="339514"/>
                      </a:cubicBezTo>
                      <a:close/>
                      <a:moveTo>
                        <a:pt x="2280902" y="339514"/>
                      </a:moveTo>
                      <a:cubicBezTo>
                        <a:pt x="2270186" y="339514"/>
                        <a:pt x="2261313" y="343104"/>
                        <a:pt x="2254280" y="350285"/>
                      </a:cubicBezTo>
                      <a:cubicBezTo>
                        <a:pt x="2247248" y="357466"/>
                        <a:pt x="2242914" y="367754"/>
                        <a:pt x="2241277" y="381149"/>
                      </a:cubicBezTo>
                      <a:lnTo>
                        <a:pt x="2314723" y="381149"/>
                      </a:lnTo>
                      <a:cubicBezTo>
                        <a:pt x="2314277" y="367977"/>
                        <a:pt x="2311114" y="357745"/>
                        <a:pt x="2305235" y="350453"/>
                      </a:cubicBezTo>
                      <a:cubicBezTo>
                        <a:pt x="2299357" y="343160"/>
                        <a:pt x="2291245" y="339514"/>
                        <a:pt x="2280902" y="339514"/>
                      </a:cubicBezTo>
                      <a:close/>
                      <a:moveTo>
                        <a:pt x="1861802" y="339514"/>
                      </a:moveTo>
                      <a:cubicBezTo>
                        <a:pt x="1851086" y="339514"/>
                        <a:pt x="1842213" y="343104"/>
                        <a:pt x="1835180" y="350285"/>
                      </a:cubicBezTo>
                      <a:cubicBezTo>
                        <a:pt x="1828148" y="357466"/>
                        <a:pt x="1823814" y="367754"/>
                        <a:pt x="1822177" y="381149"/>
                      </a:cubicBezTo>
                      <a:lnTo>
                        <a:pt x="1895623" y="381149"/>
                      </a:lnTo>
                      <a:cubicBezTo>
                        <a:pt x="1895177" y="367977"/>
                        <a:pt x="1892014" y="357745"/>
                        <a:pt x="1886135" y="350453"/>
                      </a:cubicBezTo>
                      <a:cubicBezTo>
                        <a:pt x="1880257" y="343160"/>
                        <a:pt x="1872146" y="339514"/>
                        <a:pt x="1861802" y="339514"/>
                      </a:cubicBezTo>
                      <a:close/>
                      <a:moveTo>
                        <a:pt x="1484932" y="339514"/>
                      </a:moveTo>
                      <a:cubicBezTo>
                        <a:pt x="1471463" y="339514"/>
                        <a:pt x="1460729" y="344053"/>
                        <a:pt x="1452729" y="353132"/>
                      </a:cubicBezTo>
                      <a:cubicBezTo>
                        <a:pt x="1444730" y="362210"/>
                        <a:pt x="1440730" y="374823"/>
                        <a:pt x="1440730" y="390971"/>
                      </a:cubicBezTo>
                      <a:cubicBezTo>
                        <a:pt x="1440730" y="405928"/>
                        <a:pt x="1444637" y="417946"/>
                        <a:pt x="1452450" y="427025"/>
                      </a:cubicBezTo>
                      <a:cubicBezTo>
                        <a:pt x="1460264" y="436103"/>
                        <a:pt x="1470942" y="440643"/>
                        <a:pt x="1484486" y="440643"/>
                      </a:cubicBezTo>
                      <a:cubicBezTo>
                        <a:pt x="1498252" y="440643"/>
                        <a:pt x="1508856" y="436178"/>
                        <a:pt x="1516298" y="427248"/>
                      </a:cubicBezTo>
                      <a:cubicBezTo>
                        <a:pt x="1523739" y="418318"/>
                        <a:pt x="1527460" y="405928"/>
                        <a:pt x="1527460" y="390078"/>
                      </a:cubicBezTo>
                      <a:cubicBezTo>
                        <a:pt x="1527460" y="373782"/>
                        <a:pt x="1523758" y="361280"/>
                        <a:pt x="1516353" y="352574"/>
                      </a:cubicBezTo>
                      <a:cubicBezTo>
                        <a:pt x="1508949" y="343867"/>
                        <a:pt x="1498475" y="339514"/>
                        <a:pt x="1484932" y="339514"/>
                      </a:cubicBezTo>
                      <a:close/>
                      <a:moveTo>
                        <a:pt x="1109326" y="339514"/>
                      </a:moveTo>
                      <a:cubicBezTo>
                        <a:pt x="1098611" y="339514"/>
                        <a:pt x="1089737" y="343104"/>
                        <a:pt x="1082705" y="350285"/>
                      </a:cubicBezTo>
                      <a:cubicBezTo>
                        <a:pt x="1075673" y="357466"/>
                        <a:pt x="1071338" y="367754"/>
                        <a:pt x="1069701" y="381149"/>
                      </a:cubicBezTo>
                      <a:lnTo>
                        <a:pt x="1143147" y="381149"/>
                      </a:lnTo>
                      <a:cubicBezTo>
                        <a:pt x="1142701" y="367977"/>
                        <a:pt x="1139538" y="357745"/>
                        <a:pt x="1133660" y="350453"/>
                      </a:cubicBezTo>
                      <a:cubicBezTo>
                        <a:pt x="1127781" y="343160"/>
                        <a:pt x="1119670" y="339514"/>
                        <a:pt x="1109326" y="339514"/>
                      </a:cubicBezTo>
                      <a:close/>
                      <a:moveTo>
                        <a:pt x="823576" y="339514"/>
                      </a:moveTo>
                      <a:cubicBezTo>
                        <a:pt x="812861" y="339514"/>
                        <a:pt x="803987" y="343104"/>
                        <a:pt x="796955" y="350285"/>
                      </a:cubicBezTo>
                      <a:cubicBezTo>
                        <a:pt x="789922" y="357466"/>
                        <a:pt x="785588" y="367754"/>
                        <a:pt x="783951" y="381149"/>
                      </a:cubicBezTo>
                      <a:lnTo>
                        <a:pt x="857397" y="381149"/>
                      </a:lnTo>
                      <a:cubicBezTo>
                        <a:pt x="856951" y="367977"/>
                        <a:pt x="853788" y="357745"/>
                        <a:pt x="847910" y="350453"/>
                      </a:cubicBezTo>
                      <a:cubicBezTo>
                        <a:pt x="842031" y="343160"/>
                        <a:pt x="833920" y="339514"/>
                        <a:pt x="823576" y="339514"/>
                      </a:cubicBezTo>
                      <a:close/>
                      <a:moveTo>
                        <a:pt x="456232" y="339514"/>
                      </a:moveTo>
                      <a:cubicBezTo>
                        <a:pt x="442763" y="339514"/>
                        <a:pt x="432029" y="344053"/>
                        <a:pt x="424030" y="353132"/>
                      </a:cubicBezTo>
                      <a:cubicBezTo>
                        <a:pt x="416030" y="362210"/>
                        <a:pt x="412030" y="374823"/>
                        <a:pt x="412030" y="390971"/>
                      </a:cubicBezTo>
                      <a:cubicBezTo>
                        <a:pt x="412030" y="405928"/>
                        <a:pt x="415937" y="417946"/>
                        <a:pt x="423751" y="427025"/>
                      </a:cubicBezTo>
                      <a:cubicBezTo>
                        <a:pt x="431564" y="436103"/>
                        <a:pt x="442242" y="440643"/>
                        <a:pt x="455786" y="440643"/>
                      </a:cubicBezTo>
                      <a:cubicBezTo>
                        <a:pt x="469552" y="440643"/>
                        <a:pt x="480156" y="436178"/>
                        <a:pt x="487598" y="427248"/>
                      </a:cubicBezTo>
                      <a:cubicBezTo>
                        <a:pt x="495039" y="418318"/>
                        <a:pt x="498760" y="405928"/>
                        <a:pt x="498760" y="390078"/>
                      </a:cubicBezTo>
                      <a:cubicBezTo>
                        <a:pt x="498760" y="373782"/>
                        <a:pt x="495058" y="361280"/>
                        <a:pt x="487654" y="352574"/>
                      </a:cubicBezTo>
                      <a:cubicBezTo>
                        <a:pt x="480249" y="343867"/>
                        <a:pt x="469776" y="339514"/>
                        <a:pt x="456232" y="339514"/>
                      </a:cubicBezTo>
                      <a:close/>
                      <a:moveTo>
                        <a:pt x="166351" y="339514"/>
                      </a:moveTo>
                      <a:cubicBezTo>
                        <a:pt x="155636" y="339514"/>
                        <a:pt x="146762" y="343104"/>
                        <a:pt x="139730" y="350285"/>
                      </a:cubicBezTo>
                      <a:cubicBezTo>
                        <a:pt x="132697" y="357466"/>
                        <a:pt x="128363" y="367754"/>
                        <a:pt x="126726" y="381149"/>
                      </a:cubicBezTo>
                      <a:lnTo>
                        <a:pt x="200172" y="381149"/>
                      </a:lnTo>
                      <a:cubicBezTo>
                        <a:pt x="199726" y="367977"/>
                        <a:pt x="196563" y="357745"/>
                        <a:pt x="190685" y="350453"/>
                      </a:cubicBezTo>
                      <a:cubicBezTo>
                        <a:pt x="184806" y="343160"/>
                        <a:pt x="176695" y="339514"/>
                        <a:pt x="166351" y="339514"/>
                      </a:cubicBezTo>
                      <a:close/>
                      <a:moveTo>
                        <a:pt x="1224967" y="339513"/>
                      </a:moveTo>
                      <a:cubicBezTo>
                        <a:pt x="1212986" y="339513"/>
                        <a:pt x="1203089" y="344108"/>
                        <a:pt x="1195275" y="353298"/>
                      </a:cubicBezTo>
                      <a:cubicBezTo>
                        <a:pt x="1187462" y="362488"/>
                        <a:pt x="1183555" y="375120"/>
                        <a:pt x="1183555" y="391193"/>
                      </a:cubicBezTo>
                      <a:cubicBezTo>
                        <a:pt x="1183555" y="406969"/>
                        <a:pt x="1187071" y="419155"/>
                        <a:pt x="1194103" y="427749"/>
                      </a:cubicBezTo>
                      <a:cubicBezTo>
                        <a:pt x="1201135" y="436344"/>
                        <a:pt x="1210195" y="440642"/>
                        <a:pt x="1221283" y="440642"/>
                      </a:cubicBezTo>
                      <a:cubicBezTo>
                        <a:pt x="1234305" y="440642"/>
                        <a:pt x="1244389" y="436605"/>
                        <a:pt x="1251532" y="428531"/>
                      </a:cubicBezTo>
                      <a:cubicBezTo>
                        <a:pt x="1258676" y="420457"/>
                        <a:pt x="1262248" y="410616"/>
                        <a:pt x="1262248" y="399007"/>
                      </a:cubicBezTo>
                      <a:lnTo>
                        <a:pt x="1262248" y="377687"/>
                      </a:lnTo>
                      <a:cubicBezTo>
                        <a:pt x="1262248" y="367046"/>
                        <a:pt x="1258881" y="358023"/>
                        <a:pt x="1252146" y="350619"/>
                      </a:cubicBezTo>
                      <a:cubicBezTo>
                        <a:pt x="1245412" y="343215"/>
                        <a:pt x="1236352" y="339513"/>
                        <a:pt x="1224967" y="339513"/>
                      </a:cubicBezTo>
                      <a:close/>
                      <a:moveTo>
                        <a:pt x="52127" y="339513"/>
                      </a:moveTo>
                      <a:cubicBezTo>
                        <a:pt x="38807" y="339513"/>
                        <a:pt x="28500" y="343978"/>
                        <a:pt x="21208" y="352907"/>
                      </a:cubicBezTo>
                      <a:cubicBezTo>
                        <a:pt x="13915" y="361837"/>
                        <a:pt x="10269" y="372329"/>
                        <a:pt x="10269" y="384385"/>
                      </a:cubicBezTo>
                      <a:lnTo>
                        <a:pt x="10269" y="398784"/>
                      </a:lnTo>
                      <a:cubicBezTo>
                        <a:pt x="10269" y="410243"/>
                        <a:pt x="13878" y="420085"/>
                        <a:pt x="21096" y="428307"/>
                      </a:cubicBezTo>
                      <a:cubicBezTo>
                        <a:pt x="28314" y="436530"/>
                        <a:pt x="37802" y="440642"/>
                        <a:pt x="49559" y="440642"/>
                      </a:cubicBezTo>
                      <a:cubicBezTo>
                        <a:pt x="61242" y="440642"/>
                        <a:pt x="70730" y="435637"/>
                        <a:pt x="78023" y="425629"/>
                      </a:cubicBezTo>
                      <a:cubicBezTo>
                        <a:pt x="85315" y="415620"/>
                        <a:pt x="88962" y="402467"/>
                        <a:pt x="88962" y="386170"/>
                      </a:cubicBezTo>
                      <a:cubicBezTo>
                        <a:pt x="88962" y="371883"/>
                        <a:pt x="85613" y="360535"/>
                        <a:pt x="78916" y="352126"/>
                      </a:cubicBezTo>
                      <a:cubicBezTo>
                        <a:pt x="72218" y="343717"/>
                        <a:pt x="63289" y="339513"/>
                        <a:pt x="52127" y="339513"/>
                      </a:cubicBezTo>
                      <a:close/>
                      <a:moveTo>
                        <a:pt x="2395202" y="330695"/>
                      </a:moveTo>
                      <a:cubicBezTo>
                        <a:pt x="2399443" y="330695"/>
                        <a:pt x="2403239" y="331365"/>
                        <a:pt x="2406587" y="332704"/>
                      </a:cubicBezTo>
                      <a:lnTo>
                        <a:pt x="2406587" y="343643"/>
                      </a:lnTo>
                      <a:cubicBezTo>
                        <a:pt x="2403164" y="341187"/>
                        <a:pt x="2399146" y="339959"/>
                        <a:pt x="2394532" y="339959"/>
                      </a:cubicBezTo>
                      <a:cubicBezTo>
                        <a:pt x="2385528" y="339959"/>
                        <a:pt x="2377975" y="344610"/>
                        <a:pt x="2371873" y="353912"/>
                      </a:cubicBezTo>
                      <a:cubicBezTo>
                        <a:pt x="2365771" y="363214"/>
                        <a:pt x="2362720" y="376422"/>
                        <a:pt x="2362720" y="393537"/>
                      </a:cubicBezTo>
                      <a:lnTo>
                        <a:pt x="2362720" y="447227"/>
                      </a:lnTo>
                      <a:lnTo>
                        <a:pt x="2352674" y="447227"/>
                      </a:lnTo>
                      <a:lnTo>
                        <a:pt x="2352674" y="332927"/>
                      </a:lnTo>
                      <a:lnTo>
                        <a:pt x="2362720" y="332927"/>
                      </a:lnTo>
                      <a:lnTo>
                        <a:pt x="2362720" y="358265"/>
                      </a:lnTo>
                      <a:lnTo>
                        <a:pt x="2363167" y="358265"/>
                      </a:lnTo>
                      <a:cubicBezTo>
                        <a:pt x="2365771" y="349559"/>
                        <a:pt x="2369901" y="342787"/>
                        <a:pt x="2375557" y="337950"/>
                      </a:cubicBezTo>
                      <a:cubicBezTo>
                        <a:pt x="2381212" y="333113"/>
                        <a:pt x="2387761" y="330695"/>
                        <a:pt x="2395202" y="330695"/>
                      </a:cubicBezTo>
                      <a:close/>
                      <a:moveTo>
                        <a:pt x="2595673" y="330138"/>
                      </a:moveTo>
                      <a:cubicBezTo>
                        <a:pt x="2609887" y="330138"/>
                        <a:pt x="2620788" y="335123"/>
                        <a:pt x="2628379" y="345095"/>
                      </a:cubicBezTo>
                      <a:cubicBezTo>
                        <a:pt x="2635969" y="355066"/>
                        <a:pt x="2639764" y="368684"/>
                        <a:pt x="2639764" y="385948"/>
                      </a:cubicBezTo>
                      <a:lnTo>
                        <a:pt x="2639764" y="390525"/>
                      </a:lnTo>
                      <a:lnTo>
                        <a:pt x="2555155" y="390525"/>
                      </a:lnTo>
                      <a:cubicBezTo>
                        <a:pt x="2555155" y="406226"/>
                        <a:pt x="2558783" y="418504"/>
                        <a:pt x="2566038" y="427360"/>
                      </a:cubicBezTo>
                      <a:cubicBezTo>
                        <a:pt x="2573293" y="436215"/>
                        <a:pt x="2583246" y="440643"/>
                        <a:pt x="2595897" y="440643"/>
                      </a:cubicBezTo>
                      <a:cubicBezTo>
                        <a:pt x="2608696" y="440643"/>
                        <a:pt x="2621197" y="435917"/>
                        <a:pt x="2633401" y="426467"/>
                      </a:cubicBezTo>
                      <a:lnTo>
                        <a:pt x="2633401" y="437406"/>
                      </a:lnTo>
                      <a:cubicBezTo>
                        <a:pt x="2621569" y="445814"/>
                        <a:pt x="2608361" y="450019"/>
                        <a:pt x="2593776" y="450019"/>
                      </a:cubicBezTo>
                      <a:cubicBezTo>
                        <a:pt x="2579042" y="450019"/>
                        <a:pt x="2567136" y="444735"/>
                        <a:pt x="2558057" y="434169"/>
                      </a:cubicBezTo>
                      <a:cubicBezTo>
                        <a:pt x="2548979" y="423602"/>
                        <a:pt x="2544439" y="408682"/>
                        <a:pt x="2544439" y="389409"/>
                      </a:cubicBezTo>
                      <a:cubicBezTo>
                        <a:pt x="2544439" y="372740"/>
                        <a:pt x="2549183" y="358694"/>
                        <a:pt x="2558671" y="347272"/>
                      </a:cubicBezTo>
                      <a:cubicBezTo>
                        <a:pt x="2568159" y="335849"/>
                        <a:pt x="2580493" y="330138"/>
                        <a:pt x="2595673" y="330138"/>
                      </a:cubicBezTo>
                      <a:close/>
                      <a:moveTo>
                        <a:pt x="2281349" y="330138"/>
                      </a:moveTo>
                      <a:cubicBezTo>
                        <a:pt x="2295561" y="330138"/>
                        <a:pt x="2306463" y="335123"/>
                        <a:pt x="2314053" y="345095"/>
                      </a:cubicBezTo>
                      <a:cubicBezTo>
                        <a:pt x="2321644" y="355066"/>
                        <a:pt x="2325439" y="368684"/>
                        <a:pt x="2325439" y="385948"/>
                      </a:cubicBezTo>
                      <a:lnTo>
                        <a:pt x="2325439" y="390525"/>
                      </a:lnTo>
                      <a:lnTo>
                        <a:pt x="2240830" y="390525"/>
                      </a:lnTo>
                      <a:cubicBezTo>
                        <a:pt x="2240830" y="406226"/>
                        <a:pt x="2244458" y="418504"/>
                        <a:pt x="2251713" y="427360"/>
                      </a:cubicBezTo>
                      <a:cubicBezTo>
                        <a:pt x="2258969" y="436215"/>
                        <a:pt x="2268921" y="440643"/>
                        <a:pt x="2281572" y="440643"/>
                      </a:cubicBezTo>
                      <a:cubicBezTo>
                        <a:pt x="2294371" y="440643"/>
                        <a:pt x="2306873" y="435917"/>
                        <a:pt x="2319076" y="426467"/>
                      </a:cubicBezTo>
                      <a:lnTo>
                        <a:pt x="2319076" y="437406"/>
                      </a:lnTo>
                      <a:cubicBezTo>
                        <a:pt x="2307245" y="445814"/>
                        <a:pt x="2294036" y="450019"/>
                        <a:pt x="2279451" y="450019"/>
                      </a:cubicBezTo>
                      <a:cubicBezTo>
                        <a:pt x="2264717" y="450019"/>
                        <a:pt x="2252811" y="444735"/>
                        <a:pt x="2243732" y="434169"/>
                      </a:cubicBezTo>
                      <a:cubicBezTo>
                        <a:pt x="2234654" y="423602"/>
                        <a:pt x="2230114" y="408682"/>
                        <a:pt x="2230114" y="389409"/>
                      </a:cubicBezTo>
                      <a:cubicBezTo>
                        <a:pt x="2230114" y="372740"/>
                        <a:pt x="2234858" y="358694"/>
                        <a:pt x="2244346" y="347272"/>
                      </a:cubicBezTo>
                      <a:cubicBezTo>
                        <a:pt x="2253834" y="335849"/>
                        <a:pt x="2266168" y="330138"/>
                        <a:pt x="2281349" y="330138"/>
                      </a:cubicBezTo>
                      <a:close/>
                      <a:moveTo>
                        <a:pt x="1862249" y="330138"/>
                      </a:moveTo>
                      <a:cubicBezTo>
                        <a:pt x="1876462" y="330138"/>
                        <a:pt x="1887363" y="335123"/>
                        <a:pt x="1894954" y="345095"/>
                      </a:cubicBezTo>
                      <a:cubicBezTo>
                        <a:pt x="1902544" y="355066"/>
                        <a:pt x="1906339" y="368684"/>
                        <a:pt x="1906339" y="385948"/>
                      </a:cubicBezTo>
                      <a:lnTo>
                        <a:pt x="1906339" y="390525"/>
                      </a:lnTo>
                      <a:lnTo>
                        <a:pt x="1821730" y="390525"/>
                      </a:lnTo>
                      <a:cubicBezTo>
                        <a:pt x="1821730" y="406226"/>
                        <a:pt x="1825358" y="418504"/>
                        <a:pt x="1832613" y="427360"/>
                      </a:cubicBezTo>
                      <a:cubicBezTo>
                        <a:pt x="1839869" y="436215"/>
                        <a:pt x="1849821" y="440643"/>
                        <a:pt x="1862472" y="440643"/>
                      </a:cubicBezTo>
                      <a:cubicBezTo>
                        <a:pt x="1875271" y="440643"/>
                        <a:pt x="1887773" y="435917"/>
                        <a:pt x="1899976" y="426467"/>
                      </a:cubicBezTo>
                      <a:lnTo>
                        <a:pt x="1899976" y="437406"/>
                      </a:lnTo>
                      <a:cubicBezTo>
                        <a:pt x="1888145" y="445814"/>
                        <a:pt x="1874936" y="450019"/>
                        <a:pt x="1860351" y="450019"/>
                      </a:cubicBezTo>
                      <a:cubicBezTo>
                        <a:pt x="1845617" y="450019"/>
                        <a:pt x="1833711" y="444735"/>
                        <a:pt x="1824632" y="434169"/>
                      </a:cubicBezTo>
                      <a:cubicBezTo>
                        <a:pt x="1815554" y="423602"/>
                        <a:pt x="1811014" y="408682"/>
                        <a:pt x="1811014" y="389409"/>
                      </a:cubicBezTo>
                      <a:cubicBezTo>
                        <a:pt x="1811014" y="372740"/>
                        <a:pt x="1815758" y="358694"/>
                        <a:pt x="1825246" y="347272"/>
                      </a:cubicBezTo>
                      <a:cubicBezTo>
                        <a:pt x="1834734" y="335849"/>
                        <a:pt x="1847068" y="330138"/>
                        <a:pt x="1862249" y="330138"/>
                      </a:cubicBezTo>
                      <a:close/>
                      <a:moveTo>
                        <a:pt x="1485379" y="330138"/>
                      </a:moveTo>
                      <a:cubicBezTo>
                        <a:pt x="1501675" y="330138"/>
                        <a:pt x="1514549" y="335458"/>
                        <a:pt x="1523999" y="346100"/>
                      </a:cubicBezTo>
                      <a:cubicBezTo>
                        <a:pt x="1533450" y="356741"/>
                        <a:pt x="1538175" y="371475"/>
                        <a:pt x="1538175" y="390301"/>
                      </a:cubicBezTo>
                      <a:cubicBezTo>
                        <a:pt x="1538175" y="408086"/>
                        <a:pt x="1533357" y="422486"/>
                        <a:pt x="1523720" y="433499"/>
                      </a:cubicBezTo>
                      <a:cubicBezTo>
                        <a:pt x="1514084" y="444512"/>
                        <a:pt x="1500894" y="450019"/>
                        <a:pt x="1484151" y="450019"/>
                      </a:cubicBezTo>
                      <a:cubicBezTo>
                        <a:pt x="1467482" y="450019"/>
                        <a:pt x="1454292" y="444531"/>
                        <a:pt x="1444581" y="433555"/>
                      </a:cubicBezTo>
                      <a:cubicBezTo>
                        <a:pt x="1434870" y="422579"/>
                        <a:pt x="1430014" y="408310"/>
                        <a:pt x="1430014" y="390748"/>
                      </a:cubicBezTo>
                      <a:cubicBezTo>
                        <a:pt x="1430014" y="371772"/>
                        <a:pt x="1435093" y="356927"/>
                        <a:pt x="1445251" y="346211"/>
                      </a:cubicBezTo>
                      <a:cubicBezTo>
                        <a:pt x="1455408" y="335496"/>
                        <a:pt x="1468784" y="330138"/>
                        <a:pt x="1485379" y="330138"/>
                      </a:cubicBezTo>
                      <a:close/>
                      <a:moveTo>
                        <a:pt x="1109773" y="330138"/>
                      </a:moveTo>
                      <a:cubicBezTo>
                        <a:pt x="1123986" y="330138"/>
                        <a:pt x="1134888" y="335123"/>
                        <a:pt x="1142478" y="345095"/>
                      </a:cubicBezTo>
                      <a:cubicBezTo>
                        <a:pt x="1150068" y="355066"/>
                        <a:pt x="1153863" y="368684"/>
                        <a:pt x="1153863" y="385948"/>
                      </a:cubicBezTo>
                      <a:lnTo>
                        <a:pt x="1153863" y="390525"/>
                      </a:lnTo>
                      <a:lnTo>
                        <a:pt x="1069254" y="390525"/>
                      </a:lnTo>
                      <a:cubicBezTo>
                        <a:pt x="1069254" y="406226"/>
                        <a:pt x="1072882" y="418504"/>
                        <a:pt x="1080137" y="427360"/>
                      </a:cubicBezTo>
                      <a:cubicBezTo>
                        <a:pt x="1087393" y="436215"/>
                        <a:pt x="1097345" y="440643"/>
                        <a:pt x="1109996" y="440643"/>
                      </a:cubicBezTo>
                      <a:cubicBezTo>
                        <a:pt x="1122795" y="440643"/>
                        <a:pt x="1135297" y="435917"/>
                        <a:pt x="1147501" y="426467"/>
                      </a:cubicBezTo>
                      <a:lnTo>
                        <a:pt x="1147501" y="437406"/>
                      </a:lnTo>
                      <a:cubicBezTo>
                        <a:pt x="1135669" y="445814"/>
                        <a:pt x="1122460" y="450019"/>
                        <a:pt x="1107875" y="450019"/>
                      </a:cubicBezTo>
                      <a:cubicBezTo>
                        <a:pt x="1093141" y="450019"/>
                        <a:pt x="1081235" y="444735"/>
                        <a:pt x="1072156" y="434169"/>
                      </a:cubicBezTo>
                      <a:cubicBezTo>
                        <a:pt x="1063078" y="423602"/>
                        <a:pt x="1058539" y="408682"/>
                        <a:pt x="1058539" y="389409"/>
                      </a:cubicBezTo>
                      <a:cubicBezTo>
                        <a:pt x="1058539" y="372740"/>
                        <a:pt x="1063282" y="358694"/>
                        <a:pt x="1072770" y="347272"/>
                      </a:cubicBezTo>
                      <a:cubicBezTo>
                        <a:pt x="1082258" y="335849"/>
                        <a:pt x="1094592" y="330138"/>
                        <a:pt x="1109773" y="330138"/>
                      </a:cubicBezTo>
                      <a:close/>
                      <a:moveTo>
                        <a:pt x="944463" y="330138"/>
                      </a:moveTo>
                      <a:cubicBezTo>
                        <a:pt x="953169" y="330138"/>
                        <a:pt x="961615" y="331924"/>
                        <a:pt x="969801" y="335496"/>
                      </a:cubicBezTo>
                      <a:lnTo>
                        <a:pt x="969801" y="347104"/>
                      </a:lnTo>
                      <a:cubicBezTo>
                        <a:pt x="961615" y="342044"/>
                        <a:pt x="952648" y="339514"/>
                        <a:pt x="942900" y="339514"/>
                      </a:cubicBezTo>
                      <a:cubicBezTo>
                        <a:pt x="929506" y="339514"/>
                        <a:pt x="918641" y="344332"/>
                        <a:pt x="910307" y="353969"/>
                      </a:cubicBezTo>
                      <a:cubicBezTo>
                        <a:pt x="901972" y="363605"/>
                        <a:pt x="897805" y="376088"/>
                        <a:pt x="897805" y="391418"/>
                      </a:cubicBezTo>
                      <a:cubicBezTo>
                        <a:pt x="897805" y="406226"/>
                        <a:pt x="901619" y="418132"/>
                        <a:pt x="909246" y="427136"/>
                      </a:cubicBezTo>
                      <a:cubicBezTo>
                        <a:pt x="916874" y="436141"/>
                        <a:pt x="926938" y="440643"/>
                        <a:pt x="939440" y="440643"/>
                      </a:cubicBezTo>
                      <a:cubicBezTo>
                        <a:pt x="950900" y="440643"/>
                        <a:pt x="960871" y="437592"/>
                        <a:pt x="969354" y="431490"/>
                      </a:cubicBezTo>
                      <a:lnTo>
                        <a:pt x="969354" y="442205"/>
                      </a:lnTo>
                      <a:cubicBezTo>
                        <a:pt x="960871" y="447414"/>
                        <a:pt x="950751" y="450019"/>
                        <a:pt x="938993" y="450019"/>
                      </a:cubicBezTo>
                      <a:cubicBezTo>
                        <a:pt x="923441" y="450019"/>
                        <a:pt x="910902" y="444680"/>
                        <a:pt x="901377" y="434001"/>
                      </a:cubicBezTo>
                      <a:cubicBezTo>
                        <a:pt x="891852" y="423323"/>
                        <a:pt x="887090" y="409351"/>
                        <a:pt x="887090" y="392087"/>
                      </a:cubicBezTo>
                      <a:cubicBezTo>
                        <a:pt x="887090" y="373930"/>
                        <a:pt x="892447" y="359066"/>
                        <a:pt x="903163" y="347495"/>
                      </a:cubicBezTo>
                      <a:cubicBezTo>
                        <a:pt x="913879" y="335923"/>
                        <a:pt x="927645" y="330138"/>
                        <a:pt x="944463" y="330138"/>
                      </a:cubicBezTo>
                      <a:close/>
                      <a:moveTo>
                        <a:pt x="824023" y="330138"/>
                      </a:moveTo>
                      <a:cubicBezTo>
                        <a:pt x="838236" y="330138"/>
                        <a:pt x="849138" y="335123"/>
                        <a:pt x="856728" y="345095"/>
                      </a:cubicBezTo>
                      <a:cubicBezTo>
                        <a:pt x="864318" y="355066"/>
                        <a:pt x="868113" y="368684"/>
                        <a:pt x="868113" y="385948"/>
                      </a:cubicBezTo>
                      <a:lnTo>
                        <a:pt x="868113" y="390525"/>
                      </a:lnTo>
                      <a:lnTo>
                        <a:pt x="783504" y="390525"/>
                      </a:lnTo>
                      <a:cubicBezTo>
                        <a:pt x="783504" y="406226"/>
                        <a:pt x="787132" y="418504"/>
                        <a:pt x="794387" y="427360"/>
                      </a:cubicBezTo>
                      <a:cubicBezTo>
                        <a:pt x="801643" y="436215"/>
                        <a:pt x="811595" y="440643"/>
                        <a:pt x="824246" y="440643"/>
                      </a:cubicBezTo>
                      <a:cubicBezTo>
                        <a:pt x="837045" y="440643"/>
                        <a:pt x="849547" y="435917"/>
                        <a:pt x="861751" y="426467"/>
                      </a:cubicBezTo>
                      <a:lnTo>
                        <a:pt x="861751" y="437406"/>
                      </a:lnTo>
                      <a:cubicBezTo>
                        <a:pt x="849919" y="445814"/>
                        <a:pt x="836710" y="450019"/>
                        <a:pt x="822125" y="450019"/>
                      </a:cubicBezTo>
                      <a:cubicBezTo>
                        <a:pt x="807391" y="450019"/>
                        <a:pt x="795485" y="444735"/>
                        <a:pt x="786406" y="434169"/>
                      </a:cubicBezTo>
                      <a:cubicBezTo>
                        <a:pt x="777328" y="423602"/>
                        <a:pt x="772789" y="408682"/>
                        <a:pt x="772789" y="389409"/>
                      </a:cubicBezTo>
                      <a:cubicBezTo>
                        <a:pt x="772789" y="372740"/>
                        <a:pt x="777532" y="358694"/>
                        <a:pt x="787020" y="347272"/>
                      </a:cubicBezTo>
                      <a:cubicBezTo>
                        <a:pt x="796508" y="335849"/>
                        <a:pt x="808842" y="330138"/>
                        <a:pt x="824023" y="330138"/>
                      </a:cubicBezTo>
                      <a:close/>
                      <a:moveTo>
                        <a:pt x="456679" y="330138"/>
                      </a:moveTo>
                      <a:cubicBezTo>
                        <a:pt x="472975" y="330138"/>
                        <a:pt x="485849" y="335458"/>
                        <a:pt x="495300" y="346100"/>
                      </a:cubicBezTo>
                      <a:cubicBezTo>
                        <a:pt x="504750" y="356741"/>
                        <a:pt x="509476" y="371475"/>
                        <a:pt x="509476" y="390301"/>
                      </a:cubicBezTo>
                      <a:cubicBezTo>
                        <a:pt x="509476" y="408086"/>
                        <a:pt x="504657" y="422486"/>
                        <a:pt x="495021" y="433499"/>
                      </a:cubicBezTo>
                      <a:cubicBezTo>
                        <a:pt x="485384" y="444512"/>
                        <a:pt x="472194" y="450019"/>
                        <a:pt x="455451" y="450019"/>
                      </a:cubicBezTo>
                      <a:cubicBezTo>
                        <a:pt x="438782" y="450019"/>
                        <a:pt x="425592" y="444531"/>
                        <a:pt x="415881" y="433555"/>
                      </a:cubicBezTo>
                      <a:cubicBezTo>
                        <a:pt x="406170" y="422579"/>
                        <a:pt x="401315" y="408310"/>
                        <a:pt x="401315" y="390748"/>
                      </a:cubicBezTo>
                      <a:cubicBezTo>
                        <a:pt x="401315" y="371772"/>
                        <a:pt x="406393" y="356927"/>
                        <a:pt x="416551" y="346211"/>
                      </a:cubicBezTo>
                      <a:cubicBezTo>
                        <a:pt x="426708" y="335496"/>
                        <a:pt x="440084" y="330138"/>
                        <a:pt x="456679" y="330138"/>
                      </a:cubicBezTo>
                      <a:close/>
                      <a:moveTo>
                        <a:pt x="353913" y="330138"/>
                      </a:moveTo>
                      <a:cubicBezTo>
                        <a:pt x="362619" y="330138"/>
                        <a:pt x="371065" y="331924"/>
                        <a:pt x="379251" y="335496"/>
                      </a:cubicBezTo>
                      <a:lnTo>
                        <a:pt x="379251" y="347104"/>
                      </a:lnTo>
                      <a:cubicBezTo>
                        <a:pt x="371065" y="342044"/>
                        <a:pt x="362098" y="339514"/>
                        <a:pt x="352350" y="339514"/>
                      </a:cubicBezTo>
                      <a:cubicBezTo>
                        <a:pt x="338956" y="339514"/>
                        <a:pt x="328091" y="344332"/>
                        <a:pt x="319757" y="353969"/>
                      </a:cubicBezTo>
                      <a:cubicBezTo>
                        <a:pt x="311422" y="363605"/>
                        <a:pt x="307255" y="376088"/>
                        <a:pt x="307255" y="391418"/>
                      </a:cubicBezTo>
                      <a:cubicBezTo>
                        <a:pt x="307255" y="406226"/>
                        <a:pt x="311069" y="418132"/>
                        <a:pt x="318696" y="427136"/>
                      </a:cubicBezTo>
                      <a:cubicBezTo>
                        <a:pt x="326324" y="436141"/>
                        <a:pt x="336388" y="440643"/>
                        <a:pt x="348890" y="440643"/>
                      </a:cubicBezTo>
                      <a:cubicBezTo>
                        <a:pt x="360350" y="440643"/>
                        <a:pt x="370321" y="437592"/>
                        <a:pt x="378804" y="431490"/>
                      </a:cubicBezTo>
                      <a:lnTo>
                        <a:pt x="378804" y="442205"/>
                      </a:lnTo>
                      <a:cubicBezTo>
                        <a:pt x="370321" y="447414"/>
                        <a:pt x="360201" y="450019"/>
                        <a:pt x="348443" y="450019"/>
                      </a:cubicBezTo>
                      <a:cubicBezTo>
                        <a:pt x="332891" y="450019"/>
                        <a:pt x="320352" y="444680"/>
                        <a:pt x="310827" y="434001"/>
                      </a:cubicBezTo>
                      <a:cubicBezTo>
                        <a:pt x="301302" y="423323"/>
                        <a:pt x="296540" y="409351"/>
                        <a:pt x="296540" y="392087"/>
                      </a:cubicBezTo>
                      <a:cubicBezTo>
                        <a:pt x="296540" y="373930"/>
                        <a:pt x="301897" y="359066"/>
                        <a:pt x="312613" y="347495"/>
                      </a:cubicBezTo>
                      <a:cubicBezTo>
                        <a:pt x="323329" y="335923"/>
                        <a:pt x="337095" y="330138"/>
                        <a:pt x="353913" y="330138"/>
                      </a:cubicBezTo>
                      <a:close/>
                      <a:moveTo>
                        <a:pt x="166798" y="330138"/>
                      </a:moveTo>
                      <a:cubicBezTo>
                        <a:pt x="181011" y="330138"/>
                        <a:pt x="191912" y="335123"/>
                        <a:pt x="199503" y="345095"/>
                      </a:cubicBezTo>
                      <a:cubicBezTo>
                        <a:pt x="207093" y="355066"/>
                        <a:pt x="210888" y="368684"/>
                        <a:pt x="210888" y="385948"/>
                      </a:cubicBezTo>
                      <a:lnTo>
                        <a:pt x="210888" y="390525"/>
                      </a:lnTo>
                      <a:lnTo>
                        <a:pt x="126279" y="390525"/>
                      </a:lnTo>
                      <a:cubicBezTo>
                        <a:pt x="126279" y="406226"/>
                        <a:pt x="129907" y="418504"/>
                        <a:pt x="137162" y="427360"/>
                      </a:cubicBezTo>
                      <a:cubicBezTo>
                        <a:pt x="144418" y="436215"/>
                        <a:pt x="154371" y="440643"/>
                        <a:pt x="167021" y="440643"/>
                      </a:cubicBezTo>
                      <a:cubicBezTo>
                        <a:pt x="179820" y="440643"/>
                        <a:pt x="192322" y="435917"/>
                        <a:pt x="204526" y="426467"/>
                      </a:cubicBezTo>
                      <a:lnTo>
                        <a:pt x="204526" y="437406"/>
                      </a:lnTo>
                      <a:cubicBezTo>
                        <a:pt x="192694" y="445814"/>
                        <a:pt x="179485" y="450019"/>
                        <a:pt x="164900" y="450019"/>
                      </a:cubicBezTo>
                      <a:cubicBezTo>
                        <a:pt x="150166" y="450019"/>
                        <a:pt x="138260" y="444735"/>
                        <a:pt x="129181" y="434169"/>
                      </a:cubicBezTo>
                      <a:cubicBezTo>
                        <a:pt x="120103" y="423602"/>
                        <a:pt x="115564" y="408682"/>
                        <a:pt x="115564" y="389409"/>
                      </a:cubicBezTo>
                      <a:cubicBezTo>
                        <a:pt x="115564" y="372740"/>
                        <a:pt x="120308" y="358694"/>
                        <a:pt x="129795" y="347272"/>
                      </a:cubicBezTo>
                      <a:cubicBezTo>
                        <a:pt x="139283" y="335849"/>
                        <a:pt x="151617" y="330138"/>
                        <a:pt x="166798" y="330138"/>
                      </a:cubicBezTo>
                      <a:close/>
                      <a:moveTo>
                        <a:pt x="2478656" y="330137"/>
                      </a:moveTo>
                      <a:cubicBezTo>
                        <a:pt x="2491009" y="330137"/>
                        <a:pt x="2500460" y="334248"/>
                        <a:pt x="2507008" y="342471"/>
                      </a:cubicBezTo>
                      <a:cubicBezTo>
                        <a:pt x="2513556" y="350694"/>
                        <a:pt x="2516831" y="362432"/>
                        <a:pt x="2516831" y="377687"/>
                      </a:cubicBezTo>
                      <a:lnTo>
                        <a:pt x="2516831" y="447227"/>
                      </a:lnTo>
                      <a:lnTo>
                        <a:pt x="2506562" y="447227"/>
                      </a:lnTo>
                      <a:lnTo>
                        <a:pt x="2506562" y="380701"/>
                      </a:lnTo>
                      <a:cubicBezTo>
                        <a:pt x="2506562" y="353242"/>
                        <a:pt x="2496664" y="339513"/>
                        <a:pt x="2476870" y="339513"/>
                      </a:cubicBezTo>
                      <a:cubicBezTo>
                        <a:pt x="2465857" y="339513"/>
                        <a:pt x="2456816" y="343550"/>
                        <a:pt x="2449746" y="351624"/>
                      </a:cubicBezTo>
                      <a:cubicBezTo>
                        <a:pt x="2442677" y="359698"/>
                        <a:pt x="2439142" y="369688"/>
                        <a:pt x="2439142" y="381594"/>
                      </a:cubicBezTo>
                      <a:lnTo>
                        <a:pt x="2439142" y="447227"/>
                      </a:lnTo>
                      <a:lnTo>
                        <a:pt x="2428873" y="447227"/>
                      </a:lnTo>
                      <a:lnTo>
                        <a:pt x="2428873" y="332927"/>
                      </a:lnTo>
                      <a:lnTo>
                        <a:pt x="2439142" y="332927"/>
                      </a:lnTo>
                      <a:lnTo>
                        <a:pt x="2439142" y="353689"/>
                      </a:lnTo>
                      <a:lnTo>
                        <a:pt x="2439589" y="353689"/>
                      </a:lnTo>
                      <a:cubicBezTo>
                        <a:pt x="2447923" y="337987"/>
                        <a:pt x="2460946" y="330137"/>
                        <a:pt x="2478656" y="330137"/>
                      </a:cubicBezTo>
                      <a:close/>
                      <a:moveTo>
                        <a:pt x="2097656" y="330137"/>
                      </a:moveTo>
                      <a:cubicBezTo>
                        <a:pt x="2110009" y="330137"/>
                        <a:pt x="2119460" y="334248"/>
                        <a:pt x="2126008" y="342471"/>
                      </a:cubicBezTo>
                      <a:cubicBezTo>
                        <a:pt x="2132557" y="350694"/>
                        <a:pt x="2135831" y="362432"/>
                        <a:pt x="2135831" y="377687"/>
                      </a:cubicBezTo>
                      <a:lnTo>
                        <a:pt x="2135831" y="447227"/>
                      </a:lnTo>
                      <a:lnTo>
                        <a:pt x="2125562" y="447227"/>
                      </a:lnTo>
                      <a:lnTo>
                        <a:pt x="2125562" y="380701"/>
                      </a:lnTo>
                      <a:cubicBezTo>
                        <a:pt x="2125562" y="353242"/>
                        <a:pt x="2115665" y="339513"/>
                        <a:pt x="2095871" y="339513"/>
                      </a:cubicBezTo>
                      <a:cubicBezTo>
                        <a:pt x="2084857" y="339513"/>
                        <a:pt x="2075816" y="343550"/>
                        <a:pt x="2068747" y="351624"/>
                      </a:cubicBezTo>
                      <a:cubicBezTo>
                        <a:pt x="2061677" y="359698"/>
                        <a:pt x="2058143" y="369688"/>
                        <a:pt x="2058143" y="381594"/>
                      </a:cubicBezTo>
                      <a:lnTo>
                        <a:pt x="2058143" y="447227"/>
                      </a:lnTo>
                      <a:lnTo>
                        <a:pt x="2047873" y="447227"/>
                      </a:lnTo>
                      <a:lnTo>
                        <a:pt x="2047873" y="332927"/>
                      </a:lnTo>
                      <a:lnTo>
                        <a:pt x="2058143" y="332927"/>
                      </a:lnTo>
                      <a:lnTo>
                        <a:pt x="2058143" y="353689"/>
                      </a:lnTo>
                      <a:lnTo>
                        <a:pt x="2058589" y="353689"/>
                      </a:lnTo>
                      <a:cubicBezTo>
                        <a:pt x="2066923" y="337987"/>
                        <a:pt x="2079946" y="330137"/>
                        <a:pt x="2097656" y="330137"/>
                      </a:cubicBezTo>
                      <a:close/>
                      <a:moveTo>
                        <a:pt x="707008" y="330137"/>
                      </a:moveTo>
                      <a:cubicBezTo>
                        <a:pt x="719360" y="330137"/>
                        <a:pt x="728811" y="334248"/>
                        <a:pt x="735359" y="342471"/>
                      </a:cubicBezTo>
                      <a:cubicBezTo>
                        <a:pt x="741908" y="350694"/>
                        <a:pt x="745182" y="362432"/>
                        <a:pt x="745182" y="377687"/>
                      </a:cubicBezTo>
                      <a:lnTo>
                        <a:pt x="745182" y="447227"/>
                      </a:lnTo>
                      <a:lnTo>
                        <a:pt x="734913" y="447227"/>
                      </a:lnTo>
                      <a:lnTo>
                        <a:pt x="734913" y="380701"/>
                      </a:lnTo>
                      <a:cubicBezTo>
                        <a:pt x="734913" y="353242"/>
                        <a:pt x="725016" y="339513"/>
                        <a:pt x="705222" y="339513"/>
                      </a:cubicBezTo>
                      <a:cubicBezTo>
                        <a:pt x="694208" y="339513"/>
                        <a:pt x="685167" y="343550"/>
                        <a:pt x="678098" y="351624"/>
                      </a:cubicBezTo>
                      <a:cubicBezTo>
                        <a:pt x="671028" y="359698"/>
                        <a:pt x="667494" y="369688"/>
                        <a:pt x="667494" y="381594"/>
                      </a:cubicBezTo>
                      <a:lnTo>
                        <a:pt x="667494" y="447227"/>
                      </a:lnTo>
                      <a:lnTo>
                        <a:pt x="657225" y="447227"/>
                      </a:lnTo>
                      <a:lnTo>
                        <a:pt x="657225" y="332927"/>
                      </a:lnTo>
                      <a:lnTo>
                        <a:pt x="667494" y="332927"/>
                      </a:lnTo>
                      <a:lnTo>
                        <a:pt x="667494" y="353689"/>
                      </a:lnTo>
                      <a:lnTo>
                        <a:pt x="667940" y="353689"/>
                      </a:lnTo>
                      <a:cubicBezTo>
                        <a:pt x="676275" y="337987"/>
                        <a:pt x="689297" y="330137"/>
                        <a:pt x="707008" y="330137"/>
                      </a:cubicBezTo>
                      <a:close/>
                      <a:moveTo>
                        <a:pt x="583183" y="330137"/>
                      </a:moveTo>
                      <a:cubicBezTo>
                        <a:pt x="595535" y="330137"/>
                        <a:pt x="604986" y="334248"/>
                        <a:pt x="611534" y="342471"/>
                      </a:cubicBezTo>
                      <a:cubicBezTo>
                        <a:pt x="618083" y="350694"/>
                        <a:pt x="621357" y="362432"/>
                        <a:pt x="621357" y="377687"/>
                      </a:cubicBezTo>
                      <a:lnTo>
                        <a:pt x="621357" y="447227"/>
                      </a:lnTo>
                      <a:lnTo>
                        <a:pt x="611088" y="447227"/>
                      </a:lnTo>
                      <a:lnTo>
                        <a:pt x="611088" y="380701"/>
                      </a:lnTo>
                      <a:cubicBezTo>
                        <a:pt x="611088" y="353242"/>
                        <a:pt x="601191" y="339513"/>
                        <a:pt x="581397" y="339513"/>
                      </a:cubicBezTo>
                      <a:cubicBezTo>
                        <a:pt x="570383" y="339513"/>
                        <a:pt x="561342" y="343550"/>
                        <a:pt x="554273" y="351624"/>
                      </a:cubicBezTo>
                      <a:cubicBezTo>
                        <a:pt x="547203" y="359698"/>
                        <a:pt x="543669" y="369688"/>
                        <a:pt x="543669" y="381594"/>
                      </a:cubicBezTo>
                      <a:lnTo>
                        <a:pt x="543669" y="447227"/>
                      </a:lnTo>
                      <a:lnTo>
                        <a:pt x="533400" y="447227"/>
                      </a:lnTo>
                      <a:lnTo>
                        <a:pt x="533400" y="332927"/>
                      </a:lnTo>
                      <a:lnTo>
                        <a:pt x="543669" y="332927"/>
                      </a:lnTo>
                      <a:lnTo>
                        <a:pt x="543669" y="353689"/>
                      </a:lnTo>
                      <a:lnTo>
                        <a:pt x="544115" y="353689"/>
                      </a:lnTo>
                      <a:cubicBezTo>
                        <a:pt x="552450" y="337987"/>
                        <a:pt x="565472" y="330137"/>
                        <a:pt x="583183" y="330137"/>
                      </a:cubicBezTo>
                      <a:close/>
                      <a:moveTo>
                        <a:pt x="2682068" y="299776"/>
                      </a:moveTo>
                      <a:lnTo>
                        <a:pt x="2682068" y="332927"/>
                      </a:lnTo>
                      <a:lnTo>
                        <a:pt x="2712206" y="332927"/>
                      </a:lnTo>
                      <a:lnTo>
                        <a:pt x="2712206" y="342303"/>
                      </a:lnTo>
                      <a:lnTo>
                        <a:pt x="2682068" y="342303"/>
                      </a:lnTo>
                      <a:lnTo>
                        <a:pt x="2682068" y="417759"/>
                      </a:lnTo>
                      <a:cubicBezTo>
                        <a:pt x="2682068" y="425647"/>
                        <a:pt x="2683315" y="431358"/>
                        <a:pt x="2685807" y="434893"/>
                      </a:cubicBezTo>
                      <a:cubicBezTo>
                        <a:pt x="2688300" y="438428"/>
                        <a:pt x="2692523" y="440195"/>
                        <a:pt x="2698477" y="440195"/>
                      </a:cubicBezTo>
                      <a:cubicBezTo>
                        <a:pt x="2702718" y="440195"/>
                        <a:pt x="2707295" y="438818"/>
                        <a:pt x="2712206" y="436065"/>
                      </a:cubicBezTo>
                      <a:lnTo>
                        <a:pt x="2712206" y="445665"/>
                      </a:lnTo>
                      <a:cubicBezTo>
                        <a:pt x="2706848" y="448195"/>
                        <a:pt x="2701825" y="449460"/>
                        <a:pt x="2697137" y="449460"/>
                      </a:cubicBezTo>
                      <a:cubicBezTo>
                        <a:pt x="2680245" y="449460"/>
                        <a:pt x="2671799" y="439339"/>
                        <a:pt x="2671799" y="419099"/>
                      </a:cubicBezTo>
                      <a:lnTo>
                        <a:pt x="2671799" y="342303"/>
                      </a:lnTo>
                      <a:lnTo>
                        <a:pt x="2651261" y="342303"/>
                      </a:lnTo>
                      <a:lnTo>
                        <a:pt x="2651261" y="332927"/>
                      </a:lnTo>
                      <a:lnTo>
                        <a:pt x="2671799" y="332927"/>
                      </a:lnTo>
                      <a:lnTo>
                        <a:pt x="2671799" y="303236"/>
                      </a:lnTo>
                      <a:cubicBezTo>
                        <a:pt x="2673436" y="302641"/>
                        <a:pt x="2675148" y="302045"/>
                        <a:pt x="2676933" y="301450"/>
                      </a:cubicBezTo>
                      <a:cubicBezTo>
                        <a:pt x="2678719" y="300929"/>
                        <a:pt x="2680431" y="300371"/>
                        <a:pt x="2682068" y="299776"/>
                      </a:cubicBezTo>
                      <a:close/>
                      <a:moveTo>
                        <a:pt x="2186768" y="299776"/>
                      </a:moveTo>
                      <a:lnTo>
                        <a:pt x="2186768" y="332927"/>
                      </a:lnTo>
                      <a:lnTo>
                        <a:pt x="2216906" y="332927"/>
                      </a:lnTo>
                      <a:lnTo>
                        <a:pt x="2216906" y="342303"/>
                      </a:lnTo>
                      <a:lnTo>
                        <a:pt x="2186768" y="342303"/>
                      </a:lnTo>
                      <a:lnTo>
                        <a:pt x="2186768" y="417759"/>
                      </a:lnTo>
                      <a:cubicBezTo>
                        <a:pt x="2186768" y="425647"/>
                        <a:pt x="2188015" y="431358"/>
                        <a:pt x="2190508" y="434893"/>
                      </a:cubicBezTo>
                      <a:cubicBezTo>
                        <a:pt x="2193000" y="438428"/>
                        <a:pt x="2197223" y="440195"/>
                        <a:pt x="2203177" y="440195"/>
                      </a:cubicBezTo>
                      <a:cubicBezTo>
                        <a:pt x="2207418" y="440195"/>
                        <a:pt x="2211995" y="438818"/>
                        <a:pt x="2216906" y="436065"/>
                      </a:cubicBezTo>
                      <a:lnTo>
                        <a:pt x="2216906" y="445665"/>
                      </a:lnTo>
                      <a:cubicBezTo>
                        <a:pt x="2211548" y="448195"/>
                        <a:pt x="2206525" y="449460"/>
                        <a:pt x="2201837" y="449460"/>
                      </a:cubicBezTo>
                      <a:cubicBezTo>
                        <a:pt x="2184945" y="449460"/>
                        <a:pt x="2176499" y="439339"/>
                        <a:pt x="2176499" y="419099"/>
                      </a:cubicBezTo>
                      <a:lnTo>
                        <a:pt x="2176499" y="342303"/>
                      </a:lnTo>
                      <a:lnTo>
                        <a:pt x="2155961" y="342303"/>
                      </a:lnTo>
                      <a:lnTo>
                        <a:pt x="2155961" y="332927"/>
                      </a:lnTo>
                      <a:lnTo>
                        <a:pt x="2176499" y="332927"/>
                      </a:lnTo>
                      <a:lnTo>
                        <a:pt x="2176499" y="303236"/>
                      </a:lnTo>
                      <a:cubicBezTo>
                        <a:pt x="2178136" y="302641"/>
                        <a:pt x="2179848" y="302045"/>
                        <a:pt x="2181634" y="301450"/>
                      </a:cubicBezTo>
                      <a:cubicBezTo>
                        <a:pt x="2183420" y="300929"/>
                        <a:pt x="2185131" y="300371"/>
                        <a:pt x="2186768" y="299776"/>
                      </a:cubicBezTo>
                      <a:close/>
                      <a:moveTo>
                        <a:pt x="1643843" y="299776"/>
                      </a:moveTo>
                      <a:lnTo>
                        <a:pt x="1643843" y="332927"/>
                      </a:lnTo>
                      <a:lnTo>
                        <a:pt x="1673981" y="332927"/>
                      </a:lnTo>
                      <a:lnTo>
                        <a:pt x="1673981" y="342303"/>
                      </a:lnTo>
                      <a:lnTo>
                        <a:pt x="1643843" y="342303"/>
                      </a:lnTo>
                      <a:lnTo>
                        <a:pt x="1643843" y="417759"/>
                      </a:lnTo>
                      <a:cubicBezTo>
                        <a:pt x="1643843" y="425647"/>
                        <a:pt x="1645090" y="431358"/>
                        <a:pt x="1647583" y="434893"/>
                      </a:cubicBezTo>
                      <a:cubicBezTo>
                        <a:pt x="1650075" y="438428"/>
                        <a:pt x="1654298" y="440195"/>
                        <a:pt x="1660252" y="440195"/>
                      </a:cubicBezTo>
                      <a:cubicBezTo>
                        <a:pt x="1664493" y="440195"/>
                        <a:pt x="1669070" y="438818"/>
                        <a:pt x="1673981" y="436065"/>
                      </a:cubicBezTo>
                      <a:lnTo>
                        <a:pt x="1673981" y="445665"/>
                      </a:lnTo>
                      <a:cubicBezTo>
                        <a:pt x="1668623" y="448195"/>
                        <a:pt x="1663600" y="449460"/>
                        <a:pt x="1658912" y="449460"/>
                      </a:cubicBezTo>
                      <a:cubicBezTo>
                        <a:pt x="1642020" y="449460"/>
                        <a:pt x="1633574" y="439339"/>
                        <a:pt x="1633574" y="419099"/>
                      </a:cubicBezTo>
                      <a:lnTo>
                        <a:pt x="1633574" y="342303"/>
                      </a:lnTo>
                      <a:lnTo>
                        <a:pt x="1613036" y="342303"/>
                      </a:lnTo>
                      <a:lnTo>
                        <a:pt x="1613036" y="332927"/>
                      </a:lnTo>
                      <a:lnTo>
                        <a:pt x="1633574" y="332927"/>
                      </a:lnTo>
                      <a:lnTo>
                        <a:pt x="1633574" y="303236"/>
                      </a:lnTo>
                      <a:cubicBezTo>
                        <a:pt x="1635211" y="302641"/>
                        <a:pt x="1636923" y="302045"/>
                        <a:pt x="1638709" y="301450"/>
                      </a:cubicBezTo>
                      <a:cubicBezTo>
                        <a:pt x="1640495" y="300929"/>
                        <a:pt x="1642206" y="300371"/>
                        <a:pt x="1643843" y="299776"/>
                      </a:cubicBezTo>
                      <a:close/>
                      <a:moveTo>
                        <a:pt x="1386668" y="299776"/>
                      </a:moveTo>
                      <a:lnTo>
                        <a:pt x="1386668" y="332927"/>
                      </a:lnTo>
                      <a:lnTo>
                        <a:pt x="1416806" y="332927"/>
                      </a:lnTo>
                      <a:lnTo>
                        <a:pt x="1416806" y="342303"/>
                      </a:lnTo>
                      <a:lnTo>
                        <a:pt x="1386668" y="342303"/>
                      </a:lnTo>
                      <a:lnTo>
                        <a:pt x="1386668" y="417759"/>
                      </a:lnTo>
                      <a:cubicBezTo>
                        <a:pt x="1386668" y="425647"/>
                        <a:pt x="1387915" y="431358"/>
                        <a:pt x="1390408" y="434893"/>
                      </a:cubicBezTo>
                      <a:cubicBezTo>
                        <a:pt x="1392900" y="438428"/>
                        <a:pt x="1397123" y="440195"/>
                        <a:pt x="1403077" y="440195"/>
                      </a:cubicBezTo>
                      <a:cubicBezTo>
                        <a:pt x="1407318" y="440195"/>
                        <a:pt x="1411895" y="438818"/>
                        <a:pt x="1416806" y="436065"/>
                      </a:cubicBezTo>
                      <a:lnTo>
                        <a:pt x="1416806" y="445665"/>
                      </a:lnTo>
                      <a:cubicBezTo>
                        <a:pt x="1411448" y="448195"/>
                        <a:pt x="1406425" y="449460"/>
                        <a:pt x="1401737" y="449460"/>
                      </a:cubicBezTo>
                      <a:cubicBezTo>
                        <a:pt x="1384845" y="449460"/>
                        <a:pt x="1376399" y="439339"/>
                        <a:pt x="1376399" y="419099"/>
                      </a:cubicBezTo>
                      <a:lnTo>
                        <a:pt x="1376399" y="342303"/>
                      </a:lnTo>
                      <a:lnTo>
                        <a:pt x="1355861" y="342303"/>
                      </a:lnTo>
                      <a:lnTo>
                        <a:pt x="1355861" y="332927"/>
                      </a:lnTo>
                      <a:lnTo>
                        <a:pt x="1376399" y="332927"/>
                      </a:lnTo>
                      <a:lnTo>
                        <a:pt x="1376399" y="303236"/>
                      </a:lnTo>
                      <a:cubicBezTo>
                        <a:pt x="1378036" y="302641"/>
                        <a:pt x="1379748" y="302045"/>
                        <a:pt x="1381534" y="301450"/>
                      </a:cubicBezTo>
                      <a:cubicBezTo>
                        <a:pt x="1383320" y="300929"/>
                        <a:pt x="1385031" y="300371"/>
                        <a:pt x="1386668" y="299776"/>
                      </a:cubicBezTo>
                      <a:close/>
                      <a:moveTo>
                        <a:pt x="1015193" y="299776"/>
                      </a:moveTo>
                      <a:lnTo>
                        <a:pt x="1015193" y="332927"/>
                      </a:lnTo>
                      <a:lnTo>
                        <a:pt x="1045331" y="332927"/>
                      </a:lnTo>
                      <a:lnTo>
                        <a:pt x="1045331" y="342303"/>
                      </a:lnTo>
                      <a:lnTo>
                        <a:pt x="1015193" y="342303"/>
                      </a:lnTo>
                      <a:lnTo>
                        <a:pt x="1015193" y="417759"/>
                      </a:lnTo>
                      <a:cubicBezTo>
                        <a:pt x="1015193" y="425647"/>
                        <a:pt x="1016440" y="431358"/>
                        <a:pt x="1018933" y="434893"/>
                      </a:cubicBezTo>
                      <a:cubicBezTo>
                        <a:pt x="1021426" y="438428"/>
                        <a:pt x="1025649" y="440195"/>
                        <a:pt x="1031602" y="440195"/>
                      </a:cubicBezTo>
                      <a:cubicBezTo>
                        <a:pt x="1035843" y="440195"/>
                        <a:pt x="1040420" y="438818"/>
                        <a:pt x="1045331" y="436065"/>
                      </a:cubicBezTo>
                      <a:lnTo>
                        <a:pt x="1045331" y="445665"/>
                      </a:lnTo>
                      <a:cubicBezTo>
                        <a:pt x="1039973" y="448195"/>
                        <a:pt x="1034950" y="449460"/>
                        <a:pt x="1030262" y="449460"/>
                      </a:cubicBezTo>
                      <a:cubicBezTo>
                        <a:pt x="1013370" y="449460"/>
                        <a:pt x="1004924" y="439339"/>
                        <a:pt x="1004924" y="419099"/>
                      </a:cubicBezTo>
                      <a:lnTo>
                        <a:pt x="1004924" y="342303"/>
                      </a:lnTo>
                      <a:lnTo>
                        <a:pt x="984386" y="342303"/>
                      </a:lnTo>
                      <a:lnTo>
                        <a:pt x="984386" y="332927"/>
                      </a:lnTo>
                      <a:lnTo>
                        <a:pt x="1004924" y="332927"/>
                      </a:lnTo>
                      <a:lnTo>
                        <a:pt x="1004924" y="303236"/>
                      </a:lnTo>
                      <a:cubicBezTo>
                        <a:pt x="1006561" y="302641"/>
                        <a:pt x="1008273" y="302045"/>
                        <a:pt x="1010059" y="301450"/>
                      </a:cubicBezTo>
                      <a:cubicBezTo>
                        <a:pt x="1011845" y="300929"/>
                        <a:pt x="1013556" y="300371"/>
                        <a:pt x="1015193" y="299776"/>
                      </a:cubicBezTo>
                      <a:close/>
                      <a:moveTo>
                        <a:pt x="2002481" y="287163"/>
                      </a:moveTo>
                      <a:lnTo>
                        <a:pt x="2013531" y="287163"/>
                      </a:lnTo>
                      <a:lnTo>
                        <a:pt x="2013531" y="447227"/>
                      </a:lnTo>
                      <a:lnTo>
                        <a:pt x="2002481" y="447227"/>
                      </a:lnTo>
                      <a:close/>
                      <a:moveTo>
                        <a:pt x="1695448" y="278011"/>
                      </a:moveTo>
                      <a:lnTo>
                        <a:pt x="1705718" y="278011"/>
                      </a:lnTo>
                      <a:lnTo>
                        <a:pt x="1705718" y="353467"/>
                      </a:lnTo>
                      <a:lnTo>
                        <a:pt x="1706164" y="353467"/>
                      </a:lnTo>
                      <a:cubicBezTo>
                        <a:pt x="1715168" y="337914"/>
                        <a:pt x="1728265" y="330138"/>
                        <a:pt x="1745455" y="330138"/>
                      </a:cubicBezTo>
                      <a:cubicBezTo>
                        <a:pt x="1757807" y="330138"/>
                        <a:pt x="1767221" y="334119"/>
                        <a:pt x="1773695" y="342081"/>
                      </a:cubicBezTo>
                      <a:cubicBezTo>
                        <a:pt x="1780169" y="350043"/>
                        <a:pt x="1783406" y="361466"/>
                        <a:pt x="1783406" y="376349"/>
                      </a:cubicBezTo>
                      <a:lnTo>
                        <a:pt x="1783406" y="447228"/>
                      </a:lnTo>
                      <a:lnTo>
                        <a:pt x="1773137" y="447228"/>
                      </a:lnTo>
                      <a:lnTo>
                        <a:pt x="1773137" y="378693"/>
                      </a:lnTo>
                      <a:cubicBezTo>
                        <a:pt x="1773137" y="365150"/>
                        <a:pt x="1770681" y="355234"/>
                        <a:pt x="1765770" y="348946"/>
                      </a:cubicBezTo>
                      <a:cubicBezTo>
                        <a:pt x="1760858" y="342658"/>
                        <a:pt x="1753194" y="339514"/>
                        <a:pt x="1742776" y="339514"/>
                      </a:cubicBezTo>
                      <a:cubicBezTo>
                        <a:pt x="1732953" y="339514"/>
                        <a:pt x="1724321" y="343346"/>
                        <a:pt x="1716880" y="351011"/>
                      </a:cubicBezTo>
                      <a:cubicBezTo>
                        <a:pt x="1709438" y="358675"/>
                        <a:pt x="1705718" y="369652"/>
                        <a:pt x="1705718" y="383939"/>
                      </a:cubicBezTo>
                      <a:lnTo>
                        <a:pt x="1705718" y="447228"/>
                      </a:lnTo>
                      <a:lnTo>
                        <a:pt x="1695448" y="447228"/>
                      </a:lnTo>
                      <a:close/>
                      <a:moveTo>
                        <a:pt x="1262248" y="278010"/>
                      </a:moveTo>
                      <a:lnTo>
                        <a:pt x="1272517" y="278010"/>
                      </a:lnTo>
                      <a:lnTo>
                        <a:pt x="1272517" y="447227"/>
                      </a:lnTo>
                      <a:lnTo>
                        <a:pt x="1262248" y="447227"/>
                      </a:lnTo>
                      <a:lnTo>
                        <a:pt x="1262248" y="426466"/>
                      </a:lnTo>
                      <a:lnTo>
                        <a:pt x="1261801" y="426466"/>
                      </a:lnTo>
                      <a:cubicBezTo>
                        <a:pt x="1258081" y="433684"/>
                        <a:pt x="1252574" y="439414"/>
                        <a:pt x="1245282" y="443655"/>
                      </a:cubicBezTo>
                      <a:cubicBezTo>
                        <a:pt x="1237989" y="447897"/>
                        <a:pt x="1229766" y="450018"/>
                        <a:pt x="1220613" y="450018"/>
                      </a:cubicBezTo>
                      <a:cubicBezTo>
                        <a:pt x="1206549" y="450018"/>
                        <a:pt x="1195071" y="444883"/>
                        <a:pt x="1186178" y="434614"/>
                      </a:cubicBezTo>
                      <a:cubicBezTo>
                        <a:pt x="1177286" y="424345"/>
                        <a:pt x="1172840" y="410169"/>
                        <a:pt x="1172840" y="392086"/>
                      </a:cubicBezTo>
                      <a:cubicBezTo>
                        <a:pt x="1172840" y="373632"/>
                        <a:pt x="1177695" y="358693"/>
                        <a:pt x="1187406" y="347271"/>
                      </a:cubicBezTo>
                      <a:cubicBezTo>
                        <a:pt x="1197117" y="335848"/>
                        <a:pt x="1209712" y="330137"/>
                        <a:pt x="1225190" y="330137"/>
                      </a:cubicBezTo>
                      <a:cubicBezTo>
                        <a:pt x="1242305" y="330137"/>
                        <a:pt x="1254509" y="337169"/>
                        <a:pt x="1261801" y="351233"/>
                      </a:cubicBezTo>
                      <a:lnTo>
                        <a:pt x="1262248" y="351233"/>
                      </a:lnTo>
                      <a:close/>
                      <a:moveTo>
                        <a:pt x="0" y="278010"/>
                      </a:moveTo>
                      <a:lnTo>
                        <a:pt x="10269" y="278010"/>
                      </a:lnTo>
                      <a:lnTo>
                        <a:pt x="10269" y="356479"/>
                      </a:lnTo>
                      <a:lnTo>
                        <a:pt x="10715" y="356479"/>
                      </a:lnTo>
                      <a:cubicBezTo>
                        <a:pt x="14808" y="348070"/>
                        <a:pt x="20668" y="341578"/>
                        <a:pt x="28296" y="337001"/>
                      </a:cubicBezTo>
                      <a:cubicBezTo>
                        <a:pt x="35923" y="332425"/>
                        <a:pt x="44313" y="330137"/>
                        <a:pt x="53466" y="330137"/>
                      </a:cubicBezTo>
                      <a:cubicBezTo>
                        <a:pt x="67977" y="330137"/>
                        <a:pt x="79306" y="335141"/>
                        <a:pt x="87455" y="345150"/>
                      </a:cubicBezTo>
                      <a:cubicBezTo>
                        <a:pt x="95603" y="355158"/>
                        <a:pt x="99677" y="368758"/>
                        <a:pt x="99677" y="385947"/>
                      </a:cubicBezTo>
                      <a:cubicBezTo>
                        <a:pt x="99677" y="405072"/>
                        <a:pt x="94952" y="420531"/>
                        <a:pt x="85501" y="432326"/>
                      </a:cubicBezTo>
                      <a:cubicBezTo>
                        <a:pt x="76051" y="444120"/>
                        <a:pt x="63772" y="450018"/>
                        <a:pt x="48666" y="450018"/>
                      </a:cubicBezTo>
                      <a:cubicBezTo>
                        <a:pt x="31551" y="450018"/>
                        <a:pt x="18901" y="442316"/>
                        <a:pt x="10715" y="426912"/>
                      </a:cubicBezTo>
                      <a:lnTo>
                        <a:pt x="10269" y="426912"/>
                      </a:lnTo>
                      <a:lnTo>
                        <a:pt x="10269" y="447227"/>
                      </a:lnTo>
                      <a:lnTo>
                        <a:pt x="0" y="447227"/>
                      </a:lnTo>
                      <a:close/>
                      <a:moveTo>
                        <a:pt x="1830436" y="109500"/>
                      </a:moveTo>
                      <a:lnTo>
                        <a:pt x="1798958" y="114076"/>
                      </a:lnTo>
                      <a:cubicBezTo>
                        <a:pt x="1786978" y="115788"/>
                        <a:pt x="1778569" y="118560"/>
                        <a:pt x="1773732" y="122392"/>
                      </a:cubicBezTo>
                      <a:cubicBezTo>
                        <a:pt x="1768895" y="126225"/>
                        <a:pt x="1766477" y="132457"/>
                        <a:pt x="1766477" y="141089"/>
                      </a:cubicBezTo>
                      <a:cubicBezTo>
                        <a:pt x="1766477" y="147860"/>
                        <a:pt x="1768728" y="153442"/>
                        <a:pt x="1773230" y="157832"/>
                      </a:cubicBezTo>
                      <a:cubicBezTo>
                        <a:pt x="1777732" y="162222"/>
                        <a:pt x="1784001" y="164418"/>
                        <a:pt x="1792038" y="164418"/>
                      </a:cubicBezTo>
                      <a:cubicBezTo>
                        <a:pt x="1803051" y="164418"/>
                        <a:pt x="1812204" y="160343"/>
                        <a:pt x="1819497" y="152195"/>
                      </a:cubicBezTo>
                      <a:cubicBezTo>
                        <a:pt x="1826789" y="144047"/>
                        <a:pt x="1830436" y="133536"/>
                        <a:pt x="1830436" y="120662"/>
                      </a:cubicBezTo>
                      <a:close/>
                      <a:moveTo>
                        <a:pt x="1058912" y="109500"/>
                      </a:moveTo>
                      <a:lnTo>
                        <a:pt x="1027435" y="114076"/>
                      </a:lnTo>
                      <a:cubicBezTo>
                        <a:pt x="1015454" y="115788"/>
                        <a:pt x="1007045" y="118560"/>
                        <a:pt x="1002208" y="122392"/>
                      </a:cubicBezTo>
                      <a:cubicBezTo>
                        <a:pt x="997371" y="126225"/>
                        <a:pt x="994953" y="132457"/>
                        <a:pt x="994953" y="141089"/>
                      </a:cubicBezTo>
                      <a:cubicBezTo>
                        <a:pt x="994953" y="147860"/>
                        <a:pt x="997204" y="153442"/>
                        <a:pt x="1001706" y="157832"/>
                      </a:cubicBezTo>
                      <a:cubicBezTo>
                        <a:pt x="1006208" y="162222"/>
                        <a:pt x="1012477" y="164418"/>
                        <a:pt x="1020514" y="164418"/>
                      </a:cubicBezTo>
                      <a:cubicBezTo>
                        <a:pt x="1031527" y="164418"/>
                        <a:pt x="1040680" y="160343"/>
                        <a:pt x="1047973" y="152195"/>
                      </a:cubicBezTo>
                      <a:cubicBezTo>
                        <a:pt x="1055265" y="144047"/>
                        <a:pt x="1058912" y="133536"/>
                        <a:pt x="1058912" y="120662"/>
                      </a:cubicBezTo>
                      <a:close/>
                      <a:moveTo>
                        <a:pt x="430634" y="101016"/>
                      </a:moveTo>
                      <a:cubicBezTo>
                        <a:pt x="422151" y="101016"/>
                        <a:pt x="415416" y="103918"/>
                        <a:pt x="410430" y="109722"/>
                      </a:cubicBezTo>
                      <a:cubicBezTo>
                        <a:pt x="405445" y="115527"/>
                        <a:pt x="402952" y="123452"/>
                        <a:pt x="402952" y="133498"/>
                      </a:cubicBezTo>
                      <a:cubicBezTo>
                        <a:pt x="402952" y="143097"/>
                        <a:pt x="405352" y="150724"/>
                        <a:pt x="410151" y="156380"/>
                      </a:cubicBezTo>
                      <a:cubicBezTo>
                        <a:pt x="414951" y="162035"/>
                        <a:pt x="421555" y="164863"/>
                        <a:pt x="429964" y="164863"/>
                      </a:cubicBezTo>
                      <a:cubicBezTo>
                        <a:pt x="438522" y="164863"/>
                        <a:pt x="445200" y="161980"/>
                        <a:pt x="450000" y="156212"/>
                      </a:cubicBezTo>
                      <a:cubicBezTo>
                        <a:pt x="454800" y="150445"/>
                        <a:pt x="457200" y="142650"/>
                        <a:pt x="457200" y="132828"/>
                      </a:cubicBezTo>
                      <a:cubicBezTo>
                        <a:pt x="457200" y="122335"/>
                        <a:pt x="454818" y="114410"/>
                        <a:pt x="450056" y="109053"/>
                      </a:cubicBezTo>
                      <a:cubicBezTo>
                        <a:pt x="445293" y="103695"/>
                        <a:pt x="438819" y="101016"/>
                        <a:pt x="430634" y="101016"/>
                      </a:cubicBezTo>
                      <a:close/>
                      <a:moveTo>
                        <a:pt x="430857" y="91863"/>
                      </a:moveTo>
                      <a:cubicBezTo>
                        <a:pt x="442019" y="91863"/>
                        <a:pt x="450874" y="95509"/>
                        <a:pt x="457423" y="102802"/>
                      </a:cubicBezTo>
                      <a:cubicBezTo>
                        <a:pt x="463971" y="110094"/>
                        <a:pt x="467246" y="120177"/>
                        <a:pt x="467246" y="133051"/>
                      </a:cubicBezTo>
                      <a:cubicBezTo>
                        <a:pt x="467246" y="144660"/>
                        <a:pt x="463841" y="154352"/>
                        <a:pt x="457032" y="162128"/>
                      </a:cubicBezTo>
                      <a:cubicBezTo>
                        <a:pt x="450223" y="169905"/>
                        <a:pt x="441126" y="173793"/>
                        <a:pt x="429741" y="173793"/>
                      </a:cubicBezTo>
                      <a:cubicBezTo>
                        <a:pt x="418356" y="173793"/>
                        <a:pt x="409333" y="170035"/>
                        <a:pt x="402673" y="162519"/>
                      </a:cubicBezTo>
                      <a:cubicBezTo>
                        <a:pt x="396013" y="155003"/>
                        <a:pt x="392683" y="145255"/>
                        <a:pt x="392683" y="133274"/>
                      </a:cubicBezTo>
                      <a:cubicBezTo>
                        <a:pt x="392683" y="120103"/>
                        <a:pt x="396255" y="109908"/>
                        <a:pt x="403398" y="102690"/>
                      </a:cubicBezTo>
                      <a:cubicBezTo>
                        <a:pt x="410542" y="95472"/>
                        <a:pt x="419695" y="91863"/>
                        <a:pt x="430857" y="91863"/>
                      </a:cubicBezTo>
                      <a:close/>
                      <a:moveTo>
                        <a:pt x="2090402" y="63289"/>
                      </a:moveTo>
                      <a:cubicBezTo>
                        <a:pt x="2079686" y="63289"/>
                        <a:pt x="2070813" y="66879"/>
                        <a:pt x="2063780" y="74060"/>
                      </a:cubicBezTo>
                      <a:cubicBezTo>
                        <a:pt x="2056748" y="81241"/>
                        <a:pt x="2052414" y="91529"/>
                        <a:pt x="2050777" y="104924"/>
                      </a:cubicBezTo>
                      <a:lnTo>
                        <a:pt x="2124223" y="104924"/>
                      </a:lnTo>
                      <a:cubicBezTo>
                        <a:pt x="2123777" y="91752"/>
                        <a:pt x="2120614" y="81520"/>
                        <a:pt x="2114735" y="74228"/>
                      </a:cubicBezTo>
                      <a:cubicBezTo>
                        <a:pt x="2108857" y="66935"/>
                        <a:pt x="2100746" y="63289"/>
                        <a:pt x="2090402" y="63289"/>
                      </a:cubicBezTo>
                      <a:close/>
                      <a:moveTo>
                        <a:pt x="918826" y="63289"/>
                      </a:moveTo>
                      <a:cubicBezTo>
                        <a:pt x="908111" y="63289"/>
                        <a:pt x="899237" y="66879"/>
                        <a:pt x="892205" y="74060"/>
                      </a:cubicBezTo>
                      <a:cubicBezTo>
                        <a:pt x="885172" y="81241"/>
                        <a:pt x="880838" y="91529"/>
                        <a:pt x="879201" y="104924"/>
                      </a:cubicBezTo>
                      <a:lnTo>
                        <a:pt x="952647" y="104924"/>
                      </a:lnTo>
                      <a:cubicBezTo>
                        <a:pt x="952201" y="91752"/>
                        <a:pt x="949038" y="81520"/>
                        <a:pt x="943160" y="74228"/>
                      </a:cubicBezTo>
                      <a:cubicBezTo>
                        <a:pt x="937281" y="66935"/>
                        <a:pt x="929170" y="63289"/>
                        <a:pt x="918826" y="63289"/>
                      </a:cubicBezTo>
                      <a:close/>
                      <a:moveTo>
                        <a:pt x="599107" y="63289"/>
                      </a:moveTo>
                      <a:cubicBezTo>
                        <a:pt x="585638" y="63289"/>
                        <a:pt x="574904" y="67828"/>
                        <a:pt x="566905" y="76907"/>
                      </a:cubicBezTo>
                      <a:cubicBezTo>
                        <a:pt x="558905" y="85985"/>
                        <a:pt x="554905" y="98598"/>
                        <a:pt x="554905" y="114746"/>
                      </a:cubicBezTo>
                      <a:cubicBezTo>
                        <a:pt x="554905" y="129703"/>
                        <a:pt x="558812" y="141721"/>
                        <a:pt x="566626" y="150800"/>
                      </a:cubicBezTo>
                      <a:cubicBezTo>
                        <a:pt x="574439" y="159878"/>
                        <a:pt x="585117" y="164418"/>
                        <a:pt x="598661" y="164418"/>
                      </a:cubicBezTo>
                      <a:cubicBezTo>
                        <a:pt x="612427" y="164418"/>
                        <a:pt x="623031" y="159953"/>
                        <a:pt x="630473" y="151023"/>
                      </a:cubicBezTo>
                      <a:cubicBezTo>
                        <a:pt x="637914" y="142093"/>
                        <a:pt x="641635" y="129703"/>
                        <a:pt x="641635" y="113853"/>
                      </a:cubicBezTo>
                      <a:cubicBezTo>
                        <a:pt x="641635" y="97557"/>
                        <a:pt x="637933" y="85055"/>
                        <a:pt x="630529" y="76349"/>
                      </a:cubicBezTo>
                      <a:cubicBezTo>
                        <a:pt x="623124" y="67642"/>
                        <a:pt x="612651" y="63289"/>
                        <a:pt x="599107" y="63289"/>
                      </a:cubicBezTo>
                      <a:close/>
                      <a:moveTo>
                        <a:pt x="1634987" y="63288"/>
                      </a:moveTo>
                      <a:cubicBezTo>
                        <a:pt x="1622411" y="63288"/>
                        <a:pt x="1612291" y="68013"/>
                        <a:pt x="1604626" y="77464"/>
                      </a:cubicBezTo>
                      <a:cubicBezTo>
                        <a:pt x="1596961" y="86914"/>
                        <a:pt x="1593129" y="99416"/>
                        <a:pt x="1593129" y="114968"/>
                      </a:cubicBezTo>
                      <a:cubicBezTo>
                        <a:pt x="1593129" y="130595"/>
                        <a:pt x="1596645" y="142743"/>
                        <a:pt x="1603677" y="151413"/>
                      </a:cubicBezTo>
                      <a:cubicBezTo>
                        <a:pt x="1610709" y="160082"/>
                        <a:pt x="1619993" y="164417"/>
                        <a:pt x="1631527" y="164417"/>
                      </a:cubicBezTo>
                      <a:cubicBezTo>
                        <a:pt x="1643805" y="164417"/>
                        <a:pt x="1653591" y="160435"/>
                        <a:pt x="1660883" y="152473"/>
                      </a:cubicBezTo>
                      <a:cubicBezTo>
                        <a:pt x="1668176" y="144511"/>
                        <a:pt x="1671822" y="134763"/>
                        <a:pt x="1671822" y="123228"/>
                      </a:cubicBezTo>
                      <a:lnTo>
                        <a:pt x="1671822" y="100569"/>
                      </a:lnTo>
                      <a:cubicBezTo>
                        <a:pt x="1671822" y="90449"/>
                        <a:pt x="1668418" y="81705"/>
                        <a:pt x="1661609" y="74338"/>
                      </a:cubicBezTo>
                      <a:cubicBezTo>
                        <a:pt x="1654800" y="66971"/>
                        <a:pt x="1645926" y="63288"/>
                        <a:pt x="1634987" y="63288"/>
                      </a:cubicBezTo>
                      <a:close/>
                      <a:moveTo>
                        <a:pt x="1444487" y="63288"/>
                      </a:moveTo>
                      <a:cubicBezTo>
                        <a:pt x="1431911" y="63288"/>
                        <a:pt x="1421791" y="68013"/>
                        <a:pt x="1414126" y="77464"/>
                      </a:cubicBezTo>
                      <a:cubicBezTo>
                        <a:pt x="1406461" y="86914"/>
                        <a:pt x="1402629" y="99416"/>
                        <a:pt x="1402629" y="114968"/>
                      </a:cubicBezTo>
                      <a:cubicBezTo>
                        <a:pt x="1402629" y="130595"/>
                        <a:pt x="1406145" y="142743"/>
                        <a:pt x="1413177" y="151413"/>
                      </a:cubicBezTo>
                      <a:cubicBezTo>
                        <a:pt x="1420209" y="160082"/>
                        <a:pt x="1429493" y="164417"/>
                        <a:pt x="1441027" y="164417"/>
                      </a:cubicBezTo>
                      <a:cubicBezTo>
                        <a:pt x="1453305" y="164417"/>
                        <a:pt x="1463091" y="160435"/>
                        <a:pt x="1470383" y="152473"/>
                      </a:cubicBezTo>
                      <a:cubicBezTo>
                        <a:pt x="1477676" y="144511"/>
                        <a:pt x="1481322" y="134763"/>
                        <a:pt x="1481322" y="123228"/>
                      </a:cubicBezTo>
                      <a:lnTo>
                        <a:pt x="1481322" y="100569"/>
                      </a:lnTo>
                      <a:cubicBezTo>
                        <a:pt x="1481322" y="90449"/>
                        <a:pt x="1477918" y="81705"/>
                        <a:pt x="1471109" y="74338"/>
                      </a:cubicBezTo>
                      <a:cubicBezTo>
                        <a:pt x="1464300" y="66971"/>
                        <a:pt x="1455426" y="63288"/>
                        <a:pt x="1444487" y="63288"/>
                      </a:cubicBezTo>
                      <a:close/>
                      <a:moveTo>
                        <a:pt x="1148767" y="63288"/>
                      </a:moveTo>
                      <a:cubicBezTo>
                        <a:pt x="1136786" y="63288"/>
                        <a:pt x="1126889" y="67883"/>
                        <a:pt x="1119075" y="77073"/>
                      </a:cubicBezTo>
                      <a:cubicBezTo>
                        <a:pt x="1111262" y="86263"/>
                        <a:pt x="1107355" y="98895"/>
                        <a:pt x="1107355" y="114968"/>
                      </a:cubicBezTo>
                      <a:cubicBezTo>
                        <a:pt x="1107355" y="130744"/>
                        <a:pt x="1110871" y="142930"/>
                        <a:pt x="1117904" y="151524"/>
                      </a:cubicBezTo>
                      <a:cubicBezTo>
                        <a:pt x="1124935" y="160119"/>
                        <a:pt x="1133995" y="164417"/>
                        <a:pt x="1145083" y="164417"/>
                      </a:cubicBezTo>
                      <a:cubicBezTo>
                        <a:pt x="1158106" y="164417"/>
                        <a:pt x="1168189" y="160380"/>
                        <a:pt x="1175332" y="152306"/>
                      </a:cubicBezTo>
                      <a:cubicBezTo>
                        <a:pt x="1182476" y="144232"/>
                        <a:pt x="1186048" y="134391"/>
                        <a:pt x="1186048" y="122782"/>
                      </a:cubicBezTo>
                      <a:lnTo>
                        <a:pt x="1186048" y="101462"/>
                      </a:lnTo>
                      <a:cubicBezTo>
                        <a:pt x="1186048" y="90821"/>
                        <a:pt x="1182681" y="81798"/>
                        <a:pt x="1175946" y="74394"/>
                      </a:cubicBezTo>
                      <a:cubicBezTo>
                        <a:pt x="1169212" y="66990"/>
                        <a:pt x="1160152" y="63288"/>
                        <a:pt x="1148767" y="63288"/>
                      </a:cubicBezTo>
                      <a:close/>
                      <a:moveTo>
                        <a:pt x="2476498" y="56702"/>
                      </a:moveTo>
                      <a:lnTo>
                        <a:pt x="2486768" y="56702"/>
                      </a:lnTo>
                      <a:lnTo>
                        <a:pt x="2486768" y="171002"/>
                      </a:lnTo>
                      <a:lnTo>
                        <a:pt x="2476498" y="171002"/>
                      </a:lnTo>
                      <a:close/>
                      <a:moveTo>
                        <a:pt x="2309923" y="56702"/>
                      </a:moveTo>
                      <a:lnTo>
                        <a:pt x="2321309" y="56702"/>
                      </a:lnTo>
                      <a:lnTo>
                        <a:pt x="2347875" y="147897"/>
                      </a:lnTo>
                      <a:cubicBezTo>
                        <a:pt x="2348544" y="150278"/>
                        <a:pt x="2349065" y="153478"/>
                        <a:pt x="2349437" y="157496"/>
                      </a:cubicBezTo>
                      <a:lnTo>
                        <a:pt x="2350330" y="157496"/>
                      </a:lnTo>
                      <a:cubicBezTo>
                        <a:pt x="2350479" y="155338"/>
                        <a:pt x="2351186" y="152138"/>
                        <a:pt x="2352451" y="147897"/>
                      </a:cubicBezTo>
                      <a:lnTo>
                        <a:pt x="2381473" y="56702"/>
                      </a:lnTo>
                      <a:lnTo>
                        <a:pt x="2388505" y="56702"/>
                      </a:lnTo>
                      <a:lnTo>
                        <a:pt x="2414401" y="147897"/>
                      </a:lnTo>
                      <a:cubicBezTo>
                        <a:pt x="2414996" y="150055"/>
                        <a:pt x="2415517" y="153254"/>
                        <a:pt x="2415963" y="157496"/>
                      </a:cubicBezTo>
                      <a:lnTo>
                        <a:pt x="2416857" y="157496"/>
                      </a:lnTo>
                      <a:cubicBezTo>
                        <a:pt x="2416857" y="155338"/>
                        <a:pt x="2417489" y="152138"/>
                        <a:pt x="2418754" y="147897"/>
                      </a:cubicBezTo>
                      <a:lnTo>
                        <a:pt x="2445878" y="56702"/>
                      </a:lnTo>
                      <a:lnTo>
                        <a:pt x="2456482" y="56702"/>
                      </a:lnTo>
                      <a:lnTo>
                        <a:pt x="2420987" y="171002"/>
                      </a:lnTo>
                      <a:lnTo>
                        <a:pt x="2411387" y="171002"/>
                      </a:lnTo>
                      <a:lnTo>
                        <a:pt x="2386495" y="84831"/>
                      </a:lnTo>
                      <a:cubicBezTo>
                        <a:pt x="2385826" y="82450"/>
                        <a:pt x="2385231" y="79250"/>
                        <a:pt x="2384709" y="75231"/>
                      </a:cubicBezTo>
                      <a:lnTo>
                        <a:pt x="2384151" y="75231"/>
                      </a:lnTo>
                      <a:cubicBezTo>
                        <a:pt x="2384003" y="76943"/>
                        <a:pt x="2383259" y="80068"/>
                        <a:pt x="2381919" y="84608"/>
                      </a:cubicBezTo>
                      <a:lnTo>
                        <a:pt x="2354014" y="171002"/>
                      </a:lnTo>
                      <a:lnTo>
                        <a:pt x="2344414" y="171002"/>
                      </a:lnTo>
                      <a:close/>
                      <a:moveTo>
                        <a:pt x="1228723" y="56702"/>
                      </a:moveTo>
                      <a:lnTo>
                        <a:pt x="1238993" y="56702"/>
                      </a:lnTo>
                      <a:lnTo>
                        <a:pt x="1238993" y="171002"/>
                      </a:lnTo>
                      <a:lnTo>
                        <a:pt x="1228723" y="171002"/>
                      </a:lnTo>
                      <a:close/>
                      <a:moveTo>
                        <a:pt x="842627" y="54470"/>
                      </a:moveTo>
                      <a:cubicBezTo>
                        <a:pt x="846869" y="54470"/>
                        <a:pt x="850664" y="55140"/>
                        <a:pt x="854013" y="56479"/>
                      </a:cubicBezTo>
                      <a:lnTo>
                        <a:pt x="854013" y="67418"/>
                      </a:lnTo>
                      <a:cubicBezTo>
                        <a:pt x="850590" y="64962"/>
                        <a:pt x="846571" y="63734"/>
                        <a:pt x="841957" y="63734"/>
                      </a:cubicBezTo>
                      <a:cubicBezTo>
                        <a:pt x="832953" y="63734"/>
                        <a:pt x="825400" y="68385"/>
                        <a:pt x="819298" y="77687"/>
                      </a:cubicBezTo>
                      <a:cubicBezTo>
                        <a:pt x="813196" y="86989"/>
                        <a:pt x="810146" y="100197"/>
                        <a:pt x="810146" y="117312"/>
                      </a:cubicBezTo>
                      <a:lnTo>
                        <a:pt x="810146" y="171002"/>
                      </a:lnTo>
                      <a:lnTo>
                        <a:pt x="800100" y="171002"/>
                      </a:lnTo>
                      <a:lnTo>
                        <a:pt x="800100" y="56702"/>
                      </a:lnTo>
                      <a:lnTo>
                        <a:pt x="810146" y="56702"/>
                      </a:lnTo>
                      <a:lnTo>
                        <a:pt x="810146" y="82040"/>
                      </a:lnTo>
                      <a:lnTo>
                        <a:pt x="810592" y="82040"/>
                      </a:lnTo>
                      <a:cubicBezTo>
                        <a:pt x="813196" y="73334"/>
                        <a:pt x="817327" y="66562"/>
                        <a:pt x="822982" y="61725"/>
                      </a:cubicBezTo>
                      <a:cubicBezTo>
                        <a:pt x="828637" y="56888"/>
                        <a:pt x="835186" y="54470"/>
                        <a:pt x="842627" y="54470"/>
                      </a:cubicBezTo>
                      <a:close/>
                      <a:moveTo>
                        <a:pt x="2193651" y="53913"/>
                      </a:moveTo>
                      <a:cubicBezTo>
                        <a:pt x="2203473" y="53913"/>
                        <a:pt x="2211882" y="55922"/>
                        <a:pt x="2218877" y="59940"/>
                      </a:cubicBezTo>
                      <a:lnTo>
                        <a:pt x="2218877" y="71549"/>
                      </a:lnTo>
                      <a:cubicBezTo>
                        <a:pt x="2210394" y="66042"/>
                        <a:pt x="2201613" y="63289"/>
                        <a:pt x="2192534" y="63289"/>
                      </a:cubicBezTo>
                      <a:cubicBezTo>
                        <a:pt x="2185019" y="63289"/>
                        <a:pt x="2178954" y="65242"/>
                        <a:pt x="2174340" y="69149"/>
                      </a:cubicBezTo>
                      <a:cubicBezTo>
                        <a:pt x="2169726" y="73056"/>
                        <a:pt x="2167420" y="78134"/>
                        <a:pt x="2167420" y="84385"/>
                      </a:cubicBezTo>
                      <a:cubicBezTo>
                        <a:pt x="2167420" y="89817"/>
                        <a:pt x="2168871" y="94227"/>
                        <a:pt x="2171773" y="97612"/>
                      </a:cubicBezTo>
                      <a:cubicBezTo>
                        <a:pt x="2174675" y="100998"/>
                        <a:pt x="2181075" y="104886"/>
                        <a:pt x="2190972" y="109277"/>
                      </a:cubicBezTo>
                      <a:cubicBezTo>
                        <a:pt x="2202878" y="114635"/>
                        <a:pt x="2211063" y="119602"/>
                        <a:pt x="2215528" y="124178"/>
                      </a:cubicBezTo>
                      <a:cubicBezTo>
                        <a:pt x="2219993" y="128755"/>
                        <a:pt x="2222226" y="134838"/>
                        <a:pt x="2222226" y="142428"/>
                      </a:cubicBezTo>
                      <a:cubicBezTo>
                        <a:pt x="2222226" y="151507"/>
                        <a:pt x="2218821" y="159004"/>
                        <a:pt x="2212012" y="164920"/>
                      </a:cubicBezTo>
                      <a:cubicBezTo>
                        <a:pt x="2205203" y="170836"/>
                        <a:pt x="2195809" y="173794"/>
                        <a:pt x="2183828" y="173794"/>
                      </a:cubicBezTo>
                      <a:cubicBezTo>
                        <a:pt x="2172815" y="173794"/>
                        <a:pt x="2163625" y="171189"/>
                        <a:pt x="2156258" y="165980"/>
                      </a:cubicBezTo>
                      <a:lnTo>
                        <a:pt x="2156258" y="153590"/>
                      </a:lnTo>
                      <a:cubicBezTo>
                        <a:pt x="2160127" y="156939"/>
                        <a:pt x="2164815" y="159581"/>
                        <a:pt x="2170322" y="161515"/>
                      </a:cubicBezTo>
                      <a:cubicBezTo>
                        <a:pt x="2175828" y="163450"/>
                        <a:pt x="2180591" y="164418"/>
                        <a:pt x="2184609" y="164418"/>
                      </a:cubicBezTo>
                      <a:cubicBezTo>
                        <a:pt x="2202543" y="164418"/>
                        <a:pt x="2211510" y="157088"/>
                        <a:pt x="2211510" y="142428"/>
                      </a:cubicBezTo>
                      <a:cubicBezTo>
                        <a:pt x="2211510" y="137368"/>
                        <a:pt x="2209538" y="133052"/>
                        <a:pt x="2205594" y="129480"/>
                      </a:cubicBezTo>
                      <a:cubicBezTo>
                        <a:pt x="2201650" y="125908"/>
                        <a:pt x="2195250" y="122225"/>
                        <a:pt x="2186395" y="118430"/>
                      </a:cubicBezTo>
                      <a:cubicBezTo>
                        <a:pt x="2175456" y="113667"/>
                        <a:pt x="2167773" y="108737"/>
                        <a:pt x="2163345" y="103640"/>
                      </a:cubicBezTo>
                      <a:cubicBezTo>
                        <a:pt x="2158918" y="98543"/>
                        <a:pt x="2156704" y="92348"/>
                        <a:pt x="2156704" y="85055"/>
                      </a:cubicBezTo>
                      <a:cubicBezTo>
                        <a:pt x="2156704" y="75753"/>
                        <a:pt x="2160257" y="68237"/>
                        <a:pt x="2167364" y="62508"/>
                      </a:cubicBezTo>
                      <a:cubicBezTo>
                        <a:pt x="2174470" y="56778"/>
                        <a:pt x="2183233" y="53913"/>
                        <a:pt x="2193651" y="53913"/>
                      </a:cubicBezTo>
                      <a:close/>
                      <a:moveTo>
                        <a:pt x="2090849" y="53913"/>
                      </a:moveTo>
                      <a:cubicBezTo>
                        <a:pt x="2105062" y="53913"/>
                        <a:pt x="2115963" y="58898"/>
                        <a:pt x="2123554" y="68870"/>
                      </a:cubicBezTo>
                      <a:cubicBezTo>
                        <a:pt x="2131144" y="78841"/>
                        <a:pt x="2134939" y="92459"/>
                        <a:pt x="2134939" y="109723"/>
                      </a:cubicBezTo>
                      <a:lnTo>
                        <a:pt x="2134939" y="114300"/>
                      </a:lnTo>
                      <a:lnTo>
                        <a:pt x="2050330" y="114300"/>
                      </a:lnTo>
                      <a:cubicBezTo>
                        <a:pt x="2050330" y="130001"/>
                        <a:pt x="2053958" y="142279"/>
                        <a:pt x="2061213" y="151135"/>
                      </a:cubicBezTo>
                      <a:cubicBezTo>
                        <a:pt x="2068469" y="159990"/>
                        <a:pt x="2078421" y="164418"/>
                        <a:pt x="2091072" y="164418"/>
                      </a:cubicBezTo>
                      <a:cubicBezTo>
                        <a:pt x="2103871" y="164418"/>
                        <a:pt x="2116373" y="159692"/>
                        <a:pt x="2128576" y="150242"/>
                      </a:cubicBezTo>
                      <a:lnTo>
                        <a:pt x="2128576" y="161181"/>
                      </a:lnTo>
                      <a:cubicBezTo>
                        <a:pt x="2116745" y="169589"/>
                        <a:pt x="2103536" y="173794"/>
                        <a:pt x="2088951" y="173794"/>
                      </a:cubicBezTo>
                      <a:cubicBezTo>
                        <a:pt x="2074217" y="173794"/>
                        <a:pt x="2062311" y="168510"/>
                        <a:pt x="2053232" y="157944"/>
                      </a:cubicBezTo>
                      <a:cubicBezTo>
                        <a:pt x="2044154" y="147377"/>
                        <a:pt x="2039614" y="132457"/>
                        <a:pt x="2039614" y="113184"/>
                      </a:cubicBezTo>
                      <a:cubicBezTo>
                        <a:pt x="2039614" y="96515"/>
                        <a:pt x="2044358" y="82469"/>
                        <a:pt x="2053846" y="71047"/>
                      </a:cubicBezTo>
                      <a:cubicBezTo>
                        <a:pt x="2063334" y="59624"/>
                        <a:pt x="2075668" y="53913"/>
                        <a:pt x="2090849" y="53913"/>
                      </a:cubicBezTo>
                      <a:close/>
                      <a:moveTo>
                        <a:pt x="1993626" y="53913"/>
                      </a:moveTo>
                      <a:cubicBezTo>
                        <a:pt x="2003448" y="53913"/>
                        <a:pt x="2011857" y="55922"/>
                        <a:pt x="2018852" y="59940"/>
                      </a:cubicBezTo>
                      <a:lnTo>
                        <a:pt x="2018852" y="71549"/>
                      </a:lnTo>
                      <a:cubicBezTo>
                        <a:pt x="2010369" y="66042"/>
                        <a:pt x="2001588" y="63289"/>
                        <a:pt x="1992509" y="63289"/>
                      </a:cubicBezTo>
                      <a:cubicBezTo>
                        <a:pt x="1984994" y="63289"/>
                        <a:pt x="1978929" y="65242"/>
                        <a:pt x="1974315" y="69149"/>
                      </a:cubicBezTo>
                      <a:cubicBezTo>
                        <a:pt x="1969701" y="73056"/>
                        <a:pt x="1967395" y="78134"/>
                        <a:pt x="1967395" y="84385"/>
                      </a:cubicBezTo>
                      <a:cubicBezTo>
                        <a:pt x="1967395" y="89817"/>
                        <a:pt x="1968846" y="94227"/>
                        <a:pt x="1971748" y="97612"/>
                      </a:cubicBezTo>
                      <a:cubicBezTo>
                        <a:pt x="1974650" y="100998"/>
                        <a:pt x="1981050" y="104886"/>
                        <a:pt x="1990947" y="109277"/>
                      </a:cubicBezTo>
                      <a:cubicBezTo>
                        <a:pt x="2002853" y="114635"/>
                        <a:pt x="2011038" y="119602"/>
                        <a:pt x="2015503" y="124178"/>
                      </a:cubicBezTo>
                      <a:cubicBezTo>
                        <a:pt x="2019968" y="128755"/>
                        <a:pt x="2022201" y="134838"/>
                        <a:pt x="2022201" y="142428"/>
                      </a:cubicBezTo>
                      <a:cubicBezTo>
                        <a:pt x="2022201" y="151507"/>
                        <a:pt x="2018796" y="159004"/>
                        <a:pt x="2011987" y="164920"/>
                      </a:cubicBezTo>
                      <a:cubicBezTo>
                        <a:pt x="2005178" y="170836"/>
                        <a:pt x="1995784" y="173794"/>
                        <a:pt x="1983803" y="173794"/>
                      </a:cubicBezTo>
                      <a:cubicBezTo>
                        <a:pt x="1972790" y="173794"/>
                        <a:pt x="1963600" y="171189"/>
                        <a:pt x="1956233" y="165980"/>
                      </a:cubicBezTo>
                      <a:lnTo>
                        <a:pt x="1956233" y="153590"/>
                      </a:lnTo>
                      <a:cubicBezTo>
                        <a:pt x="1960102" y="156939"/>
                        <a:pt x="1964790" y="159581"/>
                        <a:pt x="1970297" y="161515"/>
                      </a:cubicBezTo>
                      <a:cubicBezTo>
                        <a:pt x="1975803" y="163450"/>
                        <a:pt x="1980566" y="164418"/>
                        <a:pt x="1984584" y="164418"/>
                      </a:cubicBezTo>
                      <a:cubicBezTo>
                        <a:pt x="2002518" y="164418"/>
                        <a:pt x="2011485" y="157088"/>
                        <a:pt x="2011485" y="142428"/>
                      </a:cubicBezTo>
                      <a:cubicBezTo>
                        <a:pt x="2011485" y="137368"/>
                        <a:pt x="2009513" y="133052"/>
                        <a:pt x="2005569" y="129480"/>
                      </a:cubicBezTo>
                      <a:cubicBezTo>
                        <a:pt x="2001625" y="125908"/>
                        <a:pt x="1995225" y="122225"/>
                        <a:pt x="1986370" y="118430"/>
                      </a:cubicBezTo>
                      <a:cubicBezTo>
                        <a:pt x="1975431" y="113667"/>
                        <a:pt x="1967748" y="108737"/>
                        <a:pt x="1963320" y="103640"/>
                      </a:cubicBezTo>
                      <a:cubicBezTo>
                        <a:pt x="1958893" y="98543"/>
                        <a:pt x="1956679" y="92348"/>
                        <a:pt x="1956679" y="85055"/>
                      </a:cubicBezTo>
                      <a:cubicBezTo>
                        <a:pt x="1956679" y="75753"/>
                        <a:pt x="1960232" y="68237"/>
                        <a:pt x="1967339" y="62508"/>
                      </a:cubicBezTo>
                      <a:cubicBezTo>
                        <a:pt x="1974445" y="56778"/>
                        <a:pt x="1983208" y="53913"/>
                        <a:pt x="1993626" y="53913"/>
                      </a:cubicBezTo>
                      <a:close/>
                      <a:moveTo>
                        <a:pt x="1907901" y="53913"/>
                      </a:moveTo>
                      <a:cubicBezTo>
                        <a:pt x="1917723" y="53913"/>
                        <a:pt x="1926132" y="55922"/>
                        <a:pt x="1933127" y="59940"/>
                      </a:cubicBezTo>
                      <a:lnTo>
                        <a:pt x="1933127" y="71549"/>
                      </a:lnTo>
                      <a:cubicBezTo>
                        <a:pt x="1924644" y="66042"/>
                        <a:pt x="1915863" y="63289"/>
                        <a:pt x="1906784" y="63289"/>
                      </a:cubicBezTo>
                      <a:cubicBezTo>
                        <a:pt x="1899269" y="63289"/>
                        <a:pt x="1893204" y="65242"/>
                        <a:pt x="1888590" y="69149"/>
                      </a:cubicBezTo>
                      <a:cubicBezTo>
                        <a:pt x="1883976" y="73056"/>
                        <a:pt x="1881670" y="78134"/>
                        <a:pt x="1881670" y="84385"/>
                      </a:cubicBezTo>
                      <a:cubicBezTo>
                        <a:pt x="1881670" y="89817"/>
                        <a:pt x="1883121" y="94227"/>
                        <a:pt x="1886023" y="97612"/>
                      </a:cubicBezTo>
                      <a:cubicBezTo>
                        <a:pt x="1888925" y="100998"/>
                        <a:pt x="1895325" y="104886"/>
                        <a:pt x="1905222" y="109277"/>
                      </a:cubicBezTo>
                      <a:cubicBezTo>
                        <a:pt x="1917128" y="114635"/>
                        <a:pt x="1925313" y="119602"/>
                        <a:pt x="1929778" y="124178"/>
                      </a:cubicBezTo>
                      <a:cubicBezTo>
                        <a:pt x="1934243" y="128755"/>
                        <a:pt x="1936476" y="134838"/>
                        <a:pt x="1936476" y="142428"/>
                      </a:cubicBezTo>
                      <a:cubicBezTo>
                        <a:pt x="1936476" y="151507"/>
                        <a:pt x="1933071" y="159004"/>
                        <a:pt x="1926262" y="164920"/>
                      </a:cubicBezTo>
                      <a:cubicBezTo>
                        <a:pt x="1919453" y="170836"/>
                        <a:pt x="1910059" y="173794"/>
                        <a:pt x="1898078" y="173794"/>
                      </a:cubicBezTo>
                      <a:cubicBezTo>
                        <a:pt x="1887065" y="173794"/>
                        <a:pt x="1877875" y="171189"/>
                        <a:pt x="1870508" y="165980"/>
                      </a:cubicBezTo>
                      <a:lnTo>
                        <a:pt x="1870508" y="153590"/>
                      </a:lnTo>
                      <a:cubicBezTo>
                        <a:pt x="1874377" y="156939"/>
                        <a:pt x="1879065" y="159581"/>
                        <a:pt x="1884572" y="161515"/>
                      </a:cubicBezTo>
                      <a:cubicBezTo>
                        <a:pt x="1890078" y="163450"/>
                        <a:pt x="1894841" y="164418"/>
                        <a:pt x="1898859" y="164418"/>
                      </a:cubicBezTo>
                      <a:cubicBezTo>
                        <a:pt x="1916793" y="164418"/>
                        <a:pt x="1925760" y="157088"/>
                        <a:pt x="1925760" y="142428"/>
                      </a:cubicBezTo>
                      <a:cubicBezTo>
                        <a:pt x="1925760" y="137368"/>
                        <a:pt x="1923788" y="133052"/>
                        <a:pt x="1919844" y="129480"/>
                      </a:cubicBezTo>
                      <a:cubicBezTo>
                        <a:pt x="1915900" y="125908"/>
                        <a:pt x="1909500" y="122225"/>
                        <a:pt x="1900645" y="118430"/>
                      </a:cubicBezTo>
                      <a:cubicBezTo>
                        <a:pt x="1889706" y="113667"/>
                        <a:pt x="1882023" y="108737"/>
                        <a:pt x="1877595" y="103640"/>
                      </a:cubicBezTo>
                      <a:cubicBezTo>
                        <a:pt x="1873168" y="98543"/>
                        <a:pt x="1870954" y="92348"/>
                        <a:pt x="1870954" y="85055"/>
                      </a:cubicBezTo>
                      <a:cubicBezTo>
                        <a:pt x="1870954" y="75753"/>
                        <a:pt x="1874507" y="68237"/>
                        <a:pt x="1881614" y="62508"/>
                      </a:cubicBezTo>
                      <a:cubicBezTo>
                        <a:pt x="1888720" y="56778"/>
                        <a:pt x="1897483" y="53913"/>
                        <a:pt x="1907901" y="53913"/>
                      </a:cubicBezTo>
                      <a:close/>
                      <a:moveTo>
                        <a:pt x="1803758" y="53913"/>
                      </a:moveTo>
                      <a:cubicBezTo>
                        <a:pt x="1815516" y="53913"/>
                        <a:pt x="1824613" y="57559"/>
                        <a:pt x="1831049" y="64852"/>
                      </a:cubicBezTo>
                      <a:cubicBezTo>
                        <a:pt x="1837486" y="72144"/>
                        <a:pt x="1840705" y="82748"/>
                        <a:pt x="1840705" y="96664"/>
                      </a:cubicBezTo>
                      <a:lnTo>
                        <a:pt x="1840705" y="171003"/>
                      </a:lnTo>
                      <a:lnTo>
                        <a:pt x="1830436" y="171003"/>
                      </a:lnTo>
                      <a:lnTo>
                        <a:pt x="1830436" y="148121"/>
                      </a:lnTo>
                      <a:lnTo>
                        <a:pt x="1829989" y="148121"/>
                      </a:lnTo>
                      <a:cubicBezTo>
                        <a:pt x="1826343" y="155934"/>
                        <a:pt x="1821041" y="162167"/>
                        <a:pt x="1814083" y="166817"/>
                      </a:cubicBezTo>
                      <a:cubicBezTo>
                        <a:pt x="1807125" y="171468"/>
                        <a:pt x="1799405" y="173794"/>
                        <a:pt x="1790922" y="173794"/>
                      </a:cubicBezTo>
                      <a:cubicBezTo>
                        <a:pt x="1780057" y="173794"/>
                        <a:pt x="1771462" y="170743"/>
                        <a:pt x="1765137" y="164641"/>
                      </a:cubicBezTo>
                      <a:cubicBezTo>
                        <a:pt x="1758812" y="158539"/>
                        <a:pt x="1755649" y="150837"/>
                        <a:pt x="1755649" y="141535"/>
                      </a:cubicBezTo>
                      <a:cubicBezTo>
                        <a:pt x="1755649" y="121592"/>
                        <a:pt x="1768858" y="109537"/>
                        <a:pt x="1795275" y="105370"/>
                      </a:cubicBezTo>
                      <a:lnTo>
                        <a:pt x="1830436" y="100124"/>
                      </a:lnTo>
                      <a:cubicBezTo>
                        <a:pt x="1830436" y="75567"/>
                        <a:pt x="1821208" y="63289"/>
                        <a:pt x="1802754" y="63289"/>
                      </a:cubicBezTo>
                      <a:cubicBezTo>
                        <a:pt x="1790178" y="63289"/>
                        <a:pt x="1777936" y="68349"/>
                        <a:pt x="1766030" y="78469"/>
                      </a:cubicBezTo>
                      <a:lnTo>
                        <a:pt x="1766030" y="66079"/>
                      </a:lnTo>
                      <a:cubicBezTo>
                        <a:pt x="1770272" y="62731"/>
                        <a:pt x="1776020" y="59866"/>
                        <a:pt x="1783276" y="57485"/>
                      </a:cubicBezTo>
                      <a:cubicBezTo>
                        <a:pt x="1790531" y="55103"/>
                        <a:pt x="1797358" y="53913"/>
                        <a:pt x="1803758" y="53913"/>
                      </a:cubicBezTo>
                      <a:close/>
                      <a:moveTo>
                        <a:pt x="1032234" y="53913"/>
                      </a:moveTo>
                      <a:cubicBezTo>
                        <a:pt x="1043992" y="53913"/>
                        <a:pt x="1053089" y="57559"/>
                        <a:pt x="1059526" y="64852"/>
                      </a:cubicBezTo>
                      <a:cubicBezTo>
                        <a:pt x="1065962" y="72144"/>
                        <a:pt x="1069181" y="82748"/>
                        <a:pt x="1069181" y="96664"/>
                      </a:cubicBezTo>
                      <a:lnTo>
                        <a:pt x="1069181" y="171003"/>
                      </a:lnTo>
                      <a:lnTo>
                        <a:pt x="1058912" y="171003"/>
                      </a:lnTo>
                      <a:lnTo>
                        <a:pt x="1058912" y="148121"/>
                      </a:lnTo>
                      <a:lnTo>
                        <a:pt x="1058465" y="148121"/>
                      </a:lnTo>
                      <a:cubicBezTo>
                        <a:pt x="1054819" y="155934"/>
                        <a:pt x="1049517" y="162167"/>
                        <a:pt x="1042559" y="166817"/>
                      </a:cubicBezTo>
                      <a:cubicBezTo>
                        <a:pt x="1035602" y="171468"/>
                        <a:pt x="1027881" y="173794"/>
                        <a:pt x="1019398" y="173794"/>
                      </a:cubicBezTo>
                      <a:cubicBezTo>
                        <a:pt x="1008533" y="173794"/>
                        <a:pt x="999938" y="170743"/>
                        <a:pt x="993613" y="164641"/>
                      </a:cubicBezTo>
                      <a:cubicBezTo>
                        <a:pt x="987288" y="158539"/>
                        <a:pt x="984126" y="150837"/>
                        <a:pt x="984126" y="141535"/>
                      </a:cubicBezTo>
                      <a:cubicBezTo>
                        <a:pt x="984126" y="121592"/>
                        <a:pt x="997334" y="109537"/>
                        <a:pt x="1023751" y="105370"/>
                      </a:cubicBezTo>
                      <a:lnTo>
                        <a:pt x="1058912" y="100124"/>
                      </a:lnTo>
                      <a:cubicBezTo>
                        <a:pt x="1058912" y="75567"/>
                        <a:pt x="1049684" y="63289"/>
                        <a:pt x="1031230" y="63289"/>
                      </a:cubicBezTo>
                      <a:cubicBezTo>
                        <a:pt x="1018654" y="63289"/>
                        <a:pt x="1006413" y="68349"/>
                        <a:pt x="994506" y="78469"/>
                      </a:cubicBezTo>
                      <a:lnTo>
                        <a:pt x="994506" y="66079"/>
                      </a:lnTo>
                      <a:cubicBezTo>
                        <a:pt x="998748" y="62731"/>
                        <a:pt x="1004496" y="59866"/>
                        <a:pt x="1011752" y="57485"/>
                      </a:cubicBezTo>
                      <a:cubicBezTo>
                        <a:pt x="1019007" y="55103"/>
                        <a:pt x="1025835" y="53913"/>
                        <a:pt x="1032234" y="53913"/>
                      </a:cubicBezTo>
                      <a:close/>
                      <a:moveTo>
                        <a:pt x="919273" y="53913"/>
                      </a:moveTo>
                      <a:cubicBezTo>
                        <a:pt x="933486" y="53913"/>
                        <a:pt x="944387" y="58898"/>
                        <a:pt x="951978" y="68870"/>
                      </a:cubicBezTo>
                      <a:cubicBezTo>
                        <a:pt x="959568" y="78841"/>
                        <a:pt x="963363" y="92459"/>
                        <a:pt x="963363" y="109723"/>
                      </a:cubicBezTo>
                      <a:lnTo>
                        <a:pt x="963363" y="114300"/>
                      </a:lnTo>
                      <a:lnTo>
                        <a:pt x="878754" y="114300"/>
                      </a:lnTo>
                      <a:cubicBezTo>
                        <a:pt x="878754" y="130001"/>
                        <a:pt x="882382" y="142279"/>
                        <a:pt x="889637" y="151135"/>
                      </a:cubicBezTo>
                      <a:cubicBezTo>
                        <a:pt x="896893" y="159990"/>
                        <a:pt x="906846" y="164418"/>
                        <a:pt x="919496" y="164418"/>
                      </a:cubicBezTo>
                      <a:cubicBezTo>
                        <a:pt x="932295" y="164418"/>
                        <a:pt x="944797" y="159692"/>
                        <a:pt x="957001" y="150242"/>
                      </a:cubicBezTo>
                      <a:lnTo>
                        <a:pt x="957001" y="161181"/>
                      </a:lnTo>
                      <a:cubicBezTo>
                        <a:pt x="945169" y="169589"/>
                        <a:pt x="931960" y="173794"/>
                        <a:pt x="917375" y="173794"/>
                      </a:cubicBezTo>
                      <a:cubicBezTo>
                        <a:pt x="902641" y="173794"/>
                        <a:pt x="890735" y="168510"/>
                        <a:pt x="881656" y="157944"/>
                      </a:cubicBezTo>
                      <a:cubicBezTo>
                        <a:pt x="872578" y="147377"/>
                        <a:pt x="868039" y="132457"/>
                        <a:pt x="868039" y="113184"/>
                      </a:cubicBezTo>
                      <a:cubicBezTo>
                        <a:pt x="868039" y="96515"/>
                        <a:pt x="872783" y="82469"/>
                        <a:pt x="882270" y="71047"/>
                      </a:cubicBezTo>
                      <a:cubicBezTo>
                        <a:pt x="891758" y="59624"/>
                        <a:pt x="904092" y="53913"/>
                        <a:pt x="919273" y="53913"/>
                      </a:cubicBezTo>
                      <a:close/>
                      <a:moveTo>
                        <a:pt x="599554" y="53913"/>
                      </a:moveTo>
                      <a:cubicBezTo>
                        <a:pt x="615850" y="53913"/>
                        <a:pt x="628724" y="59233"/>
                        <a:pt x="638175" y="69875"/>
                      </a:cubicBezTo>
                      <a:cubicBezTo>
                        <a:pt x="647625" y="80516"/>
                        <a:pt x="652351" y="95250"/>
                        <a:pt x="652351" y="114076"/>
                      </a:cubicBezTo>
                      <a:cubicBezTo>
                        <a:pt x="652351" y="131861"/>
                        <a:pt x="647532" y="146261"/>
                        <a:pt x="637896" y="157274"/>
                      </a:cubicBezTo>
                      <a:cubicBezTo>
                        <a:pt x="628259" y="168287"/>
                        <a:pt x="615069" y="173794"/>
                        <a:pt x="598326" y="173794"/>
                      </a:cubicBezTo>
                      <a:cubicBezTo>
                        <a:pt x="581657" y="173794"/>
                        <a:pt x="568467" y="168306"/>
                        <a:pt x="558756" y="157330"/>
                      </a:cubicBezTo>
                      <a:cubicBezTo>
                        <a:pt x="549045" y="146354"/>
                        <a:pt x="544190" y="132085"/>
                        <a:pt x="544190" y="114523"/>
                      </a:cubicBezTo>
                      <a:cubicBezTo>
                        <a:pt x="544190" y="95547"/>
                        <a:pt x="549268" y="80702"/>
                        <a:pt x="559426" y="69986"/>
                      </a:cubicBezTo>
                      <a:cubicBezTo>
                        <a:pt x="569583" y="59271"/>
                        <a:pt x="582959" y="53913"/>
                        <a:pt x="599554" y="53913"/>
                      </a:cubicBezTo>
                      <a:close/>
                      <a:moveTo>
                        <a:pt x="1634764" y="53912"/>
                      </a:moveTo>
                      <a:cubicBezTo>
                        <a:pt x="1651581" y="53912"/>
                        <a:pt x="1663785" y="60869"/>
                        <a:pt x="1671375" y="74785"/>
                      </a:cubicBezTo>
                      <a:lnTo>
                        <a:pt x="1671822" y="74785"/>
                      </a:lnTo>
                      <a:lnTo>
                        <a:pt x="1671822" y="56702"/>
                      </a:lnTo>
                      <a:lnTo>
                        <a:pt x="1682091" y="56702"/>
                      </a:lnTo>
                      <a:lnTo>
                        <a:pt x="1682091" y="162519"/>
                      </a:lnTo>
                      <a:cubicBezTo>
                        <a:pt x="1682091" y="184025"/>
                        <a:pt x="1677403" y="199763"/>
                        <a:pt x="1668027" y="209735"/>
                      </a:cubicBezTo>
                      <a:cubicBezTo>
                        <a:pt x="1658651" y="219706"/>
                        <a:pt x="1644066" y="224692"/>
                        <a:pt x="1624271" y="224692"/>
                      </a:cubicBezTo>
                      <a:cubicBezTo>
                        <a:pt x="1613258" y="224692"/>
                        <a:pt x="1601910" y="221790"/>
                        <a:pt x="1590227" y="215986"/>
                      </a:cubicBezTo>
                      <a:lnTo>
                        <a:pt x="1590227" y="205270"/>
                      </a:lnTo>
                      <a:cubicBezTo>
                        <a:pt x="1602282" y="211967"/>
                        <a:pt x="1613705" y="215316"/>
                        <a:pt x="1624495" y="215316"/>
                      </a:cubicBezTo>
                      <a:cubicBezTo>
                        <a:pt x="1656046" y="215316"/>
                        <a:pt x="1671822" y="198647"/>
                        <a:pt x="1671822" y="165310"/>
                      </a:cubicBezTo>
                      <a:lnTo>
                        <a:pt x="1671822" y="150464"/>
                      </a:lnTo>
                      <a:lnTo>
                        <a:pt x="1671375" y="150464"/>
                      </a:lnTo>
                      <a:cubicBezTo>
                        <a:pt x="1662371" y="166016"/>
                        <a:pt x="1648642" y="173793"/>
                        <a:pt x="1630187" y="173793"/>
                      </a:cubicBezTo>
                      <a:cubicBezTo>
                        <a:pt x="1616123" y="173793"/>
                        <a:pt x="1604645" y="168695"/>
                        <a:pt x="1595752" y="158501"/>
                      </a:cubicBezTo>
                      <a:cubicBezTo>
                        <a:pt x="1586860" y="148306"/>
                        <a:pt x="1582413" y="134093"/>
                        <a:pt x="1582413" y="115861"/>
                      </a:cubicBezTo>
                      <a:cubicBezTo>
                        <a:pt x="1582413" y="97630"/>
                        <a:pt x="1587213" y="82747"/>
                        <a:pt x="1596813" y="71213"/>
                      </a:cubicBezTo>
                      <a:cubicBezTo>
                        <a:pt x="1606412" y="59679"/>
                        <a:pt x="1619062" y="53912"/>
                        <a:pt x="1634764" y="53912"/>
                      </a:cubicBezTo>
                      <a:close/>
                      <a:moveTo>
                        <a:pt x="1444264" y="53912"/>
                      </a:moveTo>
                      <a:cubicBezTo>
                        <a:pt x="1461081" y="53912"/>
                        <a:pt x="1473285" y="60869"/>
                        <a:pt x="1480875" y="74785"/>
                      </a:cubicBezTo>
                      <a:lnTo>
                        <a:pt x="1481322" y="74785"/>
                      </a:lnTo>
                      <a:lnTo>
                        <a:pt x="1481322" y="56702"/>
                      </a:lnTo>
                      <a:lnTo>
                        <a:pt x="1491591" y="56702"/>
                      </a:lnTo>
                      <a:lnTo>
                        <a:pt x="1491591" y="162519"/>
                      </a:lnTo>
                      <a:cubicBezTo>
                        <a:pt x="1491591" y="184025"/>
                        <a:pt x="1486903" y="199763"/>
                        <a:pt x="1477527" y="209735"/>
                      </a:cubicBezTo>
                      <a:cubicBezTo>
                        <a:pt x="1468151" y="219706"/>
                        <a:pt x="1453566" y="224692"/>
                        <a:pt x="1433771" y="224692"/>
                      </a:cubicBezTo>
                      <a:cubicBezTo>
                        <a:pt x="1422758" y="224692"/>
                        <a:pt x="1411410" y="221790"/>
                        <a:pt x="1399727" y="215986"/>
                      </a:cubicBezTo>
                      <a:lnTo>
                        <a:pt x="1399727" y="205270"/>
                      </a:lnTo>
                      <a:cubicBezTo>
                        <a:pt x="1411782" y="211967"/>
                        <a:pt x="1423205" y="215316"/>
                        <a:pt x="1433995" y="215316"/>
                      </a:cubicBezTo>
                      <a:cubicBezTo>
                        <a:pt x="1465546" y="215316"/>
                        <a:pt x="1481322" y="198647"/>
                        <a:pt x="1481322" y="165310"/>
                      </a:cubicBezTo>
                      <a:lnTo>
                        <a:pt x="1481322" y="150464"/>
                      </a:lnTo>
                      <a:lnTo>
                        <a:pt x="1480875" y="150464"/>
                      </a:lnTo>
                      <a:cubicBezTo>
                        <a:pt x="1471871" y="166016"/>
                        <a:pt x="1458142" y="173793"/>
                        <a:pt x="1439687" y="173793"/>
                      </a:cubicBezTo>
                      <a:cubicBezTo>
                        <a:pt x="1425623" y="173793"/>
                        <a:pt x="1414145" y="168695"/>
                        <a:pt x="1405252" y="158501"/>
                      </a:cubicBezTo>
                      <a:cubicBezTo>
                        <a:pt x="1396360" y="148306"/>
                        <a:pt x="1391913" y="134093"/>
                        <a:pt x="1391913" y="115861"/>
                      </a:cubicBezTo>
                      <a:cubicBezTo>
                        <a:pt x="1391913" y="97630"/>
                        <a:pt x="1396713" y="82747"/>
                        <a:pt x="1406313" y="71213"/>
                      </a:cubicBezTo>
                      <a:cubicBezTo>
                        <a:pt x="1415912" y="59679"/>
                        <a:pt x="1428562" y="53912"/>
                        <a:pt x="1444264" y="53912"/>
                      </a:cubicBezTo>
                      <a:close/>
                      <a:moveTo>
                        <a:pt x="1326131" y="53912"/>
                      </a:moveTo>
                      <a:cubicBezTo>
                        <a:pt x="1338484" y="53912"/>
                        <a:pt x="1347935" y="58023"/>
                        <a:pt x="1354483" y="66246"/>
                      </a:cubicBezTo>
                      <a:cubicBezTo>
                        <a:pt x="1361032" y="74469"/>
                        <a:pt x="1364306" y="86207"/>
                        <a:pt x="1364306" y="101462"/>
                      </a:cubicBezTo>
                      <a:lnTo>
                        <a:pt x="1364306" y="171002"/>
                      </a:lnTo>
                      <a:lnTo>
                        <a:pt x="1354037" y="171002"/>
                      </a:lnTo>
                      <a:lnTo>
                        <a:pt x="1354037" y="104476"/>
                      </a:lnTo>
                      <a:cubicBezTo>
                        <a:pt x="1354037" y="77017"/>
                        <a:pt x="1344140" y="63288"/>
                        <a:pt x="1324346" y="63288"/>
                      </a:cubicBezTo>
                      <a:cubicBezTo>
                        <a:pt x="1313332" y="63288"/>
                        <a:pt x="1304291" y="67325"/>
                        <a:pt x="1297222" y="75399"/>
                      </a:cubicBezTo>
                      <a:cubicBezTo>
                        <a:pt x="1290152" y="83473"/>
                        <a:pt x="1286618" y="93463"/>
                        <a:pt x="1286618" y="105369"/>
                      </a:cubicBezTo>
                      <a:lnTo>
                        <a:pt x="1286618" y="171002"/>
                      </a:lnTo>
                      <a:lnTo>
                        <a:pt x="1276348" y="171002"/>
                      </a:lnTo>
                      <a:lnTo>
                        <a:pt x="1276348" y="56702"/>
                      </a:lnTo>
                      <a:lnTo>
                        <a:pt x="1286618" y="56702"/>
                      </a:lnTo>
                      <a:lnTo>
                        <a:pt x="1286618" y="77464"/>
                      </a:lnTo>
                      <a:lnTo>
                        <a:pt x="1287064" y="77464"/>
                      </a:lnTo>
                      <a:cubicBezTo>
                        <a:pt x="1295398" y="61762"/>
                        <a:pt x="1308421" y="53912"/>
                        <a:pt x="1326131" y="53912"/>
                      </a:cubicBezTo>
                      <a:close/>
                      <a:moveTo>
                        <a:pt x="241881" y="17635"/>
                      </a:moveTo>
                      <a:cubicBezTo>
                        <a:pt x="229603" y="17635"/>
                        <a:pt x="220041" y="23923"/>
                        <a:pt x="213195" y="36499"/>
                      </a:cubicBezTo>
                      <a:cubicBezTo>
                        <a:pt x="206349" y="49075"/>
                        <a:pt x="202926" y="67939"/>
                        <a:pt x="202926" y="93091"/>
                      </a:cubicBezTo>
                      <a:cubicBezTo>
                        <a:pt x="202926" y="116010"/>
                        <a:pt x="206200" y="133628"/>
                        <a:pt x="212748" y="145943"/>
                      </a:cubicBezTo>
                      <a:cubicBezTo>
                        <a:pt x="219297" y="158259"/>
                        <a:pt x="228599" y="164417"/>
                        <a:pt x="240654" y="164417"/>
                      </a:cubicBezTo>
                      <a:cubicBezTo>
                        <a:pt x="252485" y="164417"/>
                        <a:pt x="261694" y="158147"/>
                        <a:pt x="268280" y="145608"/>
                      </a:cubicBezTo>
                      <a:cubicBezTo>
                        <a:pt x="274866" y="133070"/>
                        <a:pt x="278158" y="115154"/>
                        <a:pt x="278158" y="91863"/>
                      </a:cubicBezTo>
                      <a:cubicBezTo>
                        <a:pt x="278158" y="42378"/>
                        <a:pt x="266066" y="17635"/>
                        <a:pt x="241881" y="17635"/>
                      </a:cubicBezTo>
                      <a:close/>
                      <a:moveTo>
                        <a:pt x="343123" y="16965"/>
                      </a:moveTo>
                      <a:cubicBezTo>
                        <a:pt x="334565" y="16965"/>
                        <a:pt x="327812" y="19811"/>
                        <a:pt x="322864" y="25504"/>
                      </a:cubicBezTo>
                      <a:cubicBezTo>
                        <a:pt x="317915" y="31197"/>
                        <a:pt x="315441" y="39141"/>
                        <a:pt x="315441" y="49335"/>
                      </a:cubicBezTo>
                      <a:cubicBezTo>
                        <a:pt x="315441" y="58935"/>
                        <a:pt x="317841" y="66562"/>
                        <a:pt x="322640" y="72218"/>
                      </a:cubicBezTo>
                      <a:cubicBezTo>
                        <a:pt x="327440" y="77873"/>
                        <a:pt x="334044" y="80701"/>
                        <a:pt x="342453" y="80701"/>
                      </a:cubicBezTo>
                      <a:cubicBezTo>
                        <a:pt x="350936" y="80701"/>
                        <a:pt x="357578" y="77799"/>
                        <a:pt x="362378" y="71994"/>
                      </a:cubicBezTo>
                      <a:cubicBezTo>
                        <a:pt x="367177" y="66190"/>
                        <a:pt x="369577" y="58414"/>
                        <a:pt x="369577" y="48666"/>
                      </a:cubicBezTo>
                      <a:cubicBezTo>
                        <a:pt x="369577" y="38173"/>
                        <a:pt x="367196" y="30267"/>
                        <a:pt x="362433" y="24946"/>
                      </a:cubicBezTo>
                      <a:cubicBezTo>
                        <a:pt x="357671" y="19625"/>
                        <a:pt x="351234" y="16965"/>
                        <a:pt x="343123" y="16965"/>
                      </a:cubicBezTo>
                      <a:close/>
                      <a:moveTo>
                        <a:pt x="427731" y="11162"/>
                      </a:moveTo>
                      <a:lnTo>
                        <a:pt x="438446" y="11162"/>
                      </a:lnTo>
                      <a:lnTo>
                        <a:pt x="342452" y="174687"/>
                      </a:lnTo>
                      <a:lnTo>
                        <a:pt x="331402" y="174687"/>
                      </a:lnTo>
                      <a:close/>
                      <a:moveTo>
                        <a:pt x="2481521" y="10938"/>
                      </a:moveTo>
                      <a:cubicBezTo>
                        <a:pt x="2483828" y="10938"/>
                        <a:pt x="2485856" y="11682"/>
                        <a:pt x="2487604" y="13170"/>
                      </a:cubicBezTo>
                      <a:cubicBezTo>
                        <a:pt x="2489353" y="14658"/>
                        <a:pt x="2490228" y="16667"/>
                        <a:pt x="2490228" y="19198"/>
                      </a:cubicBezTo>
                      <a:cubicBezTo>
                        <a:pt x="2490228" y="21579"/>
                        <a:pt x="2489372" y="23625"/>
                        <a:pt x="2487660" y="25337"/>
                      </a:cubicBezTo>
                      <a:cubicBezTo>
                        <a:pt x="2485949" y="27048"/>
                        <a:pt x="2483902" y="27904"/>
                        <a:pt x="2481521" y="27904"/>
                      </a:cubicBezTo>
                      <a:cubicBezTo>
                        <a:pt x="2479289" y="27904"/>
                        <a:pt x="2477317" y="27085"/>
                        <a:pt x="2475605" y="25448"/>
                      </a:cubicBezTo>
                      <a:cubicBezTo>
                        <a:pt x="2473894" y="23811"/>
                        <a:pt x="2473038" y="21728"/>
                        <a:pt x="2473038" y="19198"/>
                      </a:cubicBezTo>
                      <a:cubicBezTo>
                        <a:pt x="2473038" y="16742"/>
                        <a:pt x="2473912" y="14751"/>
                        <a:pt x="2475661" y="13226"/>
                      </a:cubicBezTo>
                      <a:cubicBezTo>
                        <a:pt x="2477410" y="11700"/>
                        <a:pt x="2479363" y="10938"/>
                        <a:pt x="2481521" y="10938"/>
                      </a:cubicBezTo>
                      <a:close/>
                      <a:moveTo>
                        <a:pt x="1233746" y="10938"/>
                      </a:moveTo>
                      <a:cubicBezTo>
                        <a:pt x="1236053" y="10938"/>
                        <a:pt x="1238081" y="11682"/>
                        <a:pt x="1239830" y="13170"/>
                      </a:cubicBezTo>
                      <a:cubicBezTo>
                        <a:pt x="1241579" y="14658"/>
                        <a:pt x="1242453" y="16667"/>
                        <a:pt x="1242453" y="19198"/>
                      </a:cubicBezTo>
                      <a:cubicBezTo>
                        <a:pt x="1242453" y="21579"/>
                        <a:pt x="1241597" y="23625"/>
                        <a:pt x="1239886" y="25337"/>
                      </a:cubicBezTo>
                      <a:cubicBezTo>
                        <a:pt x="1238174" y="27048"/>
                        <a:pt x="1236128" y="27904"/>
                        <a:pt x="1233746" y="27904"/>
                      </a:cubicBezTo>
                      <a:cubicBezTo>
                        <a:pt x="1231514" y="27904"/>
                        <a:pt x="1229542" y="27085"/>
                        <a:pt x="1227831" y="25448"/>
                      </a:cubicBezTo>
                      <a:cubicBezTo>
                        <a:pt x="1226119" y="23811"/>
                        <a:pt x="1225263" y="21728"/>
                        <a:pt x="1225263" y="19198"/>
                      </a:cubicBezTo>
                      <a:cubicBezTo>
                        <a:pt x="1225263" y="16742"/>
                        <a:pt x="1226138" y="14751"/>
                        <a:pt x="1227886" y="13226"/>
                      </a:cubicBezTo>
                      <a:cubicBezTo>
                        <a:pt x="1229635" y="11700"/>
                        <a:pt x="1231589" y="10938"/>
                        <a:pt x="1233746" y="10938"/>
                      </a:cubicBezTo>
                      <a:close/>
                      <a:moveTo>
                        <a:pt x="242774" y="8259"/>
                      </a:moveTo>
                      <a:cubicBezTo>
                        <a:pt x="273582" y="8259"/>
                        <a:pt x="288986" y="35606"/>
                        <a:pt x="288986" y="90300"/>
                      </a:cubicBezTo>
                      <a:cubicBezTo>
                        <a:pt x="288986" y="117536"/>
                        <a:pt x="284632" y="138260"/>
                        <a:pt x="275926" y="152473"/>
                      </a:cubicBezTo>
                      <a:cubicBezTo>
                        <a:pt x="267219" y="166686"/>
                        <a:pt x="255016" y="173793"/>
                        <a:pt x="239314" y="173793"/>
                      </a:cubicBezTo>
                      <a:cubicBezTo>
                        <a:pt x="224580" y="173793"/>
                        <a:pt x="213046" y="167021"/>
                        <a:pt x="204712" y="153478"/>
                      </a:cubicBezTo>
                      <a:cubicBezTo>
                        <a:pt x="196377" y="139934"/>
                        <a:pt x="192210" y="120252"/>
                        <a:pt x="192210" y="94430"/>
                      </a:cubicBezTo>
                      <a:cubicBezTo>
                        <a:pt x="192210" y="65930"/>
                        <a:pt x="196582" y="44443"/>
                        <a:pt x="205326" y="29969"/>
                      </a:cubicBezTo>
                      <a:cubicBezTo>
                        <a:pt x="214069" y="15495"/>
                        <a:pt x="226552" y="8259"/>
                        <a:pt x="242774" y="8259"/>
                      </a:cubicBezTo>
                      <a:close/>
                      <a:moveTo>
                        <a:pt x="343346" y="7812"/>
                      </a:moveTo>
                      <a:cubicBezTo>
                        <a:pt x="354508" y="7812"/>
                        <a:pt x="363364" y="11421"/>
                        <a:pt x="369912" y="18639"/>
                      </a:cubicBezTo>
                      <a:cubicBezTo>
                        <a:pt x="376460" y="25858"/>
                        <a:pt x="379735" y="35941"/>
                        <a:pt x="379735" y="48889"/>
                      </a:cubicBezTo>
                      <a:cubicBezTo>
                        <a:pt x="379735" y="60497"/>
                        <a:pt x="376330" y="70190"/>
                        <a:pt x="369521" y="77966"/>
                      </a:cubicBezTo>
                      <a:cubicBezTo>
                        <a:pt x="362712" y="85742"/>
                        <a:pt x="353615" y="89630"/>
                        <a:pt x="342230" y="89630"/>
                      </a:cubicBezTo>
                      <a:cubicBezTo>
                        <a:pt x="330770" y="89630"/>
                        <a:pt x="321729" y="85873"/>
                        <a:pt x="315106" y="78357"/>
                      </a:cubicBezTo>
                      <a:cubicBezTo>
                        <a:pt x="308483" y="70841"/>
                        <a:pt x="305172" y="61093"/>
                        <a:pt x="305172" y="49112"/>
                      </a:cubicBezTo>
                      <a:cubicBezTo>
                        <a:pt x="305172" y="36090"/>
                        <a:pt x="308688" y="25951"/>
                        <a:pt x="315720" y="18695"/>
                      </a:cubicBezTo>
                      <a:cubicBezTo>
                        <a:pt x="322752" y="11440"/>
                        <a:pt x="331961" y="7812"/>
                        <a:pt x="343346" y="7812"/>
                      </a:cubicBezTo>
                      <a:close/>
                      <a:moveTo>
                        <a:pt x="151134" y="7366"/>
                      </a:moveTo>
                      <a:lnTo>
                        <a:pt x="154705" y="7366"/>
                      </a:lnTo>
                      <a:lnTo>
                        <a:pt x="154705" y="171002"/>
                      </a:lnTo>
                      <a:lnTo>
                        <a:pt x="144436" y="171002"/>
                      </a:lnTo>
                      <a:lnTo>
                        <a:pt x="144436" y="23551"/>
                      </a:lnTo>
                      <a:cubicBezTo>
                        <a:pt x="139302" y="28462"/>
                        <a:pt x="133442" y="32704"/>
                        <a:pt x="126856" y="36276"/>
                      </a:cubicBezTo>
                      <a:cubicBezTo>
                        <a:pt x="120270" y="39847"/>
                        <a:pt x="113071" y="43010"/>
                        <a:pt x="105257" y="45763"/>
                      </a:cubicBezTo>
                      <a:lnTo>
                        <a:pt x="105257" y="36387"/>
                      </a:lnTo>
                      <a:cubicBezTo>
                        <a:pt x="109945" y="34825"/>
                        <a:pt x="114299" y="33057"/>
                        <a:pt x="118317" y="31085"/>
                      </a:cubicBezTo>
                      <a:cubicBezTo>
                        <a:pt x="122335" y="29113"/>
                        <a:pt x="126186" y="26937"/>
                        <a:pt x="129870" y="24555"/>
                      </a:cubicBezTo>
                      <a:cubicBezTo>
                        <a:pt x="133553" y="22174"/>
                        <a:pt x="137125" y="19551"/>
                        <a:pt x="140585" y="16686"/>
                      </a:cubicBezTo>
                      <a:cubicBezTo>
                        <a:pt x="144046" y="13821"/>
                        <a:pt x="147562" y="10714"/>
                        <a:pt x="151134" y="7366"/>
                      </a:cubicBezTo>
                      <a:close/>
                      <a:moveTo>
                        <a:pt x="2571748" y="1786"/>
                      </a:moveTo>
                      <a:lnTo>
                        <a:pt x="2582018" y="1786"/>
                      </a:lnTo>
                      <a:lnTo>
                        <a:pt x="2582018" y="171003"/>
                      </a:lnTo>
                      <a:lnTo>
                        <a:pt x="2571748" y="171003"/>
                      </a:lnTo>
                      <a:close/>
                      <a:moveTo>
                        <a:pt x="2524124" y="1786"/>
                      </a:moveTo>
                      <a:lnTo>
                        <a:pt x="2534393" y="1786"/>
                      </a:lnTo>
                      <a:lnTo>
                        <a:pt x="2534393" y="171003"/>
                      </a:lnTo>
                      <a:lnTo>
                        <a:pt x="2524124" y="171003"/>
                      </a:lnTo>
                      <a:close/>
                      <a:moveTo>
                        <a:pt x="1714498" y="1786"/>
                      </a:moveTo>
                      <a:lnTo>
                        <a:pt x="1724768" y="1786"/>
                      </a:lnTo>
                      <a:lnTo>
                        <a:pt x="1724768" y="171003"/>
                      </a:lnTo>
                      <a:lnTo>
                        <a:pt x="1714498" y="171003"/>
                      </a:lnTo>
                      <a:close/>
                      <a:moveTo>
                        <a:pt x="1186048" y="1785"/>
                      </a:moveTo>
                      <a:lnTo>
                        <a:pt x="1196317" y="1785"/>
                      </a:lnTo>
                      <a:lnTo>
                        <a:pt x="1196317" y="171002"/>
                      </a:lnTo>
                      <a:lnTo>
                        <a:pt x="1186048" y="171002"/>
                      </a:lnTo>
                      <a:lnTo>
                        <a:pt x="1186048" y="150241"/>
                      </a:lnTo>
                      <a:lnTo>
                        <a:pt x="1185602" y="150241"/>
                      </a:lnTo>
                      <a:cubicBezTo>
                        <a:pt x="1181881" y="157459"/>
                        <a:pt x="1176374" y="163189"/>
                        <a:pt x="1169082" y="167430"/>
                      </a:cubicBezTo>
                      <a:cubicBezTo>
                        <a:pt x="1161789" y="171672"/>
                        <a:pt x="1153566" y="173793"/>
                        <a:pt x="1144414" y="173793"/>
                      </a:cubicBezTo>
                      <a:cubicBezTo>
                        <a:pt x="1130349" y="173793"/>
                        <a:pt x="1118871" y="168658"/>
                        <a:pt x="1109978" y="158389"/>
                      </a:cubicBezTo>
                      <a:cubicBezTo>
                        <a:pt x="1101086" y="148120"/>
                        <a:pt x="1096640" y="133944"/>
                        <a:pt x="1096640" y="115861"/>
                      </a:cubicBezTo>
                      <a:cubicBezTo>
                        <a:pt x="1096640" y="97407"/>
                        <a:pt x="1101495" y="82468"/>
                        <a:pt x="1111206" y="71046"/>
                      </a:cubicBezTo>
                      <a:cubicBezTo>
                        <a:pt x="1120917" y="59623"/>
                        <a:pt x="1133512" y="53912"/>
                        <a:pt x="1148990" y="53912"/>
                      </a:cubicBezTo>
                      <a:cubicBezTo>
                        <a:pt x="1166105" y="53912"/>
                        <a:pt x="1178309" y="60944"/>
                        <a:pt x="1185602" y="75008"/>
                      </a:cubicBezTo>
                      <a:lnTo>
                        <a:pt x="1186048" y="75008"/>
                      </a:lnTo>
                      <a:close/>
                      <a:moveTo>
                        <a:pt x="704701" y="0"/>
                      </a:moveTo>
                      <a:cubicBezTo>
                        <a:pt x="709538" y="0"/>
                        <a:pt x="713556" y="707"/>
                        <a:pt x="716756" y="2121"/>
                      </a:cubicBezTo>
                      <a:lnTo>
                        <a:pt x="716756" y="12613"/>
                      </a:lnTo>
                      <a:cubicBezTo>
                        <a:pt x="714003" y="10455"/>
                        <a:pt x="709835" y="9376"/>
                        <a:pt x="704254" y="9376"/>
                      </a:cubicBezTo>
                      <a:cubicBezTo>
                        <a:pt x="690190" y="9376"/>
                        <a:pt x="683158" y="18826"/>
                        <a:pt x="683158" y="37728"/>
                      </a:cubicBezTo>
                      <a:lnTo>
                        <a:pt x="683158" y="56703"/>
                      </a:lnTo>
                      <a:lnTo>
                        <a:pt x="713407" y="56703"/>
                      </a:lnTo>
                      <a:lnTo>
                        <a:pt x="713407" y="66079"/>
                      </a:lnTo>
                      <a:lnTo>
                        <a:pt x="683158" y="66079"/>
                      </a:lnTo>
                      <a:lnTo>
                        <a:pt x="683158" y="171003"/>
                      </a:lnTo>
                      <a:lnTo>
                        <a:pt x="672889" y="171003"/>
                      </a:lnTo>
                      <a:lnTo>
                        <a:pt x="672889" y="66079"/>
                      </a:lnTo>
                      <a:lnTo>
                        <a:pt x="652351" y="66079"/>
                      </a:lnTo>
                      <a:lnTo>
                        <a:pt x="652351" y="56703"/>
                      </a:lnTo>
                      <a:lnTo>
                        <a:pt x="672889" y="56703"/>
                      </a:lnTo>
                      <a:lnTo>
                        <a:pt x="672889" y="36835"/>
                      </a:lnTo>
                      <a:cubicBezTo>
                        <a:pt x="672889" y="24780"/>
                        <a:pt x="675921" y="15627"/>
                        <a:pt x="681986" y="9376"/>
                      </a:cubicBezTo>
                      <a:cubicBezTo>
                        <a:pt x="688051" y="3125"/>
                        <a:pt x="695622" y="0"/>
                        <a:pt x="704701" y="0"/>
                      </a:cubicBez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kern="0" dirty="0">
                      <a:solidFill>
                        <a:prstClr val="white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10% очков для чтения будут подключены к Интернету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776" name="Corporate Audits"/>
              <p:cNvGrpSpPr/>
              <p:nvPr/>
            </p:nvGrpSpPr>
            <p:grpSpPr>
              <a:xfrm>
                <a:off x="4786270" y="2411360"/>
                <a:ext cx="3439884" cy="2026571"/>
                <a:chOff x="7318131" y="4942360"/>
                <a:chExt cx="3439884" cy="2026571"/>
              </a:xfrm>
            </p:grpSpPr>
            <p:grpSp>
              <p:nvGrpSpPr>
                <p:cNvPr id="774" name="Group 773"/>
                <p:cNvGrpSpPr/>
                <p:nvPr/>
              </p:nvGrpSpPr>
              <p:grpSpPr>
                <a:xfrm>
                  <a:off x="8381993" y="4942360"/>
                  <a:ext cx="1419553" cy="1405948"/>
                  <a:chOff x="5407415" y="6858000"/>
                  <a:chExt cx="993775" cy="984250"/>
                </a:xfrm>
              </p:grpSpPr>
              <p:sp>
                <p:nvSpPr>
                  <p:cNvPr id="705" name="Freeform 184"/>
                  <p:cNvSpPr>
                    <a:spLocks noEditPoints="1"/>
                  </p:cNvSpPr>
                  <p:nvPr/>
                </p:nvSpPr>
                <p:spPr bwMode="auto">
                  <a:xfrm>
                    <a:off x="5407415" y="6858000"/>
                    <a:ext cx="993775" cy="984250"/>
                  </a:xfrm>
                  <a:custGeom>
                    <a:avLst/>
                    <a:gdLst>
                      <a:gd name="T0" fmla="*/ 214 w 2294"/>
                      <a:gd name="T1" fmla="*/ 1546 h 2277"/>
                      <a:gd name="T2" fmla="*/ 214 w 2294"/>
                      <a:gd name="T3" fmla="*/ 1546 h 2277"/>
                      <a:gd name="T4" fmla="*/ 214 w 2294"/>
                      <a:gd name="T5" fmla="*/ 97 h 2277"/>
                      <a:gd name="T6" fmla="*/ 214 w 2294"/>
                      <a:gd name="T7" fmla="*/ 97 h 2277"/>
                      <a:gd name="T8" fmla="*/ 2065 w 2294"/>
                      <a:gd name="T9" fmla="*/ 97 h 2277"/>
                      <a:gd name="T10" fmla="*/ 2065 w 2294"/>
                      <a:gd name="T11" fmla="*/ 97 h 2277"/>
                      <a:gd name="T12" fmla="*/ 2065 w 2294"/>
                      <a:gd name="T13" fmla="*/ 1546 h 2277"/>
                      <a:gd name="T14" fmla="*/ 2065 w 2294"/>
                      <a:gd name="T15" fmla="*/ 1546 h 2277"/>
                      <a:gd name="T16" fmla="*/ 1924 w 2294"/>
                      <a:gd name="T17" fmla="*/ 1546 h 2277"/>
                      <a:gd name="T18" fmla="*/ 1917 w 2294"/>
                      <a:gd name="T19" fmla="*/ 1560 h 2277"/>
                      <a:gd name="T20" fmla="*/ 1951 w 2294"/>
                      <a:gd name="T21" fmla="*/ 1588 h 2277"/>
                      <a:gd name="T22" fmla="*/ 2006 w 2294"/>
                      <a:gd name="T23" fmla="*/ 1643 h 2277"/>
                      <a:gd name="T24" fmla="*/ 2074 w 2294"/>
                      <a:gd name="T25" fmla="*/ 1643 h 2277"/>
                      <a:gd name="T26" fmla="*/ 2279 w 2294"/>
                      <a:gd name="T27" fmla="*/ 1438 h 2277"/>
                      <a:gd name="T28" fmla="*/ 2279 w 2294"/>
                      <a:gd name="T29" fmla="*/ 204 h 2277"/>
                      <a:gd name="T30" fmla="*/ 2074 w 2294"/>
                      <a:gd name="T31" fmla="*/ 0 h 2277"/>
                      <a:gd name="T32" fmla="*/ 205 w 2294"/>
                      <a:gd name="T33" fmla="*/ 0 h 2277"/>
                      <a:gd name="T34" fmla="*/ 0 w 2294"/>
                      <a:gd name="T35" fmla="*/ 204 h 2277"/>
                      <a:gd name="T36" fmla="*/ 1 w 2294"/>
                      <a:gd name="T37" fmla="*/ 1438 h 2277"/>
                      <a:gd name="T38" fmla="*/ 205 w 2294"/>
                      <a:gd name="T39" fmla="*/ 1643 h 2277"/>
                      <a:gd name="T40" fmla="*/ 421 w 2294"/>
                      <a:gd name="T41" fmla="*/ 1643 h 2277"/>
                      <a:gd name="T42" fmla="*/ 362 w 2294"/>
                      <a:gd name="T43" fmla="*/ 1546 h 2277"/>
                      <a:gd name="T44" fmla="*/ 214 w 2294"/>
                      <a:gd name="T45" fmla="*/ 1546 h 2277"/>
                      <a:gd name="T46" fmla="*/ 2108 w 2294"/>
                      <a:gd name="T47" fmla="*/ 754 h 2277"/>
                      <a:gd name="T48" fmla="*/ 2148 w 2294"/>
                      <a:gd name="T49" fmla="*/ 714 h 2277"/>
                      <a:gd name="T50" fmla="*/ 2199 w 2294"/>
                      <a:gd name="T51" fmla="*/ 714 h 2277"/>
                      <a:gd name="T52" fmla="*/ 2239 w 2294"/>
                      <a:gd name="T53" fmla="*/ 754 h 2277"/>
                      <a:gd name="T54" fmla="*/ 2239 w 2294"/>
                      <a:gd name="T55" fmla="*/ 889 h 2277"/>
                      <a:gd name="T56" fmla="*/ 2199 w 2294"/>
                      <a:gd name="T57" fmla="*/ 929 h 2277"/>
                      <a:gd name="T58" fmla="*/ 2148 w 2294"/>
                      <a:gd name="T59" fmla="*/ 929 h 2277"/>
                      <a:gd name="T60" fmla="*/ 2108 w 2294"/>
                      <a:gd name="T61" fmla="*/ 889 h 2277"/>
                      <a:gd name="T62" fmla="*/ 2108 w 2294"/>
                      <a:gd name="T63" fmla="*/ 754 h 2277"/>
                      <a:gd name="T64" fmla="*/ 1884 w 2294"/>
                      <a:gd name="T65" fmla="*/ 1655 h 2277"/>
                      <a:gd name="T66" fmla="*/ 1773 w 2294"/>
                      <a:gd name="T67" fmla="*/ 1608 h 2277"/>
                      <a:gd name="T68" fmla="*/ 1930 w 2294"/>
                      <a:gd name="T69" fmla="*/ 1138 h 2277"/>
                      <a:gd name="T70" fmla="*/ 1709 w 2294"/>
                      <a:gd name="T71" fmla="*/ 593 h 2277"/>
                      <a:gd name="T72" fmla="*/ 1698 w 2294"/>
                      <a:gd name="T73" fmla="*/ 580 h 2277"/>
                      <a:gd name="T74" fmla="*/ 1146 w 2294"/>
                      <a:gd name="T75" fmla="*/ 354 h 2277"/>
                      <a:gd name="T76" fmla="*/ 590 w 2294"/>
                      <a:gd name="T77" fmla="*/ 585 h 2277"/>
                      <a:gd name="T78" fmla="*/ 358 w 2294"/>
                      <a:gd name="T79" fmla="*/ 1140 h 2277"/>
                      <a:gd name="T80" fmla="*/ 588 w 2294"/>
                      <a:gd name="T81" fmla="*/ 1696 h 2277"/>
                      <a:gd name="T82" fmla="*/ 1142 w 2294"/>
                      <a:gd name="T83" fmla="*/ 1925 h 2277"/>
                      <a:gd name="T84" fmla="*/ 1609 w 2294"/>
                      <a:gd name="T85" fmla="*/ 1771 h 2277"/>
                      <a:gd name="T86" fmla="*/ 1656 w 2294"/>
                      <a:gd name="T87" fmla="*/ 1883 h 2277"/>
                      <a:gd name="T88" fmla="*/ 2003 w 2294"/>
                      <a:gd name="T89" fmla="*/ 2230 h 2277"/>
                      <a:gd name="T90" fmla="*/ 2117 w 2294"/>
                      <a:gd name="T91" fmla="*/ 2277 h 2277"/>
                      <a:gd name="T92" fmla="*/ 2231 w 2294"/>
                      <a:gd name="T93" fmla="*/ 2229 h 2277"/>
                      <a:gd name="T94" fmla="*/ 2231 w 2294"/>
                      <a:gd name="T95" fmla="*/ 2002 h 2277"/>
                      <a:gd name="T96" fmla="*/ 1884 w 2294"/>
                      <a:gd name="T97" fmla="*/ 1655 h 2277"/>
                      <a:gd name="T98" fmla="*/ 1639 w 2294"/>
                      <a:gd name="T99" fmla="*/ 1634 h 2277"/>
                      <a:gd name="T100" fmla="*/ 1142 w 2294"/>
                      <a:gd name="T101" fmla="*/ 1839 h 2277"/>
                      <a:gd name="T102" fmla="*/ 649 w 2294"/>
                      <a:gd name="T103" fmla="*/ 1635 h 2277"/>
                      <a:gd name="T104" fmla="*/ 444 w 2294"/>
                      <a:gd name="T105" fmla="*/ 1141 h 2277"/>
                      <a:gd name="T106" fmla="*/ 650 w 2294"/>
                      <a:gd name="T107" fmla="*/ 646 h 2277"/>
                      <a:gd name="T108" fmla="*/ 1146 w 2294"/>
                      <a:gd name="T109" fmla="*/ 440 h 2277"/>
                      <a:gd name="T110" fmla="*/ 1635 w 2294"/>
                      <a:gd name="T111" fmla="*/ 639 h 2277"/>
                      <a:gd name="T112" fmla="*/ 1639 w 2294"/>
                      <a:gd name="T113" fmla="*/ 643 h 2277"/>
                      <a:gd name="T114" fmla="*/ 1844 w 2294"/>
                      <a:gd name="T115" fmla="*/ 1138 h 2277"/>
                      <a:gd name="T116" fmla="*/ 1639 w 2294"/>
                      <a:gd name="T117" fmla="*/ 1634 h 22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2294" h="2277">
                        <a:moveTo>
                          <a:pt x="214" y="1546"/>
                        </a:moveTo>
                        <a:cubicBezTo>
                          <a:pt x="214" y="1546"/>
                          <a:pt x="214" y="1546"/>
                          <a:pt x="214" y="1546"/>
                        </a:cubicBezTo>
                        <a:cubicBezTo>
                          <a:pt x="214" y="97"/>
                          <a:pt x="214" y="97"/>
                          <a:pt x="214" y="97"/>
                        </a:cubicBezTo>
                        <a:cubicBezTo>
                          <a:pt x="214" y="97"/>
                          <a:pt x="214" y="97"/>
                          <a:pt x="214" y="97"/>
                        </a:cubicBezTo>
                        <a:cubicBezTo>
                          <a:pt x="2065" y="97"/>
                          <a:pt x="2065" y="97"/>
                          <a:pt x="2065" y="97"/>
                        </a:cubicBezTo>
                        <a:cubicBezTo>
                          <a:pt x="2065" y="97"/>
                          <a:pt x="2065" y="97"/>
                          <a:pt x="2065" y="97"/>
                        </a:cubicBezTo>
                        <a:cubicBezTo>
                          <a:pt x="2065" y="1546"/>
                          <a:pt x="2065" y="1546"/>
                          <a:pt x="2065" y="1546"/>
                        </a:cubicBezTo>
                        <a:cubicBezTo>
                          <a:pt x="2065" y="1546"/>
                          <a:pt x="2065" y="1546"/>
                          <a:pt x="2065" y="1546"/>
                        </a:cubicBezTo>
                        <a:cubicBezTo>
                          <a:pt x="1924" y="1546"/>
                          <a:pt x="1924" y="1546"/>
                          <a:pt x="1924" y="1546"/>
                        </a:cubicBezTo>
                        <a:cubicBezTo>
                          <a:pt x="1922" y="1550"/>
                          <a:pt x="1920" y="1555"/>
                          <a:pt x="1917" y="1560"/>
                        </a:cubicBezTo>
                        <a:cubicBezTo>
                          <a:pt x="1929" y="1568"/>
                          <a:pt x="1940" y="1577"/>
                          <a:pt x="1951" y="1588"/>
                        </a:cubicBezTo>
                        <a:cubicBezTo>
                          <a:pt x="2006" y="1643"/>
                          <a:pt x="2006" y="1643"/>
                          <a:pt x="2006" y="1643"/>
                        </a:cubicBezTo>
                        <a:cubicBezTo>
                          <a:pt x="2074" y="1643"/>
                          <a:pt x="2074" y="1643"/>
                          <a:pt x="2074" y="1643"/>
                        </a:cubicBezTo>
                        <a:cubicBezTo>
                          <a:pt x="2187" y="1643"/>
                          <a:pt x="2279" y="1551"/>
                          <a:pt x="2279" y="1438"/>
                        </a:cubicBezTo>
                        <a:cubicBezTo>
                          <a:pt x="2279" y="204"/>
                          <a:pt x="2279" y="204"/>
                          <a:pt x="2279" y="204"/>
                        </a:cubicBezTo>
                        <a:cubicBezTo>
                          <a:pt x="2279" y="92"/>
                          <a:pt x="2187" y="0"/>
                          <a:pt x="2074" y="0"/>
                        </a:cubicBezTo>
                        <a:cubicBezTo>
                          <a:pt x="205" y="0"/>
                          <a:pt x="205" y="0"/>
                          <a:pt x="205" y="0"/>
                        </a:cubicBezTo>
                        <a:cubicBezTo>
                          <a:pt x="92" y="0"/>
                          <a:pt x="0" y="92"/>
                          <a:pt x="0" y="204"/>
                        </a:cubicBezTo>
                        <a:cubicBezTo>
                          <a:pt x="1" y="1438"/>
                          <a:pt x="1" y="1438"/>
                          <a:pt x="1" y="1438"/>
                        </a:cubicBezTo>
                        <a:cubicBezTo>
                          <a:pt x="1" y="1551"/>
                          <a:pt x="92" y="1643"/>
                          <a:pt x="205" y="1643"/>
                        </a:cubicBezTo>
                        <a:cubicBezTo>
                          <a:pt x="421" y="1643"/>
                          <a:pt x="421" y="1643"/>
                          <a:pt x="421" y="1643"/>
                        </a:cubicBezTo>
                        <a:cubicBezTo>
                          <a:pt x="399" y="1612"/>
                          <a:pt x="379" y="1579"/>
                          <a:pt x="362" y="1546"/>
                        </a:cubicBezTo>
                        <a:lnTo>
                          <a:pt x="214" y="1546"/>
                        </a:lnTo>
                        <a:close/>
                        <a:moveTo>
                          <a:pt x="2108" y="754"/>
                        </a:moveTo>
                        <a:cubicBezTo>
                          <a:pt x="2108" y="732"/>
                          <a:pt x="2126" y="714"/>
                          <a:pt x="2148" y="714"/>
                        </a:cubicBezTo>
                        <a:cubicBezTo>
                          <a:pt x="2199" y="714"/>
                          <a:pt x="2199" y="714"/>
                          <a:pt x="2199" y="714"/>
                        </a:cubicBezTo>
                        <a:cubicBezTo>
                          <a:pt x="2221" y="714"/>
                          <a:pt x="2239" y="732"/>
                          <a:pt x="2239" y="754"/>
                        </a:cubicBezTo>
                        <a:cubicBezTo>
                          <a:pt x="2239" y="889"/>
                          <a:pt x="2239" y="889"/>
                          <a:pt x="2239" y="889"/>
                        </a:cubicBezTo>
                        <a:cubicBezTo>
                          <a:pt x="2239" y="911"/>
                          <a:pt x="2221" y="929"/>
                          <a:pt x="2199" y="929"/>
                        </a:cubicBezTo>
                        <a:cubicBezTo>
                          <a:pt x="2148" y="929"/>
                          <a:pt x="2148" y="929"/>
                          <a:pt x="2148" y="929"/>
                        </a:cubicBezTo>
                        <a:cubicBezTo>
                          <a:pt x="2126" y="929"/>
                          <a:pt x="2108" y="911"/>
                          <a:pt x="2108" y="889"/>
                        </a:cubicBezTo>
                        <a:lnTo>
                          <a:pt x="2108" y="754"/>
                        </a:lnTo>
                        <a:close/>
                        <a:moveTo>
                          <a:pt x="1884" y="1655"/>
                        </a:moveTo>
                        <a:cubicBezTo>
                          <a:pt x="1853" y="1624"/>
                          <a:pt x="1813" y="1609"/>
                          <a:pt x="1773" y="1608"/>
                        </a:cubicBezTo>
                        <a:cubicBezTo>
                          <a:pt x="1874" y="1473"/>
                          <a:pt x="1930" y="1310"/>
                          <a:pt x="1930" y="1138"/>
                        </a:cubicBezTo>
                        <a:cubicBezTo>
                          <a:pt x="1930" y="933"/>
                          <a:pt x="1852" y="740"/>
                          <a:pt x="1709" y="593"/>
                        </a:cubicBezTo>
                        <a:cubicBezTo>
                          <a:pt x="1706" y="588"/>
                          <a:pt x="1702" y="583"/>
                          <a:pt x="1698" y="580"/>
                        </a:cubicBezTo>
                        <a:cubicBezTo>
                          <a:pt x="1550" y="434"/>
                          <a:pt x="1354" y="354"/>
                          <a:pt x="1146" y="354"/>
                        </a:cubicBezTo>
                        <a:cubicBezTo>
                          <a:pt x="936" y="354"/>
                          <a:pt x="738" y="436"/>
                          <a:pt x="590" y="585"/>
                        </a:cubicBezTo>
                        <a:cubicBezTo>
                          <a:pt x="441" y="733"/>
                          <a:pt x="359" y="931"/>
                          <a:pt x="358" y="1140"/>
                        </a:cubicBezTo>
                        <a:cubicBezTo>
                          <a:pt x="358" y="1350"/>
                          <a:pt x="439" y="1548"/>
                          <a:pt x="588" y="1696"/>
                        </a:cubicBezTo>
                        <a:cubicBezTo>
                          <a:pt x="736" y="1844"/>
                          <a:pt x="933" y="1925"/>
                          <a:pt x="1142" y="1925"/>
                        </a:cubicBezTo>
                        <a:cubicBezTo>
                          <a:pt x="1312" y="1925"/>
                          <a:pt x="1474" y="1871"/>
                          <a:pt x="1609" y="1771"/>
                        </a:cubicBezTo>
                        <a:cubicBezTo>
                          <a:pt x="1609" y="1812"/>
                          <a:pt x="1625" y="1852"/>
                          <a:pt x="1656" y="1883"/>
                        </a:cubicBezTo>
                        <a:cubicBezTo>
                          <a:pt x="2003" y="2230"/>
                          <a:pt x="2003" y="2230"/>
                          <a:pt x="2003" y="2230"/>
                        </a:cubicBezTo>
                        <a:cubicBezTo>
                          <a:pt x="2035" y="2261"/>
                          <a:pt x="2076" y="2277"/>
                          <a:pt x="2117" y="2277"/>
                        </a:cubicBezTo>
                        <a:cubicBezTo>
                          <a:pt x="2158" y="2277"/>
                          <a:pt x="2200" y="2261"/>
                          <a:pt x="2231" y="2229"/>
                        </a:cubicBezTo>
                        <a:cubicBezTo>
                          <a:pt x="2294" y="2167"/>
                          <a:pt x="2294" y="2065"/>
                          <a:pt x="2231" y="2002"/>
                        </a:cubicBezTo>
                        <a:lnTo>
                          <a:pt x="1884" y="1655"/>
                        </a:lnTo>
                        <a:close/>
                        <a:moveTo>
                          <a:pt x="1639" y="1634"/>
                        </a:moveTo>
                        <a:cubicBezTo>
                          <a:pt x="1506" y="1766"/>
                          <a:pt x="1330" y="1839"/>
                          <a:pt x="1142" y="1839"/>
                        </a:cubicBezTo>
                        <a:cubicBezTo>
                          <a:pt x="956" y="1839"/>
                          <a:pt x="780" y="1767"/>
                          <a:pt x="649" y="1635"/>
                        </a:cubicBezTo>
                        <a:cubicBezTo>
                          <a:pt x="516" y="1503"/>
                          <a:pt x="444" y="1328"/>
                          <a:pt x="444" y="1141"/>
                        </a:cubicBezTo>
                        <a:cubicBezTo>
                          <a:pt x="445" y="954"/>
                          <a:pt x="518" y="778"/>
                          <a:pt x="650" y="646"/>
                        </a:cubicBezTo>
                        <a:cubicBezTo>
                          <a:pt x="783" y="513"/>
                          <a:pt x="959" y="440"/>
                          <a:pt x="1146" y="440"/>
                        </a:cubicBezTo>
                        <a:cubicBezTo>
                          <a:pt x="1330" y="440"/>
                          <a:pt x="1503" y="511"/>
                          <a:pt x="1635" y="639"/>
                        </a:cubicBezTo>
                        <a:cubicBezTo>
                          <a:pt x="1636" y="640"/>
                          <a:pt x="1637" y="642"/>
                          <a:pt x="1639" y="643"/>
                        </a:cubicBezTo>
                        <a:cubicBezTo>
                          <a:pt x="1771" y="775"/>
                          <a:pt x="1844" y="951"/>
                          <a:pt x="1844" y="1138"/>
                        </a:cubicBezTo>
                        <a:cubicBezTo>
                          <a:pt x="1844" y="1326"/>
                          <a:pt x="1771" y="1501"/>
                          <a:pt x="1639" y="1634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6" name="Freeform 185"/>
                  <p:cNvSpPr>
                    <a:spLocks/>
                  </p:cNvSpPr>
                  <p:nvPr/>
                </p:nvSpPr>
                <p:spPr bwMode="auto">
                  <a:xfrm>
                    <a:off x="5651890" y="7308850"/>
                    <a:ext cx="514350" cy="303213"/>
                  </a:xfrm>
                  <a:custGeom>
                    <a:avLst/>
                    <a:gdLst>
                      <a:gd name="T0" fmla="*/ 1185 w 1185"/>
                      <a:gd name="T1" fmla="*/ 97 h 702"/>
                      <a:gd name="T2" fmla="*/ 1176 w 1185"/>
                      <a:gd name="T3" fmla="*/ 0 h 702"/>
                      <a:gd name="T4" fmla="*/ 1071 w 1185"/>
                      <a:gd name="T5" fmla="*/ 155 h 702"/>
                      <a:gd name="T6" fmla="*/ 610 w 1185"/>
                      <a:gd name="T7" fmla="*/ 94 h 702"/>
                      <a:gd name="T8" fmla="*/ 571 w 1185"/>
                      <a:gd name="T9" fmla="*/ 111 h 702"/>
                      <a:gd name="T10" fmla="*/ 404 w 1185"/>
                      <a:gd name="T11" fmla="*/ 338 h 702"/>
                      <a:gd name="T12" fmla="*/ 52 w 1185"/>
                      <a:gd name="T13" fmla="*/ 251 h 702"/>
                      <a:gd name="T14" fmla="*/ 20 w 1185"/>
                      <a:gd name="T15" fmla="*/ 256 h 702"/>
                      <a:gd name="T16" fmla="*/ 0 w 1185"/>
                      <a:gd name="T17" fmla="*/ 269 h 702"/>
                      <a:gd name="T18" fmla="*/ 85 w 1185"/>
                      <a:gd name="T19" fmla="*/ 445 h 702"/>
                      <a:gd name="T20" fmla="*/ 85 w 1185"/>
                      <a:gd name="T21" fmla="*/ 346 h 702"/>
                      <a:gd name="T22" fmla="*/ 185 w 1185"/>
                      <a:gd name="T23" fmla="*/ 370 h 702"/>
                      <a:gd name="T24" fmla="*/ 185 w 1185"/>
                      <a:gd name="T25" fmla="*/ 554 h 702"/>
                      <a:gd name="T26" fmla="*/ 269 w 1185"/>
                      <a:gd name="T27" fmla="*/ 615 h 702"/>
                      <a:gd name="T28" fmla="*/ 269 w 1185"/>
                      <a:gd name="T29" fmla="*/ 391 h 702"/>
                      <a:gd name="T30" fmla="*/ 368 w 1185"/>
                      <a:gd name="T31" fmla="*/ 415 h 702"/>
                      <a:gd name="T32" fmla="*/ 368 w 1185"/>
                      <a:gd name="T33" fmla="*/ 663 h 702"/>
                      <a:gd name="T34" fmla="*/ 453 w 1185"/>
                      <a:gd name="T35" fmla="*/ 688 h 702"/>
                      <a:gd name="T36" fmla="*/ 453 w 1185"/>
                      <a:gd name="T37" fmla="*/ 412 h 702"/>
                      <a:gd name="T38" fmla="*/ 452 w 1185"/>
                      <a:gd name="T39" fmla="*/ 411 h 702"/>
                      <a:gd name="T40" fmla="*/ 455 w 1185"/>
                      <a:gd name="T41" fmla="*/ 410 h 702"/>
                      <a:gd name="T42" fmla="*/ 552 w 1185"/>
                      <a:gd name="T43" fmla="*/ 278 h 702"/>
                      <a:gd name="T44" fmla="*/ 552 w 1185"/>
                      <a:gd name="T45" fmla="*/ 700 h 702"/>
                      <a:gd name="T46" fmla="*/ 580 w 1185"/>
                      <a:gd name="T47" fmla="*/ 702 h 702"/>
                      <a:gd name="T48" fmla="*/ 636 w 1185"/>
                      <a:gd name="T49" fmla="*/ 699 h 702"/>
                      <a:gd name="T50" fmla="*/ 636 w 1185"/>
                      <a:gd name="T51" fmla="*/ 182 h 702"/>
                      <a:gd name="T52" fmla="*/ 736 w 1185"/>
                      <a:gd name="T53" fmla="*/ 196 h 702"/>
                      <a:gd name="T54" fmla="*/ 736 w 1185"/>
                      <a:gd name="T55" fmla="*/ 681 h 702"/>
                      <a:gd name="T56" fmla="*/ 820 w 1185"/>
                      <a:gd name="T57" fmla="*/ 652 h 702"/>
                      <a:gd name="T58" fmla="*/ 820 w 1185"/>
                      <a:gd name="T59" fmla="*/ 207 h 702"/>
                      <a:gd name="T60" fmla="*/ 919 w 1185"/>
                      <a:gd name="T61" fmla="*/ 220 h 702"/>
                      <a:gd name="T62" fmla="*/ 919 w 1185"/>
                      <a:gd name="T63" fmla="*/ 598 h 702"/>
                      <a:gd name="T64" fmla="*/ 1003 w 1185"/>
                      <a:gd name="T65" fmla="*/ 529 h 702"/>
                      <a:gd name="T66" fmla="*/ 1003 w 1185"/>
                      <a:gd name="T67" fmla="*/ 231 h 702"/>
                      <a:gd name="T68" fmla="*/ 1086 w 1185"/>
                      <a:gd name="T69" fmla="*/ 242 h 702"/>
                      <a:gd name="T70" fmla="*/ 1103 w 1185"/>
                      <a:gd name="T71" fmla="*/ 234 h 702"/>
                      <a:gd name="T72" fmla="*/ 1103 w 1185"/>
                      <a:gd name="T73" fmla="*/ 400 h 702"/>
                      <a:gd name="T74" fmla="*/ 1185 w 1185"/>
                      <a:gd name="T75" fmla="*/ 97 h 7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1185" h="702">
                        <a:moveTo>
                          <a:pt x="1185" y="97"/>
                        </a:moveTo>
                        <a:cubicBezTo>
                          <a:pt x="1185" y="64"/>
                          <a:pt x="1182" y="31"/>
                          <a:pt x="1176" y="0"/>
                        </a:cubicBezTo>
                        <a:cubicBezTo>
                          <a:pt x="1071" y="155"/>
                          <a:pt x="1071" y="155"/>
                          <a:pt x="1071" y="155"/>
                        </a:cubicBezTo>
                        <a:cubicBezTo>
                          <a:pt x="610" y="94"/>
                          <a:pt x="610" y="94"/>
                          <a:pt x="610" y="94"/>
                        </a:cubicBezTo>
                        <a:cubicBezTo>
                          <a:pt x="595" y="92"/>
                          <a:pt x="580" y="99"/>
                          <a:pt x="571" y="111"/>
                        </a:cubicBezTo>
                        <a:cubicBezTo>
                          <a:pt x="404" y="338"/>
                          <a:pt x="404" y="338"/>
                          <a:pt x="404" y="338"/>
                        </a:cubicBezTo>
                        <a:cubicBezTo>
                          <a:pt x="52" y="251"/>
                          <a:pt x="52" y="251"/>
                          <a:pt x="52" y="251"/>
                        </a:cubicBezTo>
                        <a:cubicBezTo>
                          <a:pt x="41" y="248"/>
                          <a:pt x="30" y="250"/>
                          <a:pt x="20" y="256"/>
                        </a:cubicBezTo>
                        <a:cubicBezTo>
                          <a:pt x="0" y="269"/>
                          <a:pt x="0" y="269"/>
                          <a:pt x="0" y="269"/>
                        </a:cubicBezTo>
                        <a:cubicBezTo>
                          <a:pt x="19" y="332"/>
                          <a:pt x="48" y="391"/>
                          <a:pt x="85" y="445"/>
                        </a:cubicBezTo>
                        <a:cubicBezTo>
                          <a:pt x="85" y="346"/>
                          <a:pt x="85" y="346"/>
                          <a:pt x="85" y="346"/>
                        </a:cubicBezTo>
                        <a:cubicBezTo>
                          <a:pt x="185" y="370"/>
                          <a:pt x="185" y="370"/>
                          <a:pt x="185" y="370"/>
                        </a:cubicBezTo>
                        <a:cubicBezTo>
                          <a:pt x="185" y="554"/>
                          <a:pt x="185" y="554"/>
                          <a:pt x="185" y="554"/>
                        </a:cubicBezTo>
                        <a:cubicBezTo>
                          <a:pt x="211" y="577"/>
                          <a:pt x="239" y="597"/>
                          <a:pt x="269" y="615"/>
                        </a:cubicBezTo>
                        <a:cubicBezTo>
                          <a:pt x="269" y="391"/>
                          <a:pt x="269" y="391"/>
                          <a:pt x="269" y="391"/>
                        </a:cubicBezTo>
                        <a:cubicBezTo>
                          <a:pt x="368" y="415"/>
                          <a:pt x="368" y="415"/>
                          <a:pt x="368" y="415"/>
                        </a:cubicBezTo>
                        <a:cubicBezTo>
                          <a:pt x="368" y="663"/>
                          <a:pt x="368" y="663"/>
                          <a:pt x="368" y="663"/>
                        </a:cubicBezTo>
                        <a:cubicBezTo>
                          <a:pt x="396" y="673"/>
                          <a:pt x="424" y="682"/>
                          <a:pt x="453" y="688"/>
                        </a:cubicBezTo>
                        <a:cubicBezTo>
                          <a:pt x="453" y="412"/>
                          <a:pt x="453" y="412"/>
                          <a:pt x="453" y="412"/>
                        </a:cubicBezTo>
                        <a:cubicBezTo>
                          <a:pt x="453" y="412"/>
                          <a:pt x="452" y="412"/>
                          <a:pt x="452" y="411"/>
                        </a:cubicBezTo>
                        <a:cubicBezTo>
                          <a:pt x="453" y="411"/>
                          <a:pt x="455" y="411"/>
                          <a:pt x="455" y="410"/>
                        </a:cubicBezTo>
                        <a:cubicBezTo>
                          <a:pt x="552" y="278"/>
                          <a:pt x="552" y="278"/>
                          <a:pt x="552" y="278"/>
                        </a:cubicBezTo>
                        <a:cubicBezTo>
                          <a:pt x="552" y="700"/>
                          <a:pt x="552" y="700"/>
                          <a:pt x="552" y="700"/>
                        </a:cubicBezTo>
                        <a:cubicBezTo>
                          <a:pt x="561" y="701"/>
                          <a:pt x="570" y="702"/>
                          <a:pt x="580" y="702"/>
                        </a:cubicBezTo>
                        <a:cubicBezTo>
                          <a:pt x="599" y="702"/>
                          <a:pt x="618" y="701"/>
                          <a:pt x="636" y="699"/>
                        </a:cubicBezTo>
                        <a:cubicBezTo>
                          <a:pt x="636" y="182"/>
                          <a:pt x="636" y="182"/>
                          <a:pt x="636" y="182"/>
                        </a:cubicBezTo>
                        <a:cubicBezTo>
                          <a:pt x="736" y="196"/>
                          <a:pt x="736" y="196"/>
                          <a:pt x="736" y="196"/>
                        </a:cubicBezTo>
                        <a:cubicBezTo>
                          <a:pt x="736" y="681"/>
                          <a:pt x="736" y="681"/>
                          <a:pt x="736" y="681"/>
                        </a:cubicBezTo>
                        <a:cubicBezTo>
                          <a:pt x="764" y="673"/>
                          <a:pt x="793" y="664"/>
                          <a:pt x="820" y="652"/>
                        </a:cubicBezTo>
                        <a:cubicBezTo>
                          <a:pt x="820" y="207"/>
                          <a:pt x="820" y="207"/>
                          <a:pt x="820" y="207"/>
                        </a:cubicBezTo>
                        <a:cubicBezTo>
                          <a:pt x="919" y="220"/>
                          <a:pt x="919" y="220"/>
                          <a:pt x="919" y="220"/>
                        </a:cubicBezTo>
                        <a:cubicBezTo>
                          <a:pt x="919" y="598"/>
                          <a:pt x="919" y="598"/>
                          <a:pt x="919" y="598"/>
                        </a:cubicBezTo>
                        <a:cubicBezTo>
                          <a:pt x="949" y="577"/>
                          <a:pt x="977" y="554"/>
                          <a:pt x="1003" y="529"/>
                        </a:cubicBezTo>
                        <a:cubicBezTo>
                          <a:pt x="1003" y="231"/>
                          <a:pt x="1003" y="231"/>
                          <a:pt x="1003" y="231"/>
                        </a:cubicBezTo>
                        <a:cubicBezTo>
                          <a:pt x="1086" y="242"/>
                          <a:pt x="1086" y="242"/>
                          <a:pt x="1086" y="242"/>
                        </a:cubicBezTo>
                        <a:cubicBezTo>
                          <a:pt x="1092" y="243"/>
                          <a:pt x="1097" y="237"/>
                          <a:pt x="1103" y="234"/>
                        </a:cubicBezTo>
                        <a:cubicBezTo>
                          <a:pt x="1103" y="400"/>
                          <a:pt x="1103" y="400"/>
                          <a:pt x="1103" y="400"/>
                        </a:cubicBezTo>
                        <a:cubicBezTo>
                          <a:pt x="1155" y="311"/>
                          <a:pt x="1185" y="208"/>
                          <a:pt x="1185" y="97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73" name="Freeform: Shape 772"/>
                <p:cNvSpPr>
                  <a:spLocks noChangeAspect="1"/>
                </p:cNvSpPr>
                <p:nvPr/>
              </p:nvSpPr>
              <p:spPr>
                <a:xfrm>
                  <a:off x="7318131" y="6468013"/>
                  <a:ext cx="3439884" cy="500918"/>
                </a:xfrm>
                <a:custGeom>
                  <a:avLst/>
                  <a:gdLst>
                    <a:gd name="connsiteX0" fmla="*/ 1867347 w 2266653"/>
                    <a:gd name="connsiteY0" fmla="*/ 339514 h 500918"/>
                    <a:gd name="connsiteX1" fmla="*/ 1836428 w 2266653"/>
                    <a:gd name="connsiteY1" fmla="*/ 352908 h 500918"/>
                    <a:gd name="connsiteX2" fmla="*/ 1825489 w 2266653"/>
                    <a:gd name="connsiteY2" fmla="*/ 384386 h 500918"/>
                    <a:gd name="connsiteX3" fmla="*/ 1825489 w 2266653"/>
                    <a:gd name="connsiteY3" fmla="*/ 398785 h 500918"/>
                    <a:gd name="connsiteX4" fmla="*/ 1836316 w 2266653"/>
                    <a:gd name="connsiteY4" fmla="*/ 428308 h 500918"/>
                    <a:gd name="connsiteX5" fmla="*/ 1864779 w 2266653"/>
                    <a:gd name="connsiteY5" fmla="*/ 440643 h 500918"/>
                    <a:gd name="connsiteX6" fmla="*/ 1893243 w 2266653"/>
                    <a:gd name="connsiteY6" fmla="*/ 425630 h 500918"/>
                    <a:gd name="connsiteX7" fmla="*/ 1904182 w 2266653"/>
                    <a:gd name="connsiteY7" fmla="*/ 386171 h 500918"/>
                    <a:gd name="connsiteX8" fmla="*/ 1894136 w 2266653"/>
                    <a:gd name="connsiteY8" fmla="*/ 352127 h 500918"/>
                    <a:gd name="connsiteX9" fmla="*/ 1867347 w 2266653"/>
                    <a:gd name="connsiteY9" fmla="*/ 339514 h 500918"/>
                    <a:gd name="connsiteX10" fmla="*/ 1668587 w 2266653"/>
                    <a:gd name="connsiteY10" fmla="*/ 339514 h 500918"/>
                    <a:gd name="connsiteX11" fmla="*/ 1638896 w 2266653"/>
                    <a:gd name="connsiteY11" fmla="*/ 353299 h 500918"/>
                    <a:gd name="connsiteX12" fmla="*/ 1627175 w 2266653"/>
                    <a:gd name="connsiteY12" fmla="*/ 391194 h 500918"/>
                    <a:gd name="connsiteX13" fmla="*/ 1637724 w 2266653"/>
                    <a:gd name="connsiteY13" fmla="*/ 427750 h 500918"/>
                    <a:gd name="connsiteX14" fmla="*/ 1664903 w 2266653"/>
                    <a:gd name="connsiteY14" fmla="*/ 440643 h 500918"/>
                    <a:gd name="connsiteX15" fmla="*/ 1695153 w 2266653"/>
                    <a:gd name="connsiteY15" fmla="*/ 428532 h 500918"/>
                    <a:gd name="connsiteX16" fmla="*/ 1705868 w 2266653"/>
                    <a:gd name="connsiteY16" fmla="*/ 399008 h 500918"/>
                    <a:gd name="connsiteX17" fmla="*/ 1705868 w 2266653"/>
                    <a:gd name="connsiteY17" fmla="*/ 377688 h 500918"/>
                    <a:gd name="connsiteX18" fmla="*/ 1695767 w 2266653"/>
                    <a:gd name="connsiteY18" fmla="*/ 350620 h 500918"/>
                    <a:gd name="connsiteX19" fmla="*/ 1668587 w 2266653"/>
                    <a:gd name="connsiteY19" fmla="*/ 339514 h 500918"/>
                    <a:gd name="connsiteX20" fmla="*/ 1552946 w 2266653"/>
                    <a:gd name="connsiteY20" fmla="*/ 339514 h 500918"/>
                    <a:gd name="connsiteX21" fmla="*/ 1526325 w 2266653"/>
                    <a:gd name="connsiteY21" fmla="*/ 350285 h 500918"/>
                    <a:gd name="connsiteX22" fmla="*/ 1513321 w 2266653"/>
                    <a:gd name="connsiteY22" fmla="*/ 381149 h 500918"/>
                    <a:gd name="connsiteX23" fmla="*/ 1586768 w 2266653"/>
                    <a:gd name="connsiteY23" fmla="*/ 381149 h 500918"/>
                    <a:gd name="connsiteX24" fmla="*/ 1577280 w 2266653"/>
                    <a:gd name="connsiteY24" fmla="*/ 350453 h 500918"/>
                    <a:gd name="connsiteX25" fmla="*/ 1552946 w 2266653"/>
                    <a:gd name="connsiteY25" fmla="*/ 339514 h 500918"/>
                    <a:gd name="connsiteX26" fmla="*/ 1166552 w 2266653"/>
                    <a:gd name="connsiteY26" fmla="*/ 339514 h 500918"/>
                    <a:gd name="connsiteX27" fmla="*/ 1134350 w 2266653"/>
                    <a:gd name="connsiteY27" fmla="*/ 353132 h 500918"/>
                    <a:gd name="connsiteX28" fmla="*/ 1122351 w 2266653"/>
                    <a:gd name="connsiteY28" fmla="*/ 390971 h 500918"/>
                    <a:gd name="connsiteX29" fmla="*/ 1134071 w 2266653"/>
                    <a:gd name="connsiteY29" fmla="*/ 427025 h 500918"/>
                    <a:gd name="connsiteX30" fmla="*/ 1166106 w 2266653"/>
                    <a:gd name="connsiteY30" fmla="*/ 440643 h 500918"/>
                    <a:gd name="connsiteX31" fmla="*/ 1197918 w 2266653"/>
                    <a:gd name="connsiteY31" fmla="*/ 427248 h 500918"/>
                    <a:gd name="connsiteX32" fmla="*/ 1209080 w 2266653"/>
                    <a:gd name="connsiteY32" fmla="*/ 390078 h 500918"/>
                    <a:gd name="connsiteX33" fmla="*/ 1197974 w 2266653"/>
                    <a:gd name="connsiteY33" fmla="*/ 352574 h 500918"/>
                    <a:gd name="connsiteX34" fmla="*/ 1166552 w 2266653"/>
                    <a:gd name="connsiteY34" fmla="*/ 339514 h 500918"/>
                    <a:gd name="connsiteX35" fmla="*/ 895722 w 2266653"/>
                    <a:gd name="connsiteY35" fmla="*/ 339514 h 500918"/>
                    <a:gd name="connsiteX36" fmla="*/ 869100 w 2266653"/>
                    <a:gd name="connsiteY36" fmla="*/ 350285 h 500918"/>
                    <a:gd name="connsiteX37" fmla="*/ 856096 w 2266653"/>
                    <a:gd name="connsiteY37" fmla="*/ 381149 h 500918"/>
                    <a:gd name="connsiteX38" fmla="*/ 929543 w 2266653"/>
                    <a:gd name="connsiteY38" fmla="*/ 381149 h 500918"/>
                    <a:gd name="connsiteX39" fmla="*/ 920055 w 2266653"/>
                    <a:gd name="connsiteY39" fmla="*/ 350453 h 500918"/>
                    <a:gd name="connsiteX40" fmla="*/ 895722 w 2266653"/>
                    <a:gd name="connsiteY40" fmla="*/ 339514 h 500918"/>
                    <a:gd name="connsiteX41" fmla="*/ 781497 w 2266653"/>
                    <a:gd name="connsiteY41" fmla="*/ 339514 h 500918"/>
                    <a:gd name="connsiteX42" fmla="*/ 750578 w 2266653"/>
                    <a:gd name="connsiteY42" fmla="*/ 352908 h 500918"/>
                    <a:gd name="connsiteX43" fmla="*/ 739639 w 2266653"/>
                    <a:gd name="connsiteY43" fmla="*/ 384386 h 500918"/>
                    <a:gd name="connsiteX44" fmla="*/ 739639 w 2266653"/>
                    <a:gd name="connsiteY44" fmla="*/ 398785 h 500918"/>
                    <a:gd name="connsiteX45" fmla="*/ 750466 w 2266653"/>
                    <a:gd name="connsiteY45" fmla="*/ 428308 h 500918"/>
                    <a:gd name="connsiteX46" fmla="*/ 778930 w 2266653"/>
                    <a:gd name="connsiteY46" fmla="*/ 440643 h 500918"/>
                    <a:gd name="connsiteX47" fmla="*/ 807393 w 2266653"/>
                    <a:gd name="connsiteY47" fmla="*/ 425630 h 500918"/>
                    <a:gd name="connsiteX48" fmla="*/ 818332 w 2266653"/>
                    <a:gd name="connsiteY48" fmla="*/ 386171 h 500918"/>
                    <a:gd name="connsiteX49" fmla="*/ 808286 w 2266653"/>
                    <a:gd name="connsiteY49" fmla="*/ 352127 h 500918"/>
                    <a:gd name="connsiteX50" fmla="*/ 781497 w 2266653"/>
                    <a:gd name="connsiteY50" fmla="*/ 339514 h 500918"/>
                    <a:gd name="connsiteX51" fmla="*/ 590922 w 2266653"/>
                    <a:gd name="connsiteY51" fmla="*/ 339514 h 500918"/>
                    <a:gd name="connsiteX52" fmla="*/ 564300 w 2266653"/>
                    <a:gd name="connsiteY52" fmla="*/ 350285 h 500918"/>
                    <a:gd name="connsiteX53" fmla="*/ 551296 w 2266653"/>
                    <a:gd name="connsiteY53" fmla="*/ 381149 h 500918"/>
                    <a:gd name="connsiteX54" fmla="*/ 624743 w 2266653"/>
                    <a:gd name="connsiteY54" fmla="*/ 381149 h 500918"/>
                    <a:gd name="connsiteX55" fmla="*/ 615255 w 2266653"/>
                    <a:gd name="connsiteY55" fmla="*/ 350453 h 500918"/>
                    <a:gd name="connsiteX56" fmla="*/ 590922 w 2266653"/>
                    <a:gd name="connsiteY56" fmla="*/ 339514 h 500918"/>
                    <a:gd name="connsiteX57" fmla="*/ 476697 w 2266653"/>
                    <a:gd name="connsiteY57" fmla="*/ 339514 h 500918"/>
                    <a:gd name="connsiteX58" fmla="*/ 445778 w 2266653"/>
                    <a:gd name="connsiteY58" fmla="*/ 352908 h 500918"/>
                    <a:gd name="connsiteX59" fmla="*/ 434839 w 2266653"/>
                    <a:gd name="connsiteY59" fmla="*/ 384386 h 500918"/>
                    <a:gd name="connsiteX60" fmla="*/ 434839 w 2266653"/>
                    <a:gd name="connsiteY60" fmla="*/ 398785 h 500918"/>
                    <a:gd name="connsiteX61" fmla="*/ 445666 w 2266653"/>
                    <a:gd name="connsiteY61" fmla="*/ 428308 h 500918"/>
                    <a:gd name="connsiteX62" fmla="*/ 474130 w 2266653"/>
                    <a:gd name="connsiteY62" fmla="*/ 440643 h 500918"/>
                    <a:gd name="connsiteX63" fmla="*/ 502593 w 2266653"/>
                    <a:gd name="connsiteY63" fmla="*/ 425630 h 500918"/>
                    <a:gd name="connsiteX64" fmla="*/ 513532 w 2266653"/>
                    <a:gd name="connsiteY64" fmla="*/ 386171 h 500918"/>
                    <a:gd name="connsiteX65" fmla="*/ 503486 w 2266653"/>
                    <a:gd name="connsiteY65" fmla="*/ 352127 h 500918"/>
                    <a:gd name="connsiteX66" fmla="*/ 476697 w 2266653"/>
                    <a:gd name="connsiteY66" fmla="*/ 339514 h 500918"/>
                    <a:gd name="connsiteX67" fmla="*/ 1922970 w 2266653"/>
                    <a:gd name="connsiteY67" fmla="*/ 332928 h 500918"/>
                    <a:gd name="connsiteX68" fmla="*/ 1934467 w 2266653"/>
                    <a:gd name="connsiteY68" fmla="*/ 332928 h 500918"/>
                    <a:gd name="connsiteX69" fmla="*/ 1968958 w 2266653"/>
                    <a:gd name="connsiteY69" fmla="*/ 426020 h 500918"/>
                    <a:gd name="connsiteX70" fmla="*/ 1970521 w 2266653"/>
                    <a:gd name="connsiteY70" fmla="*/ 430597 h 500918"/>
                    <a:gd name="connsiteX71" fmla="*/ 1971526 w 2266653"/>
                    <a:gd name="connsiteY71" fmla="*/ 434392 h 500918"/>
                    <a:gd name="connsiteX72" fmla="*/ 1971972 w 2266653"/>
                    <a:gd name="connsiteY72" fmla="*/ 434392 h 500918"/>
                    <a:gd name="connsiteX73" fmla="*/ 1974651 w 2266653"/>
                    <a:gd name="connsiteY73" fmla="*/ 426690 h 500918"/>
                    <a:gd name="connsiteX74" fmla="*/ 2011486 w 2266653"/>
                    <a:gd name="connsiteY74" fmla="*/ 332928 h 500918"/>
                    <a:gd name="connsiteX75" fmla="*/ 2022648 w 2266653"/>
                    <a:gd name="connsiteY75" fmla="*/ 332928 h 500918"/>
                    <a:gd name="connsiteX76" fmla="*/ 1966949 w 2266653"/>
                    <a:gd name="connsiteY76" fmla="*/ 470557 h 500918"/>
                    <a:gd name="connsiteX77" fmla="*/ 1953108 w 2266653"/>
                    <a:gd name="connsiteY77" fmla="*/ 493439 h 500918"/>
                    <a:gd name="connsiteX78" fmla="*/ 1933574 w 2266653"/>
                    <a:gd name="connsiteY78" fmla="*/ 500918 h 500918"/>
                    <a:gd name="connsiteX79" fmla="*/ 1924645 w 2266653"/>
                    <a:gd name="connsiteY79" fmla="*/ 499355 h 500918"/>
                    <a:gd name="connsiteX80" fmla="*/ 1924645 w 2266653"/>
                    <a:gd name="connsiteY80" fmla="*/ 489086 h 500918"/>
                    <a:gd name="connsiteX81" fmla="*/ 1934021 w 2266653"/>
                    <a:gd name="connsiteY81" fmla="*/ 490649 h 500918"/>
                    <a:gd name="connsiteX82" fmla="*/ 1955675 w 2266653"/>
                    <a:gd name="connsiteY82" fmla="*/ 471673 h 500918"/>
                    <a:gd name="connsiteX83" fmla="*/ 1966279 w 2266653"/>
                    <a:gd name="connsiteY83" fmla="*/ 446335 h 500918"/>
                    <a:gd name="connsiteX84" fmla="*/ 215020 w 2266653"/>
                    <a:gd name="connsiteY84" fmla="*/ 332928 h 500918"/>
                    <a:gd name="connsiteX85" fmla="*/ 225289 w 2266653"/>
                    <a:gd name="connsiteY85" fmla="*/ 332928 h 500918"/>
                    <a:gd name="connsiteX86" fmla="*/ 225289 w 2266653"/>
                    <a:gd name="connsiteY86" fmla="*/ 447228 h 500918"/>
                    <a:gd name="connsiteX87" fmla="*/ 215020 w 2266653"/>
                    <a:gd name="connsiteY87" fmla="*/ 447228 h 500918"/>
                    <a:gd name="connsiteX88" fmla="*/ 48444 w 2266653"/>
                    <a:gd name="connsiteY88" fmla="*/ 332928 h 500918"/>
                    <a:gd name="connsiteX89" fmla="*/ 59829 w 2266653"/>
                    <a:gd name="connsiteY89" fmla="*/ 332928 h 500918"/>
                    <a:gd name="connsiteX90" fmla="*/ 86395 w 2266653"/>
                    <a:gd name="connsiteY90" fmla="*/ 424123 h 500918"/>
                    <a:gd name="connsiteX91" fmla="*/ 87958 w 2266653"/>
                    <a:gd name="connsiteY91" fmla="*/ 433722 h 500918"/>
                    <a:gd name="connsiteX92" fmla="*/ 88851 w 2266653"/>
                    <a:gd name="connsiteY92" fmla="*/ 433722 h 500918"/>
                    <a:gd name="connsiteX93" fmla="*/ 90972 w 2266653"/>
                    <a:gd name="connsiteY93" fmla="*/ 424123 h 500918"/>
                    <a:gd name="connsiteX94" fmla="*/ 119993 w 2266653"/>
                    <a:gd name="connsiteY94" fmla="*/ 332928 h 500918"/>
                    <a:gd name="connsiteX95" fmla="*/ 127025 w 2266653"/>
                    <a:gd name="connsiteY95" fmla="*/ 332928 h 500918"/>
                    <a:gd name="connsiteX96" fmla="*/ 152921 w 2266653"/>
                    <a:gd name="connsiteY96" fmla="*/ 424123 h 500918"/>
                    <a:gd name="connsiteX97" fmla="*/ 154484 w 2266653"/>
                    <a:gd name="connsiteY97" fmla="*/ 433722 h 500918"/>
                    <a:gd name="connsiteX98" fmla="*/ 155377 w 2266653"/>
                    <a:gd name="connsiteY98" fmla="*/ 433722 h 500918"/>
                    <a:gd name="connsiteX99" fmla="*/ 157275 w 2266653"/>
                    <a:gd name="connsiteY99" fmla="*/ 424123 h 500918"/>
                    <a:gd name="connsiteX100" fmla="*/ 184398 w 2266653"/>
                    <a:gd name="connsiteY100" fmla="*/ 332928 h 500918"/>
                    <a:gd name="connsiteX101" fmla="*/ 195003 w 2266653"/>
                    <a:gd name="connsiteY101" fmla="*/ 332928 h 500918"/>
                    <a:gd name="connsiteX102" fmla="*/ 159507 w 2266653"/>
                    <a:gd name="connsiteY102" fmla="*/ 447228 h 500918"/>
                    <a:gd name="connsiteX103" fmla="*/ 149908 w 2266653"/>
                    <a:gd name="connsiteY103" fmla="*/ 447228 h 500918"/>
                    <a:gd name="connsiteX104" fmla="*/ 125016 w 2266653"/>
                    <a:gd name="connsiteY104" fmla="*/ 361057 h 500918"/>
                    <a:gd name="connsiteX105" fmla="*/ 123230 w 2266653"/>
                    <a:gd name="connsiteY105" fmla="*/ 351457 h 500918"/>
                    <a:gd name="connsiteX106" fmla="*/ 122672 w 2266653"/>
                    <a:gd name="connsiteY106" fmla="*/ 351457 h 500918"/>
                    <a:gd name="connsiteX107" fmla="*/ 120440 w 2266653"/>
                    <a:gd name="connsiteY107" fmla="*/ 360834 h 500918"/>
                    <a:gd name="connsiteX108" fmla="*/ 92534 w 2266653"/>
                    <a:gd name="connsiteY108" fmla="*/ 447228 h 500918"/>
                    <a:gd name="connsiteX109" fmla="*/ 82935 w 2266653"/>
                    <a:gd name="connsiteY109" fmla="*/ 447228 h 500918"/>
                    <a:gd name="connsiteX110" fmla="*/ 1286247 w 2266653"/>
                    <a:gd name="connsiteY110" fmla="*/ 330696 h 500918"/>
                    <a:gd name="connsiteX111" fmla="*/ 1297633 w 2266653"/>
                    <a:gd name="connsiteY111" fmla="*/ 332705 h 500918"/>
                    <a:gd name="connsiteX112" fmla="*/ 1297633 w 2266653"/>
                    <a:gd name="connsiteY112" fmla="*/ 343644 h 500918"/>
                    <a:gd name="connsiteX113" fmla="*/ 1285578 w 2266653"/>
                    <a:gd name="connsiteY113" fmla="*/ 339960 h 500918"/>
                    <a:gd name="connsiteX114" fmla="*/ 1262919 w 2266653"/>
                    <a:gd name="connsiteY114" fmla="*/ 353913 h 500918"/>
                    <a:gd name="connsiteX115" fmla="*/ 1253766 w 2266653"/>
                    <a:gd name="connsiteY115" fmla="*/ 393538 h 500918"/>
                    <a:gd name="connsiteX116" fmla="*/ 1253766 w 2266653"/>
                    <a:gd name="connsiteY116" fmla="*/ 447228 h 500918"/>
                    <a:gd name="connsiteX117" fmla="*/ 1243720 w 2266653"/>
                    <a:gd name="connsiteY117" fmla="*/ 447228 h 500918"/>
                    <a:gd name="connsiteX118" fmla="*/ 1243720 w 2266653"/>
                    <a:gd name="connsiteY118" fmla="*/ 332928 h 500918"/>
                    <a:gd name="connsiteX119" fmla="*/ 1253766 w 2266653"/>
                    <a:gd name="connsiteY119" fmla="*/ 332928 h 500918"/>
                    <a:gd name="connsiteX120" fmla="*/ 1253766 w 2266653"/>
                    <a:gd name="connsiteY120" fmla="*/ 358266 h 500918"/>
                    <a:gd name="connsiteX121" fmla="*/ 1254212 w 2266653"/>
                    <a:gd name="connsiteY121" fmla="*/ 358266 h 500918"/>
                    <a:gd name="connsiteX122" fmla="*/ 1266602 w 2266653"/>
                    <a:gd name="connsiteY122" fmla="*/ 337951 h 500918"/>
                    <a:gd name="connsiteX123" fmla="*/ 1286247 w 2266653"/>
                    <a:gd name="connsiteY123" fmla="*/ 330696 h 500918"/>
                    <a:gd name="connsiteX124" fmla="*/ 1010023 w 2266653"/>
                    <a:gd name="connsiteY124" fmla="*/ 330696 h 500918"/>
                    <a:gd name="connsiteX125" fmla="*/ 1021408 w 2266653"/>
                    <a:gd name="connsiteY125" fmla="*/ 332705 h 500918"/>
                    <a:gd name="connsiteX126" fmla="*/ 1021408 w 2266653"/>
                    <a:gd name="connsiteY126" fmla="*/ 343644 h 500918"/>
                    <a:gd name="connsiteX127" fmla="*/ 1009353 w 2266653"/>
                    <a:gd name="connsiteY127" fmla="*/ 339960 h 500918"/>
                    <a:gd name="connsiteX128" fmla="*/ 986694 w 2266653"/>
                    <a:gd name="connsiteY128" fmla="*/ 353913 h 500918"/>
                    <a:gd name="connsiteX129" fmla="*/ 977541 w 2266653"/>
                    <a:gd name="connsiteY129" fmla="*/ 393538 h 500918"/>
                    <a:gd name="connsiteX130" fmla="*/ 977541 w 2266653"/>
                    <a:gd name="connsiteY130" fmla="*/ 447228 h 500918"/>
                    <a:gd name="connsiteX131" fmla="*/ 967495 w 2266653"/>
                    <a:gd name="connsiteY131" fmla="*/ 447228 h 500918"/>
                    <a:gd name="connsiteX132" fmla="*/ 967495 w 2266653"/>
                    <a:gd name="connsiteY132" fmla="*/ 332928 h 500918"/>
                    <a:gd name="connsiteX133" fmla="*/ 977541 w 2266653"/>
                    <a:gd name="connsiteY133" fmla="*/ 332928 h 500918"/>
                    <a:gd name="connsiteX134" fmla="*/ 977541 w 2266653"/>
                    <a:gd name="connsiteY134" fmla="*/ 358266 h 500918"/>
                    <a:gd name="connsiteX135" fmla="*/ 977987 w 2266653"/>
                    <a:gd name="connsiteY135" fmla="*/ 358266 h 500918"/>
                    <a:gd name="connsiteX136" fmla="*/ 990377 w 2266653"/>
                    <a:gd name="connsiteY136" fmla="*/ 337951 h 500918"/>
                    <a:gd name="connsiteX137" fmla="*/ 1010023 w 2266653"/>
                    <a:gd name="connsiteY137" fmla="*/ 330696 h 500918"/>
                    <a:gd name="connsiteX138" fmla="*/ 1553393 w 2266653"/>
                    <a:gd name="connsiteY138" fmla="*/ 330138 h 500918"/>
                    <a:gd name="connsiteX139" fmla="*/ 1586098 w 2266653"/>
                    <a:gd name="connsiteY139" fmla="*/ 345095 h 500918"/>
                    <a:gd name="connsiteX140" fmla="*/ 1597483 w 2266653"/>
                    <a:gd name="connsiteY140" fmla="*/ 385948 h 500918"/>
                    <a:gd name="connsiteX141" fmla="*/ 1597483 w 2266653"/>
                    <a:gd name="connsiteY141" fmla="*/ 390525 h 500918"/>
                    <a:gd name="connsiteX142" fmla="*/ 1512874 w 2266653"/>
                    <a:gd name="connsiteY142" fmla="*/ 390525 h 500918"/>
                    <a:gd name="connsiteX143" fmla="*/ 1523758 w 2266653"/>
                    <a:gd name="connsiteY143" fmla="*/ 427360 h 500918"/>
                    <a:gd name="connsiteX144" fmla="*/ 1553616 w 2266653"/>
                    <a:gd name="connsiteY144" fmla="*/ 440643 h 500918"/>
                    <a:gd name="connsiteX145" fmla="*/ 1591121 w 2266653"/>
                    <a:gd name="connsiteY145" fmla="*/ 426467 h 500918"/>
                    <a:gd name="connsiteX146" fmla="*/ 1591121 w 2266653"/>
                    <a:gd name="connsiteY146" fmla="*/ 437406 h 500918"/>
                    <a:gd name="connsiteX147" fmla="*/ 1551495 w 2266653"/>
                    <a:gd name="connsiteY147" fmla="*/ 450019 h 500918"/>
                    <a:gd name="connsiteX148" fmla="*/ 1515777 w 2266653"/>
                    <a:gd name="connsiteY148" fmla="*/ 434169 h 500918"/>
                    <a:gd name="connsiteX149" fmla="*/ 1502159 w 2266653"/>
                    <a:gd name="connsiteY149" fmla="*/ 389409 h 500918"/>
                    <a:gd name="connsiteX150" fmla="*/ 1516390 w 2266653"/>
                    <a:gd name="connsiteY150" fmla="*/ 347272 h 500918"/>
                    <a:gd name="connsiteX151" fmla="*/ 1553393 w 2266653"/>
                    <a:gd name="connsiteY151" fmla="*/ 330138 h 500918"/>
                    <a:gd name="connsiteX152" fmla="*/ 1365572 w 2266653"/>
                    <a:gd name="connsiteY152" fmla="*/ 330138 h 500918"/>
                    <a:gd name="connsiteX153" fmla="*/ 1386947 w 2266653"/>
                    <a:gd name="connsiteY153" fmla="*/ 337337 h 500918"/>
                    <a:gd name="connsiteX154" fmla="*/ 1398946 w 2266653"/>
                    <a:gd name="connsiteY154" fmla="*/ 356257 h 500918"/>
                    <a:gd name="connsiteX155" fmla="*/ 1414294 w 2266653"/>
                    <a:gd name="connsiteY155" fmla="*/ 337002 h 500918"/>
                    <a:gd name="connsiteX156" fmla="*/ 1436005 w 2266653"/>
                    <a:gd name="connsiteY156" fmla="*/ 330138 h 500918"/>
                    <a:gd name="connsiteX157" fmla="*/ 1473509 w 2266653"/>
                    <a:gd name="connsiteY157" fmla="*/ 376572 h 500918"/>
                    <a:gd name="connsiteX158" fmla="*/ 1473509 w 2266653"/>
                    <a:gd name="connsiteY158" fmla="*/ 447228 h 500918"/>
                    <a:gd name="connsiteX159" fmla="*/ 1463240 w 2266653"/>
                    <a:gd name="connsiteY159" fmla="*/ 447228 h 500918"/>
                    <a:gd name="connsiteX160" fmla="*/ 1463240 w 2266653"/>
                    <a:gd name="connsiteY160" fmla="*/ 378470 h 500918"/>
                    <a:gd name="connsiteX161" fmla="*/ 1456487 w 2266653"/>
                    <a:gd name="connsiteY161" fmla="*/ 348220 h 500918"/>
                    <a:gd name="connsiteX162" fmla="*/ 1435112 w 2266653"/>
                    <a:gd name="connsiteY162" fmla="*/ 339514 h 500918"/>
                    <a:gd name="connsiteX163" fmla="*/ 1411783 w 2266653"/>
                    <a:gd name="connsiteY163" fmla="*/ 351122 h 500918"/>
                    <a:gd name="connsiteX164" fmla="*/ 1401960 w 2266653"/>
                    <a:gd name="connsiteY164" fmla="*/ 380256 h 500918"/>
                    <a:gd name="connsiteX165" fmla="*/ 1401960 w 2266653"/>
                    <a:gd name="connsiteY165" fmla="*/ 447228 h 500918"/>
                    <a:gd name="connsiteX166" fmla="*/ 1391691 w 2266653"/>
                    <a:gd name="connsiteY166" fmla="*/ 447228 h 500918"/>
                    <a:gd name="connsiteX167" fmla="*/ 1391691 w 2266653"/>
                    <a:gd name="connsiteY167" fmla="*/ 377688 h 500918"/>
                    <a:gd name="connsiteX168" fmla="*/ 1362670 w 2266653"/>
                    <a:gd name="connsiteY168" fmla="*/ 339514 h 500918"/>
                    <a:gd name="connsiteX169" fmla="*/ 1339452 w 2266653"/>
                    <a:gd name="connsiteY169" fmla="*/ 351178 h 500918"/>
                    <a:gd name="connsiteX170" fmla="*/ 1330188 w 2266653"/>
                    <a:gd name="connsiteY170" fmla="*/ 381372 h 500918"/>
                    <a:gd name="connsiteX171" fmla="*/ 1330188 w 2266653"/>
                    <a:gd name="connsiteY171" fmla="*/ 447228 h 500918"/>
                    <a:gd name="connsiteX172" fmla="*/ 1319919 w 2266653"/>
                    <a:gd name="connsiteY172" fmla="*/ 447228 h 500918"/>
                    <a:gd name="connsiteX173" fmla="*/ 1319919 w 2266653"/>
                    <a:gd name="connsiteY173" fmla="*/ 332928 h 500918"/>
                    <a:gd name="connsiteX174" fmla="*/ 1330188 w 2266653"/>
                    <a:gd name="connsiteY174" fmla="*/ 332928 h 500918"/>
                    <a:gd name="connsiteX175" fmla="*/ 1330188 w 2266653"/>
                    <a:gd name="connsiteY175" fmla="*/ 351904 h 500918"/>
                    <a:gd name="connsiteX176" fmla="*/ 1330634 w 2266653"/>
                    <a:gd name="connsiteY176" fmla="*/ 351904 h 500918"/>
                    <a:gd name="connsiteX177" fmla="*/ 1365572 w 2266653"/>
                    <a:gd name="connsiteY177" fmla="*/ 330138 h 500918"/>
                    <a:gd name="connsiteX178" fmla="*/ 1166999 w 2266653"/>
                    <a:gd name="connsiteY178" fmla="*/ 330138 h 500918"/>
                    <a:gd name="connsiteX179" fmla="*/ 1205620 w 2266653"/>
                    <a:gd name="connsiteY179" fmla="*/ 346100 h 500918"/>
                    <a:gd name="connsiteX180" fmla="*/ 1219796 w 2266653"/>
                    <a:gd name="connsiteY180" fmla="*/ 390301 h 500918"/>
                    <a:gd name="connsiteX181" fmla="*/ 1205341 w 2266653"/>
                    <a:gd name="connsiteY181" fmla="*/ 433499 h 500918"/>
                    <a:gd name="connsiteX182" fmla="*/ 1165771 w 2266653"/>
                    <a:gd name="connsiteY182" fmla="*/ 450019 h 500918"/>
                    <a:gd name="connsiteX183" fmla="*/ 1126201 w 2266653"/>
                    <a:gd name="connsiteY183" fmla="*/ 433555 h 500918"/>
                    <a:gd name="connsiteX184" fmla="*/ 1111635 w 2266653"/>
                    <a:gd name="connsiteY184" fmla="*/ 390748 h 500918"/>
                    <a:gd name="connsiteX185" fmla="*/ 1126871 w 2266653"/>
                    <a:gd name="connsiteY185" fmla="*/ 346211 h 500918"/>
                    <a:gd name="connsiteX186" fmla="*/ 1166999 w 2266653"/>
                    <a:gd name="connsiteY186" fmla="*/ 330138 h 500918"/>
                    <a:gd name="connsiteX187" fmla="*/ 896168 w 2266653"/>
                    <a:gd name="connsiteY187" fmla="*/ 330138 h 500918"/>
                    <a:gd name="connsiteX188" fmla="*/ 928873 w 2266653"/>
                    <a:gd name="connsiteY188" fmla="*/ 345095 h 500918"/>
                    <a:gd name="connsiteX189" fmla="*/ 940258 w 2266653"/>
                    <a:gd name="connsiteY189" fmla="*/ 385948 h 500918"/>
                    <a:gd name="connsiteX190" fmla="*/ 940258 w 2266653"/>
                    <a:gd name="connsiteY190" fmla="*/ 390525 h 500918"/>
                    <a:gd name="connsiteX191" fmla="*/ 855650 w 2266653"/>
                    <a:gd name="connsiteY191" fmla="*/ 390525 h 500918"/>
                    <a:gd name="connsiteX192" fmla="*/ 866533 w 2266653"/>
                    <a:gd name="connsiteY192" fmla="*/ 427360 h 500918"/>
                    <a:gd name="connsiteX193" fmla="*/ 896391 w 2266653"/>
                    <a:gd name="connsiteY193" fmla="*/ 440643 h 500918"/>
                    <a:gd name="connsiteX194" fmla="*/ 933896 w 2266653"/>
                    <a:gd name="connsiteY194" fmla="*/ 426467 h 500918"/>
                    <a:gd name="connsiteX195" fmla="*/ 933896 w 2266653"/>
                    <a:gd name="connsiteY195" fmla="*/ 437406 h 500918"/>
                    <a:gd name="connsiteX196" fmla="*/ 894270 w 2266653"/>
                    <a:gd name="connsiteY196" fmla="*/ 450019 h 500918"/>
                    <a:gd name="connsiteX197" fmla="*/ 858552 w 2266653"/>
                    <a:gd name="connsiteY197" fmla="*/ 434169 h 500918"/>
                    <a:gd name="connsiteX198" fmla="*/ 844934 w 2266653"/>
                    <a:gd name="connsiteY198" fmla="*/ 389409 h 500918"/>
                    <a:gd name="connsiteX199" fmla="*/ 859166 w 2266653"/>
                    <a:gd name="connsiteY199" fmla="*/ 347272 h 500918"/>
                    <a:gd name="connsiteX200" fmla="*/ 896168 w 2266653"/>
                    <a:gd name="connsiteY200" fmla="*/ 330138 h 500918"/>
                    <a:gd name="connsiteX201" fmla="*/ 782836 w 2266653"/>
                    <a:gd name="connsiteY201" fmla="*/ 330138 h 500918"/>
                    <a:gd name="connsiteX202" fmla="*/ 816825 w 2266653"/>
                    <a:gd name="connsiteY202" fmla="*/ 345151 h 500918"/>
                    <a:gd name="connsiteX203" fmla="*/ 829047 w 2266653"/>
                    <a:gd name="connsiteY203" fmla="*/ 385948 h 500918"/>
                    <a:gd name="connsiteX204" fmla="*/ 815039 w 2266653"/>
                    <a:gd name="connsiteY204" fmla="*/ 432327 h 500918"/>
                    <a:gd name="connsiteX205" fmla="*/ 778037 w 2266653"/>
                    <a:gd name="connsiteY205" fmla="*/ 450019 h 500918"/>
                    <a:gd name="connsiteX206" fmla="*/ 740085 w 2266653"/>
                    <a:gd name="connsiteY206" fmla="*/ 426913 h 500918"/>
                    <a:gd name="connsiteX207" fmla="*/ 739639 w 2266653"/>
                    <a:gd name="connsiteY207" fmla="*/ 426913 h 500918"/>
                    <a:gd name="connsiteX208" fmla="*/ 739639 w 2266653"/>
                    <a:gd name="connsiteY208" fmla="*/ 499802 h 500918"/>
                    <a:gd name="connsiteX209" fmla="*/ 729370 w 2266653"/>
                    <a:gd name="connsiteY209" fmla="*/ 499802 h 500918"/>
                    <a:gd name="connsiteX210" fmla="*/ 729370 w 2266653"/>
                    <a:gd name="connsiteY210" fmla="*/ 332928 h 500918"/>
                    <a:gd name="connsiteX211" fmla="*/ 739639 w 2266653"/>
                    <a:gd name="connsiteY211" fmla="*/ 332928 h 500918"/>
                    <a:gd name="connsiteX212" fmla="*/ 739639 w 2266653"/>
                    <a:gd name="connsiteY212" fmla="*/ 356480 h 500918"/>
                    <a:gd name="connsiteX213" fmla="*/ 740085 w 2266653"/>
                    <a:gd name="connsiteY213" fmla="*/ 356480 h 500918"/>
                    <a:gd name="connsiteX214" fmla="*/ 757666 w 2266653"/>
                    <a:gd name="connsiteY214" fmla="*/ 337002 h 500918"/>
                    <a:gd name="connsiteX215" fmla="*/ 782836 w 2266653"/>
                    <a:gd name="connsiteY215" fmla="*/ 330138 h 500918"/>
                    <a:gd name="connsiteX216" fmla="*/ 591368 w 2266653"/>
                    <a:gd name="connsiteY216" fmla="*/ 330138 h 500918"/>
                    <a:gd name="connsiteX217" fmla="*/ 624073 w 2266653"/>
                    <a:gd name="connsiteY217" fmla="*/ 345095 h 500918"/>
                    <a:gd name="connsiteX218" fmla="*/ 635458 w 2266653"/>
                    <a:gd name="connsiteY218" fmla="*/ 385948 h 500918"/>
                    <a:gd name="connsiteX219" fmla="*/ 635458 w 2266653"/>
                    <a:gd name="connsiteY219" fmla="*/ 390525 h 500918"/>
                    <a:gd name="connsiteX220" fmla="*/ 550850 w 2266653"/>
                    <a:gd name="connsiteY220" fmla="*/ 390525 h 500918"/>
                    <a:gd name="connsiteX221" fmla="*/ 561733 w 2266653"/>
                    <a:gd name="connsiteY221" fmla="*/ 427360 h 500918"/>
                    <a:gd name="connsiteX222" fmla="*/ 591591 w 2266653"/>
                    <a:gd name="connsiteY222" fmla="*/ 440643 h 500918"/>
                    <a:gd name="connsiteX223" fmla="*/ 629096 w 2266653"/>
                    <a:gd name="connsiteY223" fmla="*/ 426467 h 500918"/>
                    <a:gd name="connsiteX224" fmla="*/ 629096 w 2266653"/>
                    <a:gd name="connsiteY224" fmla="*/ 437406 h 500918"/>
                    <a:gd name="connsiteX225" fmla="*/ 589470 w 2266653"/>
                    <a:gd name="connsiteY225" fmla="*/ 450019 h 500918"/>
                    <a:gd name="connsiteX226" fmla="*/ 553752 w 2266653"/>
                    <a:gd name="connsiteY226" fmla="*/ 434169 h 500918"/>
                    <a:gd name="connsiteX227" fmla="*/ 540134 w 2266653"/>
                    <a:gd name="connsiteY227" fmla="*/ 389409 h 500918"/>
                    <a:gd name="connsiteX228" fmla="*/ 554366 w 2266653"/>
                    <a:gd name="connsiteY228" fmla="*/ 347272 h 500918"/>
                    <a:gd name="connsiteX229" fmla="*/ 591368 w 2266653"/>
                    <a:gd name="connsiteY229" fmla="*/ 330138 h 500918"/>
                    <a:gd name="connsiteX230" fmla="*/ 2163737 w 2266653"/>
                    <a:gd name="connsiteY230" fmla="*/ 301116 h 500918"/>
                    <a:gd name="connsiteX231" fmla="*/ 2160054 w 2266653"/>
                    <a:gd name="connsiteY231" fmla="*/ 313060 h 500918"/>
                    <a:gd name="connsiteX232" fmla="*/ 2133153 w 2266653"/>
                    <a:gd name="connsiteY232" fmla="*/ 387288 h 500918"/>
                    <a:gd name="connsiteX233" fmla="*/ 2194879 w 2266653"/>
                    <a:gd name="connsiteY233" fmla="*/ 387288 h 500918"/>
                    <a:gd name="connsiteX234" fmla="*/ 2167867 w 2266653"/>
                    <a:gd name="connsiteY234" fmla="*/ 313283 h 500918"/>
                    <a:gd name="connsiteX235" fmla="*/ 2165858 w 2266653"/>
                    <a:gd name="connsiteY235" fmla="*/ 306697 h 500918"/>
                    <a:gd name="connsiteX236" fmla="*/ 2164184 w 2266653"/>
                    <a:gd name="connsiteY236" fmla="*/ 301116 h 500918"/>
                    <a:gd name="connsiteX237" fmla="*/ 2255602 w 2266653"/>
                    <a:gd name="connsiteY237" fmla="*/ 287164 h 500918"/>
                    <a:gd name="connsiteX238" fmla="*/ 2266653 w 2266653"/>
                    <a:gd name="connsiteY238" fmla="*/ 287164 h 500918"/>
                    <a:gd name="connsiteX239" fmla="*/ 2266653 w 2266653"/>
                    <a:gd name="connsiteY239" fmla="*/ 447228 h 500918"/>
                    <a:gd name="connsiteX240" fmla="*/ 2255602 w 2266653"/>
                    <a:gd name="connsiteY240" fmla="*/ 447228 h 500918"/>
                    <a:gd name="connsiteX241" fmla="*/ 2159160 w 2266653"/>
                    <a:gd name="connsiteY241" fmla="*/ 287164 h 500918"/>
                    <a:gd name="connsiteX242" fmla="*/ 2169653 w 2266653"/>
                    <a:gd name="connsiteY242" fmla="*/ 287164 h 500918"/>
                    <a:gd name="connsiteX243" fmla="*/ 2229370 w 2266653"/>
                    <a:gd name="connsiteY243" fmla="*/ 447228 h 500918"/>
                    <a:gd name="connsiteX244" fmla="*/ 2216980 w 2266653"/>
                    <a:gd name="connsiteY244" fmla="*/ 447228 h 500918"/>
                    <a:gd name="connsiteX245" fmla="*/ 2198674 w 2266653"/>
                    <a:gd name="connsiteY245" fmla="*/ 397445 h 500918"/>
                    <a:gd name="connsiteX246" fmla="*/ 2129246 w 2266653"/>
                    <a:gd name="connsiteY246" fmla="*/ 397445 h 500918"/>
                    <a:gd name="connsiteX247" fmla="*/ 2110940 w 2266653"/>
                    <a:gd name="connsiteY247" fmla="*/ 447228 h 500918"/>
                    <a:gd name="connsiteX248" fmla="*/ 2098774 w 2266653"/>
                    <a:gd name="connsiteY248" fmla="*/ 447228 h 500918"/>
                    <a:gd name="connsiteX249" fmla="*/ 220043 w 2266653"/>
                    <a:gd name="connsiteY249" fmla="*/ 287164 h 500918"/>
                    <a:gd name="connsiteX250" fmla="*/ 226126 w 2266653"/>
                    <a:gd name="connsiteY250" fmla="*/ 289396 h 500918"/>
                    <a:gd name="connsiteX251" fmla="*/ 228749 w 2266653"/>
                    <a:gd name="connsiteY251" fmla="*/ 295424 h 500918"/>
                    <a:gd name="connsiteX252" fmla="*/ 226182 w 2266653"/>
                    <a:gd name="connsiteY252" fmla="*/ 301563 h 500918"/>
                    <a:gd name="connsiteX253" fmla="*/ 220043 w 2266653"/>
                    <a:gd name="connsiteY253" fmla="*/ 304130 h 500918"/>
                    <a:gd name="connsiteX254" fmla="*/ 214127 w 2266653"/>
                    <a:gd name="connsiteY254" fmla="*/ 301674 h 500918"/>
                    <a:gd name="connsiteX255" fmla="*/ 211560 w 2266653"/>
                    <a:gd name="connsiteY255" fmla="*/ 295424 h 500918"/>
                    <a:gd name="connsiteX256" fmla="*/ 214183 w 2266653"/>
                    <a:gd name="connsiteY256" fmla="*/ 289452 h 500918"/>
                    <a:gd name="connsiteX257" fmla="*/ 220043 w 2266653"/>
                    <a:gd name="connsiteY257" fmla="*/ 287164 h 500918"/>
                    <a:gd name="connsiteX258" fmla="*/ 1815220 w 2266653"/>
                    <a:gd name="connsiteY258" fmla="*/ 278011 h 500918"/>
                    <a:gd name="connsiteX259" fmla="*/ 1825489 w 2266653"/>
                    <a:gd name="connsiteY259" fmla="*/ 278011 h 500918"/>
                    <a:gd name="connsiteX260" fmla="*/ 1825489 w 2266653"/>
                    <a:gd name="connsiteY260" fmla="*/ 356480 h 500918"/>
                    <a:gd name="connsiteX261" fmla="*/ 1825935 w 2266653"/>
                    <a:gd name="connsiteY261" fmla="*/ 356480 h 500918"/>
                    <a:gd name="connsiteX262" fmla="*/ 1843516 w 2266653"/>
                    <a:gd name="connsiteY262" fmla="*/ 337002 h 500918"/>
                    <a:gd name="connsiteX263" fmla="*/ 1868686 w 2266653"/>
                    <a:gd name="connsiteY263" fmla="*/ 330138 h 500918"/>
                    <a:gd name="connsiteX264" fmla="*/ 1902675 w 2266653"/>
                    <a:gd name="connsiteY264" fmla="*/ 345151 h 500918"/>
                    <a:gd name="connsiteX265" fmla="*/ 1914897 w 2266653"/>
                    <a:gd name="connsiteY265" fmla="*/ 385948 h 500918"/>
                    <a:gd name="connsiteX266" fmla="*/ 1900721 w 2266653"/>
                    <a:gd name="connsiteY266" fmla="*/ 432327 h 500918"/>
                    <a:gd name="connsiteX267" fmla="*/ 1863887 w 2266653"/>
                    <a:gd name="connsiteY267" fmla="*/ 450019 h 500918"/>
                    <a:gd name="connsiteX268" fmla="*/ 1825935 w 2266653"/>
                    <a:gd name="connsiteY268" fmla="*/ 426913 h 500918"/>
                    <a:gd name="connsiteX269" fmla="*/ 1825489 w 2266653"/>
                    <a:gd name="connsiteY269" fmla="*/ 426913 h 500918"/>
                    <a:gd name="connsiteX270" fmla="*/ 1825489 w 2266653"/>
                    <a:gd name="connsiteY270" fmla="*/ 447228 h 500918"/>
                    <a:gd name="connsiteX271" fmla="*/ 1815220 w 2266653"/>
                    <a:gd name="connsiteY271" fmla="*/ 447228 h 500918"/>
                    <a:gd name="connsiteX272" fmla="*/ 1705868 w 2266653"/>
                    <a:gd name="connsiteY272" fmla="*/ 278011 h 500918"/>
                    <a:gd name="connsiteX273" fmla="*/ 1716137 w 2266653"/>
                    <a:gd name="connsiteY273" fmla="*/ 278011 h 500918"/>
                    <a:gd name="connsiteX274" fmla="*/ 1716137 w 2266653"/>
                    <a:gd name="connsiteY274" fmla="*/ 447228 h 500918"/>
                    <a:gd name="connsiteX275" fmla="*/ 1705868 w 2266653"/>
                    <a:gd name="connsiteY275" fmla="*/ 447228 h 500918"/>
                    <a:gd name="connsiteX276" fmla="*/ 1705868 w 2266653"/>
                    <a:gd name="connsiteY276" fmla="*/ 426467 h 500918"/>
                    <a:gd name="connsiteX277" fmla="*/ 1705422 w 2266653"/>
                    <a:gd name="connsiteY277" fmla="*/ 426467 h 500918"/>
                    <a:gd name="connsiteX278" fmla="*/ 1688902 w 2266653"/>
                    <a:gd name="connsiteY278" fmla="*/ 443656 h 500918"/>
                    <a:gd name="connsiteX279" fmla="*/ 1664234 w 2266653"/>
                    <a:gd name="connsiteY279" fmla="*/ 450019 h 500918"/>
                    <a:gd name="connsiteX280" fmla="*/ 1629799 w 2266653"/>
                    <a:gd name="connsiteY280" fmla="*/ 434615 h 500918"/>
                    <a:gd name="connsiteX281" fmla="*/ 1616460 w 2266653"/>
                    <a:gd name="connsiteY281" fmla="*/ 392087 h 500918"/>
                    <a:gd name="connsiteX282" fmla="*/ 1631026 w 2266653"/>
                    <a:gd name="connsiteY282" fmla="*/ 347272 h 500918"/>
                    <a:gd name="connsiteX283" fmla="*/ 1668810 w 2266653"/>
                    <a:gd name="connsiteY283" fmla="*/ 330138 h 500918"/>
                    <a:gd name="connsiteX284" fmla="*/ 1705422 w 2266653"/>
                    <a:gd name="connsiteY284" fmla="*/ 351234 h 500918"/>
                    <a:gd name="connsiteX285" fmla="*/ 1705868 w 2266653"/>
                    <a:gd name="connsiteY285" fmla="*/ 351234 h 500918"/>
                    <a:gd name="connsiteX286" fmla="*/ 424570 w 2266653"/>
                    <a:gd name="connsiteY286" fmla="*/ 278011 h 500918"/>
                    <a:gd name="connsiteX287" fmla="*/ 434839 w 2266653"/>
                    <a:gd name="connsiteY287" fmla="*/ 278011 h 500918"/>
                    <a:gd name="connsiteX288" fmla="*/ 434839 w 2266653"/>
                    <a:gd name="connsiteY288" fmla="*/ 356480 h 500918"/>
                    <a:gd name="connsiteX289" fmla="*/ 435285 w 2266653"/>
                    <a:gd name="connsiteY289" fmla="*/ 356480 h 500918"/>
                    <a:gd name="connsiteX290" fmla="*/ 452866 w 2266653"/>
                    <a:gd name="connsiteY290" fmla="*/ 337002 h 500918"/>
                    <a:gd name="connsiteX291" fmla="*/ 478036 w 2266653"/>
                    <a:gd name="connsiteY291" fmla="*/ 330138 h 500918"/>
                    <a:gd name="connsiteX292" fmla="*/ 512025 w 2266653"/>
                    <a:gd name="connsiteY292" fmla="*/ 345151 h 500918"/>
                    <a:gd name="connsiteX293" fmla="*/ 524247 w 2266653"/>
                    <a:gd name="connsiteY293" fmla="*/ 385948 h 500918"/>
                    <a:gd name="connsiteX294" fmla="*/ 510072 w 2266653"/>
                    <a:gd name="connsiteY294" fmla="*/ 432327 h 500918"/>
                    <a:gd name="connsiteX295" fmla="*/ 473237 w 2266653"/>
                    <a:gd name="connsiteY295" fmla="*/ 450019 h 500918"/>
                    <a:gd name="connsiteX296" fmla="*/ 435285 w 2266653"/>
                    <a:gd name="connsiteY296" fmla="*/ 426913 h 500918"/>
                    <a:gd name="connsiteX297" fmla="*/ 434839 w 2266653"/>
                    <a:gd name="connsiteY297" fmla="*/ 426913 h 500918"/>
                    <a:gd name="connsiteX298" fmla="*/ 434839 w 2266653"/>
                    <a:gd name="connsiteY298" fmla="*/ 447228 h 500918"/>
                    <a:gd name="connsiteX299" fmla="*/ 424570 w 2266653"/>
                    <a:gd name="connsiteY299" fmla="*/ 447228 h 500918"/>
                    <a:gd name="connsiteX300" fmla="*/ 310270 w 2266653"/>
                    <a:gd name="connsiteY300" fmla="*/ 278011 h 500918"/>
                    <a:gd name="connsiteX301" fmla="*/ 320539 w 2266653"/>
                    <a:gd name="connsiteY301" fmla="*/ 278011 h 500918"/>
                    <a:gd name="connsiteX302" fmla="*/ 320539 w 2266653"/>
                    <a:gd name="connsiteY302" fmla="*/ 447228 h 500918"/>
                    <a:gd name="connsiteX303" fmla="*/ 310270 w 2266653"/>
                    <a:gd name="connsiteY303" fmla="*/ 447228 h 500918"/>
                    <a:gd name="connsiteX304" fmla="*/ 262645 w 2266653"/>
                    <a:gd name="connsiteY304" fmla="*/ 278011 h 500918"/>
                    <a:gd name="connsiteX305" fmla="*/ 272914 w 2266653"/>
                    <a:gd name="connsiteY305" fmla="*/ 278011 h 500918"/>
                    <a:gd name="connsiteX306" fmla="*/ 272914 w 2266653"/>
                    <a:gd name="connsiteY306" fmla="*/ 447228 h 500918"/>
                    <a:gd name="connsiteX307" fmla="*/ 262645 w 2266653"/>
                    <a:gd name="connsiteY307" fmla="*/ 447228 h 500918"/>
                    <a:gd name="connsiteX308" fmla="*/ 1091171 w 2266653"/>
                    <a:gd name="connsiteY308" fmla="*/ 276225 h 500918"/>
                    <a:gd name="connsiteX309" fmla="*/ 1103226 w 2266653"/>
                    <a:gd name="connsiteY309" fmla="*/ 278346 h 500918"/>
                    <a:gd name="connsiteX310" fmla="*/ 1103226 w 2266653"/>
                    <a:gd name="connsiteY310" fmla="*/ 288838 h 500918"/>
                    <a:gd name="connsiteX311" fmla="*/ 1090725 w 2266653"/>
                    <a:gd name="connsiteY311" fmla="*/ 285601 h 500918"/>
                    <a:gd name="connsiteX312" fmla="*/ 1069628 w 2266653"/>
                    <a:gd name="connsiteY312" fmla="*/ 313953 h 500918"/>
                    <a:gd name="connsiteX313" fmla="*/ 1069628 w 2266653"/>
                    <a:gd name="connsiteY313" fmla="*/ 332928 h 500918"/>
                    <a:gd name="connsiteX314" fmla="*/ 1099877 w 2266653"/>
                    <a:gd name="connsiteY314" fmla="*/ 332928 h 500918"/>
                    <a:gd name="connsiteX315" fmla="*/ 1099877 w 2266653"/>
                    <a:gd name="connsiteY315" fmla="*/ 342304 h 500918"/>
                    <a:gd name="connsiteX316" fmla="*/ 1069628 w 2266653"/>
                    <a:gd name="connsiteY316" fmla="*/ 342304 h 500918"/>
                    <a:gd name="connsiteX317" fmla="*/ 1069628 w 2266653"/>
                    <a:gd name="connsiteY317" fmla="*/ 447228 h 500918"/>
                    <a:gd name="connsiteX318" fmla="*/ 1059359 w 2266653"/>
                    <a:gd name="connsiteY318" fmla="*/ 447228 h 500918"/>
                    <a:gd name="connsiteX319" fmla="*/ 1059359 w 2266653"/>
                    <a:gd name="connsiteY319" fmla="*/ 342304 h 500918"/>
                    <a:gd name="connsiteX320" fmla="*/ 1038821 w 2266653"/>
                    <a:gd name="connsiteY320" fmla="*/ 342304 h 500918"/>
                    <a:gd name="connsiteX321" fmla="*/ 1038821 w 2266653"/>
                    <a:gd name="connsiteY321" fmla="*/ 332928 h 500918"/>
                    <a:gd name="connsiteX322" fmla="*/ 1059359 w 2266653"/>
                    <a:gd name="connsiteY322" fmla="*/ 332928 h 500918"/>
                    <a:gd name="connsiteX323" fmla="*/ 1059359 w 2266653"/>
                    <a:gd name="connsiteY323" fmla="*/ 313060 h 500918"/>
                    <a:gd name="connsiteX324" fmla="*/ 1068456 w 2266653"/>
                    <a:gd name="connsiteY324" fmla="*/ 285601 h 500918"/>
                    <a:gd name="connsiteX325" fmla="*/ 1091171 w 2266653"/>
                    <a:gd name="connsiteY325" fmla="*/ 276225 h 500918"/>
                    <a:gd name="connsiteX326" fmla="*/ 1797807 w 2266653"/>
                    <a:gd name="connsiteY326" fmla="*/ 109500 h 500918"/>
                    <a:gd name="connsiteX327" fmla="*/ 1766330 w 2266653"/>
                    <a:gd name="connsiteY327" fmla="*/ 114076 h 500918"/>
                    <a:gd name="connsiteX328" fmla="*/ 1741103 w 2266653"/>
                    <a:gd name="connsiteY328" fmla="*/ 122392 h 500918"/>
                    <a:gd name="connsiteX329" fmla="*/ 1733848 w 2266653"/>
                    <a:gd name="connsiteY329" fmla="*/ 141089 h 500918"/>
                    <a:gd name="connsiteX330" fmla="*/ 1740601 w 2266653"/>
                    <a:gd name="connsiteY330" fmla="*/ 157832 h 500918"/>
                    <a:gd name="connsiteX331" fmla="*/ 1759409 w 2266653"/>
                    <a:gd name="connsiteY331" fmla="*/ 164418 h 500918"/>
                    <a:gd name="connsiteX332" fmla="*/ 1786868 w 2266653"/>
                    <a:gd name="connsiteY332" fmla="*/ 152195 h 500918"/>
                    <a:gd name="connsiteX333" fmla="*/ 1797807 w 2266653"/>
                    <a:gd name="connsiteY333" fmla="*/ 120662 h 500918"/>
                    <a:gd name="connsiteX334" fmla="*/ 1426332 w 2266653"/>
                    <a:gd name="connsiteY334" fmla="*/ 109500 h 500918"/>
                    <a:gd name="connsiteX335" fmla="*/ 1394855 w 2266653"/>
                    <a:gd name="connsiteY335" fmla="*/ 114076 h 500918"/>
                    <a:gd name="connsiteX336" fmla="*/ 1369628 w 2266653"/>
                    <a:gd name="connsiteY336" fmla="*/ 122392 h 500918"/>
                    <a:gd name="connsiteX337" fmla="*/ 1362373 w 2266653"/>
                    <a:gd name="connsiteY337" fmla="*/ 141089 h 500918"/>
                    <a:gd name="connsiteX338" fmla="*/ 1369126 w 2266653"/>
                    <a:gd name="connsiteY338" fmla="*/ 157832 h 500918"/>
                    <a:gd name="connsiteX339" fmla="*/ 1387934 w 2266653"/>
                    <a:gd name="connsiteY339" fmla="*/ 164418 h 500918"/>
                    <a:gd name="connsiteX340" fmla="*/ 1415393 w 2266653"/>
                    <a:gd name="connsiteY340" fmla="*/ 152195 h 500918"/>
                    <a:gd name="connsiteX341" fmla="*/ 1426332 w 2266653"/>
                    <a:gd name="connsiteY341" fmla="*/ 120662 h 500918"/>
                    <a:gd name="connsiteX342" fmla="*/ 350379 w 2266653"/>
                    <a:gd name="connsiteY342" fmla="*/ 101017 h 500918"/>
                    <a:gd name="connsiteX343" fmla="*/ 330176 w 2266653"/>
                    <a:gd name="connsiteY343" fmla="*/ 109723 h 500918"/>
                    <a:gd name="connsiteX344" fmla="*/ 322697 w 2266653"/>
                    <a:gd name="connsiteY344" fmla="*/ 133499 h 500918"/>
                    <a:gd name="connsiteX345" fmla="*/ 329897 w 2266653"/>
                    <a:gd name="connsiteY345" fmla="*/ 156381 h 500918"/>
                    <a:gd name="connsiteX346" fmla="*/ 349709 w 2266653"/>
                    <a:gd name="connsiteY346" fmla="*/ 164864 h 500918"/>
                    <a:gd name="connsiteX347" fmla="*/ 369745 w 2266653"/>
                    <a:gd name="connsiteY347" fmla="*/ 156213 h 500918"/>
                    <a:gd name="connsiteX348" fmla="*/ 376945 w 2266653"/>
                    <a:gd name="connsiteY348" fmla="*/ 132829 h 500918"/>
                    <a:gd name="connsiteX349" fmla="*/ 369801 w 2266653"/>
                    <a:gd name="connsiteY349" fmla="*/ 109054 h 500918"/>
                    <a:gd name="connsiteX350" fmla="*/ 350379 w 2266653"/>
                    <a:gd name="connsiteY350" fmla="*/ 101017 h 500918"/>
                    <a:gd name="connsiteX351" fmla="*/ 350602 w 2266653"/>
                    <a:gd name="connsiteY351" fmla="*/ 91864 h 500918"/>
                    <a:gd name="connsiteX352" fmla="*/ 377168 w 2266653"/>
                    <a:gd name="connsiteY352" fmla="*/ 102803 h 500918"/>
                    <a:gd name="connsiteX353" fmla="*/ 386991 w 2266653"/>
                    <a:gd name="connsiteY353" fmla="*/ 133052 h 500918"/>
                    <a:gd name="connsiteX354" fmla="*/ 376777 w 2266653"/>
                    <a:gd name="connsiteY354" fmla="*/ 162129 h 500918"/>
                    <a:gd name="connsiteX355" fmla="*/ 349486 w 2266653"/>
                    <a:gd name="connsiteY355" fmla="*/ 173794 h 500918"/>
                    <a:gd name="connsiteX356" fmla="*/ 322418 w 2266653"/>
                    <a:gd name="connsiteY356" fmla="*/ 162520 h 500918"/>
                    <a:gd name="connsiteX357" fmla="*/ 312428 w 2266653"/>
                    <a:gd name="connsiteY357" fmla="*/ 133275 h 500918"/>
                    <a:gd name="connsiteX358" fmla="*/ 323144 w 2266653"/>
                    <a:gd name="connsiteY358" fmla="*/ 102691 h 500918"/>
                    <a:gd name="connsiteX359" fmla="*/ 350602 w 2266653"/>
                    <a:gd name="connsiteY359" fmla="*/ 91864 h 500918"/>
                    <a:gd name="connsiteX360" fmla="*/ 2011487 w 2266653"/>
                    <a:gd name="connsiteY360" fmla="*/ 63289 h 500918"/>
                    <a:gd name="connsiteX361" fmla="*/ 1981796 w 2266653"/>
                    <a:gd name="connsiteY361" fmla="*/ 77074 h 500918"/>
                    <a:gd name="connsiteX362" fmla="*/ 1970075 w 2266653"/>
                    <a:gd name="connsiteY362" fmla="*/ 114969 h 500918"/>
                    <a:gd name="connsiteX363" fmla="*/ 1980624 w 2266653"/>
                    <a:gd name="connsiteY363" fmla="*/ 151525 h 500918"/>
                    <a:gd name="connsiteX364" fmla="*/ 2007803 w 2266653"/>
                    <a:gd name="connsiteY364" fmla="*/ 164418 h 500918"/>
                    <a:gd name="connsiteX365" fmla="*/ 2038053 w 2266653"/>
                    <a:gd name="connsiteY365" fmla="*/ 152307 h 500918"/>
                    <a:gd name="connsiteX366" fmla="*/ 2048768 w 2266653"/>
                    <a:gd name="connsiteY366" fmla="*/ 122783 h 500918"/>
                    <a:gd name="connsiteX367" fmla="*/ 2048768 w 2266653"/>
                    <a:gd name="connsiteY367" fmla="*/ 101463 h 500918"/>
                    <a:gd name="connsiteX368" fmla="*/ 2038667 w 2266653"/>
                    <a:gd name="connsiteY368" fmla="*/ 74395 h 500918"/>
                    <a:gd name="connsiteX369" fmla="*/ 2011487 w 2266653"/>
                    <a:gd name="connsiteY369" fmla="*/ 63289 h 500918"/>
                    <a:gd name="connsiteX370" fmla="*/ 1581521 w 2266653"/>
                    <a:gd name="connsiteY370" fmla="*/ 63289 h 500918"/>
                    <a:gd name="connsiteX371" fmla="*/ 1554900 w 2266653"/>
                    <a:gd name="connsiteY371" fmla="*/ 74060 h 500918"/>
                    <a:gd name="connsiteX372" fmla="*/ 1541896 w 2266653"/>
                    <a:gd name="connsiteY372" fmla="*/ 104924 h 500918"/>
                    <a:gd name="connsiteX373" fmla="*/ 1615343 w 2266653"/>
                    <a:gd name="connsiteY373" fmla="*/ 104924 h 500918"/>
                    <a:gd name="connsiteX374" fmla="*/ 1605855 w 2266653"/>
                    <a:gd name="connsiteY374" fmla="*/ 74228 h 500918"/>
                    <a:gd name="connsiteX375" fmla="*/ 1581521 w 2266653"/>
                    <a:gd name="connsiteY375" fmla="*/ 63289 h 500918"/>
                    <a:gd name="connsiteX376" fmla="*/ 1204652 w 2266653"/>
                    <a:gd name="connsiteY376" fmla="*/ 63289 h 500918"/>
                    <a:gd name="connsiteX377" fmla="*/ 1172450 w 2266653"/>
                    <a:gd name="connsiteY377" fmla="*/ 76907 h 500918"/>
                    <a:gd name="connsiteX378" fmla="*/ 1160451 w 2266653"/>
                    <a:gd name="connsiteY378" fmla="*/ 114746 h 500918"/>
                    <a:gd name="connsiteX379" fmla="*/ 1172171 w 2266653"/>
                    <a:gd name="connsiteY379" fmla="*/ 150800 h 500918"/>
                    <a:gd name="connsiteX380" fmla="*/ 1204206 w 2266653"/>
                    <a:gd name="connsiteY380" fmla="*/ 164418 h 500918"/>
                    <a:gd name="connsiteX381" fmla="*/ 1236018 w 2266653"/>
                    <a:gd name="connsiteY381" fmla="*/ 151023 h 500918"/>
                    <a:gd name="connsiteX382" fmla="*/ 1247180 w 2266653"/>
                    <a:gd name="connsiteY382" fmla="*/ 113853 h 500918"/>
                    <a:gd name="connsiteX383" fmla="*/ 1236074 w 2266653"/>
                    <a:gd name="connsiteY383" fmla="*/ 76349 h 500918"/>
                    <a:gd name="connsiteX384" fmla="*/ 1204652 w 2266653"/>
                    <a:gd name="connsiteY384" fmla="*/ 63289 h 500918"/>
                    <a:gd name="connsiteX385" fmla="*/ 1086297 w 2266653"/>
                    <a:gd name="connsiteY385" fmla="*/ 63289 h 500918"/>
                    <a:gd name="connsiteX386" fmla="*/ 1055378 w 2266653"/>
                    <a:gd name="connsiteY386" fmla="*/ 76683 h 500918"/>
                    <a:gd name="connsiteX387" fmla="*/ 1044439 w 2266653"/>
                    <a:gd name="connsiteY387" fmla="*/ 108161 h 500918"/>
                    <a:gd name="connsiteX388" fmla="*/ 1044439 w 2266653"/>
                    <a:gd name="connsiteY388" fmla="*/ 122560 h 500918"/>
                    <a:gd name="connsiteX389" fmla="*/ 1055266 w 2266653"/>
                    <a:gd name="connsiteY389" fmla="*/ 152083 h 500918"/>
                    <a:gd name="connsiteX390" fmla="*/ 1083730 w 2266653"/>
                    <a:gd name="connsiteY390" fmla="*/ 164418 h 500918"/>
                    <a:gd name="connsiteX391" fmla="*/ 1112193 w 2266653"/>
                    <a:gd name="connsiteY391" fmla="*/ 149405 h 500918"/>
                    <a:gd name="connsiteX392" fmla="*/ 1123132 w 2266653"/>
                    <a:gd name="connsiteY392" fmla="*/ 109947 h 500918"/>
                    <a:gd name="connsiteX393" fmla="*/ 1113086 w 2266653"/>
                    <a:gd name="connsiteY393" fmla="*/ 75902 h 500918"/>
                    <a:gd name="connsiteX394" fmla="*/ 1086297 w 2266653"/>
                    <a:gd name="connsiteY394" fmla="*/ 63289 h 500918"/>
                    <a:gd name="connsiteX395" fmla="*/ 880803 w 2266653"/>
                    <a:gd name="connsiteY395" fmla="*/ 63289 h 500918"/>
                    <a:gd name="connsiteX396" fmla="*/ 848600 w 2266653"/>
                    <a:gd name="connsiteY396" fmla="*/ 76907 h 500918"/>
                    <a:gd name="connsiteX397" fmla="*/ 836601 w 2266653"/>
                    <a:gd name="connsiteY397" fmla="*/ 114746 h 500918"/>
                    <a:gd name="connsiteX398" fmla="*/ 848321 w 2266653"/>
                    <a:gd name="connsiteY398" fmla="*/ 150800 h 500918"/>
                    <a:gd name="connsiteX399" fmla="*/ 880356 w 2266653"/>
                    <a:gd name="connsiteY399" fmla="*/ 164418 h 500918"/>
                    <a:gd name="connsiteX400" fmla="*/ 912168 w 2266653"/>
                    <a:gd name="connsiteY400" fmla="*/ 151023 h 500918"/>
                    <a:gd name="connsiteX401" fmla="*/ 923330 w 2266653"/>
                    <a:gd name="connsiteY401" fmla="*/ 113853 h 500918"/>
                    <a:gd name="connsiteX402" fmla="*/ 912224 w 2266653"/>
                    <a:gd name="connsiteY402" fmla="*/ 76349 h 500918"/>
                    <a:gd name="connsiteX403" fmla="*/ 880803 w 2266653"/>
                    <a:gd name="connsiteY403" fmla="*/ 63289 h 500918"/>
                    <a:gd name="connsiteX404" fmla="*/ 528377 w 2266653"/>
                    <a:gd name="connsiteY404" fmla="*/ 63289 h 500918"/>
                    <a:gd name="connsiteX405" fmla="*/ 496175 w 2266653"/>
                    <a:gd name="connsiteY405" fmla="*/ 76907 h 500918"/>
                    <a:gd name="connsiteX406" fmla="*/ 484176 w 2266653"/>
                    <a:gd name="connsiteY406" fmla="*/ 114746 h 500918"/>
                    <a:gd name="connsiteX407" fmla="*/ 495896 w 2266653"/>
                    <a:gd name="connsiteY407" fmla="*/ 150800 h 500918"/>
                    <a:gd name="connsiteX408" fmla="*/ 527931 w 2266653"/>
                    <a:gd name="connsiteY408" fmla="*/ 164418 h 500918"/>
                    <a:gd name="connsiteX409" fmla="*/ 559743 w 2266653"/>
                    <a:gd name="connsiteY409" fmla="*/ 151023 h 500918"/>
                    <a:gd name="connsiteX410" fmla="*/ 570905 w 2266653"/>
                    <a:gd name="connsiteY410" fmla="*/ 113853 h 500918"/>
                    <a:gd name="connsiteX411" fmla="*/ 559799 w 2266653"/>
                    <a:gd name="connsiteY411" fmla="*/ 76349 h 500918"/>
                    <a:gd name="connsiteX412" fmla="*/ 528377 w 2266653"/>
                    <a:gd name="connsiteY412" fmla="*/ 63289 h 500918"/>
                    <a:gd name="connsiteX413" fmla="*/ 2091445 w 2266653"/>
                    <a:gd name="connsiteY413" fmla="*/ 56703 h 500918"/>
                    <a:gd name="connsiteX414" fmla="*/ 2101714 w 2266653"/>
                    <a:gd name="connsiteY414" fmla="*/ 56703 h 500918"/>
                    <a:gd name="connsiteX415" fmla="*/ 2101714 w 2266653"/>
                    <a:gd name="connsiteY415" fmla="*/ 171003 h 500918"/>
                    <a:gd name="connsiteX416" fmla="*/ 2091445 w 2266653"/>
                    <a:gd name="connsiteY416" fmla="*/ 171003 h 500918"/>
                    <a:gd name="connsiteX417" fmla="*/ 1841451 w 2266653"/>
                    <a:gd name="connsiteY417" fmla="*/ 56703 h 500918"/>
                    <a:gd name="connsiteX418" fmla="*/ 1851831 w 2266653"/>
                    <a:gd name="connsiteY418" fmla="*/ 56703 h 500918"/>
                    <a:gd name="connsiteX419" fmla="*/ 1851831 w 2266653"/>
                    <a:gd name="connsiteY419" fmla="*/ 120216 h 500918"/>
                    <a:gd name="connsiteX420" fmla="*/ 1859477 w 2266653"/>
                    <a:gd name="connsiteY420" fmla="*/ 153925 h 500918"/>
                    <a:gd name="connsiteX421" fmla="*/ 1883532 w 2266653"/>
                    <a:gd name="connsiteY421" fmla="*/ 164418 h 500918"/>
                    <a:gd name="connsiteX422" fmla="*/ 1909372 w 2266653"/>
                    <a:gd name="connsiteY422" fmla="*/ 152697 h 500918"/>
                    <a:gd name="connsiteX423" fmla="*/ 1919251 w 2266653"/>
                    <a:gd name="connsiteY423" fmla="*/ 121443 h 500918"/>
                    <a:gd name="connsiteX424" fmla="*/ 1919251 w 2266653"/>
                    <a:gd name="connsiteY424" fmla="*/ 56703 h 500918"/>
                    <a:gd name="connsiteX425" fmla="*/ 1929520 w 2266653"/>
                    <a:gd name="connsiteY425" fmla="*/ 56703 h 500918"/>
                    <a:gd name="connsiteX426" fmla="*/ 1929520 w 2266653"/>
                    <a:gd name="connsiteY426" fmla="*/ 171003 h 500918"/>
                    <a:gd name="connsiteX427" fmla="*/ 1919251 w 2266653"/>
                    <a:gd name="connsiteY427" fmla="*/ 171003 h 500918"/>
                    <a:gd name="connsiteX428" fmla="*/ 1919251 w 2266653"/>
                    <a:gd name="connsiteY428" fmla="*/ 150242 h 500918"/>
                    <a:gd name="connsiteX429" fmla="*/ 1918804 w 2266653"/>
                    <a:gd name="connsiteY429" fmla="*/ 150242 h 500918"/>
                    <a:gd name="connsiteX430" fmla="*/ 1881969 w 2266653"/>
                    <a:gd name="connsiteY430" fmla="*/ 173794 h 500918"/>
                    <a:gd name="connsiteX431" fmla="*/ 1841451 w 2266653"/>
                    <a:gd name="connsiteY431" fmla="*/ 122783 h 500918"/>
                    <a:gd name="connsiteX432" fmla="*/ 1324347 w 2266653"/>
                    <a:gd name="connsiteY432" fmla="*/ 54471 h 500918"/>
                    <a:gd name="connsiteX433" fmla="*/ 1335733 w 2266653"/>
                    <a:gd name="connsiteY433" fmla="*/ 56480 h 500918"/>
                    <a:gd name="connsiteX434" fmla="*/ 1335733 w 2266653"/>
                    <a:gd name="connsiteY434" fmla="*/ 67419 h 500918"/>
                    <a:gd name="connsiteX435" fmla="*/ 1323678 w 2266653"/>
                    <a:gd name="connsiteY435" fmla="*/ 63735 h 500918"/>
                    <a:gd name="connsiteX436" fmla="*/ 1301019 w 2266653"/>
                    <a:gd name="connsiteY436" fmla="*/ 77688 h 500918"/>
                    <a:gd name="connsiteX437" fmla="*/ 1291866 w 2266653"/>
                    <a:gd name="connsiteY437" fmla="*/ 117313 h 500918"/>
                    <a:gd name="connsiteX438" fmla="*/ 1291866 w 2266653"/>
                    <a:gd name="connsiteY438" fmla="*/ 171003 h 500918"/>
                    <a:gd name="connsiteX439" fmla="*/ 1281820 w 2266653"/>
                    <a:gd name="connsiteY439" fmla="*/ 171003 h 500918"/>
                    <a:gd name="connsiteX440" fmla="*/ 1281820 w 2266653"/>
                    <a:gd name="connsiteY440" fmla="*/ 56703 h 500918"/>
                    <a:gd name="connsiteX441" fmla="*/ 1291866 w 2266653"/>
                    <a:gd name="connsiteY441" fmla="*/ 56703 h 500918"/>
                    <a:gd name="connsiteX442" fmla="*/ 1291866 w 2266653"/>
                    <a:gd name="connsiteY442" fmla="*/ 82041 h 500918"/>
                    <a:gd name="connsiteX443" fmla="*/ 1292312 w 2266653"/>
                    <a:gd name="connsiteY443" fmla="*/ 82041 h 500918"/>
                    <a:gd name="connsiteX444" fmla="*/ 1304702 w 2266653"/>
                    <a:gd name="connsiteY444" fmla="*/ 61726 h 500918"/>
                    <a:gd name="connsiteX445" fmla="*/ 1324347 w 2266653"/>
                    <a:gd name="connsiteY445" fmla="*/ 54471 h 500918"/>
                    <a:gd name="connsiteX446" fmla="*/ 1000497 w 2266653"/>
                    <a:gd name="connsiteY446" fmla="*/ 54471 h 500918"/>
                    <a:gd name="connsiteX447" fmla="*/ 1011883 w 2266653"/>
                    <a:gd name="connsiteY447" fmla="*/ 56480 h 500918"/>
                    <a:gd name="connsiteX448" fmla="*/ 1011883 w 2266653"/>
                    <a:gd name="connsiteY448" fmla="*/ 67419 h 500918"/>
                    <a:gd name="connsiteX449" fmla="*/ 999828 w 2266653"/>
                    <a:gd name="connsiteY449" fmla="*/ 63735 h 500918"/>
                    <a:gd name="connsiteX450" fmla="*/ 977169 w 2266653"/>
                    <a:gd name="connsiteY450" fmla="*/ 77688 h 500918"/>
                    <a:gd name="connsiteX451" fmla="*/ 968016 w 2266653"/>
                    <a:gd name="connsiteY451" fmla="*/ 117313 h 500918"/>
                    <a:gd name="connsiteX452" fmla="*/ 968016 w 2266653"/>
                    <a:gd name="connsiteY452" fmla="*/ 171003 h 500918"/>
                    <a:gd name="connsiteX453" fmla="*/ 957970 w 2266653"/>
                    <a:gd name="connsiteY453" fmla="*/ 171003 h 500918"/>
                    <a:gd name="connsiteX454" fmla="*/ 957970 w 2266653"/>
                    <a:gd name="connsiteY454" fmla="*/ 56703 h 500918"/>
                    <a:gd name="connsiteX455" fmla="*/ 968016 w 2266653"/>
                    <a:gd name="connsiteY455" fmla="*/ 56703 h 500918"/>
                    <a:gd name="connsiteX456" fmla="*/ 968016 w 2266653"/>
                    <a:gd name="connsiteY456" fmla="*/ 82041 h 500918"/>
                    <a:gd name="connsiteX457" fmla="*/ 968462 w 2266653"/>
                    <a:gd name="connsiteY457" fmla="*/ 82041 h 500918"/>
                    <a:gd name="connsiteX458" fmla="*/ 980852 w 2266653"/>
                    <a:gd name="connsiteY458" fmla="*/ 61726 h 500918"/>
                    <a:gd name="connsiteX459" fmla="*/ 1000497 w 2266653"/>
                    <a:gd name="connsiteY459" fmla="*/ 54471 h 500918"/>
                    <a:gd name="connsiteX460" fmla="*/ 2237221 w 2266653"/>
                    <a:gd name="connsiteY460" fmla="*/ 53913 h 500918"/>
                    <a:gd name="connsiteX461" fmla="*/ 2262447 w 2266653"/>
                    <a:gd name="connsiteY461" fmla="*/ 59940 h 500918"/>
                    <a:gd name="connsiteX462" fmla="*/ 2262447 w 2266653"/>
                    <a:gd name="connsiteY462" fmla="*/ 71549 h 500918"/>
                    <a:gd name="connsiteX463" fmla="*/ 2236105 w 2266653"/>
                    <a:gd name="connsiteY463" fmla="*/ 63289 h 500918"/>
                    <a:gd name="connsiteX464" fmla="*/ 2217910 w 2266653"/>
                    <a:gd name="connsiteY464" fmla="*/ 69149 h 500918"/>
                    <a:gd name="connsiteX465" fmla="*/ 2210990 w 2266653"/>
                    <a:gd name="connsiteY465" fmla="*/ 84385 h 500918"/>
                    <a:gd name="connsiteX466" fmla="*/ 2215343 w 2266653"/>
                    <a:gd name="connsiteY466" fmla="*/ 97612 h 500918"/>
                    <a:gd name="connsiteX467" fmla="*/ 2234542 w 2266653"/>
                    <a:gd name="connsiteY467" fmla="*/ 109277 h 500918"/>
                    <a:gd name="connsiteX468" fmla="*/ 2259099 w 2266653"/>
                    <a:gd name="connsiteY468" fmla="*/ 124178 h 500918"/>
                    <a:gd name="connsiteX469" fmla="*/ 2265796 w 2266653"/>
                    <a:gd name="connsiteY469" fmla="*/ 142428 h 500918"/>
                    <a:gd name="connsiteX470" fmla="*/ 2255582 w 2266653"/>
                    <a:gd name="connsiteY470" fmla="*/ 164920 h 500918"/>
                    <a:gd name="connsiteX471" fmla="*/ 2227398 w 2266653"/>
                    <a:gd name="connsiteY471" fmla="*/ 173794 h 500918"/>
                    <a:gd name="connsiteX472" fmla="*/ 2199828 w 2266653"/>
                    <a:gd name="connsiteY472" fmla="*/ 165980 h 500918"/>
                    <a:gd name="connsiteX473" fmla="*/ 2199828 w 2266653"/>
                    <a:gd name="connsiteY473" fmla="*/ 153590 h 500918"/>
                    <a:gd name="connsiteX474" fmla="*/ 2213892 w 2266653"/>
                    <a:gd name="connsiteY474" fmla="*/ 161515 h 500918"/>
                    <a:gd name="connsiteX475" fmla="*/ 2228180 w 2266653"/>
                    <a:gd name="connsiteY475" fmla="*/ 164418 h 500918"/>
                    <a:gd name="connsiteX476" fmla="*/ 2255080 w 2266653"/>
                    <a:gd name="connsiteY476" fmla="*/ 142428 h 500918"/>
                    <a:gd name="connsiteX477" fmla="*/ 2249164 w 2266653"/>
                    <a:gd name="connsiteY477" fmla="*/ 129480 h 500918"/>
                    <a:gd name="connsiteX478" fmla="*/ 2229966 w 2266653"/>
                    <a:gd name="connsiteY478" fmla="*/ 118430 h 500918"/>
                    <a:gd name="connsiteX479" fmla="*/ 2206916 w 2266653"/>
                    <a:gd name="connsiteY479" fmla="*/ 103640 h 500918"/>
                    <a:gd name="connsiteX480" fmla="*/ 2200274 w 2266653"/>
                    <a:gd name="connsiteY480" fmla="*/ 85055 h 500918"/>
                    <a:gd name="connsiteX481" fmla="*/ 2210934 w 2266653"/>
                    <a:gd name="connsiteY481" fmla="*/ 62508 h 500918"/>
                    <a:gd name="connsiteX482" fmla="*/ 2237221 w 2266653"/>
                    <a:gd name="connsiteY482" fmla="*/ 53913 h 500918"/>
                    <a:gd name="connsiteX483" fmla="*/ 1771129 w 2266653"/>
                    <a:gd name="connsiteY483" fmla="*/ 53913 h 500918"/>
                    <a:gd name="connsiteX484" fmla="*/ 1798421 w 2266653"/>
                    <a:gd name="connsiteY484" fmla="*/ 64852 h 500918"/>
                    <a:gd name="connsiteX485" fmla="*/ 1808076 w 2266653"/>
                    <a:gd name="connsiteY485" fmla="*/ 96664 h 500918"/>
                    <a:gd name="connsiteX486" fmla="*/ 1808076 w 2266653"/>
                    <a:gd name="connsiteY486" fmla="*/ 171003 h 500918"/>
                    <a:gd name="connsiteX487" fmla="*/ 1797807 w 2266653"/>
                    <a:gd name="connsiteY487" fmla="*/ 171003 h 500918"/>
                    <a:gd name="connsiteX488" fmla="*/ 1797807 w 2266653"/>
                    <a:gd name="connsiteY488" fmla="*/ 148121 h 500918"/>
                    <a:gd name="connsiteX489" fmla="*/ 1797360 w 2266653"/>
                    <a:gd name="connsiteY489" fmla="*/ 148121 h 500918"/>
                    <a:gd name="connsiteX490" fmla="*/ 1781454 w 2266653"/>
                    <a:gd name="connsiteY490" fmla="*/ 166817 h 500918"/>
                    <a:gd name="connsiteX491" fmla="*/ 1758293 w 2266653"/>
                    <a:gd name="connsiteY491" fmla="*/ 173794 h 500918"/>
                    <a:gd name="connsiteX492" fmla="*/ 1732509 w 2266653"/>
                    <a:gd name="connsiteY492" fmla="*/ 164641 h 500918"/>
                    <a:gd name="connsiteX493" fmla="*/ 1723021 w 2266653"/>
                    <a:gd name="connsiteY493" fmla="*/ 141535 h 500918"/>
                    <a:gd name="connsiteX494" fmla="*/ 1762646 w 2266653"/>
                    <a:gd name="connsiteY494" fmla="*/ 105370 h 500918"/>
                    <a:gd name="connsiteX495" fmla="*/ 1797807 w 2266653"/>
                    <a:gd name="connsiteY495" fmla="*/ 100124 h 500918"/>
                    <a:gd name="connsiteX496" fmla="*/ 1770125 w 2266653"/>
                    <a:gd name="connsiteY496" fmla="*/ 63289 h 500918"/>
                    <a:gd name="connsiteX497" fmla="*/ 1733401 w 2266653"/>
                    <a:gd name="connsiteY497" fmla="*/ 78469 h 500918"/>
                    <a:gd name="connsiteX498" fmla="*/ 1733401 w 2266653"/>
                    <a:gd name="connsiteY498" fmla="*/ 66079 h 500918"/>
                    <a:gd name="connsiteX499" fmla="*/ 1750647 w 2266653"/>
                    <a:gd name="connsiteY499" fmla="*/ 57485 h 500918"/>
                    <a:gd name="connsiteX500" fmla="*/ 1771129 w 2266653"/>
                    <a:gd name="connsiteY500" fmla="*/ 53913 h 500918"/>
                    <a:gd name="connsiteX501" fmla="*/ 1581968 w 2266653"/>
                    <a:gd name="connsiteY501" fmla="*/ 53913 h 500918"/>
                    <a:gd name="connsiteX502" fmla="*/ 1614673 w 2266653"/>
                    <a:gd name="connsiteY502" fmla="*/ 68870 h 500918"/>
                    <a:gd name="connsiteX503" fmla="*/ 1626058 w 2266653"/>
                    <a:gd name="connsiteY503" fmla="*/ 109723 h 500918"/>
                    <a:gd name="connsiteX504" fmla="*/ 1626058 w 2266653"/>
                    <a:gd name="connsiteY504" fmla="*/ 114300 h 500918"/>
                    <a:gd name="connsiteX505" fmla="*/ 1541450 w 2266653"/>
                    <a:gd name="connsiteY505" fmla="*/ 114300 h 500918"/>
                    <a:gd name="connsiteX506" fmla="*/ 1552332 w 2266653"/>
                    <a:gd name="connsiteY506" fmla="*/ 151135 h 500918"/>
                    <a:gd name="connsiteX507" fmla="*/ 1582191 w 2266653"/>
                    <a:gd name="connsiteY507" fmla="*/ 164418 h 500918"/>
                    <a:gd name="connsiteX508" fmla="*/ 1619696 w 2266653"/>
                    <a:gd name="connsiteY508" fmla="*/ 150242 h 500918"/>
                    <a:gd name="connsiteX509" fmla="*/ 1619696 w 2266653"/>
                    <a:gd name="connsiteY509" fmla="*/ 161181 h 500918"/>
                    <a:gd name="connsiteX510" fmla="*/ 1580070 w 2266653"/>
                    <a:gd name="connsiteY510" fmla="*/ 173794 h 500918"/>
                    <a:gd name="connsiteX511" fmla="*/ 1544352 w 2266653"/>
                    <a:gd name="connsiteY511" fmla="*/ 157944 h 500918"/>
                    <a:gd name="connsiteX512" fmla="*/ 1530734 w 2266653"/>
                    <a:gd name="connsiteY512" fmla="*/ 113184 h 500918"/>
                    <a:gd name="connsiteX513" fmla="*/ 1544966 w 2266653"/>
                    <a:gd name="connsiteY513" fmla="*/ 71047 h 500918"/>
                    <a:gd name="connsiteX514" fmla="*/ 1581968 w 2266653"/>
                    <a:gd name="connsiteY514" fmla="*/ 53913 h 500918"/>
                    <a:gd name="connsiteX515" fmla="*/ 1399655 w 2266653"/>
                    <a:gd name="connsiteY515" fmla="*/ 53913 h 500918"/>
                    <a:gd name="connsiteX516" fmla="*/ 1426946 w 2266653"/>
                    <a:gd name="connsiteY516" fmla="*/ 64852 h 500918"/>
                    <a:gd name="connsiteX517" fmla="*/ 1436601 w 2266653"/>
                    <a:gd name="connsiteY517" fmla="*/ 96664 h 500918"/>
                    <a:gd name="connsiteX518" fmla="*/ 1436601 w 2266653"/>
                    <a:gd name="connsiteY518" fmla="*/ 171003 h 500918"/>
                    <a:gd name="connsiteX519" fmla="*/ 1426332 w 2266653"/>
                    <a:gd name="connsiteY519" fmla="*/ 171003 h 500918"/>
                    <a:gd name="connsiteX520" fmla="*/ 1426332 w 2266653"/>
                    <a:gd name="connsiteY520" fmla="*/ 148121 h 500918"/>
                    <a:gd name="connsiteX521" fmla="*/ 1425885 w 2266653"/>
                    <a:gd name="connsiteY521" fmla="*/ 148121 h 500918"/>
                    <a:gd name="connsiteX522" fmla="*/ 1409979 w 2266653"/>
                    <a:gd name="connsiteY522" fmla="*/ 166817 h 500918"/>
                    <a:gd name="connsiteX523" fmla="*/ 1386818 w 2266653"/>
                    <a:gd name="connsiteY523" fmla="*/ 173794 h 500918"/>
                    <a:gd name="connsiteX524" fmla="*/ 1361034 w 2266653"/>
                    <a:gd name="connsiteY524" fmla="*/ 164641 h 500918"/>
                    <a:gd name="connsiteX525" fmla="*/ 1351546 w 2266653"/>
                    <a:gd name="connsiteY525" fmla="*/ 141535 h 500918"/>
                    <a:gd name="connsiteX526" fmla="*/ 1391171 w 2266653"/>
                    <a:gd name="connsiteY526" fmla="*/ 105370 h 500918"/>
                    <a:gd name="connsiteX527" fmla="*/ 1426332 w 2266653"/>
                    <a:gd name="connsiteY527" fmla="*/ 100124 h 500918"/>
                    <a:gd name="connsiteX528" fmla="*/ 1398650 w 2266653"/>
                    <a:gd name="connsiteY528" fmla="*/ 63289 h 500918"/>
                    <a:gd name="connsiteX529" fmla="*/ 1361927 w 2266653"/>
                    <a:gd name="connsiteY529" fmla="*/ 78469 h 500918"/>
                    <a:gd name="connsiteX530" fmla="*/ 1361927 w 2266653"/>
                    <a:gd name="connsiteY530" fmla="*/ 66079 h 500918"/>
                    <a:gd name="connsiteX531" fmla="*/ 1379172 w 2266653"/>
                    <a:gd name="connsiteY531" fmla="*/ 57485 h 500918"/>
                    <a:gd name="connsiteX532" fmla="*/ 1399655 w 2266653"/>
                    <a:gd name="connsiteY532" fmla="*/ 53913 h 500918"/>
                    <a:gd name="connsiteX533" fmla="*/ 1205099 w 2266653"/>
                    <a:gd name="connsiteY533" fmla="*/ 53913 h 500918"/>
                    <a:gd name="connsiteX534" fmla="*/ 1243720 w 2266653"/>
                    <a:gd name="connsiteY534" fmla="*/ 69875 h 500918"/>
                    <a:gd name="connsiteX535" fmla="*/ 1257896 w 2266653"/>
                    <a:gd name="connsiteY535" fmla="*/ 114076 h 500918"/>
                    <a:gd name="connsiteX536" fmla="*/ 1243441 w 2266653"/>
                    <a:gd name="connsiteY536" fmla="*/ 157274 h 500918"/>
                    <a:gd name="connsiteX537" fmla="*/ 1203871 w 2266653"/>
                    <a:gd name="connsiteY537" fmla="*/ 173794 h 500918"/>
                    <a:gd name="connsiteX538" fmla="*/ 1164301 w 2266653"/>
                    <a:gd name="connsiteY538" fmla="*/ 157330 h 500918"/>
                    <a:gd name="connsiteX539" fmla="*/ 1149735 w 2266653"/>
                    <a:gd name="connsiteY539" fmla="*/ 114523 h 500918"/>
                    <a:gd name="connsiteX540" fmla="*/ 1164971 w 2266653"/>
                    <a:gd name="connsiteY540" fmla="*/ 69986 h 500918"/>
                    <a:gd name="connsiteX541" fmla="*/ 1205099 w 2266653"/>
                    <a:gd name="connsiteY541" fmla="*/ 53913 h 500918"/>
                    <a:gd name="connsiteX542" fmla="*/ 1087637 w 2266653"/>
                    <a:gd name="connsiteY542" fmla="*/ 53913 h 500918"/>
                    <a:gd name="connsiteX543" fmla="*/ 1121625 w 2266653"/>
                    <a:gd name="connsiteY543" fmla="*/ 68926 h 500918"/>
                    <a:gd name="connsiteX544" fmla="*/ 1133847 w 2266653"/>
                    <a:gd name="connsiteY544" fmla="*/ 109723 h 500918"/>
                    <a:gd name="connsiteX545" fmla="*/ 1119839 w 2266653"/>
                    <a:gd name="connsiteY545" fmla="*/ 156102 h 500918"/>
                    <a:gd name="connsiteX546" fmla="*/ 1082837 w 2266653"/>
                    <a:gd name="connsiteY546" fmla="*/ 173794 h 500918"/>
                    <a:gd name="connsiteX547" fmla="*/ 1044886 w 2266653"/>
                    <a:gd name="connsiteY547" fmla="*/ 150688 h 500918"/>
                    <a:gd name="connsiteX548" fmla="*/ 1044439 w 2266653"/>
                    <a:gd name="connsiteY548" fmla="*/ 150688 h 500918"/>
                    <a:gd name="connsiteX549" fmla="*/ 1044439 w 2266653"/>
                    <a:gd name="connsiteY549" fmla="*/ 223577 h 500918"/>
                    <a:gd name="connsiteX550" fmla="*/ 1034170 w 2266653"/>
                    <a:gd name="connsiteY550" fmla="*/ 223577 h 500918"/>
                    <a:gd name="connsiteX551" fmla="*/ 1034170 w 2266653"/>
                    <a:gd name="connsiteY551" fmla="*/ 56703 h 500918"/>
                    <a:gd name="connsiteX552" fmla="*/ 1044439 w 2266653"/>
                    <a:gd name="connsiteY552" fmla="*/ 56703 h 500918"/>
                    <a:gd name="connsiteX553" fmla="*/ 1044439 w 2266653"/>
                    <a:gd name="connsiteY553" fmla="*/ 80255 h 500918"/>
                    <a:gd name="connsiteX554" fmla="*/ 1044886 w 2266653"/>
                    <a:gd name="connsiteY554" fmla="*/ 80255 h 500918"/>
                    <a:gd name="connsiteX555" fmla="*/ 1062466 w 2266653"/>
                    <a:gd name="connsiteY555" fmla="*/ 60777 h 500918"/>
                    <a:gd name="connsiteX556" fmla="*/ 1087637 w 2266653"/>
                    <a:gd name="connsiteY556" fmla="*/ 53913 h 500918"/>
                    <a:gd name="connsiteX557" fmla="*/ 881249 w 2266653"/>
                    <a:gd name="connsiteY557" fmla="*/ 53913 h 500918"/>
                    <a:gd name="connsiteX558" fmla="*/ 919870 w 2266653"/>
                    <a:gd name="connsiteY558" fmla="*/ 69875 h 500918"/>
                    <a:gd name="connsiteX559" fmla="*/ 934046 w 2266653"/>
                    <a:gd name="connsiteY559" fmla="*/ 114076 h 500918"/>
                    <a:gd name="connsiteX560" fmla="*/ 919591 w 2266653"/>
                    <a:gd name="connsiteY560" fmla="*/ 157274 h 500918"/>
                    <a:gd name="connsiteX561" fmla="*/ 880021 w 2266653"/>
                    <a:gd name="connsiteY561" fmla="*/ 173794 h 500918"/>
                    <a:gd name="connsiteX562" fmla="*/ 840451 w 2266653"/>
                    <a:gd name="connsiteY562" fmla="*/ 157330 h 500918"/>
                    <a:gd name="connsiteX563" fmla="*/ 825885 w 2266653"/>
                    <a:gd name="connsiteY563" fmla="*/ 114523 h 500918"/>
                    <a:gd name="connsiteX564" fmla="*/ 841121 w 2266653"/>
                    <a:gd name="connsiteY564" fmla="*/ 69986 h 500918"/>
                    <a:gd name="connsiteX565" fmla="*/ 881249 w 2266653"/>
                    <a:gd name="connsiteY565" fmla="*/ 53913 h 500918"/>
                    <a:gd name="connsiteX566" fmla="*/ 778483 w 2266653"/>
                    <a:gd name="connsiteY566" fmla="*/ 53913 h 500918"/>
                    <a:gd name="connsiteX567" fmla="*/ 803821 w 2266653"/>
                    <a:gd name="connsiteY567" fmla="*/ 59271 h 500918"/>
                    <a:gd name="connsiteX568" fmla="*/ 803821 w 2266653"/>
                    <a:gd name="connsiteY568" fmla="*/ 70879 h 500918"/>
                    <a:gd name="connsiteX569" fmla="*/ 776920 w 2266653"/>
                    <a:gd name="connsiteY569" fmla="*/ 63289 h 500918"/>
                    <a:gd name="connsiteX570" fmla="*/ 744327 w 2266653"/>
                    <a:gd name="connsiteY570" fmla="*/ 77744 h 500918"/>
                    <a:gd name="connsiteX571" fmla="*/ 731826 w 2266653"/>
                    <a:gd name="connsiteY571" fmla="*/ 115193 h 500918"/>
                    <a:gd name="connsiteX572" fmla="*/ 743267 w 2266653"/>
                    <a:gd name="connsiteY572" fmla="*/ 150911 h 500918"/>
                    <a:gd name="connsiteX573" fmla="*/ 773460 w 2266653"/>
                    <a:gd name="connsiteY573" fmla="*/ 164418 h 500918"/>
                    <a:gd name="connsiteX574" fmla="*/ 803375 w 2266653"/>
                    <a:gd name="connsiteY574" fmla="*/ 155265 h 500918"/>
                    <a:gd name="connsiteX575" fmla="*/ 803375 w 2266653"/>
                    <a:gd name="connsiteY575" fmla="*/ 165980 h 500918"/>
                    <a:gd name="connsiteX576" fmla="*/ 773014 w 2266653"/>
                    <a:gd name="connsiteY576" fmla="*/ 173794 h 500918"/>
                    <a:gd name="connsiteX577" fmla="*/ 735397 w 2266653"/>
                    <a:gd name="connsiteY577" fmla="*/ 157776 h 500918"/>
                    <a:gd name="connsiteX578" fmla="*/ 721110 w 2266653"/>
                    <a:gd name="connsiteY578" fmla="*/ 115862 h 500918"/>
                    <a:gd name="connsiteX579" fmla="*/ 737183 w 2266653"/>
                    <a:gd name="connsiteY579" fmla="*/ 71270 h 500918"/>
                    <a:gd name="connsiteX580" fmla="*/ 778483 w 2266653"/>
                    <a:gd name="connsiteY580" fmla="*/ 53913 h 500918"/>
                    <a:gd name="connsiteX581" fmla="*/ 528824 w 2266653"/>
                    <a:gd name="connsiteY581" fmla="*/ 53913 h 500918"/>
                    <a:gd name="connsiteX582" fmla="*/ 567445 w 2266653"/>
                    <a:gd name="connsiteY582" fmla="*/ 69875 h 500918"/>
                    <a:gd name="connsiteX583" fmla="*/ 581621 w 2266653"/>
                    <a:gd name="connsiteY583" fmla="*/ 114076 h 500918"/>
                    <a:gd name="connsiteX584" fmla="*/ 567166 w 2266653"/>
                    <a:gd name="connsiteY584" fmla="*/ 157274 h 500918"/>
                    <a:gd name="connsiteX585" fmla="*/ 527596 w 2266653"/>
                    <a:gd name="connsiteY585" fmla="*/ 173794 h 500918"/>
                    <a:gd name="connsiteX586" fmla="*/ 488027 w 2266653"/>
                    <a:gd name="connsiteY586" fmla="*/ 157330 h 500918"/>
                    <a:gd name="connsiteX587" fmla="*/ 473460 w 2266653"/>
                    <a:gd name="connsiteY587" fmla="*/ 114523 h 500918"/>
                    <a:gd name="connsiteX588" fmla="*/ 488696 w 2266653"/>
                    <a:gd name="connsiteY588" fmla="*/ 69986 h 500918"/>
                    <a:gd name="connsiteX589" fmla="*/ 528824 w 2266653"/>
                    <a:gd name="connsiteY589" fmla="*/ 53913 h 500918"/>
                    <a:gd name="connsiteX590" fmla="*/ 2154139 w 2266653"/>
                    <a:gd name="connsiteY590" fmla="*/ 23552 h 500918"/>
                    <a:gd name="connsiteX591" fmla="*/ 2154139 w 2266653"/>
                    <a:gd name="connsiteY591" fmla="*/ 56703 h 500918"/>
                    <a:gd name="connsiteX592" fmla="*/ 2184276 w 2266653"/>
                    <a:gd name="connsiteY592" fmla="*/ 56703 h 500918"/>
                    <a:gd name="connsiteX593" fmla="*/ 2184276 w 2266653"/>
                    <a:gd name="connsiteY593" fmla="*/ 66079 h 500918"/>
                    <a:gd name="connsiteX594" fmla="*/ 2154139 w 2266653"/>
                    <a:gd name="connsiteY594" fmla="*/ 66079 h 500918"/>
                    <a:gd name="connsiteX595" fmla="*/ 2154139 w 2266653"/>
                    <a:gd name="connsiteY595" fmla="*/ 141535 h 500918"/>
                    <a:gd name="connsiteX596" fmla="*/ 2157878 w 2266653"/>
                    <a:gd name="connsiteY596" fmla="*/ 158669 h 500918"/>
                    <a:gd name="connsiteX597" fmla="*/ 2170547 w 2266653"/>
                    <a:gd name="connsiteY597" fmla="*/ 163971 h 500918"/>
                    <a:gd name="connsiteX598" fmla="*/ 2184276 w 2266653"/>
                    <a:gd name="connsiteY598" fmla="*/ 159841 h 500918"/>
                    <a:gd name="connsiteX599" fmla="*/ 2184276 w 2266653"/>
                    <a:gd name="connsiteY599" fmla="*/ 169441 h 500918"/>
                    <a:gd name="connsiteX600" fmla="*/ 2169207 w 2266653"/>
                    <a:gd name="connsiteY600" fmla="*/ 173236 h 500918"/>
                    <a:gd name="connsiteX601" fmla="*/ 2143869 w 2266653"/>
                    <a:gd name="connsiteY601" fmla="*/ 142875 h 500918"/>
                    <a:gd name="connsiteX602" fmla="*/ 2143869 w 2266653"/>
                    <a:gd name="connsiteY602" fmla="*/ 66079 h 500918"/>
                    <a:gd name="connsiteX603" fmla="*/ 2123331 w 2266653"/>
                    <a:gd name="connsiteY603" fmla="*/ 66079 h 500918"/>
                    <a:gd name="connsiteX604" fmla="*/ 2123331 w 2266653"/>
                    <a:gd name="connsiteY604" fmla="*/ 56703 h 500918"/>
                    <a:gd name="connsiteX605" fmla="*/ 2143869 w 2266653"/>
                    <a:gd name="connsiteY605" fmla="*/ 56703 h 500918"/>
                    <a:gd name="connsiteX606" fmla="*/ 2143869 w 2266653"/>
                    <a:gd name="connsiteY606" fmla="*/ 27012 h 500918"/>
                    <a:gd name="connsiteX607" fmla="*/ 2149004 w 2266653"/>
                    <a:gd name="connsiteY607" fmla="*/ 25226 h 500918"/>
                    <a:gd name="connsiteX608" fmla="*/ 2154139 w 2266653"/>
                    <a:gd name="connsiteY608" fmla="*/ 23552 h 500918"/>
                    <a:gd name="connsiteX609" fmla="*/ 1487389 w 2266653"/>
                    <a:gd name="connsiteY609" fmla="*/ 23552 h 500918"/>
                    <a:gd name="connsiteX610" fmla="*/ 1487389 w 2266653"/>
                    <a:gd name="connsiteY610" fmla="*/ 56703 h 500918"/>
                    <a:gd name="connsiteX611" fmla="*/ 1517526 w 2266653"/>
                    <a:gd name="connsiteY611" fmla="*/ 56703 h 500918"/>
                    <a:gd name="connsiteX612" fmla="*/ 1517526 w 2266653"/>
                    <a:gd name="connsiteY612" fmla="*/ 66079 h 500918"/>
                    <a:gd name="connsiteX613" fmla="*/ 1487389 w 2266653"/>
                    <a:gd name="connsiteY613" fmla="*/ 66079 h 500918"/>
                    <a:gd name="connsiteX614" fmla="*/ 1487389 w 2266653"/>
                    <a:gd name="connsiteY614" fmla="*/ 141535 h 500918"/>
                    <a:gd name="connsiteX615" fmla="*/ 1491128 w 2266653"/>
                    <a:gd name="connsiteY615" fmla="*/ 158669 h 500918"/>
                    <a:gd name="connsiteX616" fmla="*/ 1503797 w 2266653"/>
                    <a:gd name="connsiteY616" fmla="*/ 163971 h 500918"/>
                    <a:gd name="connsiteX617" fmla="*/ 1517526 w 2266653"/>
                    <a:gd name="connsiteY617" fmla="*/ 159841 h 500918"/>
                    <a:gd name="connsiteX618" fmla="*/ 1517526 w 2266653"/>
                    <a:gd name="connsiteY618" fmla="*/ 169441 h 500918"/>
                    <a:gd name="connsiteX619" fmla="*/ 1502457 w 2266653"/>
                    <a:gd name="connsiteY619" fmla="*/ 173236 h 500918"/>
                    <a:gd name="connsiteX620" fmla="*/ 1477119 w 2266653"/>
                    <a:gd name="connsiteY620" fmla="*/ 142875 h 500918"/>
                    <a:gd name="connsiteX621" fmla="*/ 1477119 w 2266653"/>
                    <a:gd name="connsiteY621" fmla="*/ 66079 h 500918"/>
                    <a:gd name="connsiteX622" fmla="*/ 1456581 w 2266653"/>
                    <a:gd name="connsiteY622" fmla="*/ 66079 h 500918"/>
                    <a:gd name="connsiteX623" fmla="*/ 1456581 w 2266653"/>
                    <a:gd name="connsiteY623" fmla="*/ 56703 h 500918"/>
                    <a:gd name="connsiteX624" fmla="*/ 1477119 w 2266653"/>
                    <a:gd name="connsiteY624" fmla="*/ 56703 h 500918"/>
                    <a:gd name="connsiteX625" fmla="*/ 1477119 w 2266653"/>
                    <a:gd name="connsiteY625" fmla="*/ 27012 h 500918"/>
                    <a:gd name="connsiteX626" fmla="*/ 1482254 w 2266653"/>
                    <a:gd name="connsiteY626" fmla="*/ 25226 h 500918"/>
                    <a:gd name="connsiteX627" fmla="*/ 1487389 w 2266653"/>
                    <a:gd name="connsiteY627" fmla="*/ 23552 h 500918"/>
                    <a:gd name="connsiteX628" fmla="*/ 161627 w 2266653"/>
                    <a:gd name="connsiteY628" fmla="*/ 17636 h 500918"/>
                    <a:gd name="connsiteX629" fmla="*/ 132940 w 2266653"/>
                    <a:gd name="connsiteY629" fmla="*/ 36500 h 500918"/>
                    <a:gd name="connsiteX630" fmla="*/ 122671 w 2266653"/>
                    <a:gd name="connsiteY630" fmla="*/ 93092 h 500918"/>
                    <a:gd name="connsiteX631" fmla="*/ 132494 w 2266653"/>
                    <a:gd name="connsiteY631" fmla="*/ 145944 h 500918"/>
                    <a:gd name="connsiteX632" fmla="*/ 160399 w 2266653"/>
                    <a:gd name="connsiteY632" fmla="*/ 164418 h 500918"/>
                    <a:gd name="connsiteX633" fmla="*/ 188025 w 2266653"/>
                    <a:gd name="connsiteY633" fmla="*/ 145609 h 500918"/>
                    <a:gd name="connsiteX634" fmla="*/ 197904 w 2266653"/>
                    <a:gd name="connsiteY634" fmla="*/ 91864 h 500918"/>
                    <a:gd name="connsiteX635" fmla="*/ 161627 w 2266653"/>
                    <a:gd name="connsiteY635" fmla="*/ 17636 h 500918"/>
                    <a:gd name="connsiteX636" fmla="*/ 262868 w 2266653"/>
                    <a:gd name="connsiteY636" fmla="*/ 16966 h 500918"/>
                    <a:gd name="connsiteX637" fmla="*/ 242609 w 2266653"/>
                    <a:gd name="connsiteY637" fmla="*/ 25505 h 500918"/>
                    <a:gd name="connsiteX638" fmla="*/ 235186 w 2266653"/>
                    <a:gd name="connsiteY638" fmla="*/ 49336 h 500918"/>
                    <a:gd name="connsiteX639" fmla="*/ 242386 w 2266653"/>
                    <a:gd name="connsiteY639" fmla="*/ 72219 h 500918"/>
                    <a:gd name="connsiteX640" fmla="*/ 262198 w 2266653"/>
                    <a:gd name="connsiteY640" fmla="*/ 80702 h 500918"/>
                    <a:gd name="connsiteX641" fmla="*/ 282123 w 2266653"/>
                    <a:gd name="connsiteY641" fmla="*/ 71995 h 500918"/>
                    <a:gd name="connsiteX642" fmla="*/ 289322 w 2266653"/>
                    <a:gd name="connsiteY642" fmla="*/ 48667 h 500918"/>
                    <a:gd name="connsiteX643" fmla="*/ 282179 w 2266653"/>
                    <a:gd name="connsiteY643" fmla="*/ 24947 h 500918"/>
                    <a:gd name="connsiteX644" fmla="*/ 262868 w 2266653"/>
                    <a:gd name="connsiteY644" fmla="*/ 16966 h 500918"/>
                    <a:gd name="connsiteX645" fmla="*/ 347477 w 2266653"/>
                    <a:gd name="connsiteY645" fmla="*/ 11162 h 500918"/>
                    <a:gd name="connsiteX646" fmla="*/ 358193 w 2266653"/>
                    <a:gd name="connsiteY646" fmla="*/ 11162 h 500918"/>
                    <a:gd name="connsiteX647" fmla="*/ 262198 w 2266653"/>
                    <a:gd name="connsiteY647" fmla="*/ 174687 h 500918"/>
                    <a:gd name="connsiteX648" fmla="*/ 251148 w 2266653"/>
                    <a:gd name="connsiteY648" fmla="*/ 174687 h 500918"/>
                    <a:gd name="connsiteX649" fmla="*/ 2096468 w 2266653"/>
                    <a:gd name="connsiteY649" fmla="*/ 10939 h 500918"/>
                    <a:gd name="connsiteX650" fmla="*/ 2102551 w 2266653"/>
                    <a:gd name="connsiteY650" fmla="*/ 13171 h 500918"/>
                    <a:gd name="connsiteX651" fmla="*/ 2105174 w 2266653"/>
                    <a:gd name="connsiteY651" fmla="*/ 19199 h 500918"/>
                    <a:gd name="connsiteX652" fmla="*/ 2102607 w 2266653"/>
                    <a:gd name="connsiteY652" fmla="*/ 25338 h 500918"/>
                    <a:gd name="connsiteX653" fmla="*/ 2096468 w 2266653"/>
                    <a:gd name="connsiteY653" fmla="*/ 27905 h 500918"/>
                    <a:gd name="connsiteX654" fmla="*/ 2090552 w 2266653"/>
                    <a:gd name="connsiteY654" fmla="*/ 25449 h 500918"/>
                    <a:gd name="connsiteX655" fmla="*/ 2087985 w 2266653"/>
                    <a:gd name="connsiteY655" fmla="*/ 19199 h 500918"/>
                    <a:gd name="connsiteX656" fmla="*/ 2090608 w 2266653"/>
                    <a:gd name="connsiteY656" fmla="*/ 13227 h 500918"/>
                    <a:gd name="connsiteX657" fmla="*/ 2096468 w 2266653"/>
                    <a:gd name="connsiteY657" fmla="*/ 10939 h 500918"/>
                    <a:gd name="connsiteX658" fmla="*/ 162520 w 2266653"/>
                    <a:gd name="connsiteY658" fmla="*/ 8260 h 500918"/>
                    <a:gd name="connsiteX659" fmla="*/ 208731 w 2266653"/>
                    <a:gd name="connsiteY659" fmla="*/ 90301 h 500918"/>
                    <a:gd name="connsiteX660" fmla="*/ 195671 w 2266653"/>
                    <a:gd name="connsiteY660" fmla="*/ 152474 h 500918"/>
                    <a:gd name="connsiteX661" fmla="*/ 159060 w 2266653"/>
                    <a:gd name="connsiteY661" fmla="*/ 173794 h 500918"/>
                    <a:gd name="connsiteX662" fmla="*/ 124457 w 2266653"/>
                    <a:gd name="connsiteY662" fmla="*/ 153479 h 500918"/>
                    <a:gd name="connsiteX663" fmla="*/ 111955 w 2266653"/>
                    <a:gd name="connsiteY663" fmla="*/ 94431 h 500918"/>
                    <a:gd name="connsiteX664" fmla="*/ 125071 w 2266653"/>
                    <a:gd name="connsiteY664" fmla="*/ 29970 h 500918"/>
                    <a:gd name="connsiteX665" fmla="*/ 162520 w 2266653"/>
                    <a:gd name="connsiteY665" fmla="*/ 8260 h 500918"/>
                    <a:gd name="connsiteX666" fmla="*/ 39514 w 2266653"/>
                    <a:gd name="connsiteY666" fmla="*/ 8260 h 500918"/>
                    <a:gd name="connsiteX667" fmla="*/ 69596 w 2266653"/>
                    <a:gd name="connsiteY667" fmla="*/ 18529 h 500918"/>
                    <a:gd name="connsiteX668" fmla="*/ 80703 w 2266653"/>
                    <a:gd name="connsiteY668" fmla="*/ 45764 h 500918"/>
                    <a:gd name="connsiteX669" fmla="*/ 49560 w 2266653"/>
                    <a:gd name="connsiteY669" fmla="*/ 87064 h 500918"/>
                    <a:gd name="connsiteX670" fmla="*/ 49560 w 2266653"/>
                    <a:gd name="connsiteY670" fmla="*/ 87511 h 500918"/>
                    <a:gd name="connsiteX671" fmla="*/ 76349 w 2266653"/>
                    <a:gd name="connsiteY671" fmla="*/ 99956 h 500918"/>
                    <a:gd name="connsiteX672" fmla="*/ 86395 w 2266653"/>
                    <a:gd name="connsiteY672" fmla="*/ 127136 h 500918"/>
                    <a:gd name="connsiteX673" fmla="*/ 71884 w 2266653"/>
                    <a:gd name="connsiteY673" fmla="*/ 160957 h 500918"/>
                    <a:gd name="connsiteX674" fmla="*/ 34268 w 2266653"/>
                    <a:gd name="connsiteY674" fmla="*/ 173794 h 500918"/>
                    <a:gd name="connsiteX675" fmla="*/ 0 w 2266653"/>
                    <a:gd name="connsiteY675" fmla="*/ 165311 h 500918"/>
                    <a:gd name="connsiteX676" fmla="*/ 0 w 2266653"/>
                    <a:gd name="connsiteY676" fmla="*/ 153590 h 500918"/>
                    <a:gd name="connsiteX677" fmla="*/ 34491 w 2266653"/>
                    <a:gd name="connsiteY677" fmla="*/ 164418 h 500918"/>
                    <a:gd name="connsiteX678" fmla="*/ 64741 w 2266653"/>
                    <a:gd name="connsiteY678" fmla="*/ 154539 h 500918"/>
                    <a:gd name="connsiteX679" fmla="*/ 75680 w 2266653"/>
                    <a:gd name="connsiteY679" fmla="*/ 128699 h 500918"/>
                    <a:gd name="connsiteX680" fmla="*/ 63122 w 2266653"/>
                    <a:gd name="connsiteY680" fmla="*/ 101798 h 500918"/>
                    <a:gd name="connsiteX681" fmla="*/ 27348 w 2266653"/>
                    <a:gd name="connsiteY681" fmla="*/ 92645 h 500918"/>
                    <a:gd name="connsiteX682" fmla="*/ 15069 w 2266653"/>
                    <a:gd name="connsiteY682" fmla="*/ 92645 h 500918"/>
                    <a:gd name="connsiteX683" fmla="*/ 15069 w 2266653"/>
                    <a:gd name="connsiteY683" fmla="*/ 83269 h 500918"/>
                    <a:gd name="connsiteX684" fmla="*/ 26008 w 2266653"/>
                    <a:gd name="connsiteY684" fmla="*/ 83269 h 500918"/>
                    <a:gd name="connsiteX685" fmla="*/ 58657 w 2266653"/>
                    <a:gd name="connsiteY685" fmla="*/ 74172 h 500918"/>
                    <a:gd name="connsiteX686" fmla="*/ 69875 w 2266653"/>
                    <a:gd name="connsiteY686" fmla="*/ 48443 h 500918"/>
                    <a:gd name="connsiteX687" fmla="*/ 61727 w 2266653"/>
                    <a:gd name="connsiteY687" fmla="*/ 25840 h 500918"/>
                    <a:gd name="connsiteX688" fmla="*/ 37952 w 2266653"/>
                    <a:gd name="connsiteY688" fmla="*/ 17636 h 500918"/>
                    <a:gd name="connsiteX689" fmla="*/ 6363 w 2266653"/>
                    <a:gd name="connsiteY689" fmla="*/ 28128 h 500918"/>
                    <a:gd name="connsiteX690" fmla="*/ 6363 w 2266653"/>
                    <a:gd name="connsiteY690" fmla="*/ 17189 h 500918"/>
                    <a:gd name="connsiteX691" fmla="*/ 39514 w 2266653"/>
                    <a:gd name="connsiteY691" fmla="*/ 8260 h 500918"/>
                    <a:gd name="connsiteX692" fmla="*/ 263091 w 2266653"/>
                    <a:gd name="connsiteY692" fmla="*/ 7813 h 500918"/>
                    <a:gd name="connsiteX693" fmla="*/ 289657 w 2266653"/>
                    <a:gd name="connsiteY693" fmla="*/ 18640 h 500918"/>
                    <a:gd name="connsiteX694" fmla="*/ 299480 w 2266653"/>
                    <a:gd name="connsiteY694" fmla="*/ 48890 h 500918"/>
                    <a:gd name="connsiteX695" fmla="*/ 289267 w 2266653"/>
                    <a:gd name="connsiteY695" fmla="*/ 77967 h 500918"/>
                    <a:gd name="connsiteX696" fmla="*/ 261975 w 2266653"/>
                    <a:gd name="connsiteY696" fmla="*/ 89631 h 500918"/>
                    <a:gd name="connsiteX697" fmla="*/ 234851 w 2266653"/>
                    <a:gd name="connsiteY697" fmla="*/ 78358 h 500918"/>
                    <a:gd name="connsiteX698" fmla="*/ 224917 w 2266653"/>
                    <a:gd name="connsiteY698" fmla="*/ 49113 h 500918"/>
                    <a:gd name="connsiteX699" fmla="*/ 235465 w 2266653"/>
                    <a:gd name="connsiteY699" fmla="*/ 18696 h 500918"/>
                    <a:gd name="connsiteX700" fmla="*/ 263091 w 2266653"/>
                    <a:gd name="connsiteY700" fmla="*/ 7813 h 500918"/>
                    <a:gd name="connsiteX701" fmla="*/ 2048768 w 2266653"/>
                    <a:gd name="connsiteY701" fmla="*/ 1786 h 500918"/>
                    <a:gd name="connsiteX702" fmla="*/ 2059037 w 2266653"/>
                    <a:gd name="connsiteY702" fmla="*/ 1786 h 500918"/>
                    <a:gd name="connsiteX703" fmla="*/ 2059037 w 2266653"/>
                    <a:gd name="connsiteY703" fmla="*/ 171003 h 500918"/>
                    <a:gd name="connsiteX704" fmla="*/ 2048768 w 2266653"/>
                    <a:gd name="connsiteY704" fmla="*/ 171003 h 500918"/>
                    <a:gd name="connsiteX705" fmla="*/ 2048768 w 2266653"/>
                    <a:gd name="connsiteY705" fmla="*/ 150242 h 500918"/>
                    <a:gd name="connsiteX706" fmla="*/ 2048322 w 2266653"/>
                    <a:gd name="connsiteY706" fmla="*/ 150242 h 500918"/>
                    <a:gd name="connsiteX707" fmla="*/ 2031802 w 2266653"/>
                    <a:gd name="connsiteY707" fmla="*/ 167431 h 500918"/>
                    <a:gd name="connsiteX708" fmla="*/ 2007134 w 2266653"/>
                    <a:gd name="connsiteY708" fmla="*/ 173794 h 500918"/>
                    <a:gd name="connsiteX709" fmla="*/ 1972699 w 2266653"/>
                    <a:gd name="connsiteY709" fmla="*/ 158390 h 500918"/>
                    <a:gd name="connsiteX710" fmla="*/ 1959360 w 2266653"/>
                    <a:gd name="connsiteY710" fmla="*/ 115862 h 500918"/>
                    <a:gd name="connsiteX711" fmla="*/ 1973926 w 2266653"/>
                    <a:gd name="connsiteY711" fmla="*/ 71047 h 500918"/>
                    <a:gd name="connsiteX712" fmla="*/ 2011710 w 2266653"/>
                    <a:gd name="connsiteY712" fmla="*/ 53913 h 500918"/>
                    <a:gd name="connsiteX713" fmla="*/ 2048322 w 2266653"/>
                    <a:gd name="connsiteY713" fmla="*/ 75009 h 500918"/>
                    <a:gd name="connsiteX714" fmla="*/ 2048768 w 2266653"/>
                    <a:gd name="connsiteY714" fmla="*/ 75009 h 500918"/>
                    <a:gd name="connsiteX715" fmla="*/ 633971 w 2266653"/>
                    <a:gd name="connsiteY715" fmla="*/ 0 h 500918"/>
                    <a:gd name="connsiteX716" fmla="*/ 646026 w 2266653"/>
                    <a:gd name="connsiteY716" fmla="*/ 2121 h 500918"/>
                    <a:gd name="connsiteX717" fmla="*/ 646026 w 2266653"/>
                    <a:gd name="connsiteY717" fmla="*/ 12613 h 500918"/>
                    <a:gd name="connsiteX718" fmla="*/ 633525 w 2266653"/>
                    <a:gd name="connsiteY718" fmla="*/ 9376 h 500918"/>
                    <a:gd name="connsiteX719" fmla="*/ 612428 w 2266653"/>
                    <a:gd name="connsiteY719" fmla="*/ 37728 h 500918"/>
                    <a:gd name="connsiteX720" fmla="*/ 612428 w 2266653"/>
                    <a:gd name="connsiteY720" fmla="*/ 56703 h 500918"/>
                    <a:gd name="connsiteX721" fmla="*/ 642677 w 2266653"/>
                    <a:gd name="connsiteY721" fmla="*/ 56703 h 500918"/>
                    <a:gd name="connsiteX722" fmla="*/ 642677 w 2266653"/>
                    <a:gd name="connsiteY722" fmla="*/ 66079 h 500918"/>
                    <a:gd name="connsiteX723" fmla="*/ 612428 w 2266653"/>
                    <a:gd name="connsiteY723" fmla="*/ 66079 h 500918"/>
                    <a:gd name="connsiteX724" fmla="*/ 612428 w 2266653"/>
                    <a:gd name="connsiteY724" fmla="*/ 171003 h 500918"/>
                    <a:gd name="connsiteX725" fmla="*/ 602159 w 2266653"/>
                    <a:gd name="connsiteY725" fmla="*/ 171003 h 500918"/>
                    <a:gd name="connsiteX726" fmla="*/ 602159 w 2266653"/>
                    <a:gd name="connsiteY726" fmla="*/ 66079 h 500918"/>
                    <a:gd name="connsiteX727" fmla="*/ 581621 w 2266653"/>
                    <a:gd name="connsiteY727" fmla="*/ 66079 h 500918"/>
                    <a:gd name="connsiteX728" fmla="*/ 581621 w 2266653"/>
                    <a:gd name="connsiteY728" fmla="*/ 56703 h 500918"/>
                    <a:gd name="connsiteX729" fmla="*/ 602159 w 2266653"/>
                    <a:gd name="connsiteY729" fmla="*/ 56703 h 500918"/>
                    <a:gd name="connsiteX730" fmla="*/ 602159 w 2266653"/>
                    <a:gd name="connsiteY730" fmla="*/ 36835 h 500918"/>
                    <a:gd name="connsiteX731" fmla="*/ 611256 w 2266653"/>
                    <a:gd name="connsiteY731" fmla="*/ 9376 h 500918"/>
                    <a:gd name="connsiteX732" fmla="*/ 633971 w 2266653"/>
                    <a:gd name="connsiteY732" fmla="*/ 0 h 500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</a:cxnLst>
                  <a:rect l="l" t="t" r="r" b="b"/>
                  <a:pathLst>
                    <a:path w="2266653" h="500918">
                      <a:moveTo>
                        <a:pt x="1867347" y="339514"/>
                      </a:moveTo>
                      <a:cubicBezTo>
                        <a:pt x="1854027" y="339514"/>
                        <a:pt x="1843720" y="343979"/>
                        <a:pt x="1836428" y="352908"/>
                      </a:cubicBezTo>
                      <a:cubicBezTo>
                        <a:pt x="1829135" y="361838"/>
                        <a:pt x="1825489" y="372330"/>
                        <a:pt x="1825489" y="384386"/>
                      </a:cubicBezTo>
                      <a:lnTo>
                        <a:pt x="1825489" y="398785"/>
                      </a:lnTo>
                      <a:cubicBezTo>
                        <a:pt x="1825489" y="410244"/>
                        <a:pt x="1829098" y="420086"/>
                        <a:pt x="1836316" y="428308"/>
                      </a:cubicBezTo>
                      <a:cubicBezTo>
                        <a:pt x="1843534" y="436531"/>
                        <a:pt x="1853022" y="440643"/>
                        <a:pt x="1864779" y="440643"/>
                      </a:cubicBezTo>
                      <a:cubicBezTo>
                        <a:pt x="1876463" y="440643"/>
                        <a:pt x="1885950" y="435638"/>
                        <a:pt x="1893243" y="425630"/>
                      </a:cubicBezTo>
                      <a:cubicBezTo>
                        <a:pt x="1900535" y="415621"/>
                        <a:pt x="1904182" y="402468"/>
                        <a:pt x="1904182" y="386171"/>
                      </a:cubicBezTo>
                      <a:cubicBezTo>
                        <a:pt x="1904182" y="371884"/>
                        <a:pt x="1900833" y="360536"/>
                        <a:pt x="1894136" y="352127"/>
                      </a:cubicBezTo>
                      <a:cubicBezTo>
                        <a:pt x="1887439" y="343718"/>
                        <a:pt x="1878509" y="339514"/>
                        <a:pt x="1867347" y="339514"/>
                      </a:cubicBezTo>
                      <a:close/>
                      <a:moveTo>
                        <a:pt x="1668587" y="339514"/>
                      </a:moveTo>
                      <a:cubicBezTo>
                        <a:pt x="1656606" y="339514"/>
                        <a:pt x="1646709" y="344109"/>
                        <a:pt x="1638896" y="353299"/>
                      </a:cubicBezTo>
                      <a:cubicBezTo>
                        <a:pt x="1631082" y="362489"/>
                        <a:pt x="1627175" y="375121"/>
                        <a:pt x="1627175" y="391194"/>
                      </a:cubicBezTo>
                      <a:cubicBezTo>
                        <a:pt x="1627175" y="406970"/>
                        <a:pt x="1630691" y="419156"/>
                        <a:pt x="1637724" y="427750"/>
                      </a:cubicBezTo>
                      <a:cubicBezTo>
                        <a:pt x="1644756" y="436345"/>
                        <a:pt x="1653816" y="440643"/>
                        <a:pt x="1664903" y="440643"/>
                      </a:cubicBezTo>
                      <a:cubicBezTo>
                        <a:pt x="1677926" y="440643"/>
                        <a:pt x="1688009" y="436606"/>
                        <a:pt x="1695153" y="428532"/>
                      </a:cubicBezTo>
                      <a:cubicBezTo>
                        <a:pt x="1702297" y="420458"/>
                        <a:pt x="1705868" y="410617"/>
                        <a:pt x="1705868" y="399008"/>
                      </a:cubicBezTo>
                      <a:lnTo>
                        <a:pt x="1705868" y="377688"/>
                      </a:lnTo>
                      <a:cubicBezTo>
                        <a:pt x="1705868" y="367047"/>
                        <a:pt x="1702501" y="358024"/>
                        <a:pt x="1695767" y="350620"/>
                      </a:cubicBezTo>
                      <a:cubicBezTo>
                        <a:pt x="1689032" y="343216"/>
                        <a:pt x="1679972" y="339514"/>
                        <a:pt x="1668587" y="339514"/>
                      </a:cubicBezTo>
                      <a:close/>
                      <a:moveTo>
                        <a:pt x="1552946" y="339514"/>
                      </a:moveTo>
                      <a:cubicBezTo>
                        <a:pt x="1542231" y="339514"/>
                        <a:pt x="1533357" y="343104"/>
                        <a:pt x="1526325" y="350285"/>
                      </a:cubicBezTo>
                      <a:cubicBezTo>
                        <a:pt x="1519293" y="357466"/>
                        <a:pt x="1514958" y="367754"/>
                        <a:pt x="1513321" y="381149"/>
                      </a:cubicBezTo>
                      <a:lnTo>
                        <a:pt x="1586768" y="381149"/>
                      </a:lnTo>
                      <a:cubicBezTo>
                        <a:pt x="1586321" y="367977"/>
                        <a:pt x="1583158" y="357745"/>
                        <a:pt x="1577280" y="350453"/>
                      </a:cubicBezTo>
                      <a:cubicBezTo>
                        <a:pt x="1571401" y="343160"/>
                        <a:pt x="1563290" y="339514"/>
                        <a:pt x="1552946" y="339514"/>
                      </a:cubicBezTo>
                      <a:close/>
                      <a:moveTo>
                        <a:pt x="1166552" y="339514"/>
                      </a:moveTo>
                      <a:cubicBezTo>
                        <a:pt x="1153084" y="339514"/>
                        <a:pt x="1142349" y="344053"/>
                        <a:pt x="1134350" y="353132"/>
                      </a:cubicBezTo>
                      <a:cubicBezTo>
                        <a:pt x="1126350" y="362210"/>
                        <a:pt x="1122351" y="374823"/>
                        <a:pt x="1122351" y="390971"/>
                      </a:cubicBezTo>
                      <a:cubicBezTo>
                        <a:pt x="1122351" y="405928"/>
                        <a:pt x="1126257" y="417946"/>
                        <a:pt x="1134071" y="427025"/>
                      </a:cubicBezTo>
                      <a:cubicBezTo>
                        <a:pt x="1141884" y="436103"/>
                        <a:pt x="1152563" y="440643"/>
                        <a:pt x="1166106" y="440643"/>
                      </a:cubicBezTo>
                      <a:cubicBezTo>
                        <a:pt x="1179873" y="440643"/>
                        <a:pt x="1190477" y="436178"/>
                        <a:pt x="1197918" y="427248"/>
                      </a:cubicBezTo>
                      <a:cubicBezTo>
                        <a:pt x="1205359" y="418318"/>
                        <a:pt x="1209080" y="405928"/>
                        <a:pt x="1209080" y="390078"/>
                      </a:cubicBezTo>
                      <a:cubicBezTo>
                        <a:pt x="1209080" y="373782"/>
                        <a:pt x="1205378" y="361280"/>
                        <a:pt x="1197974" y="352574"/>
                      </a:cubicBezTo>
                      <a:cubicBezTo>
                        <a:pt x="1190569" y="343867"/>
                        <a:pt x="1180096" y="339514"/>
                        <a:pt x="1166552" y="339514"/>
                      </a:cubicBezTo>
                      <a:close/>
                      <a:moveTo>
                        <a:pt x="895722" y="339514"/>
                      </a:moveTo>
                      <a:cubicBezTo>
                        <a:pt x="885006" y="339514"/>
                        <a:pt x="876132" y="343104"/>
                        <a:pt x="869100" y="350285"/>
                      </a:cubicBezTo>
                      <a:cubicBezTo>
                        <a:pt x="862068" y="357466"/>
                        <a:pt x="857733" y="367754"/>
                        <a:pt x="856096" y="381149"/>
                      </a:cubicBezTo>
                      <a:lnTo>
                        <a:pt x="929543" y="381149"/>
                      </a:lnTo>
                      <a:cubicBezTo>
                        <a:pt x="929096" y="367977"/>
                        <a:pt x="925934" y="357745"/>
                        <a:pt x="920055" y="350453"/>
                      </a:cubicBezTo>
                      <a:cubicBezTo>
                        <a:pt x="914176" y="343160"/>
                        <a:pt x="906065" y="339514"/>
                        <a:pt x="895722" y="339514"/>
                      </a:cubicBezTo>
                      <a:close/>
                      <a:moveTo>
                        <a:pt x="781497" y="339514"/>
                      </a:moveTo>
                      <a:cubicBezTo>
                        <a:pt x="768177" y="339514"/>
                        <a:pt x="757870" y="343979"/>
                        <a:pt x="750578" y="352908"/>
                      </a:cubicBezTo>
                      <a:cubicBezTo>
                        <a:pt x="743285" y="361838"/>
                        <a:pt x="739639" y="372330"/>
                        <a:pt x="739639" y="384386"/>
                      </a:cubicBezTo>
                      <a:lnTo>
                        <a:pt x="739639" y="398785"/>
                      </a:lnTo>
                      <a:cubicBezTo>
                        <a:pt x="739639" y="410244"/>
                        <a:pt x="743248" y="420086"/>
                        <a:pt x="750466" y="428308"/>
                      </a:cubicBezTo>
                      <a:cubicBezTo>
                        <a:pt x="757684" y="436531"/>
                        <a:pt x="767172" y="440643"/>
                        <a:pt x="778930" y="440643"/>
                      </a:cubicBezTo>
                      <a:cubicBezTo>
                        <a:pt x="790613" y="440643"/>
                        <a:pt x="800100" y="435638"/>
                        <a:pt x="807393" y="425630"/>
                      </a:cubicBezTo>
                      <a:cubicBezTo>
                        <a:pt x="814686" y="415621"/>
                        <a:pt x="818332" y="402468"/>
                        <a:pt x="818332" y="386171"/>
                      </a:cubicBezTo>
                      <a:cubicBezTo>
                        <a:pt x="818332" y="371884"/>
                        <a:pt x="814983" y="360536"/>
                        <a:pt x="808286" y="352127"/>
                      </a:cubicBezTo>
                      <a:cubicBezTo>
                        <a:pt x="801589" y="343718"/>
                        <a:pt x="792659" y="339514"/>
                        <a:pt x="781497" y="339514"/>
                      </a:cubicBezTo>
                      <a:close/>
                      <a:moveTo>
                        <a:pt x="590922" y="339514"/>
                      </a:moveTo>
                      <a:cubicBezTo>
                        <a:pt x="580206" y="339514"/>
                        <a:pt x="571332" y="343104"/>
                        <a:pt x="564300" y="350285"/>
                      </a:cubicBezTo>
                      <a:cubicBezTo>
                        <a:pt x="557268" y="357466"/>
                        <a:pt x="552933" y="367754"/>
                        <a:pt x="551296" y="381149"/>
                      </a:cubicBezTo>
                      <a:lnTo>
                        <a:pt x="624743" y="381149"/>
                      </a:lnTo>
                      <a:cubicBezTo>
                        <a:pt x="624296" y="367977"/>
                        <a:pt x="621134" y="357745"/>
                        <a:pt x="615255" y="350453"/>
                      </a:cubicBezTo>
                      <a:cubicBezTo>
                        <a:pt x="609376" y="343160"/>
                        <a:pt x="601265" y="339514"/>
                        <a:pt x="590922" y="339514"/>
                      </a:cubicBezTo>
                      <a:close/>
                      <a:moveTo>
                        <a:pt x="476697" y="339514"/>
                      </a:moveTo>
                      <a:cubicBezTo>
                        <a:pt x="463377" y="339514"/>
                        <a:pt x="453070" y="343979"/>
                        <a:pt x="445778" y="352908"/>
                      </a:cubicBezTo>
                      <a:cubicBezTo>
                        <a:pt x="438485" y="361838"/>
                        <a:pt x="434839" y="372330"/>
                        <a:pt x="434839" y="384386"/>
                      </a:cubicBezTo>
                      <a:lnTo>
                        <a:pt x="434839" y="398785"/>
                      </a:lnTo>
                      <a:cubicBezTo>
                        <a:pt x="434839" y="410244"/>
                        <a:pt x="438448" y="420086"/>
                        <a:pt x="445666" y="428308"/>
                      </a:cubicBezTo>
                      <a:cubicBezTo>
                        <a:pt x="452884" y="436531"/>
                        <a:pt x="462372" y="440643"/>
                        <a:pt x="474130" y="440643"/>
                      </a:cubicBezTo>
                      <a:cubicBezTo>
                        <a:pt x="485813" y="440643"/>
                        <a:pt x="495300" y="435638"/>
                        <a:pt x="502593" y="425630"/>
                      </a:cubicBezTo>
                      <a:cubicBezTo>
                        <a:pt x="509886" y="415621"/>
                        <a:pt x="513532" y="402468"/>
                        <a:pt x="513532" y="386171"/>
                      </a:cubicBezTo>
                      <a:cubicBezTo>
                        <a:pt x="513532" y="371884"/>
                        <a:pt x="510183" y="360536"/>
                        <a:pt x="503486" y="352127"/>
                      </a:cubicBezTo>
                      <a:cubicBezTo>
                        <a:pt x="496789" y="343718"/>
                        <a:pt x="487859" y="339514"/>
                        <a:pt x="476697" y="339514"/>
                      </a:cubicBezTo>
                      <a:close/>
                      <a:moveTo>
                        <a:pt x="1922970" y="332928"/>
                      </a:moveTo>
                      <a:lnTo>
                        <a:pt x="1934467" y="332928"/>
                      </a:lnTo>
                      <a:lnTo>
                        <a:pt x="1968958" y="426020"/>
                      </a:lnTo>
                      <a:cubicBezTo>
                        <a:pt x="1969702" y="428029"/>
                        <a:pt x="1970223" y="429555"/>
                        <a:pt x="1970521" y="430597"/>
                      </a:cubicBezTo>
                      <a:cubicBezTo>
                        <a:pt x="1970819" y="432011"/>
                        <a:pt x="1971154" y="433276"/>
                        <a:pt x="1971526" y="434392"/>
                      </a:cubicBezTo>
                      <a:lnTo>
                        <a:pt x="1971972" y="434392"/>
                      </a:lnTo>
                      <a:lnTo>
                        <a:pt x="1974651" y="426690"/>
                      </a:lnTo>
                      <a:lnTo>
                        <a:pt x="2011486" y="332928"/>
                      </a:lnTo>
                      <a:lnTo>
                        <a:pt x="2022648" y="332928"/>
                      </a:lnTo>
                      <a:lnTo>
                        <a:pt x="1966949" y="470557"/>
                      </a:lnTo>
                      <a:cubicBezTo>
                        <a:pt x="1962782" y="480826"/>
                        <a:pt x="1958168" y="488454"/>
                        <a:pt x="1953108" y="493439"/>
                      </a:cubicBezTo>
                      <a:cubicBezTo>
                        <a:pt x="1948048" y="498425"/>
                        <a:pt x="1941537" y="500918"/>
                        <a:pt x="1933574" y="500918"/>
                      </a:cubicBezTo>
                      <a:cubicBezTo>
                        <a:pt x="1930226" y="500918"/>
                        <a:pt x="1927249" y="500397"/>
                        <a:pt x="1924645" y="499355"/>
                      </a:cubicBezTo>
                      <a:lnTo>
                        <a:pt x="1924645" y="489086"/>
                      </a:lnTo>
                      <a:cubicBezTo>
                        <a:pt x="1927324" y="490128"/>
                        <a:pt x="1930449" y="490649"/>
                        <a:pt x="1934021" y="490649"/>
                      </a:cubicBezTo>
                      <a:cubicBezTo>
                        <a:pt x="1943174" y="490649"/>
                        <a:pt x="1950392" y="484324"/>
                        <a:pt x="1955675" y="471673"/>
                      </a:cubicBezTo>
                      <a:lnTo>
                        <a:pt x="1966279" y="446335"/>
                      </a:lnTo>
                      <a:close/>
                      <a:moveTo>
                        <a:pt x="215020" y="332928"/>
                      </a:moveTo>
                      <a:lnTo>
                        <a:pt x="225289" y="332928"/>
                      </a:lnTo>
                      <a:lnTo>
                        <a:pt x="225289" y="447228"/>
                      </a:lnTo>
                      <a:lnTo>
                        <a:pt x="215020" y="447228"/>
                      </a:lnTo>
                      <a:close/>
                      <a:moveTo>
                        <a:pt x="48444" y="332928"/>
                      </a:moveTo>
                      <a:lnTo>
                        <a:pt x="59829" y="332928"/>
                      </a:lnTo>
                      <a:lnTo>
                        <a:pt x="86395" y="424123"/>
                      </a:lnTo>
                      <a:cubicBezTo>
                        <a:pt x="87065" y="426504"/>
                        <a:pt x="87586" y="429704"/>
                        <a:pt x="87958" y="433722"/>
                      </a:cubicBezTo>
                      <a:lnTo>
                        <a:pt x="88851" y="433722"/>
                      </a:lnTo>
                      <a:cubicBezTo>
                        <a:pt x="89000" y="431564"/>
                        <a:pt x="89707" y="428364"/>
                        <a:pt x="90972" y="424123"/>
                      </a:cubicBezTo>
                      <a:lnTo>
                        <a:pt x="119993" y="332928"/>
                      </a:lnTo>
                      <a:lnTo>
                        <a:pt x="127025" y="332928"/>
                      </a:lnTo>
                      <a:lnTo>
                        <a:pt x="152921" y="424123"/>
                      </a:lnTo>
                      <a:cubicBezTo>
                        <a:pt x="153517" y="426281"/>
                        <a:pt x="154038" y="429480"/>
                        <a:pt x="154484" y="433722"/>
                      </a:cubicBezTo>
                      <a:lnTo>
                        <a:pt x="155377" y="433722"/>
                      </a:lnTo>
                      <a:cubicBezTo>
                        <a:pt x="155377" y="431564"/>
                        <a:pt x="156010" y="428364"/>
                        <a:pt x="157275" y="424123"/>
                      </a:cubicBezTo>
                      <a:lnTo>
                        <a:pt x="184398" y="332928"/>
                      </a:lnTo>
                      <a:lnTo>
                        <a:pt x="195003" y="332928"/>
                      </a:lnTo>
                      <a:lnTo>
                        <a:pt x="159507" y="447228"/>
                      </a:lnTo>
                      <a:lnTo>
                        <a:pt x="149908" y="447228"/>
                      </a:lnTo>
                      <a:lnTo>
                        <a:pt x="125016" y="361057"/>
                      </a:lnTo>
                      <a:cubicBezTo>
                        <a:pt x="124346" y="358675"/>
                        <a:pt x="123751" y="355476"/>
                        <a:pt x="123230" y="351457"/>
                      </a:cubicBezTo>
                      <a:lnTo>
                        <a:pt x="122672" y="351457"/>
                      </a:lnTo>
                      <a:cubicBezTo>
                        <a:pt x="122523" y="353169"/>
                        <a:pt x="121779" y="356294"/>
                        <a:pt x="120440" y="360834"/>
                      </a:cubicBezTo>
                      <a:lnTo>
                        <a:pt x="92534" y="447228"/>
                      </a:lnTo>
                      <a:lnTo>
                        <a:pt x="82935" y="447228"/>
                      </a:lnTo>
                      <a:close/>
                      <a:moveTo>
                        <a:pt x="1286247" y="330696"/>
                      </a:moveTo>
                      <a:cubicBezTo>
                        <a:pt x="1290489" y="330696"/>
                        <a:pt x="1294284" y="331366"/>
                        <a:pt x="1297633" y="332705"/>
                      </a:cubicBezTo>
                      <a:lnTo>
                        <a:pt x="1297633" y="343644"/>
                      </a:lnTo>
                      <a:cubicBezTo>
                        <a:pt x="1294210" y="341188"/>
                        <a:pt x="1290191" y="339960"/>
                        <a:pt x="1285578" y="339960"/>
                      </a:cubicBezTo>
                      <a:cubicBezTo>
                        <a:pt x="1276574" y="339960"/>
                        <a:pt x="1269021" y="344611"/>
                        <a:pt x="1262919" y="353913"/>
                      </a:cubicBezTo>
                      <a:cubicBezTo>
                        <a:pt x="1256817" y="363215"/>
                        <a:pt x="1253766" y="376423"/>
                        <a:pt x="1253766" y="393538"/>
                      </a:cubicBezTo>
                      <a:lnTo>
                        <a:pt x="1253766" y="447228"/>
                      </a:lnTo>
                      <a:lnTo>
                        <a:pt x="1243720" y="447228"/>
                      </a:lnTo>
                      <a:lnTo>
                        <a:pt x="1243720" y="332928"/>
                      </a:lnTo>
                      <a:lnTo>
                        <a:pt x="1253766" y="332928"/>
                      </a:lnTo>
                      <a:lnTo>
                        <a:pt x="1253766" y="358266"/>
                      </a:lnTo>
                      <a:lnTo>
                        <a:pt x="1254212" y="358266"/>
                      </a:lnTo>
                      <a:cubicBezTo>
                        <a:pt x="1256817" y="349560"/>
                        <a:pt x="1260947" y="342788"/>
                        <a:pt x="1266602" y="337951"/>
                      </a:cubicBezTo>
                      <a:cubicBezTo>
                        <a:pt x="1272258" y="333114"/>
                        <a:pt x="1278806" y="330696"/>
                        <a:pt x="1286247" y="330696"/>
                      </a:cubicBezTo>
                      <a:close/>
                      <a:moveTo>
                        <a:pt x="1010023" y="330696"/>
                      </a:moveTo>
                      <a:cubicBezTo>
                        <a:pt x="1014264" y="330696"/>
                        <a:pt x="1018059" y="331366"/>
                        <a:pt x="1021408" y="332705"/>
                      </a:cubicBezTo>
                      <a:lnTo>
                        <a:pt x="1021408" y="343644"/>
                      </a:lnTo>
                      <a:cubicBezTo>
                        <a:pt x="1017985" y="341188"/>
                        <a:pt x="1013967" y="339960"/>
                        <a:pt x="1009353" y="339960"/>
                      </a:cubicBezTo>
                      <a:cubicBezTo>
                        <a:pt x="1000349" y="339960"/>
                        <a:pt x="992796" y="344611"/>
                        <a:pt x="986694" y="353913"/>
                      </a:cubicBezTo>
                      <a:cubicBezTo>
                        <a:pt x="980592" y="363215"/>
                        <a:pt x="977541" y="376423"/>
                        <a:pt x="977541" y="393538"/>
                      </a:cubicBezTo>
                      <a:lnTo>
                        <a:pt x="977541" y="447228"/>
                      </a:lnTo>
                      <a:lnTo>
                        <a:pt x="967495" y="447228"/>
                      </a:lnTo>
                      <a:lnTo>
                        <a:pt x="967495" y="332928"/>
                      </a:lnTo>
                      <a:lnTo>
                        <a:pt x="977541" y="332928"/>
                      </a:lnTo>
                      <a:lnTo>
                        <a:pt x="977541" y="358266"/>
                      </a:lnTo>
                      <a:lnTo>
                        <a:pt x="977987" y="358266"/>
                      </a:lnTo>
                      <a:cubicBezTo>
                        <a:pt x="980592" y="349560"/>
                        <a:pt x="984722" y="342788"/>
                        <a:pt x="990377" y="337951"/>
                      </a:cubicBezTo>
                      <a:cubicBezTo>
                        <a:pt x="996033" y="333114"/>
                        <a:pt x="1002581" y="330696"/>
                        <a:pt x="1010023" y="330696"/>
                      </a:cubicBezTo>
                      <a:close/>
                      <a:moveTo>
                        <a:pt x="1553393" y="330138"/>
                      </a:moveTo>
                      <a:cubicBezTo>
                        <a:pt x="1567606" y="330138"/>
                        <a:pt x="1578508" y="335123"/>
                        <a:pt x="1586098" y="345095"/>
                      </a:cubicBezTo>
                      <a:cubicBezTo>
                        <a:pt x="1593688" y="355066"/>
                        <a:pt x="1597483" y="368684"/>
                        <a:pt x="1597483" y="385948"/>
                      </a:cubicBezTo>
                      <a:lnTo>
                        <a:pt x="1597483" y="390525"/>
                      </a:lnTo>
                      <a:lnTo>
                        <a:pt x="1512874" y="390525"/>
                      </a:lnTo>
                      <a:cubicBezTo>
                        <a:pt x="1512874" y="406226"/>
                        <a:pt x="1516502" y="418504"/>
                        <a:pt x="1523758" y="427360"/>
                      </a:cubicBezTo>
                      <a:cubicBezTo>
                        <a:pt x="1531013" y="436215"/>
                        <a:pt x="1540966" y="440643"/>
                        <a:pt x="1553616" y="440643"/>
                      </a:cubicBezTo>
                      <a:cubicBezTo>
                        <a:pt x="1566415" y="440643"/>
                        <a:pt x="1578917" y="435917"/>
                        <a:pt x="1591121" y="426467"/>
                      </a:cubicBezTo>
                      <a:lnTo>
                        <a:pt x="1591121" y="437406"/>
                      </a:lnTo>
                      <a:cubicBezTo>
                        <a:pt x="1579289" y="445814"/>
                        <a:pt x="1566080" y="450019"/>
                        <a:pt x="1551495" y="450019"/>
                      </a:cubicBezTo>
                      <a:cubicBezTo>
                        <a:pt x="1536761" y="450019"/>
                        <a:pt x="1524855" y="444735"/>
                        <a:pt x="1515777" y="434169"/>
                      </a:cubicBezTo>
                      <a:cubicBezTo>
                        <a:pt x="1506698" y="423602"/>
                        <a:pt x="1502159" y="408682"/>
                        <a:pt x="1502159" y="389409"/>
                      </a:cubicBezTo>
                      <a:cubicBezTo>
                        <a:pt x="1502159" y="372740"/>
                        <a:pt x="1506903" y="358694"/>
                        <a:pt x="1516390" y="347272"/>
                      </a:cubicBezTo>
                      <a:cubicBezTo>
                        <a:pt x="1525878" y="335849"/>
                        <a:pt x="1538212" y="330138"/>
                        <a:pt x="1553393" y="330138"/>
                      </a:cubicBezTo>
                      <a:close/>
                      <a:moveTo>
                        <a:pt x="1365572" y="330138"/>
                      </a:moveTo>
                      <a:cubicBezTo>
                        <a:pt x="1373906" y="330138"/>
                        <a:pt x="1381031" y="332538"/>
                        <a:pt x="1386947" y="337337"/>
                      </a:cubicBezTo>
                      <a:cubicBezTo>
                        <a:pt x="1392863" y="342137"/>
                        <a:pt x="1396863" y="348444"/>
                        <a:pt x="1398946" y="356257"/>
                      </a:cubicBezTo>
                      <a:cubicBezTo>
                        <a:pt x="1402518" y="347997"/>
                        <a:pt x="1407634" y="341579"/>
                        <a:pt x="1414294" y="337002"/>
                      </a:cubicBezTo>
                      <a:cubicBezTo>
                        <a:pt x="1420954" y="332426"/>
                        <a:pt x="1428191" y="330138"/>
                        <a:pt x="1436005" y="330138"/>
                      </a:cubicBezTo>
                      <a:cubicBezTo>
                        <a:pt x="1461008" y="330138"/>
                        <a:pt x="1473509" y="345616"/>
                        <a:pt x="1473509" y="376572"/>
                      </a:cubicBezTo>
                      <a:lnTo>
                        <a:pt x="1473509" y="447228"/>
                      </a:lnTo>
                      <a:lnTo>
                        <a:pt x="1463240" y="447228"/>
                      </a:lnTo>
                      <a:lnTo>
                        <a:pt x="1463240" y="378470"/>
                      </a:lnTo>
                      <a:cubicBezTo>
                        <a:pt x="1463240" y="364108"/>
                        <a:pt x="1460989" y="354025"/>
                        <a:pt x="1456487" y="348220"/>
                      </a:cubicBezTo>
                      <a:cubicBezTo>
                        <a:pt x="1451985" y="342416"/>
                        <a:pt x="1444860" y="339514"/>
                        <a:pt x="1435112" y="339514"/>
                      </a:cubicBezTo>
                      <a:cubicBezTo>
                        <a:pt x="1426108" y="339514"/>
                        <a:pt x="1418331" y="343383"/>
                        <a:pt x="1411783" y="351122"/>
                      </a:cubicBezTo>
                      <a:cubicBezTo>
                        <a:pt x="1405234" y="358862"/>
                        <a:pt x="1401960" y="368573"/>
                        <a:pt x="1401960" y="380256"/>
                      </a:cubicBezTo>
                      <a:lnTo>
                        <a:pt x="1401960" y="447228"/>
                      </a:lnTo>
                      <a:lnTo>
                        <a:pt x="1391691" y="447228"/>
                      </a:lnTo>
                      <a:lnTo>
                        <a:pt x="1391691" y="377688"/>
                      </a:lnTo>
                      <a:cubicBezTo>
                        <a:pt x="1391691" y="352239"/>
                        <a:pt x="1382017" y="339514"/>
                        <a:pt x="1362670" y="339514"/>
                      </a:cubicBezTo>
                      <a:cubicBezTo>
                        <a:pt x="1353368" y="339514"/>
                        <a:pt x="1345629" y="343402"/>
                        <a:pt x="1339452" y="351178"/>
                      </a:cubicBezTo>
                      <a:cubicBezTo>
                        <a:pt x="1333276" y="358955"/>
                        <a:pt x="1330188" y="369019"/>
                        <a:pt x="1330188" y="381372"/>
                      </a:cubicBezTo>
                      <a:lnTo>
                        <a:pt x="1330188" y="447228"/>
                      </a:lnTo>
                      <a:lnTo>
                        <a:pt x="1319919" y="447228"/>
                      </a:lnTo>
                      <a:lnTo>
                        <a:pt x="1319919" y="332928"/>
                      </a:lnTo>
                      <a:lnTo>
                        <a:pt x="1330188" y="332928"/>
                      </a:lnTo>
                      <a:lnTo>
                        <a:pt x="1330188" y="351904"/>
                      </a:lnTo>
                      <a:lnTo>
                        <a:pt x="1330634" y="351904"/>
                      </a:lnTo>
                      <a:cubicBezTo>
                        <a:pt x="1338597" y="337393"/>
                        <a:pt x="1350242" y="330138"/>
                        <a:pt x="1365572" y="330138"/>
                      </a:cubicBezTo>
                      <a:close/>
                      <a:moveTo>
                        <a:pt x="1166999" y="330138"/>
                      </a:moveTo>
                      <a:cubicBezTo>
                        <a:pt x="1183296" y="330138"/>
                        <a:pt x="1196169" y="335458"/>
                        <a:pt x="1205620" y="346100"/>
                      </a:cubicBezTo>
                      <a:cubicBezTo>
                        <a:pt x="1215070" y="356741"/>
                        <a:pt x="1219796" y="371475"/>
                        <a:pt x="1219796" y="390301"/>
                      </a:cubicBezTo>
                      <a:cubicBezTo>
                        <a:pt x="1219796" y="408086"/>
                        <a:pt x="1214977" y="422486"/>
                        <a:pt x="1205341" y="433499"/>
                      </a:cubicBezTo>
                      <a:cubicBezTo>
                        <a:pt x="1195704" y="444512"/>
                        <a:pt x="1182514" y="450019"/>
                        <a:pt x="1165771" y="450019"/>
                      </a:cubicBezTo>
                      <a:cubicBezTo>
                        <a:pt x="1149102" y="450019"/>
                        <a:pt x="1135912" y="444531"/>
                        <a:pt x="1126201" y="433555"/>
                      </a:cubicBezTo>
                      <a:cubicBezTo>
                        <a:pt x="1116490" y="422579"/>
                        <a:pt x="1111635" y="408310"/>
                        <a:pt x="1111635" y="390748"/>
                      </a:cubicBezTo>
                      <a:cubicBezTo>
                        <a:pt x="1111635" y="371772"/>
                        <a:pt x="1116714" y="356927"/>
                        <a:pt x="1126871" y="346211"/>
                      </a:cubicBezTo>
                      <a:cubicBezTo>
                        <a:pt x="1137029" y="335496"/>
                        <a:pt x="1150405" y="330138"/>
                        <a:pt x="1166999" y="330138"/>
                      </a:cubicBezTo>
                      <a:close/>
                      <a:moveTo>
                        <a:pt x="896168" y="330138"/>
                      </a:moveTo>
                      <a:cubicBezTo>
                        <a:pt x="910381" y="330138"/>
                        <a:pt x="921283" y="335123"/>
                        <a:pt x="928873" y="345095"/>
                      </a:cubicBezTo>
                      <a:cubicBezTo>
                        <a:pt x="936463" y="355066"/>
                        <a:pt x="940258" y="368684"/>
                        <a:pt x="940258" y="385948"/>
                      </a:cubicBezTo>
                      <a:lnTo>
                        <a:pt x="940258" y="390525"/>
                      </a:lnTo>
                      <a:lnTo>
                        <a:pt x="855650" y="390525"/>
                      </a:lnTo>
                      <a:cubicBezTo>
                        <a:pt x="855650" y="406226"/>
                        <a:pt x="859277" y="418504"/>
                        <a:pt x="866533" y="427360"/>
                      </a:cubicBezTo>
                      <a:cubicBezTo>
                        <a:pt x="873788" y="436215"/>
                        <a:pt x="883741" y="440643"/>
                        <a:pt x="896391" y="440643"/>
                      </a:cubicBezTo>
                      <a:cubicBezTo>
                        <a:pt x="909190" y="440643"/>
                        <a:pt x="921692" y="435917"/>
                        <a:pt x="933896" y="426467"/>
                      </a:cubicBezTo>
                      <a:lnTo>
                        <a:pt x="933896" y="437406"/>
                      </a:lnTo>
                      <a:cubicBezTo>
                        <a:pt x="922064" y="445814"/>
                        <a:pt x="908856" y="450019"/>
                        <a:pt x="894270" y="450019"/>
                      </a:cubicBezTo>
                      <a:cubicBezTo>
                        <a:pt x="879536" y="450019"/>
                        <a:pt x="867630" y="444735"/>
                        <a:pt x="858552" y="434169"/>
                      </a:cubicBezTo>
                      <a:cubicBezTo>
                        <a:pt x="849473" y="423602"/>
                        <a:pt x="844934" y="408682"/>
                        <a:pt x="844934" y="389409"/>
                      </a:cubicBezTo>
                      <a:cubicBezTo>
                        <a:pt x="844934" y="372740"/>
                        <a:pt x="849678" y="358694"/>
                        <a:pt x="859166" y="347272"/>
                      </a:cubicBezTo>
                      <a:cubicBezTo>
                        <a:pt x="868653" y="335849"/>
                        <a:pt x="880988" y="330138"/>
                        <a:pt x="896168" y="330138"/>
                      </a:cubicBezTo>
                      <a:close/>
                      <a:moveTo>
                        <a:pt x="782836" y="330138"/>
                      </a:moveTo>
                      <a:cubicBezTo>
                        <a:pt x="797347" y="330138"/>
                        <a:pt x="808677" y="335142"/>
                        <a:pt x="816825" y="345151"/>
                      </a:cubicBezTo>
                      <a:cubicBezTo>
                        <a:pt x="824973" y="355159"/>
                        <a:pt x="829047" y="368759"/>
                        <a:pt x="829047" y="385948"/>
                      </a:cubicBezTo>
                      <a:cubicBezTo>
                        <a:pt x="829047" y="405073"/>
                        <a:pt x="824378" y="420532"/>
                        <a:pt x="815039" y="432327"/>
                      </a:cubicBezTo>
                      <a:cubicBezTo>
                        <a:pt x="805700" y="444121"/>
                        <a:pt x="793366" y="450019"/>
                        <a:pt x="778037" y="450019"/>
                      </a:cubicBezTo>
                      <a:cubicBezTo>
                        <a:pt x="760921" y="450019"/>
                        <a:pt x="748271" y="442317"/>
                        <a:pt x="740085" y="426913"/>
                      </a:cubicBezTo>
                      <a:lnTo>
                        <a:pt x="739639" y="426913"/>
                      </a:lnTo>
                      <a:lnTo>
                        <a:pt x="739639" y="499802"/>
                      </a:lnTo>
                      <a:lnTo>
                        <a:pt x="729370" y="499802"/>
                      </a:lnTo>
                      <a:lnTo>
                        <a:pt x="729370" y="332928"/>
                      </a:lnTo>
                      <a:lnTo>
                        <a:pt x="739639" y="332928"/>
                      </a:lnTo>
                      <a:lnTo>
                        <a:pt x="739639" y="356480"/>
                      </a:lnTo>
                      <a:lnTo>
                        <a:pt x="740085" y="356480"/>
                      </a:lnTo>
                      <a:cubicBezTo>
                        <a:pt x="744178" y="348071"/>
                        <a:pt x="750038" y="341579"/>
                        <a:pt x="757666" y="337002"/>
                      </a:cubicBezTo>
                      <a:cubicBezTo>
                        <a:pt x="765293" y="332426"/>
                        <a:pt x="773683" y="330138"/>
                        <a:pt x="782836" y="330138"/>
                      </a:cubicBezTo>
                      <a:close/>
                      <a:moveTo>
                        <a:pt x="591368" y="330138"/>
                      </a:moveTo>
                      <a:cubicBezTo>
                        <a:pt x="605581" y="330138"/>
                        <a:pt x="616483" y="335123"/>
                        <a:pt x="624073" y="345095"/>
                      </a:cubicBezTo>
                      <a:cubicBezTo>
                        <a:pt x="631663" y="355066"/>
                        <a:pt x="635458" y="368684"/>
                        <a:pt x="635458" y="385948"/>
                      </a:cubicBezTo>
                      <a:lnTo>
                        <a:pt x="635458" y="390525"/>
                      </a:lnTo>
                      <a:lnTo>
                        <a:pt x="550850" y="390525"/>
                      </a:lnTo>
                      <a:cubicBezTo>
                        <a:pt x="550850" y="406226"/>
                        <a:pt x="554477" y="418504"/>
                        <a:pt x="561733" y="427360"/>
                      </a:cubicBezTo>
                      <a:cubicBezTo>
                        <a:pt x="568988" y="436215"/>
                        <a:pt x="578941" y="440643"/>
                        <a:pt x="591591" y="440643"/>
                      </a:cubicBezTo>
                      <a:cubicBezTo>
                        <a:pt x="604390" y="440643"/>
                        <a:pt x="616892" y="435917"/>
                        <a:pt x="629096" y="426467"/>
                      </a:cubicBezTo>
                      <a:lnTo>
                        <a:pt x="629096" y="437406"/>
                      </a:lnTo>
                      <a:cubicBezTo>
                        <a:pt x="617264" y="445814"/>
                        <a:pt x="604056" y="450019"/>
                        <a:pt x="589470" y="450019"/>
                      </a:cubicBezTo>
                      <a:cubicBezTo>
                        <a:pt x="574736" y="450019"/>
                        <a:pt x="562830" y="444735"/>
                        <a:pt x="553752" y="434169"/>
                      </a:cubicBezTo>
                      <a:cubicBezTo>
                        <a:pt x="544673" y="423602"/>
                        <a:pt x="540134" y="408682"/>
                        <a:pt x="540134" y="389409"/>
                      </a:cubicBezTo>
                      <a:cubicBezTo>
                        <a:pt x="540134" y="372740"/>
                        <a:pt x="544878" y="358694"/>
                        <a:pt x="554366" y="347272"/>
                      </a:cubicBezTo>
                      <a:cubicBezTo>
                        <a:pt x="563853" y="335849"/>
                        <a:pt x="576188" y="330138"/>
                        <a:pt x="591368" y="330138"/>
                      </a:cubicBezTo>
                      <a:close/>
                      <a:moveTo>
                        <a:pt x="2163737" y="301116"/>
                      </a:moveTo>
                      <a:cubicBezTo>
                        <a:pt x="2162472" y="306028"/>
                        <a:pt x="2161244" y="310009"/>
                        <a:pt x="2160054" y="313060"/>
                      </a:cubicBezTo>
                      <a:lnTo>
                        <a:pt x="2133153" y="387288"/>
                      </a:lnTo>
                      <a:lnTo>
                        <a:pt x="2194879" y="387288"/>
                      </a:lnTo>
                      <a:lnTo>
                        <a:pt x="2167867" y="313283"/>
                      </a:lnTo>
                      <a:cubicBezTo>
                        <a:pt x="2167048" y="311050"/>
                        <a:pt x="2166379" y="308855"/>
                        <a:pt x="2165858" y="306697"/>
                      </a:cubicBezTo>
                      <a:cubicBezTo>
                        <a:pt x="2165337" y="304837"/>
                        <a:pt x="2164779" y="302977"/>
                        <a:pt x="2164184" y="301116"/>
                      </a:cubicBezTo>
                      <a:close/>
                      <a:moveTo>
                        <a:pt x="2255602" y="287164"/>
                      </a:moveTo>
                      <a:lnTo>
                        <a:pt x="2266653" y="287164"/>
                      </a:lnTo>
                      <a:lnTo>
                        <a:pt x="2266653" y="447228"/>
                      </a:lnTo>
                      <a:lnTo>
                        <a:pt x="2255602" y="447228"/>
                      </a:lnTo>
                      <a:close/>
                      <a:moveTo>
                        <a:pt x="2159160" y="287164"/>
                      </a:moveTo>
                      <a:lnTo>
                        <a:pt x="2169653" y="287164"/>
                      </a:lnTo>
                      <a:lnTo>
                        <a:pt x="2229370" y="447228"/>
                      </a:lnTo>
                      <a:lnTo>
                        <a:pt x="2216980" y="447228"/>
                      </a:lnTo>
                      <a:lnTo>
                        <a:pt x="2198674" y="397445"/>
                      </a:lnTo>
                      <a:lnTo>
                        <a:pt x="2129246" y="397445"/>
                      </a:lnTo>
                      <a:lnTo>
                        <a:pt x="2110940" y="447228"/>
                      </a:lnTo>
                      <a:lnTo>
                        <a:pt x="2098774" y="447228"/>
                      </a:lnTo>
                      <a:close/>
                      <a:moveTo>
                        <a:pt x="220043" y="287164"/>
                      </a:moveTo>
                      <a:cubicBezTo>
                        <a:pt x="222350" y="287164"/>
                        <a:pt x="224377" y="287908"/>
                        <a:pt x="226126" y="289396"/>
                      </a:cubicBezTo>
                      <a:cubicBezTo>
                        <a:pt x="227875" y="290884"/>
                        <a:pt x="228749" y="292893"/>
                        <a:pt x="228749" y="295424"/>
                      </a:cubicBezTo>
                      <a:cubicBezTo>
                        <a:pt x="228749" y="297805"/>
                        <a:pt x="227893" y="299851"/>
                        <a:pt x="226182" y="301563"/>
                      </a:cubicBezTo>
                      <a:cubicBezTo>
                        <a:pt x="224470" y="303274"/>
                        <a:pt x="222424" y="304130"/>
                        <a:pt x="220043" y="304130"/>
                      </a:cubicBezTo>
                      <a:cubicBezTo>
                        <a:pt x="217810" y="304130"/>
                        <a:pt x="215838" y="303311"/>
                        <a:pt x="214127" y="301674"/>
                      </a:cubicBezTo>
                      <a:cubicBezTo>
                        <a:pt x="212415" y="300037"/>
                        <a:pt x="211560" y="297954"/>
                        <a:pt x="211560" y="295424"/>
                      </a:cubicBezTo>
                      <a:cubicBezTo>
                        <a:pt x="211560" y="292968"/>
                        <a:pt x="212434" y="290977"/>
                        <a:pt x="214183" y="289452"/>
                      </a:cubicBezTo>
                      <a:cubicBezTo>
                        <a:pt x="215931" y="287926"/>
                        <a:pt x="217885" y="287164"/>
                        <a:pt x="220043" y="287164"/>
                      </a:cubicBezTo>
                      <a:close/>
                      <a:moveTo>
                        <a:pt x="1815220" y="278011"/>
                      </a:moveTo>
                      <a:lnTo>
                        <a:pt x="1825489" y="278011"/>
                      </a:lnTo>
                      <a:lnTo>
                        <a:pt x="1825489" y="356480"/>
                      </a:lnTo>
                      <a:lnTo>
                        <a:pt x="1825935" y="356480"/>
                      </a:lnTo>
                      <a:cubicBezTo>
                        <a:pt x="1830028" y="348071"/>
                        <a:pt x="1835888" y="341579"/>
                        <a:pt x="1843516" y="337002"/>
                      </a:cubicBezTo>
                      <a:cubicBezTo>
                        <a:pt x="1851143" y="332426"/>
                        <a:pt x="1859533" y="330138"/>
                        <a:pt x="1868686" y="330138"/>
                      </a:cubicBezTo>
                      <a:cubicBezTo>
                        <a:pt x="1883197" y="330138"/>
                        <a:pt x="1894527" y="335142"/>
                        <a:pt x="1902675" y="345151"/>
                      </a:cubicBezTo>
                      <a:cubicBezTo>
                        <a:pt x="1910823" y="355159"/>
                        <a:pt x="1914897" y="368759"/>
                        <a:pt x="1914897" y="385948"/>
                      </a:cubicBezTo>
                      <a:cubicBezTo>
                        <a:pt x="1914897" y="405073"/>
                        <a:pt x="1910172" y="420532"/>
                        <a:pt x="1900721" y="432327"/>
                      </a:cubicBezTo>
                      <a:cubicBezTo>
                        <a:pt x="1891271" y="444121"/>
                        <a:pt x="1878993" y="450019"/>
                        <a:pt x="1863887" y="450019"/>
                      </a:cubicBezTo>
                      <a:cubicBezTo>
                        <a:pt x="1846771" y="450019"/>
                        <a:pt x="1834121" y="442317"/>
                        <a:pt x="1825935" y="426913"/>
                      </a:cubicBezTo>
                      <a:lnTo>
                        <a:pt x="1825489" y="426913"/>
                      </a:lnTo>
                      <a:lnTo>
                        <a:pt x="1825489" y="447228"/>
                      </a:lnTo>
                      <a:lnTo>
                        <a:pt x="1815220" y="447228"/>
                      </a:lnTo>
                      <a:close/>
                      <a:moveTo>
                        <a:pt x="1705868" y="278011"/>
                      </a:moveTo>
                      <a:lnTo>
                        <a:pt x="1716137" y="278011"/>
                      </a:lnTo>
                      <a:lnTo>
                        <a:pt x="1716137" y="447228"/>
                      </a:lnTo>
                      <a:lnTo>
                        <a:pt x="1705868" y="447228"/>
                      </a:lnTo>
                      <a:lnTo>
                        <a:pt x="1705868" y="426467"/>
                      </a:lnTo>
                      <a:lnTo>
                        <a:pt x="1705422" y="426467"/>
                      </a:lnTo>
                      <a:cubicBezTo>
                        <a:pt x="1701701" y="433685"/>
                        <a:pt x="1696195" y="439415"/>
                        <a:pt x="1688902" y="443656"/>
                      </a:cubicBezTo>
                      <a:cubicBezTo>
                        <a:pt x="1681609" y="447898"/>
                        <a:pt x="1673387" y="450019"/>
                        <a:pt x="1664234" y="450019"/>
                      </a:cubicBezTo>
                      <a:cubicBezTo>
                        <a:pt x="1650169" y="450019"/>
                        <a:pt x="1638691" y="444884"/>
                        <a:pt x="1629799" y="434615"/>
                      </a:cubicBezTo>
                      <a:cubicBezTo>
                        <a:pt x="1620906" y="424346"/>
                        <a:pt x="1616460" y="410170"/>
                        <a:pt x="1616460" y="392087"/>
                      </a:cubicBezTo>
                      <a:cubicBezTo>
                        <a:pt x="1616460" y="373633"/>
                        <a:pt x="1621315" y="358694"/>
                        <a:pt x="1631026" y="347272"/>
                      </a:cubicBezTo>
                      <a:cubicBezTo>
                        <a:pt x="1640737" y="335849"/>
                        <a:pt x="1653332" y="330138"/>
                        <a:pt x="1668810" y="330138"/>
                      </a:cubicBezTo>
                      <a:cubicBezTo>
                        <a:pt x="1685925" y="330138"/>
                        <a:pt x="1698129" y="337170"/>
                        <a:pt x="1705422" y="351234"/>
                      </a:cubicBezTo>
                      <a:lnTo>
                        <a:pt x="1705868" y="351234"/>
                      </a:lnTo>
                      <a:close/>
                      <a:moveTo>
                        <a:pt x="424570" y="278011"/>
                      </a:moveTo>
                      <a:lnTo>
                        <a:pt x="434839" y="278011"/>
                      </a:lnTo>
                      <a:lnTo>
                        <a:pt x="434839" y="356480"/>
                      </a:lnTo>
                      <a:lnTo>
                        <a:pt x="435285" y="356480"/>
                      </a:lnTo>
                      <a:cubicBezTo>
                        <a:pt x="439378" y="348071"/>
                        <a:pt x="445238" y="341579"/>
                        <a:pt x="452866" y="337002"/>
                      </a:cubicBezTo>
                      <a:cubicBezTo>
                        <a:pt x="460493" y="332426"/>
                        <a:pt x="468883" y="330138"/>
                        <a:pt x="478036" y="330138"/>
                      </a:cubicBezTo>
                      <a:cubicBezTo>
                        <a:pt x="492547" y="330138"/>
                        <a:pt x="503877" y="335142"/>
                        <a:pt x="512025" y="345151"/>
                      </a:cubicBezTo>
                      <a:cubicBezTo>
                        <a:pt x="520173" y="355159"/>
                        <a:pt x="524247" y="368759"/>
                        <a:pt x="524247" y="385948"/>
                      </a:cubicBezTo>
                      <a:cubicBezTo>
                        <a:pt x="524247" y="405073"/>
                        <a:pt x="519522" y="420532"/>
                        <a:pt x="510072" y="432327"/>
                      </a:cubicBezTo>
                      <a:cubicBezTo>
                        <a:pt x="500621" y="444121"/>
                        <a:pt x="488343" y="450019"/>
                        <a:pt x="473237" y="450019"/>
                      </a:cubicBezTo>
                      <a:cubicBezTo>
                        <a:pt x="456121" y="450019"/>
                        <a:pt x="443471" y="442317"/>
                        <a:pt x="435285" y="426913"/>
                      </a:cubicBezTo>
                      <a:lnTo>
                        <a:pt x="434839" y="426913"/>
                      </a:lnTo>
                      <a:lnTo>
                        <a:pt x="434839" y="447228"/>
                      </a:lnTo>
                      <a:lnTo>
                        <a:pt x="424570" y="447228"/>
                      </a:lnTo>
                      <a:close/>
                      <a:moveTo>
                        <a:pt x="310270" y="278011"/>
                      </a:moveTo>
                      <a:lnTo>
                        <a:pt x="320539" y="278011"/>
                      </a:lnTo>
                      <a:lnTo>
                        <a:pt x="320539" y="447228"/>
                      </a:lnTo>
                      <a:lnTo>
                        <a:pt x="310270" y="447228"/>
                      </a:lnTo>
                      <a:close/>
                      <a:moveTo>
                        <a:pt x="262645" y="278011"/>
                      </a:moveTo>
                      <a:lnTo>
                        <a:pt x="272914" y="278011"/>
                      </a:lnTo>
                      <a:lnTo>
                        <a:pt x="272914" y="447228"/>
                      </a:lnTo>
                      <a:lnTo>
                        <a:pt x="262645" y="447228"/>
                      </a:lnTo>
                      <a:close/>
                      <a:moveTo>
                        <a:pt x="1091171" y="276225"/>
                      </a:moveTo>
                      <a:cubicBezTo>
                        <a:pt x="1096008" y="276225"/>
                        <a:pt x="1100026" y="276932"/>
                        <a:pt x="1103226" y="278346"/>
                      </a:cubicBezTo>
                      <a:lnTo>
                        <a:pt x="1103226" y="288838"/>
                      </a:lnTo>
                      <a:cubicBezTo>
                        <a:pt x="1100473" y="286680"/>
                        <a:pt x="1096306" y="285601"/>
                        <a:pt x="1090725" y="285601"/>
                      </a:cubicBezTo>
                      <a:cubicBezTo>
                        <a:pt x="1076660" y="285601"/>
                        <a:pt x="1069628" y="295051"/>
                        <a:pt x="1069628" y="313953"/>
                      </a:cubicBezTo>
                      <a:lnTo>
                        <a:pt x="1069628" y="332928"/>
                      </a:lnTo>
                      <a:lnTo>
                        <a:pt x="1099877" y="332928"/>
                      </a:lnTo>
                      <a:lnTo>
                        <a:pt x="1099877" y="342304"/>
                      </a:lnTo>
                      <a:lnTo>
                        <a:pt x="1069628" y="342304"/>
                      </a:lnTo>
                      <a:lnTo>
                        <a:pt x="1069628" y="447228"/>
                      </a:lnTo>
                      <a:lnTo>
                        <a:pt x="1059359" y="447228"/>
                      </a:lnTo>
                      <a:lnTo>
                        <a:pt x="1059359" y="342304"/>
                      </a:lnTo>
                      <a:lnTo>
                        <a:pt x="1038821" y="342304"/>
                      </a:lnTo>
                      <a:lnTo>
                        <a:pt x="1038821" y="332928"/>
                      </a:lnTo>
                      <a:lnTo>
                        <a:pt x="1059359" y="332928"/>
                      </a:lnTo>
                      <a:lnTo>
                        <a:pt x="1059359" y="313060"/>
                      </a:lnTo>
                      <a:cubicBezTo>
                        <a:pt x="1059359" y="301005"/>
                        <a:pt x="1062391" y="291852"/>
                        <a:pt x="1068456" y="285601"/>
                      </a:cubicBezTo>
                      <a:cubicBezTo>
                        <a:pt x="1074521" y="279350"/>
                        <a:pt x="1082093" y="276225"/>
                        <a:pt x="1091171" y="276225"/>
                      </a:cubicBezTo>
                      <a:close/>
                      <a:moveTo>
                        <a:pt x="1797807" y="109500"/>
                      </a:moveTo>
                      <a:lnTo>
                        <a:pt x="1766330" y="114076"/>
                      </a:lnTo>
                      <a:cubicBezTo>
                        <a:pt x="1754349" y="115788"/>
                        <a:pt x="1745940" y="118560"/>
                        <a:pt x="1741103" y="122392"/>
                      </a:cubicBezTo>
                      <a:cubicBezTo>
                        <a:pt x="1736267" y="126225"/>
                        <a:pt x="1733848" y="132457"/>
                        <a:pt x="1733848" y="141089"/>
                      </a:cubicBezTo>
                      <a:cubicBezTo>
                        <a:pt x="1733848" y="147860"/>
                        <a:pt x="1736099" y="153442"/>
                        <a:pt x="1740601" y="157832"/>
                      </a:cubicBezTo>
                      <a:cubicBezTo>
                        <a:pt x="1745103" y="162222"/>
                        <a:pt x="1751373" y="164418"/>
                        <a:pt x="1759409" y="164418"/>
                      </a:cubicBezTo>
                      <a:cubicBezTo>
                        <a:pt x="1770423" y="164418"/>
                        <a:pt x="1779575" y="160343"/>
                        <a:pt x="1786868" y="152195"/>
                      </a:cubicBezTo>
                      <a:cubicBezTo>
                        <a:pt x="1794161" y="144047"/>
                        <a:pt x="1797807" y="133536"/>
                        <a:pt x="1797807" y="120662"/>
                      </a:cubicBezTo>
                      <a:close/>
                      <a:moveTo>
                        <a:pt x="1426332" y="109500"/>
                      </a:moveTo>
                      <a:lnTo>
                        <a:pt x="1394855" y="114076"/>
                      </a:lnTo>
                      <a:cubicBezTo>
                        <a:pt x="1382874" y="115788"/>
                        <a:pt x="1374465" y="118560"/>
                        <a:pt x="1369628" y="122392"/>
                      </a:cubicBezTo>
                      <a:cubicBezTo>
                        <a:pt x="1364791" y="126225"/>
                        <a:pt x="1362373" y="132457"/>
                        <a:pt x="1362373" y="141089"/>
                      </a:cubicBezTo>
                      <a:cubicBezTo>
                        <a:pt x="1362373" y="147860"/>
                        <a:pt x="1364624" y="153442"/>
                        <a:pt x="1369126" y="157832"/>
                      </a:cubicBezTo>
                      <a:cubicBezTo>
                        <a:pt x="1373628" y="162222"/>
                        <a:pt x="1379897" y="164418"/>
                        <a:pt x="1387934" y="164418"/>
                      </a:cubicBezTo>
                      <a:cubicBezTo>
                        <a:pt x="1398947" y="164418"/>
                        <a:pt x="1408101" y="160343"/>
                        <a:pt x="1415393" y="152195"/>
                      </a:cubicBezTo>
                      <a:cubicBezTo>
                        <a:pt x="1422686" y="144047"/>
                        <a:pt x="1426332" y="133536"/>
                        <a:pt x="1426332" y="120662"/>
                      </a:cubicBezTo>
                      <a:close/>
                      <a:moveTo>
                        <a:pt x="350379" y="101017"/>
                      </a:moveTo>
                      <a:cubicBezTo>
                        <a:pt x="341896" y="101017"/>
                        <a:pt x="335161" y="103919"/>
                        <a:pt x="330176" y="109723"/>
                      </a:cubicBezTo>
                      <a:cubicBezTo>
                        <a:pt x="325190" y="115528"/>
                        <a:pt x="322697" y="123453"/>
                        <a:pt x="322697" y="133499"/>
                      </a:cubicBezTo>
                      <a:cubicBezTo>
                        <a:pt x="322697" y="143098"/>
                        <a:pt x="325097" y="150725"/>
                        <a:pt x="329897" y="156381"/>
                      </a:cubicBezTo>
                      <a:cubicBezTo>
                        <a:pt x="334696" y="162036"/>
                        <a:pt x="341301" y="164864"/>
                        <a:pt x="349709" y="164864"/>
                      </a:cubicBezTo>
                      <a:cubicBezTo>
                        <a:pt x="358267" y="164864"/>
                        <a:pt x="364946" y="161981"/>
                        <a:pt x="369745" y="156213"/>
                      </a:cubicBezTo>
                      <a:cubicBezTo>
                        <a:pt x="374545" y="150446"/>
                        <a:pt x="376945" y="142651"/>
                        <a:pt x="376945" y="132829"/>
                      </a:cubicBezTo>
                      <a:cubicBezTo>
                        <a:pt x="376945" y="122336"/>
                        <a:pt x="374564" y="114411"/>
                        <a:pt x="369801" y="109054"/>
                      </a:cubicBezTo>
                      <a:cubicBezTo>
                        <a:pt x="365039" y="103696"/>
                        <a:pt x="358565" y="101017"/>
                        <a:pt x="350379" y="101017"/>
                      </a:cubicBezTo>
                      <a:close/>
                      <a:moveTo>
                        <a:pt x="350602" y="91864"/>
                      </a:moveTo>
                      <a:cubicBezTo>
                        <a:pt x="361764" y="91864"/>
                        <a:pt x="370620" y="95510"/>
                        <a:pt x="377168" y="102803"/>
                      </a:cubicBezTo>
                      <a:cubicBezTo>
                        <a:pt x="383717" y="110095"/>
                        <a:pt x="386991" y="120178"/>
                        <a:pt x="386991" y="133052"/>
                      </a:cubicBezTo>
                      <a:cubicBezTo>
                        <a:pt x="386991" y="144661"/>
                        <a:pt x="383586" y="154353"/>
                        <a:pt x="376777" y="162129"/>
                      </a:cubicBezTo>
                      <a:cubicBezTo>
                        <a:pt x="369969" y="169906"/>
                        <a:pt x="360871" y="173794"/>
                        <a:pt x="349486" y="173794"/>
                      </a:cubicBezTo>
                      <a:cubicBezTo>
                        <a:pt x="338101" y="173794"/>
                        <a:pt x="329078" y="170036"/>
                        <a:pt x="322418" y="162520"/>
                      </a:cubicBezTo>
                      <a:cubicBezTo>
                        <a:pt x="315758" y="155004"/>
                        <a:pt x="312428" y="145256"/>
                        <a:pt x="312428" y="133275"/>
                      </a:cubicBezTo>
                      <a:cubicBezTo>
                        <a:pt x="312428" y="120104"/>
                        <a:pt x="316000" y="109909"/>
                        <a:pt x="323144" y="102691"/>
                      </a:cubicBezTo>
                      <a:cubicBezTo>
                        <a:pt x="330287" y="95473"/>
                        <a:pt x="339440" y="91864"/>
                        <a:pt x="350602" y="91864"/>
                      </a:cubicBezTo>
                      <a:close/>
                      <a:moveTo>
                        <a:pt x="2011487" y="63289"/>
                      </a:moveTo>
                      <a:cubicBezTo>
                        <a:pt x="1999506" y="63289"/>
                        <a:pt x="1989609" y="67884"/>
                        <a:pt x="1981796" y="77074"/>
                      </a:cubicBezTo>
                      <a:cubicBezTo>
                        <a:pt x="1973982" y="86264"/>
                        <a:pt x="1970075" y="98896"/>
                        <a:pt x="1970075" y="114969"/>
                      </a:cubicBezTo>
                      <a:cubicBezTo>
                        <a:pt x="1970075" y="130745"/>
                        <a:pt x="1973591" y="142931"/>
                        <a:pt x="1980624" y="151525"/>
                      </a:cubicBezTo>
                      <a:cubicBezTo>
                        <a:pt x="1987656" y="160120"/>
                        <a:pt x="1996716" y="164418"/>
                        <a:pt x="2007803" y="164418"/>
                      </a:cubicBezTo>
                      <a:cubicBezTo>
                        <a:pt x="2020826" y="164418"/>
                        <a:pt x="2030909" y="160381"/>
                        <a:pt x="2038053" y="152307"/>
                      </a:cubicBezTo>
                      <a:cubicBezTo>
                        <a:pt x="2045197" y="144233"/>
                        <a:pt x="2048768" y="134392"/>
                        <a:pt x="2048768" y="122783"/>
                      </a:cubicBezTo>
                      <a:lnTo>
                        <a:pt x="2048768" y="101463"/>
                      </a:lnTo>
                      <a:cubicBezTo>
                        <a:pt x="2048768" y="90822"/>
                        <a:pt x="2045401" y="81799"/>
                        <a:pt x="2038667" y="74395"/>
                      </a:cubicBezTo>
                      <a:cubicBezTo>
                        <a:pt x="2031932" y="66991"/>
                        <a:pt x="2022872" y="63289"/>
                        <a:pt x="2011487" y="63289"/>
                      </a:cubicBezTo>
                      <a:close/>
                      <a:moveTo>
                        <a:pt x="1581521" y="63289"/>
                      </a:moveTo>
                      <a:cubicBezTo>
                        <a:pt x="1570806" y="63289"/>
                        <a:pt x="1561932" y="66879"/>
                        <a:pt x="1554900" y="74060"/>
                      </a:cubicBezTo>
                      <a:cubicBezTo>
                        <a:pt x="1547868" y="81241"/>
                        <a:pt x="1543533" y="91529"/>
                        <a:pt x="1541896" y="104924"/>
                      </a:cubicBezTo>
                      <a:lnTo>
                        <a:pt x="1615343" y="104924"/>
                      </a:lnTo>
                      <a:cubicBezTo>
                        <a:pt x="1614896" y="91752"/>
                        <a:pt x="1611734" y="81520"/>
                        <a:pt x="1605855" y="74228"/>
                      </a:cubicBezTo>
                      <a:cubicBezTo>
                        <a:pt x="1599976" y="66935"/>
                        <a:pt x="1591865" y="63289"/>
                        <a:pt x="1581521" y="63289"/>
                      </a:cubicBezTo>
                      <a:close/>
                      <a:moveTo>
                        <a:pt x="1204652" y="63289"/>
                      </a:moveTo>
                      <a:cubicBezTo>
                        <a:pt x="1191183" y="63289"/>
                        <a:pt x="1180449" y="67828"/>
                        <a:pt x="1172450" y="76907"/>
                      </a:cubicBezTo>
                      <a:cubicBezTo>
                        <a:pt x="1164450" y="85985"/>
                        <a:pt x="1160451" y="98598"/>
                        <a:pt x="1160451" y="114746"/>
                      </a:cubicBezTo>
                      <a:cubicBezTo>
                        <a:pt x="1160451" y="129703"/>
                        <a:pt x="1164357" y="141721"/>
                        <a:pt x="1172171" y="150800"/>
                      </a:cubicBezTo>
                      <a:cubicBezTo>
                        <a:pt x="1179984" y="159878"/>
                        <a:pt x="1190663" y="164418"/>
                        <a:pt x="1204206" y="164418"/>
                      </a:cubicBezTo>
                      <a:cubicBezTo>
                        <a:pt x="1217973" y="164418"/>
                        <a:pt x="1228577" y="159953"/>
                        <a:pt x="1236018" y="151023"/>
                      </a:cubicBezTo>
                      <a:cubicBezTo>
                        <a:pt x="1243459" y="142093"/>
                        <a:pt x="1247180" y="129703"/>
                        <a:pt x="1247180" y="113853"/>
                      </a:cubicBezTo>
                      <a:cubicBezTo>
                        <a:pt x="1247180" y="97557"/>
                        <a:pt x="1243478" y="85055"/>
                        <a:pt x="1236074" y="76349"/>
                      </a:cubicBezTo>
                      <a:cubicBezTo>
                        <a:pt x="1228669" y="67642"/>
                        <a:pt x="1218196" y="63289"/>
                        <a:pt x="1204652" y="63289"/>
                      </a:cubicBezTo>
                      <a:close/>
                      <a:moveTo>
                        <a:pt x="1086297" y="63289"/>
                      </a:moveTo>
                      <a:cubicBezTo>
                        <a:pt x="1072977" y="63289"/>
                        <a:pt x="1062671" y="67754"/>
                        <a:pt x="1055378" y="76683"/>
                      </a:cubicBezTo>
                      <a:cubicBezTo>
                        <a:pt x="1048085" y="85613"/>
                        <a:pt x="1044439" y="96105"/>
                        <a:pt x="1044439" y="108161"/>
                      </a:cubicBezTo>
                      <a:lnTo>
                        <a:pt x="1044439" y="122560"/>
                      </a:lnTo>
                      <a:cubicBezTo>
                        <a:pt x="1044439" y="134019"/>
                        <a:pt x="1048048" y="143861"/>
                        <a:pt x="1055266" y="152083"/>
                      </a:cubicBezTo>
                      <a:cubicBezTo>
                        <a:pt x="1062485" y="160306"/>
                        <a:pt x="1071972" y="164418"/>
                        <a:pt x="1083730" y="164418"/>
                      </a:cubicBezTo>
                      <a:cubicBezTo>
                        <a:pt x="1095413" y="164418"/>
                        <a:pt x="1104901" y="159413"/>
                        <a:pt x="1112193" y="149405"/>
                      </a:cubicBezTo>
                      <a:cubicBezTo>
                        <a:pt x="1119486" y="139396"/>
                        <a:pt x="1123132" y="126243"/>
                        <a:pt x="1123132" y="109947"/>
                      </a:cubicBezTo>
                      <a:cubicBezTo>
                        <a:pt x="1123132" y="95659"/>
                        <a:pt x="1119783" y="84311"/>
                        <a:pt x="1113086" y="75902"/>
                      </a:cubicBezTo>
                      <a:cubicBezTo>
                        <a:pt x="1106389" y="67493"/>
                        <a:pt x="1097459" y="63289"/>
                        <a:pt x="1086297" y="63289"/>
                      </a:cubicBezTo>
                      <a:close/>
                      <a:moveTo>
                        <a:pt x="880803" y="63289"/>
                      </a:moveTo>
                      <a:cubicBezTo>
                        <a:pt x="867334" y="63289"/>
                        <a:pt x="856599" y="67828"/>
                        <a:pt x="848600" y="76907"/>
                      </a:cubicBezTo>
                      <a:cubicBezTo>
                        <a:pt x="840600" y="85985"/>
                        <a:pt x="836601" y="98598"/>
                        <a:pt x="836601" y="114746"/>
                      </a:cubicBezTo>
                      <a:cubicBezTo>
                        <a:pt x="836601" y="129703"/>
                        <a:pt x="840507" y="141721"/>
                        <a:pt x="848321" y="150800"/>
                      </a:cubicBezTo>
                      <a:cubicBezTo>
                        <a:pt x="856134" y="159878"/>
                        <a:pt x="866813" y="164418"/>
                        <a:pt x="880356" y="164418"/>
                      </a:cubicBezTo>
                      <a:cubicBezTo>
                        <a:pt x="894123" y="164418"/>
                        <a:pt x="904727" y="159953"/>
                        <a:pt x="912168" y="151023"/>
                      </a:cubicBezTo>
                      <a:cubicBezTo>
                        <a:pt x="919609" y="142093"/>
                        <a:pt x="923330" y="129703"/>
                        <a:pt x="923330" y="113853"/>
                      </a:cubicBezTo>
                      <a:cubicBezTo>
                        <a:pt x="923330" y="97557"/>
                        <a:pt x="919628" y="85055"/>
                        <a:pt x="912224" y="76349"/>
                      </a:cubicBezTo>
                      <a:cubicBezTo>
                        <a:pt x="904820" y="67642"/>
                        <a:pt x="894346" y="63289"/>
                        <a:pt x="880803" y="63289"/>
                      </a:cubicBezTo>
                      <a:close/>
                      <a:moveTo>
                        <a:pt x="528377" y="63289"/>
                      </a:moveTo>
                      <a:cubicBezTo>
                        <a:pt x="514909" y="63289"/>
                        <a:pt x="504174" y="67828"/>
                        <a:pt x="496175" y="76907"/>
                      </a:cubicBezTo>
                      <a:cubicBezTo>
                        <a:pt x="488175" y="85985"/>
                        <a:pt x="484176" y="98598"/>
                        <a:pt x="484176" y="114746"/>
                      </a:cubicBezTo>
                      <a:cubicBezTo>
                        <a:pt x="484176" y="129703"/>
                        <a:pt x="488082" y="141721"/>
                        <a:pt x="495896" y="150800"/>
                      </a:cubicBezTo>
                      <a:cubicBezTo>
                        <a:pt x="503709" y="159878"/>
                        <a:pt x="514388" y="164418"/>
                        <a:pt x="527931" y="164418"/>
                      </a:cubicBezTo>
                      <a:cubicBezTo>
                        <a:pt x="541698" y="164418"/>
                        <a:pt x="552302" y="159953"/>
                        <a:pt x="559743" y="151023"/>
                      </a:cubicBezTo>
                      <a:cubicBezTo>
                        <a:pt x="567184" y="142093"/>
                        <a:pt x="570905" y="129703"/>
                        <a:pt x="570905" y="113853"/>
                      </a:cubicBezTo>
                      <a:cubicBezTo>
                        <a:pt x="570905" y="97557"/>
                        <a:pt x="567203" y="85055"/>
                        <a:pt x="559799" y="76349"/>
                      </a:cubicBezTo>
                      <a:cubicBezTo>
                        <a:pt x="552395" y="67642"/>
                        <a:pt x="541921" y="63289"/>
                        <a:pt x="528377" y="63289"/>
                      </a:cubicBezTo>
                      <a:close/>
                      <a:moveTo>
                        <a:pt x="2091445" y="56703"/>
                      </a:moveTo>
                      <a:lnTo>
                        <a:pt x="2101714" y="56703"/>
                      </a:lnTo>
                      <a:lnTo>
                        <a:pt x="2101714" y="171003"/>
                      </a:lnTo>
                      <a:lnTo>
                        <a:pt x="2091445" y="171003"/>
                      </a:lnTo>
                      <a:close/>
                      <a:moveTo>
                        <a:pt x="1841451" y="56703"/>
                      </a:moveTo>
                      <a:lnTo>
                        <a:pt x="1851831" y="56703"/>
                      </a:lnTo>
                      <a:lnTo>
                        <a:pt x="1851831" y="120216"/>
                      </a:lnTo>
                      <a:cubicBezTo>
                        <a:pt x="1851831" y="135694"/>
                        <a:pt x="1854380" y="146930"/>
                        <a:pt x="1859477" y="153925"/>
                      </a:cubicBezTo>
                      <a:cubicBezTo>
                        <a:pt x="1864575" y="160920"/>
                        <a:pt x="1872593" y="164418"/>
                        <a:pt x="1883532" y="164418"/>
                      </a:cubicBezTo>
                      <a:cubicBezTo>
                        <a:pt x="1894173" y="164418"/>
                        <a:pt x="1902787" y="160511"/>
                        <a:pt x="1909372" y="152697"/>
                      </a:cubicBezTo>
                      <a:cubicBezTo>
                        <a:pt x="1915958" y="144884"/>
                        <a:pt x="1919251" y="134466"/>
                        <a:pt x="1919251" y="121443"/>
                      </a:cubicBezTo>
                      <a:lnTo>
                        <a:pt x="1919251" y="56703"/>
                      </a:lnTo>
                      <a:lnTo>
                        <a:pt x="1929520" y="56703"/>
                      </a:lnTo>
                      <a:lnTo>
                        <a:pt x="1929520" y="171003"/>
                      </a:lnTo>
                      <a:lnTo>
                        <a:pt x="1919251" y="171003"/>
                      </a:lnTo>
                      <a:lnTo>
                        <a:pt x="1919251" y="150242"/>
                      </a:lnTo>
                      <a:lnTo>
                        <a:pt x="1918804" y="150242"/>
                      </a:lnTo>
                      <a:cubicBezTo>
                        <a:pt x="1910842" y="165943"/>
                        <a:pt x="1898563" y="173794"/>
                        <a:pt x="1881969" y="173794"/>
                      </a:cubicBezTo>
                      <a:cubicBezTo>
                        <a:pt x="1854957" y="173794"/>
                        <a:pt x="1841451" y="156790"/>
                        <a:pt x="1841451" y="122783"/>
                      </a:cubicBezTo>
                      <a:close/>
                      <a:moveTo>
                        <a:pt x="1324347" y="54471"/>
                      </a:moveTo>
                      <a:cubicBezTo>
                        <a:pt x="1328589" y="54471"/>
                        <a:pt x="1332384" y="55141"/>
                        <a:pt x="1335733" y="56480"/>
                      </a:cubicBezTo>
                      <a:lnTo>
                        <a:pt x="1335733" y="67419"/>
                      </a:lnTo>
                      <a:cubicBezTo>
                        <a:pt x="1332310" y="64963"/>
                        <a:pt x="1328291" y="63735"/>
                        <a:pt x="1323678" y="63735"/>
                      </a:cubicBezTo>
                      <a:cubicBezTo>
                        <a:pt x="1314674" y="63735"/>
                        <a:pt x="1307121" y="68386"/>
                        <a:pt x="1301019" y="77688"/>
                      </a:cubicBezTo>
                      <a:cubicBezTo>
                        <a:pt x="1294917" y="86990"/>
                        <a:pt x="1291866" y="100198"/>
                        <a:pt x="1291866" y="117313"/>
                      </a:cubicBezTo>
                      <a:lnTo>
                        <a:pt x="1291866" y="171003"/>
                      </a:lnTo>
                      <a:lnTo>
                        <a:pt x="1281820" y="171003"/>
                      </a:lnTo>
                      <a:lnTo>
                        <a:pt x="1281820" y="56703"/>
                      </a:lnTo>
                      <a:lnTo>
                        <a:pt x="1291866" y="56703"/>
                      </a:lnTo>
                      <a:lnTo>
                        <a:pt x="1291866" y="82041"/>
                      </a:lnTo>
                      <a:lnTo>
                        <a:pt x="1292312" y="82041"/>
                      </a:lnTo>
                      <a:cubicBezTo>
                        <a:pt x="1294917" y="73335"/>
                        <a:pt x="1299047" y="66563"/>
                        <a:pt x="1304702" y="61726"/>
                      </a:cubicBezTo>
                      <a:cubicBezTo>
                        <a:pt x="1310358" y="56889"/>
                        <a:pt x="1316906" y="54471"/>
                        <a:pt x="1324347" y="54471"/>
                      </a:cubicBezTo>
                      <a:close/>
                      <a:moveTo>
                        <a:pt x="1000497" y="54471"/>
                      </a:moveTo>
                      <a:cubicBezTo>
                        <a:pt x="1004739" y="54471"/>
                        <a:pt x="1008534" y="55141"/>
                        <a:pt x="1011883" y="56480"/>
                      </a:cubicBezTo>
                      <a:lnTo>
                        <a:pt x="1011883" y="67419"/>
                      </a:lnTo>
                      <a:cubicBezTo>
                        <a:pt x="1008460" y="64963"/>
                        <a:pt x="1004441" y="63735"/>
                        <a:pt x="999828" y="63735"/>
                      </a:cubicBezTo>
                      <a:cubicBezTo>
                        <a:pt x="990824" y="63735"/>
                        <a:pt x="983271" y="68386"/>
                        <a:pt x="977169" y="77688"/>
                      </a:cubicBezTo>
                      <a:cubicBezTo>
                        <a:pt x="971067" y="86990"/>
                        <a:pt x="968016" y="100198"/>
                        <a:pt x="968016" y="117313"/>
                      </a:cubicBezTo>
                      <a:lnTo>
                        <a:pt x="968016" y="171003"/>
                      </a:lnTo>
                      <a:lnTo>
                        <a:pt x="957970" y="171003"/>
                      </a:lnTo>
                      <a:lnTo>
                        <a:pt x="957970" y="56703"/>
                      </a:lnTo>
                      <a:lnTo>
                        <a:pt x="968016" y="56703"/>
                      </a:lnTo>
                      <a:lnTo>
                        <a:pt x="968016" y="82041"/>
                      </a:lnTo>
                      <a:lnTo>
                        <a:pt x="968462" y="82041"/>
                      </a:lnTo>
                      <a:cubicBezTo>
                        <a:pt x="971067" y="73335"/>
                        <a:pt x="975197" y="66563"/>
                        <a:pt x="980852" y="61726"/>
                      </a:cubicBezTo>
                      <a:cubicBezTo>
                        <a:pt x="986508" y="56889"/>
                        <a:pt x="993056" y="54471"/>
                        <a:pt x="1000497" y="54471"/>
                      </a:cubicBezTo>
                      <a:close/>
                      <a:moveTo>
                        <a:pt x="2237221" y="53913"/>
                      </a:moveTo>
                      <a:cubicBezTo>
                        <a:pt x="2247044" y="53913"/>
                        <a:pt x="2255452" y="55922"/>
                        <a:pt x="2262447" y="59940"/>
                      </a:cubicBezTo>
                      <a:lnTo>
                        <a:pt x="2262447" y="71549"/>
                      </a:lnTo>
                      <a:cubicBezTo>
                        <a:pt x="2253964" y="66042"/>
                        <a:pt x="2245183" y="63289"/>
                        <a:pt x="2236105" y="63289"/>
                      </a:cubicBezTo>
                      <a:cubicBezTo>
                        <a:pt x="2228589" y="63289"/>
                        <a:pt x="2222524" y="65242"/>
                        <a:pt x="2217910" y="69149"/>
                      </a:cubicBezTo>
                      <a:cubicBezTo>
                        <a:pt x="2213297" y="73056"/>
                        <a:pt x="2210990" y="78134"/>
                        <a:pt x="2210990" y="84385"/>
                      </a:cubicBezTo>
                      <a:cubicBezTo>
                        <a:pt x="2210990" y="89817"/>
                        <a:pt x="2212441" y="94227"/>
                        <a:pt x="2215343" y="97612"/>
                      </a:cubicBezTo>
                      <a:cubicBezTo>
                        <a:pt x="2218245" y="100998"/>
                        <a:pt x="2224645" y="104886"/>
                        <a:pt x="2234542" y="109277"/>
                      </a:cubicBezTo>
                      <a:cubicBezTo>
                        <a:pt x="2246448" y="114635"/>
                        <a:pt x="2254634" y="119602"/>
                        <a:pt x="2259099" y="124178"/>
                      </a:cubicBezTo>
                      <a:cubicBezTo>
                        <a:pt x="2263564" y="128755"/>
                        <a:pt x="2265796" y="134838"/>
                        <a:pt x="2265796" y="142428"/>
                      </a:cubicBezTo>
                      <a:cubicBezTo>
                        <a:pt x="2265796" y="151507"/>
                        <a:pt x="2262392" y="159004"/>
                        <a:pt x="2255582" y="164920"/>
                      </a:cubicBezTo>
                      <a:cubicBezTo>
                        <a:pt x="2248774" y="170836"/>
                        <a:pt x="2239379" y="173794"/>
                        <a:pt x="2227398" y="173794"/>
                      </a:cubicBezTo>
                      <a:cubicBezTo>
                        <a:pt x="2216385" y="173794"/>
                        <a:pt x="2207195" y="171189"/>
                        <a:pt x="2199828" y="165980"/>
                      </a:cubicBezTo>
                      <a:lnTo>
                        <a:pt x="2199828" y="153590"/>
                      </a:lnTo>
                      <a:cubicBezTo>
                        <a:pt x="2203698" y="156939"/>
                        <a:pt x="2208386" y="159581"/>
                        <a:pt x="2213892" y="161515"/>
                      </a:cubicBezTo>
                      <a:cubicBezTo>
                        <a:pt x="2219399" y="163450"/>
                        <a:pt x="2224161" y="164418"/>
                        <a:pt x="2228180" y="164418"/>
                      </a:cubicBezTo>
                      <a:cubicBezTo>
                        <a:pt x="2246114" y="164418"/>
                        <a:pt x="2255080" y="157088"/>
                        <a:pt x="2255080" y="142428"/>
                      </a:cubicBezTo>
                      <a:cubicBezTo>
                        <a:pt x="2255080" y="137368"/>
                        <a:pt x="2253108" y="133052"/>
                        <a:pt x="2249164" y="129480"/>
                      </a:cubicBezTo>
                      <a:cubicBezTo>
                        <a:pt x="2245220" y="125908"/>
                        <a:pt x="2238821" y="122225"/>
                        <a:pt x="2229966" y="118430"/>
                      </a:cubicBezTo>
                      <a:cubicBezTo>
                        <a:pt x="2219027" y="113667"/>
                        <a:pt x="2211344" y="108737"/>
                        <a:pt x="2206916" y="103640"/>
                      </a:cubicBezTo>
                      <a:cubicBezTo>
                        <a:pt x="2202488" y="98543"/>
                        <a:pt x="2200274" y="92348"/>
                        <a:pt x="2200274" y="85055"/>
                      </a:cubicBezTo>
                      <a:cubicBezTo>
                        <a:pt x="2200274" y="75753"/>
                        <a:pt x="2203828" y="68237"/>
                        <a:pt x="2210934" y="62508"/>
                      </a:cubicBezTo>
                      <a:cubicBezTo>
                        <a:pt x="2218041" y="56778"/>
                        <a:pt x="2226803" y="53913"/>
                        <a:pt x="2237221" y="53913"/>
                      </a:cubicBezTo>
                      <a:close/>
                      <a:moveTo>
                        <a:pt x="1771129" y="53913"/>
                      </a:moveTo>
                      <a:cubicBezTo>
                        <a:pt x="1782887" y="53913"/>
                        <a:pt x="1791984" y="57559"/>
                        <a:pt x="1798421" y="64852"/>
                      </a:cubicBezTo>
                      <a:cubicBezTo>
                        <a:pt x="1804858" y="72144"/>
                        <a:pt x="1808076" y="82748"/>
                        <a:pt x="1808076" y="96664"/>
                      </a:cubicBezTo>
                      <a:lnTo>
                        <a:pt x="1808076" y="171003"/>
                      </a:lnTo>
                      <a:lnTo>
                        <a:pt x="1797807" y="171003"/>
                      </a:lnTo>
                      <a:lnTo>
                        <a:pt x="1797807" y="148121"/>
                      </a:lnTo>
                      <a:lnTo>
                        <a:pt x="1797360" y="148121"/>
                      </a:lnTo>
                      <a:cubicBezTo>
                        <a:pt x="1793714" y="155934"/>
                        <a:pt x="1788412" y="162167"/>
                        <a:pt x="1781454" y="166817"/>
                      </a:cubicBezTo>
                      <a:cubicBezTo>
                        <a:pt x="1774497" y="171468"/>
                        <a:pt x="1766776" y="173794"/>
                        <a:pt x="1758293" y="173794"/>
                      </a:cubicBezTo>
                      <a:cubicBezTo>
                        <a:pt x="1747429" y="173794"/>
                        <a:pt x="1738834" y="170743"/>
                        <a:pt x="1732509" y="164641"/>
                      </a:cubicBezTo>
                      <a:cubicBezTo>
                        <a:pt x="1726183" y="158539"/>
                        <a:pt x="1723021" y="150837"/>
                        <a:pt x="1723021" y="141535"/>
                      </a:cubicBezTo>
                      <a:cubicBezTo>
                        <a:pt x="1723021" y="121592"/>
                        <a:pt x="1736229" y="109537"/>
                        <a:pt x="1762646" y="105370"/>
                      </a:cubicBezTo>
                      <a:lnTo>
                        <a:pt x="1797807" y="100124"/>
                      </a:lnTo>
                      <a:cubicBezTo>
                        <a:pt x="1797807" y="75567"/>
                        <a:pt x="1788579" y="63289"/>
                        <a:pt x="1770125" y="63289"/>
                      </a:cubicBezTo>
                      <a:cubicBezTo>
                        <a:pt x="1757549" y="63289"/>
                        <a:pt x="1745308" y="68349"/>
                        <a:pt x="1733401" y="78469"/>
                      </a:cubicBezTo>
                      <a:lnTo>
                        <a:pt x="1733401" y="66079"/>
                      </a:lnTo>
                      <a:cubicBezTo>
                        <a:pt x="1737643" y="62731"/>
                        <a:pt x="1743392" y="59866"/>
                        <a:pt x="1750647" y="57485"/>
                      </a:cubicBezTo>
                      <a:cubicBezTo>
                        <a:pt x="1757902" y="55103"/>
                        <a:pt x="1764730" y="53913"/>
                        <a:pt x="1771129" y="53913"/>
                      </a:cubicBezTo>
                      <a:close/>
                      <a:moveTo>
                        <a:pt x="1581968" y="53913"/>
                      </a:moveTo>
                      <a:cubicBezTo>
                        <a:pt x="1596181" y="53913"/>
                        <a:pt x="1607083" y="58898"/>
                        <a:pt x="1614673" y="68870"/>
                      </a:cubicBezTo>
                      <a:cubicBezTo>
                        <a:pt x="1622263" y="78841"/>
                        <a:pt x="1626058" y="92459"/>
                        <a:pt x="1626058" y="109723"/>
                      </a:cubicBezTo>
                      <a:lnTo>
                        <a:pt x="1626058" y="114300"/>
                      </a:lnTo>
                      <a:lnTo>
                        <a:pt x="1541450" y="114300"/>
                      </a:lnTo>
                      <a:cubicBezTo>
                        <a:pt x="1541450" y="130001"/>
                        <a:pt x="1545077" y="142279"/>
                        <a:pt x="1552332" y="151135"/>
                      </a:cubicBezTo>
                      <a:cubicBezTo>
                        <a:pt x="1559588" y="159990"/>
                        <a:pt x="1569541" y="164418"/>
                        <a:pt x="1582191" y="164418"/>
                      </a:cubicBezTo>
                      <a:cubicBezTo>
                        <a:pt x="1594990" y="164418"/>
                        <a:pt x="1607492" y="159692"/>
                        <a:pt x="1619696" y="150242"/>
                      </a:cubicBezTo>
                      <a:lnTo>
                        <a:pt x="1619696" y="161181"/>
                      </a:lnTo>
                      <a:cubicBezTo>
                        <a:pt x="1607864" y="169589"/>
                        <a:pt x="1594656" y="173794"/>
                        <a:pt x="1580070" y="173794"/>
                      </a:cubicBezTo>
                      <a:cubicBezTo>
                        <a:pt x="1565336" y="173794"/>
                        <a:pt x="1553430" y="168510"/>
                        <a:pt x="1544352" y="157944"/>
                      </a:cubicBezTo>
                      <a:cubicBezTo>
                        <a:pt x="1535273" y="147377"/>
                        <a:pt x="1530734" y="132457"/>
                        <a:pt x="1530734" y="113184"/>
                      </a:cubicBezTo>
                      <a:cubicBezTo>
                        <a:pt x="1530734" y="96515"/>
                        <a:pt x="1535478" y="82469"/>
                        <a:pt x="1544966" y="71047"/>
                      </a:cubicBezTo>
                      <a:cubicBezTo>
                        <a:pt x="1554453" y="59624"/>
                        <a:pt x="1566788" y="53913"/>
                        <a:pt x="1581968" y="53913"/>
                      </a:cubicBezTo>
                      <a:close/>
                      <a:moveTo>
                        <a:pt x="1399655" y="53913"/>
                      </a:moveTo>
                      <a:cubicBezTo>
                        <a:pt x="1411412" y="53913"/>
                        <a:pt x="1420509" y="57559"/>
                        <a:pt x="1426946" y="64852"/>
                      </a:cubicBezTo>
                      <a:cubicBezTo>
                        <a:pt x="1433383" y="72144"/>
                        <a:pt x="1436601" y="82748"/>
                        <a:pt x="1436601" y="96664"/>
                      </a:cubicBezTo>
                      <a:lnTo>
                        <a:pt x="1436601" y="171003"/>
                      </a:lnTo>
                      <a:lnTo>
                        <a:pt x="1426332" y="171003"/>
                      </a:lnTo>
                      <a:lnTo>
                        <a:pt x="1426332" y="148121"/>
                      </a:lnTo>
                      <a:lnTo>
                        <a:pt x="1425885" y="148121"/>
                      </a:lnTo>
                      <a:cubicBezTo>
                        <a:pt x="1422239" y="155934"/>
                        <a:pt x="1416937" y="162167"/>
                        <a:pt x="1409979" y="166817"/>
                      </a:cubicBezTo>
                      <a:cubicBezTo>
                        <a:pt x="1403022" y="171468"/>
                        <a:pt x="1395301" y="173794"/>
                        <a:pt x="1386818" y="173794"/>
                      </a:cubicBezTo>
                      <a:cubicBezTo>
                        <a:pt x="1375954" y="173794"/>
                        <a:pt x="1367359" y="170743"/>
                        <a:pt x="1361034" y="164641"/>
                      </a:cubicBezTo>
                      <a:cubicBezTo>
                        <a:pt x="1354708" y="158539"/>
                        <a:pt x="1351546" y="150837"/>
                        <a:pt x="1351546" y="141535"/>
                      </a:cubicBezTo>
                      <a:cubicBezTo>
                        <a:pt x="1351546" y="121592"/>
                        <a:pt x="1364754" y="109537"/>
                        <a:pt x="1391171" y="105370"/>
                      </a:cubicBezTo>
                      <a:lnTo>
                        <a:pt x="1426332" y="100124"/>
                      </a:lnTo>
                      <a:cubicBezTo>
                        <a:pt x="1426332" y="75567"/>
                        <a:pt x="1417105" y="63289"/>
                        <a:pt x="1398650" y="63289"/>
                      </a:cubicBezTo>
                      <a:cubicBezTo>
                        <a:pt x="1386074" y="63289"/>
                        <a:pt x="1373833" y="68349"/>
                        <a:pt x="1361927" y="78469"/>
                      </a:cubicBezTo>
                      <a:lnTo>
                        <a:pt x="1361927" y="66079"/>
                      </a:lnTo>
                      <a:cubicBezTo>
                        <a:pt x="1366168" y="62731"/>
                        <a:pt x="1371917" y="59866"/>
                        <a:pt x="1379172" y="57485"/>
                      </a:cubicBezTo>
                      <a:cubicBezTo>
                        <a:pt x="1386427" y="55103"/>
                        <a:pt x="1393255" y="53913"/>
                        <a:pt x="1399655" y="53913"/>
                      </a:cubicBezTo>
                      <a:close/>
                      <a:moveTo>
                        <a:pt x="1205099" y="53913"/>
                      </a:moveTo>
                      <a:cubicBezTo>
                        <a:pt x="1221396" y="53913"/>
                        <a:pt x="1234269" y="59233"/>
                        <a:pt x="1243720" y="69875"/>
                      </a:cubicBezTo>
                      <a:cubicBezTo>
                        <a:pt x="1253170" y="80516"/>
                        <a:pt x="1257896" y="95250"/>
                        <a:pt x="1257896" y="114076"/>
                      </a:cubicBezTo>
                      <a:cubicBezTo>
                        <a:pt x="1257896" y="131861"/>
                        <a:pt x="1253077" y="146261"/>
                        <a:pt x="1243441" y="157274"/>
                      </a:cubicBezTo>
                      <a:cubicBezTo>
                        <a:pt x="1233804" y="168287"/>
                        <a:pt x="1220614" y="173794"/>
                        <a:pt x="1203871" y="173794"/>
                      </a:cubicBezTo>
                      <a:cubicBezTo>
                        <a:pt x="1187202" y="173794"/>
                        <a:pt x="1174012" y="168306"/>
                        <a:pt x="1164301" y="157330"/>
                      </a:cubicBezTo>
                      <a:cubicBezTo>
                        <a:pt x="1154590" y="146354"/>
                        <a:pt x="1149735" y="132085"/>
                        <a:pt x="1149735" y="114523"/>
                      </a:cubicBezTo>
                      <a:cubicBezTo>
                        <a:pt x="1149735" y="95547"/>
                        <a:pt x="1154814" y="80702"/>
                        <a:pt x="1164971" y="69986"/>
                      </a:cubicBezTo>
                      <a:cubicBezTo>
                        <a:pt x="1175129" y="59271"/>
                        <a:pt x="1188505" y="53913"/>
                        <a:pt x="1205099" y="53913"/>
                      </a:cubicBezTo>
                      <a:close/>
                      <a:moveTo>
                        <a:pt x="1087637" y="53913"/>
                      </a:moveTo>
                      <a:cubicBezTo>
                        <a:pt x="1102147" y="53913"/>
                        <a:pt x="1113477" y="58917"/>
                        <a:pt x="1121625" y="68926"/>
                      </a:cubicBezTo>
                      <a:cubicBezTo>
                        <a:pt x="1129773" y="78934"/>
                        <a:pt x="1133847" y="92534"/>
                        <a:pt x="1133847" y="109723"/>
                      </a:cubicBezTo>
                      <a:cubicBezTo>
                        <a:pt x="1133847" y="128848"/>
                        <a:pt x="1129178" y="144307"/>
                        <a:pt x="1119839" y="156102"/>
                      </a:cubicBezTo>
                      <a:cubicBezTo>
                        <a:pt x="1110500" y="167896"/>
                        <a:pt x="1098166" y="173794"/>
                        <a:pt x="1082837" y="173794"/>
                      </a:cubicBezTo>
                      <a:cubicBezTo>
                        <a:pt x="1065721" y="173794"/>
                        <a:pt x="1053071" y="166092"/>
                        <a:pt x="1044886" y="150688"/>
                      </a:cubicBezTo>
                      <a:lnTo>
                        <a:pt x="1044439" y="150688"/>
                      </a:lnTo>
                      <a:lnTo>
                        <a:pt x="1044439" y="223577"/>
                      </a:lnTo>
                      <a:lnTo>
                        <a:pt x="1034170" y="223577"/>
                      </a:lnTo>
                      <a:lnTo>
                        <a:pt x="1034170" y="56703"/>
                      </a:lnTo>
                      <a:lnTo>
                        <a:pt x="1044439" y="56703"/>
                      </a:lnTo>
                      <a:lnTo>
                        <a:pt x="1044439" y="80255"/>
                      </a:lnTo>
                      <a:lnTo>
                        <a:pt x="1044886" y="80255"/>
                      </a:lnTo>
                      <a:cubicBezTo>
                        <a:pt x="1048978" y="71846"/>
                        <a:pt x="1054838" y="65354"/>
                        <a:pt x="1062466" y="60777"/>
                      </a:cubicBezTo>
                      <a:cubicBezTo>
                        <a:pt x="1070093" y="56201"/>
                        <a:pt x="1078483" y="53913"/>
                        <a:pt x="1087637" y="53913"/>
                      </a:cubicBezTo>
                      <a:close/>
                      <a:moveTo>
                        <a:pt x="881249" y="53913"/>
                      </a:moveTo>
                      <a:cubicBezTo>
                        <a:pt x="897546" y="53913"/>
                        <a:pt x="910419" y="59233"/>
                        <a:pt x="919870" y="69875"/>
                      </a:cubicBezTo>
                      <a:cubicBezTo>
                        <a:pt x="929321" y="80516"/>
                        <a:pt x="934046" y="95250"/>
                        <a:pt x="934046" y="114076"/>
                      </a:cubicBezTo>
                      <a:cubicBezTo>
                        <a:pt x="934046" y="131861"/>
                        <a:pt x="929227" y="146261"/>
                        <a:pt x="919591" y="157274"/>
                      </a:cubicBezTo>
                      <a:cubicBezTo>
                        <a:pt x="909954" y="168287"/>
                        <a:pt x="896764" y="173794"/>
                        <a:pt x="880021" y="173794"/>
                      </a:cubicBezTo>
                      <a:cubicBezTo>
                        <a:pt x="863352" y="173794"/>
                        <a:pt x="850163" y="168306"/>
                        <a:pt x="840451" y="157330"/>
                      </a:cubicBezTo>
                      <a:cubicBezTo>
                        <a:pt x="830741" y="146354"/>
                        <a:pt x="825885" y="132085"/>
                        <a:pt x="825885" y="114523"/>
                      </a:cubicBezTo>
                      <a:cubicBezTo>
                        <a:pt x="825885" y="95547"/>
                        <a:pt x="830964" y="80702"/>
                        <a:pt x="841121" y="69986"/>
                      </a:cubicBezTo>
                      <a:cubicBezTo>
                        <a:pt x="851279" y="59271"/>
                        <a:pt x="864655" y="53913"/>
                        <a:pt x="881249" y="53913"/>
                      </a:cubicBezTo>
                      <a:close/>
                      <a:moveTo>
                        <a:pt x="778483" y="53913"/>
                      </a:moveTo>
                      <a:cubicBezTo>
                        <a:pt x="787190" y="53913"/>
                        <a:pt x="795636" y="55699"/>
                        <a:pt x="803821" y="59271"/>
                      </a:cubicBezTo>
                      <a:lnTo>
                        <a:pt x="803821" y="70879"/>
                      </a:lnTo>
                      <a:cubicBezTo>
                        <a:pt x="795636" y="65819"/>
                        <a:pt x="786669" y="63289"/>
                        <a:pt x="776920" y="63289"/>
                      </a:cubicBezTo>
                      <a:cubicBezTo>
                        <a:pt x="763526" y="63289"/>
                        <a:pt x="752661" y="68107"/>
                        <a:pt x="744327" y="77744"/>
                      </a:cubicBezTo>
                      <a:cubicBezTo>
                        <a:pt x="735993" y="87380"/>
                        <a:pt x="731826" y="99863"/>
                        <a:pt x="731826" y="115193"/>
                      </a:cubicBezTo>
                      <a:cubicBezTo>
                        <a:pt x="731826" y="130001"/>
                        <a:pt x="735639" y="141907"/>
                        <a:pt x="743267" y="150911"/>
                      </a:cubicBezTo>
                      <a:cubicBezTo>
                        <a:pt x="750894" y="159916"/>
                        <a:pt x="760959" y="164418"/>
                        <a:pt x="773460" y="164418"/>
                      </a:cubicBezTo>
                      <a:cubicBezTo>
                        <a:pt x="784920" y="164418"/>
                        <a:pt x="794891" y="161367"/>
                        <a:pt x="803375" y="155265"/>
                      </a:cubicBezTo>
                      <a:lnTo>
                        <a:pt x="803375" y="165980"/>
                      </a:lnTo>
                      <a:cubicBezTo>
                        <a:pt x="794891" y="171189"/>
                        <a:pt x="784771" y="173794"/>
                        <a:pt x="773014" y="173794"/>
                      </a:cubicBezTo>
                      <a:cubicBezTo>
                        <a:pt x="757461" y="173794"/>
                        <a:pt x="744923" y="168455"/>
                        <a:pt x="735397" y="157776"/>
                      </a:cubicBezTo>
                      <a:cubicBezTo>
                        <a:pt x="725873" y="147098"/>
                        <a:pt x="721110" y="133126"/>
                        <a:pt x="721110" y="115862"/>
                      </a:cubicBezTo>
                      <a:cubicBezTo>
                        <a:pt x="721110" y="97705"/>
                        <a:pt x="726468" y="82841"/>
                        <a:pt x="737183" y="71270"/>
                      </a:cubicBezTo>
                      <a:cubicBezTo>
                        <a:pt x="747899" y="59698"/>
                        <a:pt x="761666" y="53913"/>
                        <a:pt x="778483" y="53913"/>
                      </a:cubicBezTo>
                      <a:close/>
                      <a:moveTo>
                        <a:pt x="528824" y="53913"/>
                      </a:moveTo>
                      <a:cubicBezTo>
                        <a:pt x="545121" y="53913"/>
                        <a:pt x="557994" y="59233"/>
                        <a:pt x="567445" y="69875"/>
                      </a:cubicBezTo>
                      <a:cubicBezTo>
                        <a:pt x="576895" y="80516"/>
                        <a:pt x="581621" y="95250"/>
                        <a:pt x="581621" y="114076"/>
                      </a:cubicBezTo>
                      <a:cubicBezTo>
                        <a:pt x="581621" y="131861"/>
                        <a:pt x="576802" y="146261"/>
                        <a:pt x="567166" y="157274"/>
                      </a:cubicBezTo>
                      <a:cubicBezTo>
                        <a:pt x="557529" y="168287"/>
                        <a:pt x="544339" y="173794"/>
                        <a:pt x="527596" y="173794"/>
                      </a:cubicBezTo>
                      <a:cubicBezTo>
                        <a:pt x="510927" y="173794"/>
                        <a:pt x="497737" y="168306"/>
                        <a:pt x="488027" y="157330"/>
                      </a:cubicBezTo>
                      <a:cubicBezTo>
                        <a:pt x="478315" y="146354"/>
                        <a:pt x="473460" y="132085"/>
                        <a:pt x="473460" y="114523"/>
                      </a:cubicBezTo>
                      <a:cubicBezTo>
                        <a:pt x="473460" y="95547"/>
                        <a:pt x="478539" y="80702"/>
                        <a:pt x="488696" y="69986"/>
                      </a:cubicBezTo>
                      <a:cubicBezTo>
                        <a:pt x="498854" y="59271"/>
                        <a:pt x="512230" y="53913"/>
                        <a:pt x="528824" y="53913"/>
                      </a:cubicBezTo>
                      <a:close/>
                      <a:moveTo>
                        <a:pt x="2154139" y="23552"/>
                      </a:moveTo>
                      <a:lnTo>
                        <a:pt x="2154139" y="56703"/>
                      </a:lnTo>
                      <a:lnTo>
                        <a:pt x="2184276" y="56703"/>
                      </a:lnTo>
                      <a:lnTo>
                        <a:pt x="2184276" y="66079"/>
                      </a:lnTo>
                      <a:lnTo>
                        <a:pt x="2154139" y="66079"/>
                      </a:lnTo>
                      <a:lnTo>
                        <a:pt x="2154139" y="141535"/>
                      </a:lnTo>
                      <a:cubicBezTo>
                        <a:pt x="2154139" y="149423"/>
                        <a:pt x="2155385" y="155134"/>
                        <a:pt x="2157878" y="158669"/>
                      </a:cubicBezTo>
                      <a:cubicBezTo>
                        <a:pt x="2160371" y="162204"/>
                        <a:pt x="2164594" y="163971"/>
                        <a:pt x="2170547" y="163971"/>
                      </a:cubicBezTo>
                      <a:cubicBezTo>
                        <a:pt x="2174789" y="163971"/>
                        <a:pt x="2179365" y="162594"/>
                        <a:pt x="2184276" y="159841"/>
                      </a:cubicBezTo>
                      <a:lnTo>
                        <a:pt x="2184276" y="169441"/>
                      </a:lnTo>
                      <a:cubicBezTo>
                        <a:pt x="2178919" y="171971"/>
                        <a:pt x="2173895" y="173236"/>
                        <a:pt x="2169207" y="173236"/>
                      </a:cubicBezTo>
                      <a:cubicBezTo>
                        <a:pt x="2152315" y="173236"/>
                        <a:pt x="2143869" y="163115"/>
                        <a:pt x="2143869" y="142875"/>
                      </a:cubicBezTo>
                      <a:lnTo>
                        <a:pt x="2143869" y="66079"/>
                      </a:lnTo>
                      <a:lnTo>
                        <a:pt x="2123331" y="66079"/>
                      </a:lnTo>
                      <a:lnTo>
                        <a:pt x="2123331" y="56703"/>
                      </a:lnTo>
                      <a:lnTo>
                        <a:pt x="2143869" y="56703"/>
                      </a:lnTo>
                      <a:lnTo>
                        <a:pt x="2143869" y="27012"/>
                      </a:lnTo>
                      <a:cubicBezTo>
                        <a:pt x="2145507" y="26417"/>
                        <a:pt x="2147218" y="25821"/>
                        <a:pt x="2149004" y="25226"/>
                      </a:cubicBezTo>
                      <a:cubicBezTo>
                        <a:pt x="2150790" y="24705"/>
                        <a:pt x="2152501" y="24147"/>
                        <a:pt x="2154139" y="23552"/>
                      </a:cubicBezTo>
                      <a:close/>
                      <a:moveTo>
                        <a:pt x="1487389" y="23552"/>
                      </a:moveTo>
                      <a:lnTo>
                        <a:pt x="1487389" y="56703"/>
                      </a:lnTo>
                      <a:lnTo>
                        <a:pt x="1517526" y="56703"/>
                      </a:lnTo>
                      <a:lnTo>
                        <a:pt x="1517526" y="66079"/>
                      </a:lnTo>
                      <a:lnTo>
                        <a:pt x="1487389" y="66079"/>
                      </a:lnTo>
                      <a:lnTo>
                        <a:pt x="1487389" y="141535"/>
                      </a:lnTo>
                      <a:cubicBezTo>
                        <a:pt x="1487389" y="149423"/>
                        <a:pt x="1488635" y="155134"/>
                        <a:pt x="1491128" y="158669"/>
                      </a:cubicBezTo>
                      <a:cubicBezTo>
                        <a:pt x="1493621" y="162204"/>
                        <a:pt x="1497844" y="163971"/>
                        <a:pt x="1503797" y="163971"/>
                      </a:cubicBezTo>
                      <a:cubicBezTo>
                        <a:pt x="1508039" y="163971"/>
                        <a:pt x="1512615" y="162594"/>
                        <a:pt x="1517526" y="159841"/>
                      </a:cubicBezTo>
                      <a:lnTo>
                        <a:pt x="1517526" y="169441"/>
                      </a:lnTo>
                      <a:cubicBezTo>
                        <a:pt x="1512169" y="171971"/>
                        <a:pt x="1507146" y="173236"/>
                        <a:pt x="1502457" y="173236"/>
                      </a:cubicBezTo>
                      <a:cubicBezTo>
                        <a:pt x="1485565" y="173236"/>
                        <a:pt x="1477119" y="163115"/>
                        <a:pt x="1477119" y="142875"/>
                      </a:cubicBezTo>
                      <a:lnTo>
                        <a:pt x="1477119" y="66079"/>
                      </a:lnTo>
                      <a:lnTo>
                        <a:pt x="1456581" y="66079"/>
                      </a:lnTo>
                      <a:lnTo>
                        <a:pt x="1456581" y="56703"/>
                      </a:lnTo>
                      <a:lnTo>
                        <a:pt x="1477119" y="56703"/>
                      </a:lnTo>
                      <a:lnTo>
                        <a:pt x="1477119" y="27012"/>
                      </a:lnTo>
                      <a:cubicBezTo>
                        <a:pt x="1478757" y="26417"/>
                        <a:pt x="1480468" y="25821"/>
                        <a:pt x="1482254" y="25226"/>
                      </a:cubicBezTo>
                      <a:cubicBezTo>
                        <a:pt x="1484040" y="24705"/>
                        <a:pt x="1485751" y="24147"/>
                        <a:pt x="1487389" y="23552"/>
                      </a:cubicBezTo>
                      <a:close/>
                      <a:moveTo>
                        <a:pt x="161627" y="17636"/>
                      </a:moveTo>
                      <a:cubicBezTo>
                        <a:pt x="149348" y="17636"/>
                        <a:pt x="139786" y="23924"/>
                        <a:pt x="132940" y="36500"/>
                      </a:cubicBezTo>
                      <a:cubicBezTo>
                        <a:pt x="126094" y="49076"/>
                        <a:pt x="122671" y="67940"/>
                        <a:pt x="122671" y="93092"/>
                      </a:cubicBezTo>
                      <a:cubicBezTo>
                        <a:pt x="122671" y="116011"/>
                        <a:pt x="125945" y="133629"/>
                        <a:pt x="132494" y="145944"/>
                      </a:cubicBezTo>
                      <a:cubicBezTo>
                        <a:pt x="139042" y="158260"/>
                        <a:pt x="148344" y="164418"/>
                        <a:pt x="160399" y="164418"/>
                      </a:cubicBezTo>
                      <a:cubicBezTo>
                        <a:pt x="172231" y="164418"/>
                        <a:pt x="181440" y="158148"/>
                        <a:pt x="188025" y="145609"/>
                      </a:cubicBezTo>
                      <a:cubicBezTo>
                        <a:pt x="194611" y="133071"/>
                        <a:pt x="197904" y="115155"/>
                        <a:pt x="197904" y="91864"/>
                      </a:cubicBezTo>
                      <a:cubicBezTo>
                        <a:pt x="197904" y="42379"/>
                        <a:pt x="185811" y="17636"/>
                        <a:pt x="161627" y="17636"/>
                      </a:cubicBezTo>
                      <a:close/>
                      <a:moveTo>
                        <a:pt x="262868" y="16966"/>
                      </a:moveTo>
                      <a:cubicBezTo>
                        <a:pt x="254311" y="16966"/>
                        <a:pt x="247557" y="19812"/>
                        <a:pt x="242609" y="25505"/>
                      </a:cubicBezTo>
                      <a:cubicBezTo>
                        <a:pt x="237660" y="31198"/>
                        <a:pt x="235186" y="39142"/>
                        <a:pt x="235186" y="49336"/>
                      </a:cubicBezTo>
                      <a:cubicBezTo>
                        <a:pt x="235186" y="58936"/>
                        <a:pt x="237586" y="66563"/>
                        <a:pt x="242386" y="72219"/>
                      </a:cubicBezTo>
                      <a:cubicBezTo>
                        <a:pt x="247185" y="77874"/>
                        <a:pt x="253790" y="80702"/>
                        <a:pt x="262198" y="80702"/>
                      </a:cubicBezTo>
                      <a:cubicBezTo>
                        <a:pt x="270682" y="80702"/>
                        <a:pt x="277323" y="77800"/>
                        <a:pt x="282123" y="71995"/>
                      </a:cubicBezTo>
                      <a:cubicBezTo>
                        <a:pt x="286923" y="66191"/>
                        <a:pt x="289322" y="58415"/>
                        <a:pt x="289322" y="48667"/>
                      </a:cubicBezTo>
                      <a:cubicBezTo>
                        <a:pt x="289322" y="38174"/>
                        <a:pt x="286941" y="30268"/>
                        <a:pt x="282179" y="24947"/>
                      </a:cubicBezTo>
                      <a:cubicBezTo>
                        <a:pt x="277416" y="19626"/>
                        <a:pt x="270979" y="16966"/>
                        <a:pt x="262868" y="16966"/>
                      </a:cubicBezTo>
                      <a:close/>
                      <a:moveTo>
                        <a:pt x="347477" y="11162"/>
                      </a:moveTo>
                      <a:lnTo>
                        <a:pt x="358193" y="11162"/>
                      </a:lnTo>
                      <a:lnTo>
                        <a:pt x="262198" y="174687"/>
                      </a:lnTo>
                      <a:lnTo>
                        <a:pt x="251148" y="174687"/>
                      </a:lnTo>
                      <a:close/>
                      <a:moveTo>
                        <a:pt x="2096468" y="10939"/>
                      </a:moveTo>
                      <a:cubicBezTo>
                        <a:pt x="2098775" y="10939"/>
                        <a:pt x="2100802" y="11683"/>
                        <a:pt x="2102551" y="13171"/>
                      </a:cubicBezTo>
                      <a:cubicBezTo>
                        <a:pt x="2104300" y="14659"/>
                        <a:pt x="2105174" y="16668"/>
                        <a:pt x="2105174" y="19199"/>
                      </a:cubicBezTo>
                      <a:cubicBezTo>
                        <a:pt x="2105174" y="21580"/>
                        <a:pt x="2104319" y="23626"/>
                        <a:pt x="2102607" y="25338"/>
                      </a:cubicBezTo>
                      <a:cubicBezTo>
                        <a:pt x="2100895" y="27049"/>
                        <a:pt x="2098849" y="27905"/>
                        <a:pt x="2096468" y="27905"/>
                      </a:cubicBezTo>
                      <a:cubicBezTo>
                        <a:pt x="2094235" y="27905"/>
                        <a:pt x="2092263" y="27086"/>
                        <a:pt x="2090552" y="25449"/>
                      </a:cubicBezTo>
                      <a:cubicBezTo>
                        <a:pt x="2088840" y="23812"/>
                        <a:pt x="2087985" y="21729"/>
                        <a:pt x="2087985" y="19199"/>
                      </a:cubicBezTo>
                      <a:cubicBezTo>
                        <a:pt x="2087985" y="16743"/>
                        <a:pt x="2088859" y="14752"/>
                        <a:pt x="2090608" y="13227"/>
                      </a:cubicBezTo>
                      <a:cubicBezTo>
                        <a:pt x="2092356" y="11701"/>
                        <a:pt x="2094310" y="10939"/>
                        <a:pt x="2096468" y="10939"/>
                      </a:cubicBezTo>
                      <a:close/>
                      <a:moveTo>
                        <a:pt x="162520" y="8260"/>
                      </a:moveTo>
                      <a:cubicBezTo>
                        <a:pt x="193327" y="8260"/>
                        <a:pt x="208731" y="35607"/>
                        <a:pt x="208731" y="90301"/>
                      </a:cubicBezTo>
                      <a:cubicBezTo>
                        <a:pt x="208731" y="117537"/>
                        <a:pt x="204378" y="138261"/>
                        <a:pt x="195671" y="152474"/>
                      </a:cubicBezTo>
                      <a:cubicBezTo>
                        <a:pt x="186965" y="166687"/>
                        <a:pt x="174761" y="173794"/>
                        <a:pt x="159060" y="173794"/>
                      </a:cubicBezTo>
                      <a:cubicBezTo>
                        <a:pt x="144326" y="173794"/>
                        <a:pt x="132791" y="167022"/>
                        <a:pt x="124457" y="153479"/>
                      </a:cubicBezTo>
                      <a:cubicBezTo>
                        <a:pt x="116123" y="139935"/>
                        <a:pt x="111955" y="120253"/>
                        <a:pt x="111955" y="94431"/>
                      </a:cubicBezTo>
                      <a:cubicBezTo>
                        <a:pt x="111955" y="65931"/>
                        <a:pt x="116327" y="44444"/>
                        <a:pt x="125071" y="29970"/>
                      </a:cubicBezTo>
                      <a:cubicBezTo>
                        <a:pt x="133815" y="15496"/>
                        <a:pt x="146298" y="8260"/>
                        <a:pt x="162520" y="8260"/>
                      </a:cubicBezTo>
                      <a:close/>
                      <a:moveTo>
                        <a:pt x="39514" y="8260"/>
                      </a:moveTo>
                      <a:cubicBezTo>
                        <a:pt x="52165" y="8260"/>
                        <a:pt x="62192" y="11683"/>
                        <a:pt x="69596" y="18529"/>
                      </a:cubicBezTo>
                      <a:cubicBezTo>
                        <a:pt x="77000" y="25375"/>
                        <a:pt x="80703" y="34453"/>
                        <a:pt x="80703" y="45764"/>
                      </a:cubicBezTo>
                      <a:cubicBezTo>
                        <a:pt x="80703" y="67419"/>
                        <a:pt x="70322" y="81185"/>
                        <a:pt x="49560" y="87064"/>
                      </a:cubicBezTo>
                      <a:lnTo>
                        <a:pt x="49560" y="87511"/>
                      </a:lnTo>
                      <a:cubicBezTo>
                        <a:pt x="60722" y="88627"/>
                        <a:pt x="69652" y="92775"/>
                        <a:pt x="76349" y="99956"/>
                      </a:cubicBezTo>
                      <a:cubicBezTo>
                        <a:pt x="83047" y="107137"/>
                        <a:pt x="86395" y="116197"/>
                        <a:pt x="86395" y="127136"/>
                      </a:cubicBezTo>
                      <a:cubicBezTo>
                        <a:pt x="86395" y="141126"/>
                        <a:pt x="81558" y="152400"/>
                        <a:pt x="71884" y="160957"/>
                      </a:cubicBezTo>
                      <a:cubicBezTo>
                        <a:pt x="62211" y="169515"/>
                        <a:pt x="49672" y="173794"/>
                        <a:pt x="34268" y="173794"/>
                      </a:cubicBezTo>
                      <a:cubicBezTo>
                        <a:pt x="22362" y="173794"/>
                        <a:pt x="10939" y="170966"/>
                        <a:pt x="0" y="165311"/>
                      </a:cubicBezTo>
                      <a:lnTo>
                        <a:pt x="0" y="153590"/>
                      </a:lnTo>
                      <a:cubicBezTo>
                        <a:pt x="12204" y="160809"/>
                        <a:pt x="23701" y="164418"/>
                        <a:pt x="34491" y="164418"/>
                      </a:cubicBezTo>
                      <a:cubicBezTo>
                        <a:pt x="47365" y="164418"/>
                        <a:pt x="57448" y="161125"/>
                        <a:pt x="64741" y="154539"/>
                      </a:cubicBezTo>
                      <a:cubicBezTo>
                        <a:pt x="72033" y="147953"/>
                        <a:pt x="75680" y="139340"/>
                        <a:pt x="75680" y="128699"/>
                      </a:cubicBezTo>
                      <a:cubicBezTo>
                        <a:pt x="75680" y="116867"/>
                        <a:pt x="71494" y="107900"/>
                        <a:pt x="63122" y="101798"/>
                      </a:cubicBezTo>
                      <a:cubicBezTo>
                        <a:pt x="54751" y="95696"/>
                        <a:pt x="42826" y="92645"/>
                        <a:pt x="27348" y="92645"/>
                      </a:cubicBezTo>
                      <a:lnTo>
                        <a:pt x="15069" y="92645"/>
                      </a:lnTo>
                      <a:lnTo>
                        <a:pt x="15069" y="83269"/>
                      </a:lnTo>
                      <a:lnTo>
                        <a:pt x="26008" y="83269"/>
                      </a:lnTo>
                      <a:cubicBezTo>
                        <a:pt x="40296" y="83269"/>
                        <a:pt x="51179" y="80237"/>
                        <a:pt x="58657" y="74172"/>
                      </a:cubicBezTo>
                      <a:cubicBezTo>
                        <a:pt x="66136" y="68107"/>
                        <a:pt x="69875" y="59531"/>
                        <a:pt x="69875" y="48443"/>
                      </a:cubicBezTo>
                      <a:cubicBezTo>
                        <a:pt x="69875" y="38844"/>
                        <a:pt x="67159" y="31309"/>
                        <a:pt x="61727" y="25840"/>
                      </a:cubicBezTo>
                      <a:cubicBezTo>
                        <a:pt x="56295" y="20371"/>
                        <a:pt x="48370" y="17636"/>
                        <a:pt x="37952" y="17636"/>
                      </a:cubicBezTo>
                      <a:cubicBezTo>
                        <a:pt x="27906" y="17636"/>
                        <a:pt x="17376" y="21133"/>
                        <a:pt x="6363" y="28128"/>
                      </a:cubicBezTo>
                      <a:lnTo>
                        <a:pt x="6363" y="17189"/>
                      </a:lnTo>
                      <a:cubicBezTo>
                        <a:pt x="18418" y="11236"/>
                        <a:pt x="29468" y="8260"/>
                        <a:pt x="39514" y="8260"/>
                      </a:cubicBezTo>
                      <a:close/>
                      <a:moveTo>
                        <a:pt x="263091" y="7813"/>
                      </a:moveTo>
                      <a:cubicBezTo>
                        <a:pt x="274253" y="7813"/>
                        <a:pt x="283109" y="11422"/>
                        <a:pt x="289657" y="18640"/>
                      </a:cubicBezTo>
                      <a:cubicBezTo>
                        <a:pt x="296206" y="25859"/>
                        <a:pt x="299480" y="35942"/>
                        <a:pt x="299480" y="48890"/>
                      </a:cubicBezTo>
                      <a:cubicBezTo>
                        <a:pt x="299480" y="60498"/>
                        <a:pt x="296075" y="70191"/>
                        <a:pt x="289267" y="77967"/>
                      </a:cubicBezTo>
                      <a:cubicBezTo>
                        <a:pt x="282458" y="85743"/>
                        <a:pt x="273361" y="89631"/>
                        <a:pt x="261975" y="89631"/>
                      </a:cubicBezTo>
                      <a:cubicBezTo>
                        <a:pt x="250515" y="89631"/>
                        <a:pt x="241474" y="85874"/>
                        <a:pt x="234851" y="78358"/>
                      </a:cubicBezTo>
                      <a:cubicBezTo>
                        <a:pt x="228228" y="70842"/>
                        <a:pt x="224917" y="61094"/>
                        <a:pt x="224917" y="49113"/>
                      </a:cubicBezTo>
                      <a:cubicBezTo>
                        <a:pt x="224917" y="36091"/>
                        <a:pt x="228433" y="25952"/>
                        <a:pt x="235465" y="18696"/>
                      </a:cubicBezTo>
                      <a:cubicBezTo>
                        <a:pt x="242497" y="11441"/>
                        <a:pt x="251706" y="7813"/>
                        <a:pt x="263091" y="7813"/>
                      </a:cubicBezTo>
                      <a:close/>
                      <a:moveTo>
                        <a:pt x="2048768" y="1786"/>
                      </a:moveTo>
                      <a:lnTo>
                        <a:pt x="2059037" y="1786"/>
                      </a:lnTo>
                      <a:lnTo>
                        <a:pt x="2059037" y="171003"/>
                      </a:lnTo>
                      <a:lnTo>
                        <a:pt x="2048768" y="171003"/>
                      </a:lnTo>
                      <a:lnTo>
                        <a:pt x="2048768" y="150242"/>
                      </a:lnTo>
                      <a:lnTo>
                        <a:pt x="2048322" y="150242"/>
                      </a:lnTo>
                      <a:cubicBezTo>
                        <a:pt x="2044601" y="157460"/>
                        <a:pt x="2039095" y="163190"/>
                        <a:pt x="2031802" y="167431"/>
                      </a:cubicBezTo>
                      <a:cubicBezTo>
                        <a:pt x="2024509" y="171673"/>
                        <a:pt x="2016287" y="173794"/>
                        <a:pt x="2007134" y="173794"/>
                      </a:cubicBezTo>
                      <a:cubicBezTo>
                        <a:pt x="1993069" y="173794"/>
                        <a:pt x="1981591" y="168659"/>
                        <a:pt x="1972699" y="158390"/>
                      </a:cubicBezTo>
                      <a:cubicBezTo>
                        <a:pt x="1963806" y="148121"/>
                        <a:pt x="1959360" y="133945"/>
                        <a:pt x="1959360" y="115862"/>
                      </a:cubicBezTo>
                      <a:cubicBezTo>
                        <a:pt x="1959360" y="97408"/>
                        <a:pt x="1964215" y="82469"/>
                        <a:pt x="1973926" y="71047"/>
                      </a:cubicBezTo>
                      <a:cubicBezTo>
                        <a:pt x="1983637" y="59624"/>
                        <a:pt x="1996232" y="53913"/>
                        <a:pt x="2011710" y="53913"/>
                      </a:cubicBezTo>
                      <a:cubicBezTo>
                        <a:pt x="2028825" y="53913"/>
                        <a:pt x="2041029" y="60945"/>
                        <a:pt x="2048322" y="75009"/>
                      </a:cubicBezTo>
                      <a:lnTo>
                        <a:pt x="2048768" y="75009"/>
                      </a:lnTo>
                      <a:close/>
                      <a:moveTo>
                        <a:pt x="633971" y="0"/>
                      </a:moveTo>
                      <a:cubicBezTo>
                        <a:pt x="638808" y="0"/>
                        <a:pt x="642826" y="707"/>
                        <a:pt x="646026" y="2121"/>
                      </a:cubicBezTo>
                      <a:lnTo>
                        <a:pt x="646026" y="12613"/>
                      </a:lnTo>
                      <a:cubicBezTo>
                        <a:pt x="643273" y="10455"/>
                        <a:pt x="639106" y="9376"/>
                        <a:pt x="633525" y="9376"/>
                      </a:cubicBezTo>
                      <a:cubicBezTo>
                        <a:pt x="619460" y="9376"/>
                        <a:pt x="612428" y="18826"/>
                        <a:pt x="612428" y="37728"/>
                      </a:cubicBezTo>
                      <a:lnTo>
                        <a:pt x="612428" y="56703"/>
                      </a:lnTo>
                      <a:lnTo>
                        <a:pt x="642677" y="56703"/>
                      </a:lnTo>
                      <a:lnTo>
                        <a:pt x="642677" y="66079"/>
                      </a:lnTo>
                      <a:lnTo>
                        <a:pt x="612428" y="66079"/>
                      </a:lnTo>
                      <a:lnTo>
                        <a:pt x="612428" y="171003"/>
                      </a:lnTo>
                      <a:lnTo>
                        <a:pt x="602159" y="171003"/>
                      </a:lnTo>
                      <a:lnTo>
                        <a:pt x="602159" y="66079"/>
                      </a:lnTo>
                      <a:lnTo>
                        <a:pt x="581621" y="66079"/>
                      </a:lnTo>
                      <a:lnTo>
                        <a:pt x="581621" y="56703"/>
                      </a:lnTo>
                      <a:lnTo>
                        <a:pt x="602159" y="56703"/>
                      </a:lnTo>
                      <a:lnTo>
                        <a:pt x="602159" y="36835"/>
                      </a:lnTo>
                      <a:cubicBezTo>
                        <a:pt x="602159" y="24780"/>
                        <a:pt x="605191" y="15627"/>
                        <a:pt x="611256" y="9376"/>
                      </a:cubicBezTo>
                      <a:cubicBezTo>
                        <a:pt x="617321" y="3125"/>
                        <a:pt x="624893" y="0"/>
                        <a:pt x="633971" y="0"/>
                      </a:cubicBez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kern="0" dirty="0">
                      <a:solidFill>
                        <a:prstClr val="white"/>
                      </a:solidFill>
                      <a:latin typeface="Segoe UI Light" panose="020B0502040204020203" pitchFamily="34" charset="0"/>
                      <a:cs typeface="Segoe UI Light" panose="020B0502040204020203" pitchFamily="34" charset="0"/>
                    </a:rPr>
                    <a:t>30% всех финансовых аудитов и налоговых проверок будут выполняться ИИ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916" name="Home appliances"/>
              <p:cNvGrpSpPr/>
              <p:nvPr/>
            </p:nvGrpSpPr>
            <p:grpSpPr>
              <a:xfrm>
                <a:off x="46902029" y="2306344"/>
                <a:ext cx="3793544" cy="2236602"/>
                <a:chOff x="5173770" y="6858000"/>
                <a:chExt cx="3793544" cy="2236602"/>
              </a:xfrm>
            </p:grpSpPr>
            <p:sp>
              <p:nvSpPr>
                <p:cNvPr id="779" name="Freeform 189"/>
                <p:cNvSpPr>
                  <a:spLocks noEditPoints="1"/>
                </p:cNvSpPr>
                <p:nvPr/>
              </p:nvSpPr>
              <p:spPr bwMode="auto">
                <a:xfrm>
                  <a:off x="5173770" y="7126058"/>
                  <a:ext cx="737081" cy="406960"/>
                </a:xfrm>
                <a:custGeom>
                  <a:avLst/>
                  <a:gdLst>
                    <a:gd name="T0" fmla="*/ 926 w 964"/>
                    <a:gd name="T1" fmla="*/ 0 h 532"/>
                    <a:gd name="T2" fmla="*/ 38 w 964"/>
                    <a:gd name="T3" fmla="*/ 0 h 532"/>
                    <a:gd name="T4" fmla="*/ 0 w 964"/>
                    <a:gd name="T5" fmla="*/ 38 h 532"/>
                    <a:gd name="T6" fmla="*/ 0 w 964"/>
                    <a:gd name="T7" fmla="*/ 532 h 532"/>
                    <a:gd name="T8" fmla="*/ 964 w 964"/>
                    <a:gd name="T9" fmla="*/ 532 h 532"/>
                    <a:gd name="T10" fmla="*/ 964 w 964"/>
                    <a:gd name="T11" fmla="*/ 38 h 532"/>
                    <a:gd name="T12" fmla="*/ 926 w 964"/>
                    <a:gd name="T13" fmla="*/ 0 h 532"/>
                    <a:gd name="T14" fmla="*/ 195 w 964"/>
                    <a:gd name="T15" fmla="*/ 479 h 532"/>
                    <a:gd name="T16" fmla="*/ 183 w 964"/>
                    <a:gd name="T17" fmla="*/ 492 h 532"/>
                    <a:gd name="T18" fmla="*/ 144 w 964"/>
                    <a:gd name="T19" fmla="*/ 492 h 532"/>
                    <a:gd name="T20" fmla="*/ 132 w 964"/>
                    <a:gd name="T21" fmla="*/ 479 h 532"/>
                    <a:gd name="T22" fmla="*/ 132 w 964"/>
                    <a:gd name="T23" fmla="*/ 101 h 532"/>
                    <a:gd name="T24" fmla="*/ 144 w 964"/>
                    <a:gd name="T25" fmla="*/ 89 h 532"/>
                    <a:gd name="T26" fmla="*/ 183 w 964"/>
                    <a:gd name="T27" fmla="*/ 89 h 532"/>
                    <a:gd name="T28" fmla="*/ 195 w 964"/>
                    <a:gd name="T29" fmla="*/ 101 h 532"/>
                    <a:gd name="T30" fmla="*/ 195 w 964"/>
                    <a:gd name="T31" fmla="*/ 479 h 532"/>
                    <a:gd name="T32" fmla="*/ 860 w 964"/>
                    <a:gd name="T33" fmla="*/ 241 h 532"/>
                    <a:gd name="T34" fmla="*/ 663 w 964"/>
                    <a:gd name="T35" fmla="*/ 241 h 532"/>
                    <a:gd name="T36" fmla="*/ 663 w 964"/>
                    <a:gd name="T37" fmla="*/ 201 h 532"/>
                    <a:gd name="T38" fmla="*/ 860 w 964"/>
                    <a:gd name="T39" fmla="*/ 201 h 532"/>
                    <a:gd name="T40" fmla="*/ 860 w 964"/>
                    <a:gd name="T41" fmla="*/ 241 h 5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64" h="532">
                      <a:moveTo>
                        <a:pt x="926" y="0"/>
                      </a:move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532"/>
                        <a:pt x="0" y="532"/>
                        <a:pt x="0" y="532"/>
                      </a:cubicBezTo>
                      <a:cubicBezTo>
                        <a:pt x="964" y="532"/>
                        <a:pt x="964" y="532"/>
                        <a:pt x="964" y="532"/>
                      </a:cubicBezTo>
                      <a:cubicBezTo>
                        <a:pt x="964" y="38"/>
                        <a:pt x="964" y="38"/>
                        <a:pt x="964" y="38"/>
                      </a:cubicBezTo>
                      <a:cubicBezTo>
                        <a:pt x="964" y="17"/>
                        <a:pt x="947" y="0"/>
                        <a:pt x="926" y="0"/>
                      </a:cubicBezTo>
                      <a:close/>
                      <a:moveTo>
                        <a:pt x="195" y="479"/>
                      </a:moveTo>
                      <a:cubicBezTo>
                        <a:pt x="195" y="486"/>
                        <a:pt x="190" y="492"/>
                        <a:pt x="183" y="492"/>
                      </a:cubicBezTo>
                      <a:cubicBezTo>
                        <a:pt x="144" y="492"/>
                        <a:pt x="144" y="492"/>
                        <a:pt x="144" y="492"/>
                      </a:cubicBezTo>
                      <a:cubicBezTo>
                        <a:pt x="137" y="492"/>
                        <a:pt x="132" y="486"/>
                        <a:pt x="132" y="479"/>
                      </a:cubicBezTo>
                      <a:cubicBezTo>
                        <a:pt x="132" y="101"/>
                        <a:pt x="132" y="101"/>
                        <a:pt x="132" y="101"/>
                      </a:cubicBezTo>
                      <a:cubicBezTo>
                        <a:pt x="132" y="94"/>
                        <a:pt x="137" y="89"/>
                        <a:pt x="144" y="89"/>
                      </a:cubicBezTo>
                      <a:cubicBezTo>
                        <a:pt x="183" y="89"/>
                        <a:pt x="183" y="89"/>
                        <a:pt x="183" y="89"/>
                      </a:cubicBezTo>
                      <a:cubicBezTo>
                        <a:pt x="190" y="89"/>
                        <a:pt x="195" y="94"/>
                        <a:pt x="195" y="101"/>
                      </a:cubicBezTo>
                      <a:lnTo>
                        <a:pt x="195" y="479"/>
                      </a:lnTo>
                      <a:close/>
                      <a:moveTo>
                        <a:pt x="860" y="241"/>
                      </a:moveTo>
                      <a:cubicBezTo>
                        <a:pt x="663" y="241"/>
                        <a:pt x="663" y="241"/>
                        <a:pt x="663" y="241"/>
                      </a:cubicBezTo>
                      <a:cubicBezTo>
                        <a:pt x="663" y="201"/>
                        <a:pt x="663" y="201"/>
                        <a:pt x="663" y="201"/>
                      </a:cubicBezTo>
                      <a:cubicBezTo>
                        <a:pt x="860" y="201"/>
                        <a:pt x="860" y="201"/>
                        <a:pt x="860" y="201"/>
                      </a:cubicBezTo>
                      <a:lnTo>
                        <a:pt x="860" y="24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0" name="Freeform 190"/>
                <p:cNvSpPr>
                  <a:spLocks noEditPoints="1"/>
                </p:cNvSpPr>
                <p:nvPr/>
              </p:nvSpPr>
              <p:spPr bwMode="auto">
                <a:xfrm>
                  <a:off x="5173770" y="7567169"/>
                  <a:ext cx="737081" cy="697239"/>
                </a:xfrm>
                <a:custGeom>
                  <a:avLst/>
                  <a:gdLst>
                    <a:gd name="T0" fmla="*/ 0 w 964"/>
                    <a:gd name="T1" fmla="*/ 875 h 913"/>
                    <a:gd name="T2" fmla="*/ 38 w 964"/>
                    <a:gd name="T3" fmla="*/ 913 h 913"/>
                    <a:gd name="T4" fmla="*/ 926 w 964"/>
                    <a:gd name="T5" fmla="*/ 913 h 913"/>
                    <a:gd name="T6" fmla="*/ 964 w 964"/>
                    <a:gd name="T7" fmla="*/ 875 h 913"/>
                    <a:gd name="T8" fmla="*/ 964 w 964"/>
                    <a:gd name="T9" fmla="*/ 0 h 913"/>
                    <a:gd name="T10" fmla="*/ 0 w 964"/>
                    <a:gd name="T11" fmla="*/ 0 h 913"/>
                    <a:gd name="T12" fmla="*/ 0 w 964"/>
                    <a:gd name="T13" fmla="*/ 875 h 913"/>
                    <a:gd name="T14" fmla="*/ 132 w 964"/>
                    <a:gd name="T15" fmla="*/ 65 h 913"/>
                    <a:gd name="T16" fmla="*/ 144 w 964"/>
                    <a:gd name="T17" fmla="*/ 53 h 913"/>
                    <a:gd name="T18" fmla="*/ 183 w 964"/>
                    <a:gd name="T19" fmla="*/ 53 h 913"/>
                    <a:gd name="T20" fmla="*/ 195 w 964"/>
                    <a:gd name="T21" fmla="*/ 65 h 913"/>
                    <a:gd name="T22" fmla="*/ 195 w 964"/>
                    <a:gd name="T23" fmla="*/ 635 h 913"/>
                    <a:gd name="T24" fmla="*/ 183 w 964"/>
                    <a:gd name="T25" fmla="*/ 647 h 913"/>
                    <a:gd name="T26" fmla="*/ 144 w 964"/>
                    <a:gd name="T27" fmla="*/ 647 h 913"/>
                    <a:gd name="T28" fmla="*/ 132 w 964"/>
                    <a:gd name="T29" fmla="*/ 635 h 913"/>
                    <a:gd name="T30" fmla="*/ 132 w 964"/>
                    <a:gd name="T31" fmla="*/ 65 h 9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964" h="913">
                      <a:moveTo>
                        <a:pt x="0" y="875"/>
                      </a:moveTo>
                      <a:cubicBezTo>
                        <a:pt x="0" y="896"/>
                        <a:pt x="17" y="913"/>
                        <a:pt x="38" y="913"/>
                      </a:cubicBezTo>
                      <a:cubicBezTo>
                        <a:pt x="926" y="913"/>
                        <a:pt x="926" y="913"/>
                        <a:pt x="926" y="913"/>
                      </a:cubicBezTo>
                      <a:cubicBezTo>
                        <a:pt x="947" y="913"/>
                        <a:pt x="964" y="896"/>
                        <a:pt x="964" y="875"/>
                      </a:cubicBezTo>
                      <a:cubicBezTo>
                        <a:pt x="964" y="0"/>
                        <a:pt x="964" y="0"/>
                        <a:pt x="96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875"/>
                      </a:lnTo>
                      <a:close/>
                      <a:moveTo>
                        <a:pt x="132" y="65"/>
                      </a:moveTo>
                      <a:cubicBezTo>
                        <a:pt x="132" y="59"/>
                        <a:pt x="137" y="53"/>
                        <a:pt x="144" y="53"/>
                      </a:cubicBezTo>
                      <a:cubicBezTo>
                        <a:pt x="183" y="53"/>
                        <a:pt x="183" y="53"/>
                        <a:pt x="183" y="53"/>
                      </a:cubicBezTo>
                      <a:cubicBezTo>
                        <a:pt x="190" y="53"/>
                        <a:pt x="195" y="59"/>
                        <a:pt x="195" y="65"/>
                      </a:cubicBezTo>
                      <a:cubicBezTo>
                        <a:pt x="195" y="635"/>
                        <a:pt x="195" y="635"/>
                        <a:pt x="195" y="635"/>
                      </a:cubicBezTo>
                      <a:cubicBezTo>
                        <a:pt x="195" y="642"/>
                        <a:pt x="190" y="647"/>
                        <a:pt x="183" y="647"/>
                      </a:cubicBezTo>
                      <a:cubicBezTo>
                        <a:pt x="144" y="647"/>
                        <a:pt x="144" y="647"/>
                        <a:pt x="144" y="647"/>
                      </a:cubicBezTo>
                      <a:cubicBezTo>
                        <a:pt x="137" y="647"/>
                        <a:pt x="132" y="642"/>
                        <a:pt x="132" y="635"/>
                      </a:cubicBezTo>
                      <a:lnTo>
                        <a:pt x="132" y="65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1" name="Freeform 191"/>
                <p:cNvSpPr>
                  <a:spLocks/>
                </p:cNvSpPr>
                <p:nvPr/>
              </p:nvSpPr>
              <p:spPr bwMode="auto">
                <a:xfrm>
                  <a:off x="5190845" y="8287173"/>
                  <a:ext cx="694392" cy="96760"/>
                </a:xfrm>
                <a:custGeom>
                  <a:avLst/>
                  <a:gdLst>
                    <a:gd name="T0" fmla="*/ 0 w 908"/>
                    <a:gd name="T1" fmla="*/ 74 h 127"/>
                    <a:gd name="T2" fmla="*/ 42 w 908"/>
                    <a:gd name="T3" fmla="*/ 74 h 127"/>
                    <a:gd name="T4" fmla="*/ 42 w 908"/>
                    <a:gd name="T5" fmla="*/ 101 h 127"/>
                    <a:gd name="T6" fmla="*/ 67 w 908"/>
                    <a:gd name="T7" fmla="*/ 126 h 127"/>
                    <a:gd name="T8" fmla="*/ 152 w 908"/>
                    <a:gd name="T9" fmla="*/ 126 h 127"/>
                    <a:gd name="T10" fmla="*/ 177 w 908"/>
                    <a:gd name="T11" fmla="*/ 101 h 127"/>
                    <a:gd name="T12" fmla="*/ 177 w 908"/>
                    <a:gd name="T13" fmla="*/ 74 h 127"/>
                    <a:gd name="T14" fmla="*/ 727 w 908"/>
                    <a:gd name="T15" fmla="*/ 74 h 127"/>
                    <a:gd name="T16" fmla="*/ 727 w 908"/>
                    <a:gd name="T17" fmla="*/ 101 h 127"/>
                    <a:gd name="T18" fmla="*/ 752 w 908"/>
                    <a:gd name="T19" fmla="*/ 127 h 127"/>
                    <a:gd name="T20" fmla="*/ 837 w 908"/>
                    <a:gd name="T21" fmla="*/ 127 h 127"/>
                    <a:gd name="T22" fmla="*/ 862 w 908"/>
                    <a:gd name="T23" fmla="*/ 102 h 127"/>
                    <a:gd name="T24" fmla="*/ 862 w 908"/>
                    <a:gd name="T25" fmla="*/ 74 h 127"/>
                    <a:gd name="T26" fmla="*/ 908 w 908"/>
                    <a:gd name="T27" fmla="*/ 74 h 127"/>
                    <a:gd name="T28" fmla="*/ 908 w 908"/>
                    <a:gd name="T29" fmla="*/ 0 h 127"/>
                    <a:gd name="T30" fmla="*/ 0 w 908"/>
                    <a:gd name="T31" fmla="*/ 0 h 127"/>
                    <a:gd name="T32" fmla="*/ 0 w 908"/>
                    <a:gd name="T33" fmla="*/ 74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8" h="127">
                      <a:moveTo>
                        <a:pt x="0" y="74"/>
                      </a:moveTo>
                      <a:cubicBezTo>
                        <a:pt x="42" y="74"/>
                        <a:pt x="42" y="74"/>
                        <a:pt x="42" y="74"/>
                      </a:cubicBezTo>
                      <a:cubicBezTo>
                        <a:pt x="42" y="101"/>
                        <a:pt x="42" y="101"/>
                        <a:pt x="42" y="101"/>
                      </a:cubicBezTo>
                      <a:cubicBezTo>
                        <a:pt x="42" y="114"/>
                        <a:pt x="53" y="126"/>
                        <a:pt x="67" y="126"/>
                      </a:cubicBezTo>
                      <a:cubicBezTo>
                        <a:pt x="152" y="126"/>
                        <a:pt x="152" y="126"/>
                        <a:pt x="152" y="126"/>
                      </a:cubicBezTo>
                      <a:cubicBezTo>
                        <a:pt x="166" y="126"/>
                        <a:pt x="177" y="115"/>
                        <a:pt x="177" y="101"/>
                      </a:cubicBezTo>
                      <a:cubicBezTo>
                        <a:pt x="177" y="74"/>
                        <a:pt x="177" y="74"/>
                        <a:pt x="177" y="74"/>
                      </a:cubicBezTo>
                      <a:cubicBezTo>
                        <a:pt x="727" y="74"/>
                        <a:pt x="727" y="74"/>
                        <a:pt x="727" y="74"/>
                      </a:cubicBezTo>
                      <a:cubicBezTo>
                        <a:pt x="727" y="101"/>
                        <a:pt x="727" y="101"/>
                        <a:pt x="727" y="101"/>
                      </a:cubicBezTo>
                      <a:cubicBezTo>
                        <a:pt x="727" y="115"/>
                        <a:pt x="738" y="127"/>
                        <a:pt x="752" y="127"/>
                      </a:cubicBezTo>
                      <a:cubicBezTo>
                        <a:pt x="837" y="127"/>
                        <a:pt x="837" y="127"/>
                        <a:pt x="837" y="127"/>
                      </a:cubicBezTo>
                      <a:cubicBezTo>
                        <a:pt x="851" y="127"/>
                        <a:pt x="862" y="115"/>
                        <a:pt x="862" y="102"/>
                      </a:cubicBezTo>
                      <a:cubicBezTo>
                        <a:pt x="862" y="74"/>
                        <a:pt x="862" y="74"/>
                        <a:pt x="862" y="74"/>
                      </a:cubicBezTo>
                      <a:cubicBezTo>
                        <a:pt x="908" y="74"/>
                        <a:pt x="908" y="74"/>
                        <a:pt x="908" y="74"/>
                      </a:cubicBezTo>
                      <a:cubicBezTo>
                        <a:pt x="908" y="0"/>
                        <a:pt x="908" y="0"/>
                        <a:pt x="90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74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2" name="Freeform 192"/>
                <p:cNvSpPr>
                  <a:spLocks noEditPoints="1"/>
                </p:cNvSpPr>
                <p:nvPr/>
              </p:nvSpPr>
              <p:spPr bwMode="auto">
                <a:xfrm>
                  <a:off x="6041761" y="7555786"/>
                  <a:ext cx="700084" cy="828149"/>
                </a:xfrm>
                <a:custGeom>
                  <a:avLst/>
                  <a:gdLst>
                    <a:gd name="T0" fmla="*/ 0 w 914"/>
                    <a:gd name="T1" fmla="*/ 1011 h 1085"/>
                    <a:gd name="T2" fmla="*/ 73 w 914"/>
                    <a:gd name="T3" fmla="*/ 1085 h 1085"/>
                    <a:gd name="T4" fmla="*/ 841 w 914"/>
                    <a:gd name="T5" fmla="*/ 1085 h 1085"/>
                    <a:gd name="T6" fmla="*/ 914 w 914"/>
                    <a:gd name="T7" fmla="*/ 1011 h 1085"/>
                    <a:gd name="T8" fmla="*/ 914 w 914"/>
                    <a:gd name="T9" fmla="*/ 0 h 1085"/>
                    <a:gd name="T10" fmla="*/ 0 w 914"/>
                    <a:gd name="T11" fmla="*/ 0 h 1085"/>
                    <a:gd name="T12" fmla="*/ 0 w 914"/>
                    <a:gd name="T13" fmla="*/ 1011 h 1085"/>
                    <a:gd name="T14" fmla="*/ 457 w 914"/>
                    <a:gd name="T15" fmla="*/ 858 h 1085"/>
                    <a:gd name="T16" fmla="*/ 182 w 914"/>
                    <a:gd name="T17" fmla="*/ 582 h 1085"/>
                    <a:gd name="T18" fmla="*/ 457 w 914"/>
                    <a:gd name="T19" fmla="*/ 307 h 1085"/>
                    <a:gd name="T20" fmla="*/ 732 w 914"/>
                    <a:gd name="T21" fmla="*/ 582 h 1085"/>
                    <a:gd name="T22" fmla="*/ 457 w 914"/>
                    <a:gd name="T23" fmla="*/ 858 h 1085"/>
                    <a:gd name="T24" fmla="*/ 834 w 914"/>
                    <a:gd name="T25" fmla="*/ 85 h 1085"/>
                    <a:gd name="T26" fmla="*/ 834 w 914"/>
                    <a:gd name="T27" fmla="*/ 147 h 1085"/>
                    <a:gd name="T28" fmla="*/ 816 w 914"/>
                    <a:gd name="T29" fmla="*/ 165 h 1085"/>
                    <a:gd name="T30" fmla="*/ 713 w 914"/>
                    <a:gd name="T31" fmla="*/ 165 h 1085"/>
                    <a:gd name="T32" fmla="*/ 713 w 914"/>
                    <a:gd name="T33" fmla="*/ 66 h 1085"/>
                    <a:gd name="T34" fmla="*/ 816 w 914"/>
                    <a:gd name="T35" fmla="*/ 66 h 1085"/>
                    <a:gd name="T36" fmla="*/ 834 w 914"/>
                    <a:gd name="T37" fmla="*/ 85 h 1085"/>
                    <a:gd name="T38" fmla="*/ 562 w 914"/>
                    <a:gd name="T39" fmla="*/ 85 h 1085"/>
                    <a:gd name="T40" fmla="*/ 580 w 914"/>
                    <a:gd name="T41" fmla="*/ 66 h 1085"/>
                    <a:gd name="T42" fmla="*/ 683 w 914"/>
                    <a:gd name="T43" fmla="*/ 66 h 1085"/>
                    <a:gd name="T44" fmla="*/ 683 w 914"/>
                    <a:gd name="T45" fmla="*/ 165 h 1085"/>
                    <a:gd name="T46" fmla="*/ 580 w 914"/>
                    <a:gd name="T47" fmla="*/ 165 h 1085"/>
                    <a:gd name="T48" fmla="*/ 562 w 914"/>
                    <a:gd name="T49" fmla="*/ 147 h 1085"/>
                    <a:gd name="T50" fmla="*/ 562 w 914"/>
                    <a:gd name="T51" fmla="*/ 85 h 1085"/>
                    <a:gd name="T52" fmla="*/ 60 w 914"/>
                    <a:gd name="T53" fmla="*/ 84 h 1085"/>
                    <a:gd name="T54" fmla="*/ 78 w 914"/>
                    <a:gd name="T55" fmla="*/ 65 h 1085"/>
                    <a:gd name="T56" fmla="*/ 478 w 914"/>
                    <a:gd name="T57" fmla="*/ 65 h 1085"/>
                    <a:gd name="T58" fmla="*/ 496 w 914"/>
                    <a:gd name="T59" fmla="*/ 84 h 1085"/>
                    <a:gd name="T60" fmla="*/ 496 w 914"/>
                    <a:gd name="T61" fmla="*/ 146 h 1085"/>
                    <a:gd name="T62" fmla="*/ 478 w 914"/>
                    <a:gd name="T63" fmla="*/ 164 h 1085"/>
                    <a:gd name="T64" fmla="*/ 78 w 914"/>
                    <a:gd name="T65" fmla="*/ 164 h 1085"/>
                    <a:gd name="T66" fmla="*/ 60 w 914"/>
                    <a:gd name="T67" fmla="*/ 146 h 1085"/>
                    <a:gd name="T68" fmla="*/ 60 w 914"/>
                    <a:gd name="T69" fmla="*/ 84 h 10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914" h="1085">
                      <a:moveTo>
                        <a:pt x="0" y="1011"/>
                      </a:moveTo>
                      <a:cubicBezTo>
                        <a:pt x="0" y="1052"/>
                        <a:pt x="33" y="1085"/>
                        <a:pt x="73" y="1085"/>
                      </a:cubicBezTo>
                      <a:cubicBezTo>
                        <a:pt x="841" y="1085"/>
                        <a:pt x="841" y="1085"/>
                        <a:pt x="841" y="1085"/>
                      </a:cubicBezTo>
                      <a:cubicBezTo>
                        <a:pt x="881" y="1085"/>
                        <a:pt x="914" y="1052"/>
                        <a:pt x="914" y="1011"/>
                      </a:cubicBezTo>
                      <a:cubicBezTo>
                        <a:pt x="914" y="0"/>
                        <a:pt x="914" y="0"/>
                        <a:pt x="91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011"/>
                      </a:lnTo>
                      <a:close/>
                      <a:moveTo>
                        <a:pt x="457" y="858"/>
                      </a:moveTo>
                      <a:cubicBezTo>
                        <a:pt x="305" y="858"/>
                        <a:pt x="182" y="734"/>
                        <a:pt x="182" y="582"/>
                      </a:cubicBezTo>
                      <a:cubicBezTo>
                        <a:pt x="182" y="430"/>
                        <a:pt x="305" y="307"/>
                        <a:pt x="457" y="307"/>
                      </a:cubicBezTo>
                      <a:cubicBezTo>
                        <a:pt x="609" y="307"/>
                        <a:pt x="732" y="430"/>
                        <a:pt x="732" y="582"/>
                      </a:cubicBezTo>
                      <a:cubicBezTo>
                        <a:pt x="732" y="734"/>
                        <a:pt x="609" y="858"/>
                        <a:pt x="457" y="858"/>
                      </a:cubicBezTo>
                      <a:close/>
                      <a:moveTo>
                        <a:pt x="834" y="85"/>
                      </a:moveTo>
                      <a:cubicBezTo>
                        <a:pt x="834" y="147"/>
                        <a:pt x="834" y="147"/>
                        <a:pt x="834" y="147"/>
                      </a:cubicBezTo>
                      <a:cubicBezTo>
                        <a:pt x="834" y="157"/>
                        <a:pt x="826" y="165"/>
                        <a:pt x="816" y="165"/>
                      </a:cubicBezTo>
                      <a:cubicBezTo>
                        <a:pt x="713" y="165"/>
                        <a:pt x="713" y="165"/>
                        <a:pt x="713" y="165"/>
                      </a:cubicBezTo>
                      <a:cubicBezTo>
                        <a:pt x="713" y="66"/>
                        <a:pt x="713" y="66"/>
                        <a:pt x="713" y="66"/>
                      </a:cubicBezTo>
                      <a:cubicBezTo>
                        <a:pt x="816" y="66"/>
                        <a:pt x="816" y="66"/>
                        <a:pt x="816" y="66"/>
                      </a:cubicBezTo>
                      <a:cubicBezTo>
                        <a:pt x="826" y="66"/>
                        <a:pt x="834" y="75"/>
                        <a:pt x="834" y="85"/>
                      </a:cubicBezTo>
                      <a:close/>
                      <a:moveTo>
                        <a:pt x="562" y="85"/>
                      </a:moveTo>
                      <a:cubicBezTo>
                        <a:pt x="562" y="75"/>
                        <a:pt x="570" y="66"/>
                        <a:pt x="580" y="66"/>
                      </a:cubicBezTo>
                      <a:cubicBezTo>
                        <a:pt x="683" y="66"/>
                        <a:pt x="683" y="66"/>
                        <a:pt x="683" y="66"/>
                      </a:cubicBezTo>
                      <a:cubicBezTo>
                        <a:pt x="683" y="165"/>
                        <a:pt x="683" y="165"/>
                        <a:pt x="683" y="165"/>
                      </a:cubicBezTo>
                      <a:cubicBezTo>
                        <a:pt x="580" y="165"/>
                        <a:pt x="580" y="165"/>
                        <a:pt x="580" y="165"/>
                      </a:cubicBezTo>
                      <a:cubicBezTo>
                        <a:pt x="570" y="165"/>
                        <a:pt x="562" y="157"/>
                        <a:pt x="562" y="147"/>
                      </a:cubicBezTo>
                      <a:lnTo>
                        <a:pt x="562" y="85"/>
                      </a:lnTo>
                      <a:close/>
                      <a:moveTo>
                        <a:pt x="60" y="84"/>
                      </a:moveTo>
                      <a:cubicBezTo>
                        <a:pt x="60" y="73"/>
                        <a:pt x="68" y="65"/>
                        <a:pt x="78" y="65"/>
                      </a:cubicBezTo>
                      <a:cubicBezTo>
                        <a:pt x="478" y="65"/>
                        <a:pt x="478" y="65"/>
                        <a:pt x="478" y="65"/>
                      </a:cubicBezTo>
                      <a:cubicBezTo>
                        <a:pt x="488" y="65"/>
                        <a:pt x="496" y="73"/>
                        <a:pt x="496" y="84"/>
                      </a:cubicBezTo>
                      <a:cubicBezTo>
                        <a:pt x="496" y="146"/>
                        <a:pt x="496" y="146"/>
                        <a:pt x="496" y="146"/>
                      </a:cubicBezTo>
                      <a:cubicBezTo>
                        <a:pt x="496" y="156"/>
                        <a:pt x="488" y="164"/>
                        <a:pt x="478" y="164"/>
                      </a:cubicBezTo>
                      <a:cubicBezTo>
                        <a:pt x="78" y="164"/>
                        <a:pt x="78" y="164"/>
                        <a:pt x="78" y="164"/>
                      </a:cubicBezTo>
                      <a:cubicBezTo>
                        <a:pt x="68" y="164"/>
                        <a:pt x="60" y="156"/>
                        <a:pt x="60" y="146"/>
                      </a:cubicBezTo>
                      <a:lnTo>
                        <a:pt x="60" y="84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3" name="Freeform 193"/>
                <p:cNvSpPr>
                  <a:spLocks noEditPoints="1"/>
                </p:cNvSpPr>
                <p:nvPr/>
              </p:nvSpPr>
              <p:spPr bwMode="auto">
                <a:xfrm>
                  <a:off x="6218205" y="7826142"/>
                  <a:ext cx="347196" cy="347196"/>
                </a:xfrm>
                <a:custGeom>
                  <a:avLst/>
                  <a:gdLst>
                    <a:gd name="T0" fmla="*/ 226 w 452"/>
                    <a:gd name="T1" fmla="*/ 0 h 453"/>
                    <a:gd name="T2" fmla="*/ 0 w 452"/>
                    <a:gd name="T3" fmla="*/ 226 h 453"/>
                    <a:gd name="T4" fmla="*/ 226 w 452"/>
                    <a:gd name="T5" fmla="*/ 453 h 453"/>
                    <a:gd name="T6" fmla="*/ 452 w 452"/>
                    <a:gd name="T7" fmla="*/ 226 h 453"/>
                    <a:gd name="T8" fmla="*/ 226 w 452"/>
                    <a:gd name="T9" fmla="*/ 0 h 453"/>
                    <a:gd name="T10" fmla="*/ 407 w 452"/>
                    <a:gd name="T11" fmla="*/ 269 h 453"/>
                    <a:gd name="T12" fmla="*/ 407 w 452"/>
                    <a:gd name="T13" fmla="*/ 269 h 453"/>
                    <a:gd name="T14" fmla="*/ 351 w 452"/>
                    <a:gd name="T15" fmla="*/ 236 h 453"/>
                    <a:gd name="T16" fmla="*/ 341 w 452"/>
                    <a:gd name="T17" fmla="*/ 236 h 453"/>
                    <a:gd name="T18" fmla="*/ 286 w 452"/>
                    <a:gd name="T19" fmla="*/ 269 h 453"/>
                    <a:gd name="T20" fmla="*/ 230 w 452"/>
                    <a:gd name="T21" fmla="*/ 236 h 453"/>
                    <a:gd name="T22" fmla="*/ 220 w 452"/>
                    <a:gd name="T23" fmla="*/ 236 h 453"/>
                    <a:gd name="T24" fmla="*/ 164 w 452"/>
                    <a:gd name="T25" fmla="*/ 269 h 453"/>
                    <a:gd name="T26" fmla="*/ 109 w 452"/>
                    <a:gd name="T27" fmla="*/ 236 h 453"/>
                    <a:gd name="T28" fmla="*/ 99 w 452"/>
                    <a:gd name="T29" fmla="*/ 236 h 453"/>
                    <a:gd name="T30" fmla="*/ 45 w 452"/>
                    <a:gd name="T31" fmla="*/ 269 h 453"/>
                    <a:gd name="T32" fmla="*/ 40 w 452"/>
                    <a:gd name="T33" fmla="*/ 226 h 453"/>
                    <a:gd name="T34" fmla="*/ 226 w 452"/>
                    <a:gd name="T35" fmla="*/ 40 h 453"/>
                    <a:gd name="T36" fmla="*/ 412 w 452"/>
                    <a:gd name="T37" fmla="*/ 226 h 453"/>
                    <a:gd name="T38" fmla="*/ 407 w 452"/>
                    <a:gd name="T39" fmla="*/ 269 h 4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52" h="453">
                      <a:moveTo>
                        <a:pt x="226" y="0"/>
                      </a:moveTo>
                      <a:cubicBezTo>
                        <a:pt x="101" y="0"/>
                        <a:pt x="0" y="101"/>
                        <a:pt x="0" y="226"/>
                      </a:cubicBezTo>
                      <a:cubicBezTo>
                        <a:pt x="0" y="351"/>
                        <a:pt x="101" y="453"/>
                        <a:pt x="226" y="453"/>
                      </a:cubicBezTo>
                      <a:cubicBezTo>
                        <a:pt x="351" y="453"/>
                        <a:pt x="452" y="351"/>
                        <a:pt x="452" y="226"/>
                      </a:cubicBezTo>
                      <a:cubicBezTo>
                        <a:pt x="452" y="101"/>
                        <a:pt x="351" y="0"/>
                        <a:pt x="226" y="0"/>
                      </a:cubicBezTo>
                      <a:close/>
                      <a:moveTo>
                        <a:pt x="407" y="269"/>
                      </a:moveTo>
                      <a:cubicBezTo>
                        <a:pt x="407" y="269"/>
                        <a:pt x="407" y="269"/>
                        <a:pt x="407" y="269"/>
                      </a:cubicBezTo>
                      <a:cubicBezTo>
                        <a:pt x="383" y="269"/>
                        <a:pt x="362" y="256"/>
                        <a:pt x="351" y="236"/>
                      </a:cubicBezTo>
                      <a:cubicBezTo>
                        <a:pt x="349" y="232"/>
                        <a:pt x="343" y="232"/>
                        <a:pt x="341" y="236"/>
                      </a:cubicBezTo>
                      <a:cubicBezTo>
                        <a:pt x="330" y="256"/>
                        <a:pt x="310" y="269"/>
                        <a:pt x="286" y="269"/>
                      </a:cubicBezTo>
                      <a:cubicBezTo>
                        <a:pt x="262" y="269"/>
                        <a:pt x="241" y="256"/>
                        <a:pt x="230" y="236"/>
                      </a:cubicBezTo>
                      <a:cubicBezTo>
                        <a:pt x="228" y="232"/>
                        <a:pt x="222" y="232"/>
                        <a:pt x="220" y="236"/>
                      </a:cubicBezTo>
                      <a:cubicBezTo>
                        <a:pt x="209" y="256"/>
                        <a:pt x="188" y="269"/>
                        <a:pt x="164" y="269"/>
                      </a:cubicBezTo>
                      <a:cubicBezTo>
                        <a:pt x="140" y="269"/>
                        <a:pt x="120" y="256"/>
                        <a:pt x="109" y="236"/>
                      </a:cubicBezTo>
                      <a:cubicBezTo>
                        <a:pt x="106" y="232"/>
                        <a:pt x="101" y="232"/>
                        <a:pt x="99" y="236"/>
                      </a:cubicBezTo>
                      <a:cubicBezTo>
                        <a:pt x="88" y="255"/>
                        <a:pt x="68" y="268"/>
                        <a:pt x="45" y="269"/>
                      </a:cubicBezTo>
                      <a:cubicBezTo>
                        <a:pt x="41" y="255"/>
                        <a:pt x="40" y="241"/>
                        <a:pt x="40" y="226"/>
                      </a:cubicBezTo>
                      <a:cubicBezTo>
                        <a:pt x="40" y="124"/>
                        <a:pt x="123" y="40"/>
                        <a:pt x="226" y="40"/>
                      </a:cubicBezTo>
                      <a:cubicBezTo>
                        <a:pt x="329" y="40"/>
                        <a:pt x="412" y="124"/>
                        <a:pt x="412" y="226"/>
                      </a:cubicBezTo>
                      <a:cubicBezTo>
                        <a:pt x="412" y="241"/>
                        <a:pt x="410" y="255"/>
                        <a:pt x="407" y="26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4" name="Freeform 194"/>
                <p:cNvSpPr>
                  <a:spLocks/>
                </p:cNvSpPr>
                <p:nvPr/>
              </p:nvSpPr>
              <p:spPr bwMode="auto">
                <a:xfrm>
                  <a:off x="6107215" y="7498868"/>
                  <a:ext cx="566329" cy="36997"/>
                </a:xfrm>
                <a:custGeom>
                  <a:avLst/>
                  <a:gdLst>
                    <a:gd name="T0" fmla="*/ 706 w 742"/>
                    <a:gd name="T1" fmla="*/ 0 h 47"/>
                    <a:gd name="T2" fmla="*/ 36 w 742"/>
                    <a:gd name="T3" fmla="*/ 0 h 47"/>
                    <a:gd name="T4" fmla="*/ 0 w 742"/>
                    <a:gd name="T5" fmla="*/ 37 h 47"/>
                    <a:gd name="T6" fmla="*/ 0 w 742"/>
                    <a:gd name="T7" fmla="*/ 47 h 47"/>
                    <a:gd name="T8" fmla="*/ 742 w 742"/>
                    <a:gd name="T9" fmla="*/ 47 h 47"/>
                    <a:gd name="T10" fmla="*/ 742 w 742"/>
                    <a:gd name="T11" fmla="*/ 37 h 47"/>
                    <a:gd name="T12" fmla="*/ 706 w 742"/>
                    <a:gd name="T13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42" h="47">
                      <a:moveTo>
                        <a:pt x="70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6"/>
                        <a:pt x="0" y="37"/>
                      </a:cubicBezTo>
                      <a:cubicBezTo>
                        <a:pt x="0" y="47"/>
                        <a:pt x="0" y="47"/>
                        <a:pt x="0" y="47"/>
                      </a:cubicBezTo>
                      <a:cubicBezTo>
                        <a:pt x="742" y="47"/>
                        <a:pt x="742" y="47"/>
                        <a:pt x="742" y="47"/>
                      </a:cubicBezTo>
                      <a:cubicBezTo>
                        <a:pt x="742" y="37"/>
                        <a:pt x="742" y="37"/>
                        <a:pt x="742" y="37"/>
                      </a:cubicBezTo>
                      <a:cubicBezTo>
                        <a:pt x="742" y="16"/>
                        <a:pt x="726" y="0"/>
                        <a:pt x="706" y="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5" name="Freeform 195"/>
                <p:cNvSpPr>
                  <a:spLocks/>
                </p:cNvSpPr>
                <p:nvPr/>
              </p:nvSpPr>
              <p:spPr bwMode="auto">
                <a:xfrm>
                  <a:off x="6277967" y="7612703"/>
                  <a:ext cx="8539" cy="28459"/>
                </a:xfrm>
                <a:custGeom>
                  <a:avLst/>
                  <a:gdLst>
                    <a:gd name="T0" fmla="*/ 0 w 11"/>
                    <a:gd name="T1" fmla="*/ 30 h 36"/>
                    <a:gd name="T2" fmla="*/ 5 w 11"/>
                    <a:gd name="T3" fmla="*/ 36 h 36"/>
                    <a:gd name="T4" fmla="*/ 8 w 11"/>
                    <a:gd name="T5" fmla="*/ 34 h 36"/>
                    <a:gd name="T6" fmla="*/ 11 w 11"/>
                    <a:gd name="T7" fmla="*/ 5 h 36"/>
                    <a:gd name="T8" fmla="*/ 6 w 11"/>
                    <a:gd name="T9" fmla="*/ 0 h 36"/>
                    <a:gd name="T10" fmla="*/ 2 w 11"/>
                    <a:gd name="T11" fmla="*/ 8 h 36"/>
                    <a:gd name="T12" fmla="*/ 0 w 11"/>
                    <a:gd name="T13" fmla="*/ 3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36">
                      <a:moveTo>
                        <a:pt x="0" y="30"/>
                      </a:moveTo>
                      <a:cubicBezTo>
                        <a:pt x="5" y="36"/>
                        <a:pt x="5" y="36"/>
                        <a:pt x="5" y="36"/>
                      </a:cubicBezTo>
                      <a:cubicBezTo>
                        <a:pt x="8" y="34"/>
                        <a:pt x="8" y="34"/>
                        <a:pt x="8" y="34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0" y="2"/>
                        <a:pt x="9" y="1"/>
                        <a:pt x="6" y="0"/>
                      </a:cubicBezTo>
                      <a:cubicBezTo>
                        <a:pt x="2" y="8"/>
                        <a:pt x="2" y="8"/>
                        <a:pt x="2" y="8"/>
                      </a:cubicBez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6" name="Freeform 196"/>
                <p:cNvSpPr>
                  <a:spLocks/>
                </p:cNvSpPr>
                <p:nvPr/>
              </p:nvSpPr>
              <p:spPr bwMode="auto">
                <a:xfrm>
                  <a:off x="6252355" y="7618395"/>
                  <a:ext cx="8539" cy="22767"/>
                </a:xfrm>
                <a:custGeom>
                  <a:avLst/>
                  <a:gdLst>
                    <a:gd name="T0" fmla="*/ 2 w 3"/>
                    <a:gd name="T1" fmla="*/ 6 h 8"/>
                    <a:gd name="T2" fmla="*/ 3 w 3"/>
                    <a:gd name="T3" fmla="*/ 1 h 8"/>
                    <a:gd name="T4" fmla="*/ 0 w 3"/>
                    <a:gd name="T5" fmla="*/ 0 h 8"/>
                    <a:gd name="T6" fmla="*/ 0 w 3"/>
                    <a:gd name="T7" fmla="*/ 7 h 8"/>
                    <a:gd name="T8" fmla="*/ 0 w 3"/>
                    <a:gd name="T9" fmla="*/ 8 h 8"/>
                    <a:gd name="T10" fmla="*/ 2 w 3"/>
                    <a:gd name="T11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8">
                      <a:moveTo>
                        <a:pt x="2" y="6"/>
                      </a:move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7" name="Freeform 197"/>
                <p:cNvSpPr>
                  <a:spLocks/>
                </p:cNvSpPr>
                <p:nvPr/>
              </p:nvSpPr>
              <p:spPr bwMode="auto">
                <a:xfrm>
                  <a:off x="6252355" y="7612703"/>
                  <a:ext cx="28459" cy="5692"/>
                </a:xfrm>
                <a:custGeom>
                  <a:avLst/>
                  <a:gdLst>
                    <a:gd name="T0" fmla="*/ 33 w 37"/>
                    <a:gd name="T1" fmla="*/ 8 h 8"/>
                    <a:gd name="T2" fmla="*/ 37 w 37"/>
                    <a:gd name="T3" fmla="*/ 0 h 8"/>
                    <a:gd name="T4" fmla="*/ 6 w 37"/>
                    <a:gd name="T5" fmla="*/ 0 h 8"/>
                    <a:gd name="T6" fmla="*/ 0 w 37"/>
                    <a:gd name="T7" fmla="*/ 5 h 8"/>
                    <a:gd name="T8" fmla="*/ 8 w 37"/>
                    <a:gd name="T9" fmla="*/ 8 h 8"/>
                    <a:gd name="T10" fmla="*/ 33 w 37"/>
                    <a:gd name="T1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8">
                      <a:moveTo>
                        <a:pt x="33" y="8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1"/>
                        <a:pt x="1" y="2"/>
                        <a:pt x="0" y="5"/>
                      </a:cubicBezTo>
                      <a:cubicBezTo>
                        <a:pt x="8" y="8"/>
                        <a:pt x="8" y="8"/>
                        <a:pt x="8" y="8"/>
                      </a:cubicBezTo>
                      <a:lnTo>
                        <a:pt x="33" y="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8" name="Freeform 198"/>
                <p:cNvSpPr>
                  <a:spLocks/>
                </p:cNvSpPr>
                <p:nvPr/>
              </p:nvSpPr>
              <p:spPr bwMode="auto">
                <a:xfrm>
                  <a:off x="6249508" y="7663929"/>
                  <a:ext cx="25614" cy="5692"/>
                </a:xfrm>
                <a:custGeom>
                  <a:avLst/>
                  <a:gdLst>
                    <a:gd name="T0" fmla="*/ 4 w 35"/>
                    <a:gd name="T1" fmla="*/ 9 h 9"/>
                    <a:gd name="T2" fmla="*/ 35 w 35"/>
                    <a:gd name="T3" fmla="*/ 9 h 9"/>
                    <a:gd name="T4" fmla="*/ 33 w 35"/>
                    <a:gd name="T5" fmla="*/ 0 h 9"/>
                    <a:gd name="T6" fmla="*/ 8 w 35"/>
                    <a:gd name="T7" fmla="*/ 0 h 9"/>
                    <a:gd name="T8" fmla="*/ 0 w 35"/>
                    <a:gd name="T9" fmla="*/ 3 h 9"/>
                    <a:gd name="T10" fmla="*/ 4 w 35"/>
                    <a:gd name="T1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" h="9">
                      <a:moveTo>
                        <a:pt x="4" y="9"/>
                      </a:moveTo>
                      <a:cubicBezTo>
                        <a:pt x="35" y="9"/>
                        <a:pt x="35" y="9"/>
                        <a:pt x="35" y="9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6"/>
                        <a:pt x="2" y="8"/>
                        <a:pt x="4" y="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9" name="Freeform 199"/>
                <p:cNvSpPr>
                  <a:spLocks/>
                </p:cNvSpPr>
                <p:nvPr/>
              </p:nvSpPr>
              <p:spPr bwMode="auto">
                <a:xfrm>
                  <a:off x="6249508" y="7641162"/>
                  <a:ext cx="5692" cy="22767"/>
                </a:xfrm>
                <a:custGeom>
                  <a:avLst/>
                  <a:gdLst>
                    <a:gd name="T0" fmla="*/ 2 w 2"/>
                    <a:gd name="T1" fmla="*/ 2 h 8"/>
                    <a:gd name="T2" fmla="*/ 1 w 2"/>
                    <a:gd name="T3" fmla="*/ 0 h 8"/>
                    <a:gd name="T4" fmla="*/ 0 w 2"/>
                    <a:gd name="T5" fmla="*/ 1 h 8"/>
                    <a:gd name="T6" fmla="*/ 0 w 2"/>
                    <a:gd name="T7" fmla="*/ 8 h 8"/>
                    <a:gd name="T8" fmla="*/ 2 w 2"/>
                    <a:gd name="T9" fmla="*/ 7 h 8"/>
                    <a:gd name="T10" fmla="*/ 2 w 2"/>
                    <a:gd name="T11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8">
                      <a:moveTo>
                        <a:pt x="2" y="2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8"/>
                      </a:lnTo>
                      <a:lnTo>
                        <a:pt x="2" y="7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0" name="Freeform 200"/>
                <p:cNvSpPr>
                  <a:spLocks/>
                </p:cNvSpPr>
                <p:nvPr/>
              </p:nvSpPr>
              <p:spPr bwMode="auto">
                <a:xfrm>
                  <a:off x="6275122" y="7641162"/>
                  <a:ext cx="8539" cy="28459"/>
                </a:xfrm>
                <a:custGeom>
                  <a:avLst/>
                  <a:gdLst>
                    <a:gd name="T0" fmla="*/ 2 w 11"/>
                    <a:gd name="T1" fmla="*/ 6 h 37"/>
                    <a:gd name="T2" fmla="*/ 0 w 11"/>
                    <a:gd name="T3" fmla="*/ 28 h 37"/>
                    <a:gd name="T4" fmla="*/ 2 w 11"/>
                    <a:gd name="T5" fmla="*/ 37 h 37"/>
                    <a:gd name="T6" fmla="*/ 8 w 11"/>
                    <a:gd name="T7" fmla="*/ 31 h 37"/>
                    <a:gd name="T8" fmla="*/ 11 w 11"/>
                    <a:gd name="T9" fmla="*/ 2 h 37"/>
                    <a:gd name="T10" fmla="*/ 9 w 11"/>
                    <a:gd name="T11" fmla="*/ 0 h 37"/>
                    <a:gd name="T12" fmla="*/ 2 w 11"/>
                    <a:gd name="T13" fmla="*/ 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37">
                      <a:moveTo>
                        <a:pt x="2" y="6"/>
                      </a:move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2" y="37"/>
                        <a:pt x="2" y="37"/>
                        <a:pt x="2" y="37"/>
                      </a:cubicBezTo>
                      <a:cubicBezTo>
                        <a:pt x="5" y="36"/>
                        <a:pt x="7" y="34"/>
                        <a:pt x="8" y="31"/>
                      </a:cubicBezTo>
                      <a:cubicBezTo>
                        <a:pt x="11" y="2"/>
                        <a:pt x="11" y="2"/>
                        <a:pt x="11" y="2"/>
                      </a:cubicBezTo>
                      <a:cubicBezTo>
                        <a:pt x="9" y="0"/>
                        <a:pt x="9" y="0"/>
                        <a:pt x="9" y="0"/>
                      </a:cubicBez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1" name="Freeform 201"/>
                <p:cNvSpPr>
                  <a:spLocks/>
                </p:cNvSpPr>
                <p:nvPr/>
              </p:nvSpPr>
              <p:spPr bwMode="auto">
                <a:xfrm>
                  <a:off x="6292197" y="7626931"/>
                  <a:ext cx="8539" cy="5692"/>
                </a:xfrm>
                <a:custGeom>
                  <a:avLst/>
                  <a:gdLst>
                    <a:gd name="T0" fmla="*/ 3 w 3"/>
                    <a:gd name="T1" fmla="*/ 0 h 2"/>
                    <a:gd name="T2" fmla="*/ 1 w 3"/>
                    <a:gd name="T3" fmla="*/ 0 h 2"/>
                    <a:gd name="T4" fmla="*/ 0 w 3"/>
                    <a:gd name="T5" fmla="*/ 2 h 2"/>
                    <a:gd name="T6" fmla="*/ 2 w 3"/>
                    <a:gd name="T7" fmla="*/ 2 h 2"/>
                    <a:gd name="T8" fmla="*/ 3 w 3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2" name="Freeform 202"/>
                <p:cNvSpPr>
                  <a:spLocks/>
                </p:cNvSpPr>
                <p:nvPr/>
              </p:nvSpPr>
              <p:spPr bwMode="auto">
                <a:xfrm>
                  <a:off x="6289351" y="7652545"/>
                  <a:ext cx="8539" cy="5692"/>
                </a:xfrm>
                <a:custGeom>
                  <a:avLst/>
                  <a:gdLst>
                    <a:gd name="T0" fmla="*/ 3 w 3"/>
                    <a:gd name="T1" fmla="*/ 0 h 2"/>
                    <a:gd name="T2" fmla="*/ 1 w 3"/>
                    <a:gd name="T3" fmla="*/ 0 h 2"/>
                    <a:gd name="T4" fmla="*/ 0 w 3"/>
                    <a:gd name="T5" fmla="*/ 2 h 2"/>
                    <a:gd name="T6" fmla="*/ 3 w 3"/>
                    <a:gd name="T7" fmla="*/ 2 h 2"/>
                    <a:gd name="T8" fmla="*/ 3 w 3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3" name="Freeform 203"/>
                <p:cNvSpPr>
                  <a:spLocks/>
                </p:cNvSpPr>
                <p:nvPr/>
              </p:nvSpPr>
              <p:spPr bwMode="auto">
                <a:xfrm>
                  <a:off x="6303581" y="7663929"/>
                  <a:ext cx="31305" cy="5692"/>
                </a:xfrm>
                <a:custGeom>
                  <a:avLst/>
                  <a:gdLst>
                    <a:gd name="T0" fmla="*/ 5 w 39"/>
                    <a:gd name="T1" fmla="*/ 9 h 9"/>
                    <a:gd name="T2" fmla="*/ 39 w 39"/>
                    <a:gd name="T3" fmla="*/ 9 h 9"/>
                    <a:gd name="T4" fmla="*/ 37 w 39"/>
                    <a:gd name="T5" fmla="*/ 0 h 9"/>
                    <a:gd name="T6" fmla="*/ 9 w 39"/>
                    <a:gd name="T7" fmla="*/ 0 h 9"/>
                    <a:gd name="T8" fmla="*/ 0 w 39"/>
                    <a:gd name="T9" fmla="*/ 3 h 9"/>
                    <a:gd name="T10" fmla="*/ 5 w 39"/>
                    <a:gd name="T1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" h="9">
                      <a:moveTo>
                        <a:pt x="5" y="9"/>
                      </a:move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6"/>
                        <a:pt x="2" y="8"/>
                        <a:pt x="5" y="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4" name="Freeform 204"/>
                <p:cNvSpPr>
                  <a:spLocks/>
                </p:cNvSpPr>
                <p:nvPr/>
              </p:nvSpPr>
              <p:spPr bwMode="auto">
                <a:xfrm>
                  <a:off x="6334884" y="7612703"/>
                  <a:ext cx="8539" cy="28459"/>
                </a:xfrm>
                <a:custGeom>
                  <a:avLst/>
                  <a:gdLst>
                    <a:gd name="T0" fmla="*/ 0 w 11"/>
                    <a:gd name="T1" fmla="*/ 30 h 36"/>
                    <a:gd name="T2" fmla="*/ 6 w 11"/>
                    <a:gd name="T3" fmla="*/ 36 h 36"/>
                    <a:gd name="T4" fmla="*/ 8 w 11"/>
                    <a:gd name="T5" fmla="*/ 34 h 36"/>
                    <a:gd name="T6" fmla="*/ 11 w 11"/>
                    <a:gd name="T7" fmla="*/ 5 h 36"/>
                    <a:gd name="T8" fmla="*/ 6 w 11"/>
                    <a:gd name="T9" fmla="*/ 0 h 36"/>
                    <a:gd name="T10" fmla="*/ 2 w 11"/>
                    <a:gd name="T11" fmla="*/ 8 h 36"/>
                    <a:gd name="T12" fmla="*/ 0 w 11"/>
                    <a:gd name="T13" fmla="*/ 3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36">
                      <a:moveTo>
                        <a:pt x="0" y="30"/>
                      </a:move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8" y="34"/>
                        <a:pt x="8" y="34"/>
                        <a:pt x="8" y="34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2"/>
                        <a:pt x="9" y="1"/>
                        <a:pt x="6" y="0"/>
                      </a:cubicBezTo>
                      <a:cubicBezTo>
                        <a:pt x="2" y="8"/>
                        <a:pt x="2" y="8"/>
                        <a:pt x="2" y="8"/>
                      </a:cubicBez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5" name="Freeform 205"/>
                <p:cNvSpPr>
                  <a:spLocks/>
                </p:cNvSpPr>
                <p:nvPr/>
              </p:nvSpPr>
              <p:spPr bwMode="auto">
                <a:xfrm>
                  <a:off x="6303581" y="7641162"/>
                  <a:ext cx="8539" cy="22767"/>
                </a:xfrm>
                <a:custGeom>
                  <a:avLst/>
                  <a:gdLst>
                    <a:gd name="T0" fmla="*/ 3 w 3"/>
                    <a:gd name="T1" fmla="*/ 2 h 8"/>
                    <a:gd name="T2" fmla="*/ 1 w 3"/>
                    <a:gd name="T3" fmla="*/ 0 h 8"/>
                    <a:gd name="T4" fmla="*/ 1 w 3"/>
                    <a:gd name="T5" fmla="*/ 1 h 8"/>
                    <a:gd name="T6" fmla="*/ 0 w 3"/>
                    <a:gd name="T7" fmla="*/ 8 h 8"/>
                    <a:gd name="T8" fmla="*/ 3 w 3"/>
                    <a:gd name="T9" fmla="*/ 7 h 8"/>
                    <a:gd name="T10" fmla="*/ 3 w 3"/>
                    <a:gd name="T11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8">
                      <a:moveTo>
                        <a:pt x="3" y="2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8"/>
                      </a:lnTo>
                      <a:lnTo>
                        <a:pt x="3" y="7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6" name="Freeform 206"/>
                <p:cNvSpPr>
                  <a:spLocks/>
                </p:cNvSpPr>
                <p:nvPr/>
              </p:nvSpPr>
              <p:spPr bwMode="auto">
                <a:xfrm>
                  <a:off x="6309273" y="7638315"/>
                  <a:ext cx="28459" cy="5692"/>
                </a:xfrm>
                <a:custGeom>
                  <a:avLst/>
                  <a:gdLst>
                    <a:gd name="T0" fmla="*/ 1 w 10"/>
                    <a:gd name="T1" fmla="*/ 0 h 2"/>
                    <a:gd name="T2" fmla="*/ 0 w 10"/>
                    <a:gd name="T3" fmla="*/ 1 h 2"/>
                    <a:gd name="T4" fmla="*/ 1 w 10"/>
                    <a:gd name="T5" fmla="*/ 2 h 2"/>
                    <a:gd name="T6" fmla="*/ 8 w 10"/>
                    <a:gd name="T7" fmla="*/ 2 h 2"/>
                    <a:gd name="T8" fmla="*/ 10 w 10"/>
                    <a:gd name="T9" fmla="*/ 1 h 2"/>
                    <a:gd name="T10" fmla="*/ 9 w 10"/>
                    <a:gd name="T11" fmla="*/ 0 h 2"/>
                    <a:gd name="T12" fmla="*/ 1 w 10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2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8" y="2"/>
                      </a:lnTo>
                      <a:lnTo>
                        <a:pt x="10" y="1"/>
                      </a:lnTo>
                      <a:lnTo>
                        <a:pt x="9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7" name="Freeform 207"/>
                <p:cNvSpPr>
                  <a:spLocks/>
                </p:cNvSpPr>
                <p:nvPr/>
              </p:nvSpPr>
              <p:spPr bwMode="auto">
                <a:xfrm>
                  <a:off x="6309273" y="7612703"/>
                  <a:ext cx="28459" cy="5692"/>
                </a:xfrm>
                <a:custGeom>
                  <a:avLst/>
                  <a:gdLst>
                    <a:gd name="T0" fmla="*/ 32 w 36"/>
                    <a:gd name="T1" fmla="*/ 8 h 8"/>
                    <a:gd name="T2" fmla="*/ 36 w 36"/>
                    <a:gd name="T3" fmla="*/ 0 h 8"/>
                    <a:gd name="T4" fmla="*/ 5 w 36"/>
                    <a:gd name="T5" fmla="*/ 0 h 8"/>
                    <a:gd name="T6" fmla="*/ 0 w 36"/>
                    <a:gd name="T7" fmla="*/ 5 h 8"/>
                    <a:gd name="T8" fmla="*/ 8 w 36"/>
                    <a:gd name="T9" fmla="*/ 8 h 8"/>
                    <a:gd name="T10" fmla="*/ 32 w 36"/>
                    <a:gd name="T1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" h="8">
                      <a:moveTo>
                        <a:pt x="32" y="8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3" y="1"/>
                        <a:pt x="1" y="2"/>
                        <a:pt x="0" y="5"/>
                      </a:cubicBezTo>
                      <a:cubicBezTo>
                        <a:pt x="8" y="8"/>
                        <a:pt x="8" y="8"/>
                        <a:pt x="8" y="8"/>
                      </a:cubicBezTo>
                      <a:lnTo>
                        <a:pt x="32" y="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8" name="Freeform 208"/>
                <p:cNvSpPr>
                  <a:spLocks/>
                </p:cNvSpPr>
                <p:nvPr/>
              </p:nvSpPr>
              <p:spPr bwMode="auto">
                <a:xfrm>
                  <a:off x="6349115" y="7612703"/>
                  <a:ext cx="28459" cy="5692"/>
                </a:xfrm>
                <a:custGeom>
                  <a:avLst/>
                  <a:gdLst>
                    <a:gd name="T0" fmla="*/ 32 w 36"/>
                    <a:gd name="T1" fmla="*/ 8 h 8"/>
                    <a:gd name="T2" fmla="*/ 36 w 36"/>
                    <a:gd name="T3" fmla="*/ 0 h 8"/>
                    <a:gd name="T4" fmla="*/ 5 w 36"/>
                    <a:gd name="T5" fmla="*/ 0 h 8"/>
                    <a:gd name="T6" fmla="*/ 0 w 36"/>
                    <a:gd name="T7" fmla="*/ 5 h 8"/>
                    <a:gd name="T8" fmla="*/ 8 w 36"/>
                    <a:gd name="T9" fmla="*/ 8 h 8"/>
                    <a:gd name="T10" fmla="*/ 32 w 36"/>
                    <a:gd name="T1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" h="8">
                      <a:moveTo>
                        <a:pt x="32" y="8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1"/>
                        <a:pt x="0" y="2"/>
                        <a:pt x="0" y="5"/>
                      </a:cubicBezTo>
                      <a:cubicBezTo>
                        <a:pt x="8" y="8"/>
                        <a:pt x="8" y="8"/>
                        <a:pt x="8" y="8"/>
                      </a:cubicBezTo>
                      <a:lnTo>
                        <a:pt x="32" y="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99" name="Freeform 209"/>
                <p:cNvSpPr>
                  <a:spLocks/>
                </p:cNvSpPr>
                <p:nvPr/>
              </p:nvSpPr>
              <p:spPr bwMode="auto">
                <a:xfrm>
                  <a:off x="6371882" y="7641162"/>
                  <a:ext cx="8539" cy="28459"/>
                </a:xfrm>
                <a:custGeom>
                  <a:avLst/>
                  <a:gdLst>
                    <a:gd name="T0" fmla="*/ 2 w 10"/>
                    <a:gd name="T1" fmla="*/ 6 h 37"/>
                    <a:gd name="T2" fmla="*/ 0 w 10"/>
                    <a:gd name="T3" fmla="*/ 28 h 37"/>
                    <a:gd name="T4" fmla="*/ 2 w 10"/>
                    <a:gd name="T5" fmla="*/ 37 h 37"/>
                    <a:gd name="T6" fmla="*/ 8 w 10"/>
                    <a:gd name="T7" fmla="*/ 31 h 37"/>
                    <a:gd name="T8" fmla="*/ 10 w 10"/>
                    <a:gd name="T9" fmla="*/ 2 h 37"/>
                    <a:gd name="T10" fmla="*/ 9 w 10"/>
                    <a:gd name="T11" fmla="*/ 0 h 37"/>
                    <a:gd name="T12" fmla="*/ 2 w 10"/>
                    <a:gd name="T13" fmla="*/ 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37">
                      <a:moveTo>
                        <a:pt x="2" y="6"/>
                      </a:move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2" y="37"/>
                        <a:pt x="2" y="37"/>
                        <a:pt x="2" y="37"/>
                      </a:cubicBezTo>
                      <a:cubicBezTo>
                        <a:pt x="5" y="36"/>
                        <a:pt x="7" y="34"/>
                        <a:pt x="8" y="31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9" y="0"/>
                        <a:pt x="9" y="0"/>
                        <a:pt x="9" y="0"/>
                      </a:cubicBez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0" name="Freeform 210"/>
                <p:cNvSpPr>
                  <a:spLocks/>
                </p:cNvSpPr>
                <p:nvPr/>
              </p:nvSpPr>
              <p:spPr bwMode="auto">
                <a:xfrm>
                  <a:off x="6349115" y="7638315"/>
                  <a:ext cx="28459" cy="5692"/>
                </a:xfrm>
                <a:custGeom>
                  <a:avLst/>
                  <a:gdLst>
                    <a:gd name="T0" fmla="*/ 10 w 10"/>
                    <a:gd name="T1" fmla="*/ 1 h 2"/>
                    <a:gd name="T2" fmla="*/ 9 w 10"/>
                    <a:gd name="T3" fmla="*/ 0 h 2"/>
                    <a:gd name="T4" fmla="*/ 2 w 10"/>
                    <a:gd name="T5" fmla="*/ 0 h 2"/>
                    <a:gd name="T6" fmla="*/ 0 w 10"/>
                    <a:gd name="T7" fmla="*/ 1 h 2"/>
                    <a:gd name="T8" fmla="*/ 2 w 10"/>
                    <a:gd name="T9" fmla="*/ 2 h 2"/>
                    <a:gd name="T10" fmla="*/ 9 w 10"/>
                    <a:gd name="T11" fmla="*/ 2 h 2"/>
                    <a:gd name="T12" fmla="*/ 10 w 10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2">
                      <a:moveTo>
                        <a:pt x="10" y="1"/>
                      </a:moveTo>
                      <a:lnTo>
                        <a:pt x="9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9" y="2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1" name="Freeform 211"/>
                <p:cNvSpPr>
                  <a:spLocks/>
                </p:cNvSpPr>
                <p:nvPr/>
              </p:nvSpPr>
              <p:spPr bwMode="auto">
                <a:xfrm>
                  <a:off x="6374727" y="7612703"/>
                  <a:ext cx="8539" cy="28459"/>
                </a:xfrm>
                <a:custGeom>
                  <a:avLst/>
                  <a:gdLst>
                    <a:gd name="T0" fmla="*/ 0 w 11"/>
                    <a:gd name="T1" fmla="*/ 30 h 36"/>
                    <a:gd name="T2" fmla="*/ 6 w 11"/>
                    <a:gd name="T3" fmla="*/ 36 h 36"/>
                    <a:gd name="T4" fmla="*/ 8 w 11"/>
                    <a:gd name="T5" fmla="*/ 34 h 36"/>
                    <a:gd name="T6" fmla="*/ 11 w 11"/>
                    <a:gd name="T7" fmla="*/ 5 h 36"/>
                    <a:gd name="T8" fmla="*/ 6 w 11"/>
                    <a:gd name="T9" fmla="*/ 0 h 36"/>
                    <a:gd name="T10" fmla="*/ 2 w 11"/>
                    <a:gd name="T11" fmla="*/ 8 h 36"/>
                    <a:gd name="T12" fmla="*/ 0 w 11"/>
                    <a:gd name="T13" fmla="*/ 3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36">
                      <a:moveTo>
                        <a:pt x="0" y="30"/>
                      </a:move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8" y="34"/>
                        <a:pt x="8" y="34"/>
                        <a:pt x="8" y="34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2"/>
                        <a:pt x="9" y="1"/>
                        <a:pt x="6" y="0"/>
                      </a:cubicBezTo>
                      <a:cubicBezTo>
                        <a:pt x="2" y="8"/>
                        <a:pt x="2" y="8"/>
                        <a:pt x="2" y="8"/>
                      </a:cubicBez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2" name="Freeform 212"/>
                <p:cNvSpPr>
                  <a:spLocks/>
                </p:cNvSpPr>
                <p:nvPr/>
              </p:nvSpPr>
              <p:spPr bwMode="auto">
                <a:xfrm>
                  <a:off x="6346268" y="7663929"/>
                  <a:ext cx="25614" cy="5692"/>
                </a:xfrm>
                <a:custGeom>
                  <a:avLst/>
                  <a:gdLst>
                    <a:gd name="T0" fmla="*/ 5 w 36"/>
                    <a:gd name="T1" fmla="*/ 9 h 9"/>
                    <a:gd name="T2" fmla="*/ 36 w 36"/>
                    <a:gd name="T3" fmla="*/ 9 h 9"/>
                    <a:gd name="T4" fmla="*/ 33 w 36"/>
                    <a:gd name="T5" fmla="*/ 0 h 9"/>
                    <a:gd name="T6" fmla="*/ 9 w 36"/>
                    <a:gd name="T7" fmla="*/ 0 h 9"/>
                    <a:gd name="T8" fmla="*/ 0 w 36"/>
                    <a:gd name="T9" fmla="*/ 3 h 9"/>
                    <a:gd name="T10" fmla="*/ 5 w 36"/>
                    <a:gd name="T1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" h="9">
                      <a:moveTo>
                        <a:pt x="5" y="9"/>
                      </a:moveTo>
                      <a:cubicBezTo>
                        <a:pt x="36" y="9"/>
                        <a:pt x="36" y="9"/>
                        <a:pt x="36" y="9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6"/>
                        <a:pt x="2" y="8"/>
                        <a:pt x="5" y="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3" name="Oval 213"/>
                <p:cNvSpPr>
                  <a:spLocks noChangeArrowheads="1"/>
                </p:cNvSpPr>
                <p:nvPr/>
              </p:nvSpPr>
              <p:spPr bwMode="auto">
                <a:xfrm>
                  <a:off x="6497100" y="7621240"/>
                  <a:ext cx="39842" cy="4268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4" name="Oval 214"/>
                <p:cNvSpPr>
                  <a:spLocks noChangeArrowheads="1"/>
                </p:cNvSpPr>
                <p:nvPr/>
              </p:nvSpPr>
              <p:spPr bwMode="auto">
                <a:xfrm>
                  <a:off x="6613780" y="7621240"/>
                  <a:ext cx="42689" cy="4268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5" name="Rectangle 215"/>
                <p:cNvSpPr>
                  <a:spLocks noChangeArrowheads="1"/>
                </p:cNvSpPr>
                <p:nvPr/>
              </p:nvSpPr>
              <p:spPr bwMode="auto">
                <a:xfrm>
                  <a:off x="6830066" y="7848909"/>
                  <a:ext cx="557790" cy="39273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6" name="Freeform 216"/>
                <p:cNvSpPr>
                  <a:spLocks noEditPoints="1"/>
                </p:cNvSpPr>
                <p:nvPr/>
              </p:nvSpPr>
              <p:spPr bwMode="auto">
                <a:xfrm>
                  <a:off x="6830066" y="7632623"/>
                  <a:ext cx="557790" cy="204903"/>
                </a:xfrm>
                <a:custGeom>
                  <a:avLst/>
                  <a:gdLst>
                    <a:gd name="T0" fmla="*/ 0 w 729"/>
                    <a:gd name="T1" fmla="*/ 18 h 268"/>
                    <a:gd name="T2" fmla="*/ 0 w 729"/>
                    <a:gd name="T3" fmla="*/ 268 h 268"/>
                    <a:gd name="T4" fmla="*/ 729 w 729"/>
                    <a:gd name="T5" fmla="*/ 268 h 268"/>
                    <a:gd name="T6" fmla="*/ 729 w 729"/>
                    <a:gd name="T7" fmla="*/ 18 h 268"/>
                    <a:gd name="T8" fmla="*/ 711 w 729"/>
                    <a:gd name="T9" fmla="*/ 0 h 268"/>
                    <a:gd name="T10" fmla="*/ 18 w 729"/>
                    <a:gd name="T11" fmla="*/ 0 h 268"/>
                    <a:gd name="T12" fmla="*/ 0 w 729"/>
                    <a:gd name="T13" fmla="*/ 18 h 268"/>
                    <a:gd name="T14" fmla="*/ 602 w 729"/>
                    <a:gd name="T15" fmla="*/ 74 h 268"/>
                    <a:gd name="T16" fmla="*/ 603 w 729"/>
                    <a:gd name="T17" fmla="*/ 71 h 268"/>
                    <a:gd name="T18" fmla="*/ 610 w 729"/>
                    <a:gd name="T19" fmla="*/ 53 h 268"/>
                    <a:gd name="T20" fmla="*/ 618 w 729"/>
                    <a:gd name="T21" fmla="*/ 48 h 268"/>
                    <a:gd name="T22" fmla="*/ 625 w 729"/>
                    <a:gd name="T23" fmla="*/ 53 h 268"/>
                    <a:gd name="T24" fmla="*/ 632 w 729"/>
                    <a:gd name="T25" fmla="*/ 71 h 268"/>
                    <a:gd name="T26" fmla="*/ 633 w 729"/>
                    <a:gd name="T27" fmla="*/ 74 h 268"/>
                    <a:gd name="T28" fmla="*/ 653 w 729"/>
                    <a:gd name="T29" fmla="*/ 104 h 268"/>
                    <a:gd name="T30" fmla="*/ 618 w 729"/>
                    <a:gd name="T31" fmla="*/ 137 h 268"/>
                    <a:gd name="T32" fmla="*/ 583 w 729"/>
                    <a:gd name="T33" fmla="*/ 104 h 268"/>
                    <a:gd name="T34" fmla="*/ 602 w 729"/>
                    <a:gd name="T35" fmla="*/ 74 h 268"/>
                    <a:gd name="T36" fmla="*/ 594 w 729"/>
                    <a:gd name="T37" fmla="*/ 219 h 268"/>
                    <a:gd name="T38" fmla="*/ 578 w 729"/>
                    <a:gd name="T39" fmla="*/ 236 h 268"/>
                    <a:gd name="T40" fmla="*/ 143 w 729"/>
                    <a:gd name="T41" fmla="*/ 236 h 268"/>
                    <a:gd name="T42" fmla="*/ 127 w 729"/>
                    <a:gd name="T43" fmla="*/ 219 h 268"/>
                    <a:gd name="T44" fmla="*/ 143 w 729"/>
                    <a:gd name="T45" fmla="*/ 203 h 268"/>
                    <a:gd name="T46" fmla="*/ 578 w 729"/>
                    <a:gd name="T47" fmla="*/ 203 h 268"/>
                    <a:gd name="T48" fmla="*/ 594 w 729"/>
                    <a:gd name="T49" fmla="*/ 219 h 268"/>
                    <a:gd name="T50" fmla="*/ 435 w 729"/>
                    <a:gd name="T51" fmla="*/ 74 h 268"/>
                    <a:gd name="T52" fmla="*/ 436 w 729"/>
                    <a:gd name="T53" fmla="*/ 71 h 268"/>
                    <a:gd name="T54" fmla="*/ 443 w 729"/>
                    <a:gd name="T55" fmla="*/ 53 h 268"/>
                    <a:gd name="T56" fmla="*/ 451 w 729"/>
                    <a:gd name="T57" fmla="*/ 48 h 268"/>
                    <a:gd name="T58" fmla="*/ 458 w 729"/>
                    <a:gd name="T59" fmla="*/ 53 h 268"/>
                    <a:gd name="T60" fmla="*/ 465 w 729"/>
                    <a:gd name="T61" fmla="*/ 71 h 268"/>
                    <a:gd name="T62" fmla="*/ 466 w 729"/>
                    <a:gd name="T63" fmla="*/ 74 h 268"/>
                    <a:gd name="T64" fmla="*/ 486 w 729"/>
                    <a:gd name="T65" fmla="*/ 104 h 268"/>
                    <a:gd name="T66" fmla="*/ 451 w 729"/>
                    <a:gd name="T67" fmla="*/ 137 h 268"/>
                    <a:gd name="T68" fmla="*/ 416 w 729"/>
                    <a:gd name="T69" fmla="*/ 104 h 268"/>
                    <a:gd name="T70" fmla="*/ 435 w 729"/>
                    <a:gd name="T71" fmla="*/ 74 h 268"/>
                    <a:gd name="T72" fmla="*/ 268 w 729"/>
                    <a:gd name="T73" fmla="*/ 74 h 268"/>
                    <a:gd name="T74" fmla="*/ 269 w 729"/>
                    <a:gd name="T75" fmla="*/ 71 h 268"/>
                    <a:gd name="T76" fmla="*/ 276 w 729"/>
                    <a:gd name="T77" fmla="*/ 53 h 268"/>
                    <a:gd name="T78" fmla="*/ 284 w 729"/>
                    <a:gd name="T79" fmla="*/ 48 h 268"/>
                    <a:gd name="T80" fmla="*/ 291 w 729"/>
                    <a:gd name="T81" fmla="*/ 53 h 268"/>
                    <a:gd name="T82" fmla="*/ 298 w 729"/>
                    <a:gd name="T83" fmla="*/ 71 h 268"/>
                    <a:gd name="T84" fmla="*/ 299 w 729"/>
                    <a:gd name="T85" fmla="*/ 74 h 268"/>
                    <a:gd name="T86" fmla="*/ 319 w 729"/>
                    <a:gd name="T87" fmla="*/ 104 h 268"/>
                    <a:gd name="T88" fmla="*/ 284 w 729"/>
                    <a:gd name="T89" fmla="*/ 137 h 268"/>
                    <a:gd name="T90" fmla="*/ 248 w 729"/>
                    <a:gd name="T91" fmla="*/ 104 h 268"/>
                    <a:gd name="T92" fmla="*/ 268 w 729"/>
                    <a:gd name="T93" fmla="*/ 74 h 268"/>
                    <a:gd name="T94" fmla="*/ 101 w 729"/>
                    <a:gd name="T95" fmla="*/ 74 h 268"/>
                    <a:gd name="T96" fmla="*/ 102 w 729"/>
                    <a:gd name="T97" fmla="*/ 71 h 268"/>
                    <a:gd name="T98" fmla="*/ 109 w 729"/>
                    <a:gd name="T99" fmla="*/ 53 h 268"/>
                    <a:gd name="T100" fmla="*/ 117 w 729"/>
                    <a:gd name="T101" fmla="*/ 48 h 268"/>
                    <a:gd name="T102" fmla="*/ 124 w 729"/>
                    <a:gd name="T103" fmla="*/ 53 h 268"/>
                    <a:gd name="T104" fmla="*/ 131 w 729"/>
                    <a:gd name="T105" fmla="*/ 71 h 268"/>
                    <a:gd name="T106" fmla="*/ 132 w 729"/>
                    <a:gd name="T107" fmla="*/ 74 h 268"/>
                    <a:gd name="T108" fmla="*/ 152 w 729"/>
                    <a:gd name="T109" fmla="*/ 104 h 268"/>
                    <a:gd name="T110" fmla="*/ 117 w 729"/>
                    <a:gd name="T111" fmla="*/ 137 h 268"/>
                    <a:gd name="T112" fmla="*/ 81 w 729"/>
                    <a:gd name="T113" fmla="*/ 104 h 268"/>
                    <a:gd name="T114" fmla="*/ 101 w 729"/>
                    <a:gd name="T115" fmla="*/ 74 h 2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729" h="268">
                      <a:moveTo>
                        <a:pt x="0" y="18"/>
                      </a:moveTo>
                      <a:cubicBezTo>
                        <a:pt x="0" y="268"/>
                        <a:pt x="0" y="268"/>
                        <a:pt x="0" y="268"/>
                      </a:cubicBezTo>
                      <a:cubicBezTo>
                        <a:pt x="729" y="268"/>
                        <a:pt x="729" y="268"/>
                        <a:pt x="729" y="268"/>
                      </a:cubicBezTo>
                      <a:cubicBezTo>
                        <a:pt x="729" y="18"/>
                        <a:pt x="729" y="18"/>
                        <a:pt x="729" y="18"/>
                      </a:cubicBezTo>
                      <a:cubicBezTo>
                        <a:pt x="729" y="8"/>
                        <a:pt x="721" y="0"/>
                        <a:pt x="711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8" y="0"/>
                        <a:pt x="0" y="8"/>
                        <a:pt x="0" y="18"/>
                      </a:cubicBezTo>
                      <a:close/>
                      <a:moveTo>
                        <a:pt x="602" y="74"/>
                      </a:moveTo>
                      <a:cubicBezTo>
                        <a:pt x="603" y="73"/>
                        <a:pt x="603" y="72"/>
                        <a:pt x="603" y="71"/>
                      </a:cubicBezTo>
                      <a:cubicBezTo>
                        <a:pt x="610" y="53"/>
                        <a:pt x="610" y="53"/>
                        <a:pt x="610" y="53"/>
                      </a:cubicBezTo>
                      <a:cubicBezTo>
                        <a:pt x="611" y="50"/>
                        <a:pt x="614" y="48"/>
                        <a:pt x="618" y="48"/>
                      </a:cubicBezTo>
                      <a:cubicBezTo>
                        <a:pt x="621" y="48"/>
                        <a:pt x="624" y="50"/>
                        <a:pt x="625" y="53"/>
                      </a:cubicBezTo>
                      <a:cubicBezTo>
                        <a:pt x="632" y="71"/>
                        <a:pt x="632" y="71"/>
                        <a:pt x="632" y="71"/>
                      </a:cubicBezTo>
                      <a:cubicBezTo>
                        <a:pt x="633" y="72"/>
                        <a:pt x="633" y="73"/>
                        <a:pt x="633" y="74"/>
                      </a:cubicBezTo>
                      <a:cubicBezTo>
                        <a:pt x="645" y="79"/>
                        <a:pt x="653" y="90"/>
                        <a:pt x="653" y="104"/>
                      </a:cubicBezTo>
                      <a:cubicBezTo>
                        <a:pt x="653" y="122"/>
                        <a:pt x="637" y="137"/>
                        <a:pt x="618" y="137"/>
                      </a:cubicBezTo>
                      <a:cubicBezTo>
                        <a:pt x="598" y="137"/>
                        <a:pt x="583" y="122"/>
                        <a:pt x="583" y="104"/>
                      </a:cubicBezTo>
                      <a:cubicBezTo>
                        <a:pt x="583" y="90"/>
                        <a:pt x="591" y="79"/>
                        <a:pt x="602" y="74"/>
                      </a:cubicBezTo>
                      <a:close/>
                      <a:moveTo>
                        <a:pt x="594" y="219"/>
                      </a:moveTo>
                      <a:cubicBezTo>
                        <a:pt x="594" y="228"/>
                        <a:pt x="587" y="236"/>
                        <a:pt x="578" y="236"/>
                      </a:cubicBezTo>
                      <a:cubicBezTo>
                        <a:pt x="143" y="236"/>
                        <a:pt x="143" y="236"/>
                        <a:pt x="143" y="236"/>
                      </a:cubicBezTo>
                      <a:cubicBezTo>
                        <a:pt x="134" y="236"/>
                        <a:pt x="127" y="228"/>
                        <a:pt x="127" y="219"/>
                      </a:cubicBezTo>
                      <a:cubicBezTo>
                        <a:pt x="127" y="210"/>
                        <a:pt x="134" y="203"/>
                        <a:pt x="143" y="203"/>
                      </a:cubicBezTo>
                      <a:cubicBezTo>
                        <a:pt x="578" y="203"/>
                        <a:pt x="578" y="203"/>
                        <a:pt x="578" y="203"/>
                      </a:cubicBezTo>
                      <a:cubicBezTo>
                        <a:pt x="587" y="203"/>
                        <a:pt x="594" y="210"/>
                        <a:pt x="594" y="219"/>
                      </a:cubicBezTo>
                      <a:close/>
                      <a:moveTo>
                        <a:pt x="435" y="74"/>
                      </a:moveTo>
                      <a:cubicBezTo>
                        <a:pt x="435" y="73"/>
                        <a:pt x="436" y="72"/>
                        <a:pt x="436" y="71"/>
                      </a:cubicBezTo>
                      <a:cubicBezTo>
                        <a:pt x="443" y="53"/>
                        <a:pt x="443" y="53"/>
                        <a:pt x="443" y="53"/>
                      </a:cubicBezTo>
                      <a:cubicBezTo>
                        <a:pt x="444" y="50"/>
                        <a:pt x="447" y="48"/>
                        <a:pt x="451" y="48"/>
                      </a:cubicBezTo>
                      <a:cubicBezTo>
                        <a:pt x="454" y="48"/>
                        <a:pt x="457" y="50"/>
                        <a:pt x="458" y="53"/>
                      </a:cubicBezTo>
                      <a:cubicBezTo>
                        <a:pt x="465" y="71"/>
                        <a:pt x="465" y="71"/>
                        <a:pt x="465" y="71"/>
                      </a:cubicBezTo>
                      <a:cubicBezTo>
                        <a:pt x="466" y="72"/>
                        <a:pt x="466" y="73"/>
                        <a:pt x="466" y="74"/>
                      </a:cubicBezTo>
                      <a:cubicBezTo>
                        <a:pt x="478" y="79"/>
                        <a:pt x="486" y="90"/>
                        <a:pt x="486" y="104"/>
                      </a:cubicBezTo>
                      <a:cubicBezTo>
                        <a:pt x="486" y="122"/>
                        <a:pt x="470" y="137"/>
                        <a:pt x="451" y="137"/>
                      </a:cubicBezTo>
                      <a:cubicBezTo>
                        <a:pt x="431" y="137"/>
                        <a:pt x="416" y="122"/>
                        <a:pt x="416" y="104"/>
                      </a:cubicBezTo>
                      <a:cubicBezTo>
                        <a:pt x="416" y="90"/>
                        <a:pt x="424" y="79"/>
                        <a:pt x="435" y="74"/>
                      </a:cubicBezTo>
                      <a:close/>
                      <a:moveTo>
                        <a:pt x="268" y="74"/>
                      </a:moveTo>
                      <a:cubicBezTo>
                        <a:pt x="268" y="73"/>
                        <a:pt x="269" y="72"/>
                        <a:pt x="269" y="71"/>
                      </a:cubicBezTo>
                      <a:cubicBezTo>
                        <a:pt x="276" y="53"/>
                        <a:pt x="276" y="53"/>
                        <a:pt x="276" y="53"/>
                      </a:cubicBezTo>
                      <a:cubicBezTo>
                        <a:pt x="277" y="50"/>
                        <a:pt x="280" y="48"/>
                        <a:pt x="284" y="48"/>
                      </a:cubicBezTo>
                      <a:cubicBezTo>
                        <a:pt x="287" y="48"/>
                        <a:pt x="290" y="50"/>
                        <a:pt x="291" y="53"/>
                      </a:cubicBezTo>
                      <a:cubicBezTo>
                        <a:pt x="298" y="71"/>
                        <a:pt x="298" y="71"/>
                        <a:pt x="298" y="71"/>
                      </a:cubicBezTo>
                      <a:cubicBezTo>
                        <a:pt x="299" y="72"/>
                        <a:pt x="299" y="73"/>
                        <a:pt x="299" y="74"/>
                      </a:cubicBezTo>
                      <a:cubicBezTo>
                        <a:pt x="311" y="79"/>
                        <a:pt x="319" y="90"/>
                        <a:pt x="319" y="104"/>
                      </a:cubicBezTo>
                      <a:cubicBezTo>
                        <a:pt x="319" y="122"/>
                        <a:pt x="303" y="137"/>
                        <a:pt x="284" y="137"/>
                      </a:cubicBezTo>
                      <a:cubicBezTo>
                        <a:pt x="264" y="137"/>
                        <a:pt x="248" y="122"/>
                        <a:pt x="248" y="104"/>
                      </a:cubicBezTo>
                      <a:cubicBezTo>
                        <a:pt x="248" y="91"/>
                        <a:pt x="257" y="79"/>
                        <a:pt x="268" y="74"/>
                      </a:cubicBezTo>
                      <a:close/>
                      <a:moveTo>
                        <a:pt x="101" y="74"/>
                      </a:moveTo>
                      <a:cubicBezTo>
                        <a:pt x="101" y="73"/>
                        <a:pt x="101" y="72"/>
                        <a:pt x="102" y="71"/>
                      </a:cubicBezTo>
                      <a:cubicBezTo>
                        <a:pt x="109" y="53"/>
                        <a:pt x="109" y="53"/>
                        <a:pt x="109" y="53"/>
                      </a:cubicBezTo>
                      <a:cubicBezTo>
                        <a:pt x="110" y="50"/>
                        <a:pt x="113" y="48"/>
                        <a:pt x="117" y="48"/>
                      </a:cubicBezTo>
                      <a:cubicBezTo>
                        <a:pt x="120" y="48"/>
                        <a:pt x="123" y="50"/>
                        <a:pt x="124" y="53"/>
                      </a:cubicBezTo>
                      <a:cubicBezTo>
                        <a:pt x="131" y="71"/>
                        <a:pt x="131" y="71"/>
                        <a:pt x="131" y="71"/>
                      </a:cubicBezTo>
                      <a:cubicBezTo>
                        <a:pt x="132" y="72"/>
                        <a:pt x="132" y="73"/>
                        <a:pt x="132" y="74"/>
                      </a:cubicBezTo>
                      <a:cubicBezTo>
                        <a:pt x="144" y="79"/>
                        <a:pt x="152" y="90"/>
                        <a:pt x="152" y="104"/>
                      </a:cubicBezTo>
                      <a:cubicBezTo>
                        <a:pt x="152" y="122"/>
                        <a:pt x="136" y="137"/>
                        <a:pt x="117" y="137"/>
                      </a:cubicBezTo>
                      <a:cubicBezTo>
                        <a:pt x="97" y="137"/>
                        <a:pt x="81" y="122"/>
                        <a:pt x="81" y="104"/>
                      </a:cubicBezTo>
                      <a:cubicBezTo>
                        <a:pt x="81" y="90"/>
                        <a:pt x="89" y="79"/>
                        <a:pt x="101" y="74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7" name="Freeform 217"/>
                <p:cNvSpPr>
                  <a:spLocks noEditPoints="1"/>
                </p:cNvSpPr>
                <p:nvPr/>
              </p:nvSpPr>
              <p:spPr bwMode="auto">
                <a:xfrm>
                  <a:off x="6830066" y="8261561"/>
                  <a:ext cx="557790" cy="122373"/>
                </a:xfrm>
                <a:custGeom>
                  <a:avLst/>
                  <a:gdLst>
                    <a:gd name="T0" fmla="*/ 0 w 729"/>
                    <a:gd name="T1" fmla="*/ 141 h 160"/>
                    <a:gd name="T2" fmla="*/ 18 w 729"/>
                    <a:gd name="T3" fmla="*/ 160 h 160"/>
                    <a:gd name="T4" fmla="*/ 711 w 729"/>
                    <a:gd name="T5" fmla="*/ 160 h 160"/>
                    <a:gd name="T6" fmla="*/ 729 w 729"/>
                    <a:gd name="T7" fmla="*/ 141 h 160"/>
                    <a:gd name="T8" fmla="*/ 729 w 729"/>
                    <a:gd name="T9" fmla="*/ 0 h 160"/>
                    <a:gd name="T10" fmla="*/ 0 w 729"/>
                    <a:gd name="T11" fmla="*/ 0 h 160"/>
                    <a:gd name="T12" fmla="*/ 0 w 729"/>
                    <a:gd name="T13" fmla="*/ 141 h 160"/>
                    <a:gd name="T14" fmla="*/ 163 w 729"/>
                    <a:gd name="T15" fmla="*/ 26 h 160"/>
                    <a:gd name="T16" fmla="*/ 558 w 729"/>
                    <a:gd name="T17" fmla="*/ 26 h 160"/>
                    <a:gd name="T18" fmla="*/ 568 w 729"/>
                    <a:gd name="T19" fmla="*/ 36 h 160"/>
                    <a:gd name="T20" fmla="*/ 558 w 729"/>
                    <a:gd name="T21" fmla="*/ 45 h 160"/>
                    <a:gd name="T22" fmla="*/ 163 w 729"/>
                    <a:gd name="T23" fmla="*/ 45 h 160"/>
                    <a:gd name="T24" fmla="*/ 153 w 729"/>
                    <a:gd name="T25" fmla="*/ 36 h 160"/>
                    <a:gd name="T26" fmla="*/ 163 w 729"/>
                    <a:gd name="T27" fmla="*/ 26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29" h="160">
                      <a:moveTo>
                        <a:pt x="0" y="141"/>
                      </a:moveTo>
                      <a:cubicBezTo>
                        <a:pt x="0" y="152"/>
                        <a:pt x="8" y="160"/>
                        <a:pt x="18" y="160"/>
                      </a:cubicBezTo>
                      <a:cubicBezTo>
                        <a:pt x="711" y="160"/>
                        <a:pt x="711" y="160"/>
                        <a:pt x="711" y="160"/>
                      </a:cubicBezTo>
                      <a:cubicBezTo>
                        <a:pt x="721" y="160"/>
                        <a:pt x="729" y="152"/>
                        <a:pt x="729" y="141"/>
                      </a:cubicBezTo>
                      <a:cubicBezTo>
                        <a:pt x="729" y="0"/>
                        <a:pt x="729" y="0"/>
                        <a:pt x="729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41"/>
                      </a:lnTo>
                      <a:close/>
                      <a:moveTo>
                        <a:pt x="163" y="26"/>
                      </a:moveTo>
                      <a:cubicBezTo>
                        <a:pt x="558" y="26"/>
                        <a:pt x="558" y="26"/>
                        <a:pt x="558" y="26"/>
                      </a:cubicBezTo>
                      <a:cubicBezTo>
                        <a:pt x="563" y="26"/>
                        <a:pt x="568" y="30"/>
                        <a:pt x="568" y="36"/>
                      </a:cubicBezTo>
                      <a:cubicBezTo>
                        <a:pt x="568" y="41"/>
                        <a:pt x="563" y="45"/>
                        <a:pt x="558" y="45"/>
                      </a:cubicBezTo>
                      <a:cubicBezTo>
                        <a:pt x="163" y="45"/>
                        <a:pt x="163" y="45"/>
                        <a:pt x="163" y="45"/>
                      </a:cubicBezTo>
                      <a:cubicBezTo>
                        <a:pt x="157" y="45"/>
                        <a:pt x="153" y="41"/>
                        <a:pt x="153" y="36"/>
                      </a:cubicBezTo>
                      <a:cubicBezTo>
                        <a:pt x="153" y="30"/>
                        <a:pt x="157" y="26"/>
                        <a:pt x="163" y="26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8" name="Freeform 218"/>
                <p:cNvSpPr>
                  <a:spLocks noEditPoints="1"/>
                </p:cNvSpPr>
                <p:nvPr/>
              </p:nvSpPr>
              <p:spPr bwMode="auto">
                <a:xfrm>
                  <a:off x="6835757" y="7487485"/>
                  <a:ext cx="546407" cy="122373"/>
                </a:xfrm>
                <a:custGeom>
                  <a:avLst/>
                  <a:gdLst>
                    <a:gd name="T0" fmla="*/ 706 w 718"/>
                    <a:gd name="T1" fmla="*/ 162 h 162"/>
                    <a:gd name="T2" fmla="*/ 714 w 718"/>
                    <a:gd name="T3" fmla="*/ 147 h 162"/>
                    <a:gd name="T4" fmla="*/ 624 w 718"/>
                    <a:gd name="T5" fmla="*/ 15 h 162"/>
                    <a:gd name="T6" fmla="*/ 596 w 718"/>
                    <a:gd name="T7" fmla="*/ 0 h 162"/>
                    <a:gd name="T8" fmla="*/ 123 w 718"/>
                    <a:gd name="T9" fmla="*/ 0 h 162"/>
                    <a:gd name="T10" fmla="*/ 94 w 718"/>
                    <a:gd name="T11" fmla="*/ 15 h 162"/>
                    <a:gd name="T12" fmla="*/ 5 w 718"/>
                    <a:gd name="T13" fmla="*/ 147 h 162"/>
                    <a:gd name="T14" fmla="*/ 13 w 718"/>
                    <a:gd name="T15" fmla="*/ 162 h 162"/>
                    <a:gd name="T16" fmla="*/ 706 w 718"/>
                    <a:gd name="T17" fmla="*/ 162 h 162"/>
                    <a:gd name="T18" fmla="*/ 117 w 718"/>
                    <a:gd name="T19" fmla="*/ 30 h 162"/>
                    <a:gd name="T20" fmla="*/ 123 w 718"/>
                    <a:gd name="T21" fmla="*/ 27 h 162"/>
                    <a:gd name="T22" fmla="*/ 596 w 718"/>
                    <a:gd name="T23" fmla="*/ 27 h 162"/>
                    <a:gd name="T24" fmla="*/ 602 w 718"/>
                    <a:gd name="T25" fmla="*/ 30 h 162"/>
                    <a:gd name="T26" fmla="*/ 673 w 718"/>
                    <a:gd name="T27" fmla="*/ 134 h 162"/>
                    <a:gd name="T28" fmla="*/ 46 w 718"/>
                    <a:gd name="T29" fmla="*/ 134 h 162"/>
                    <a:gd name="T30" fmla="*/ 117 w 718"/>
                    <a:gd name="T31" fmla="*/ 30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18" h="162">
                      <a:moveTo>
                        <a:pt x="706" y="162"/>
                      </a:moveTo>
                      <a:cubicBezTo>
                        <a:pt x="714" y="162"/>
                        <a:pt x="718" y="153"/>
                        <a:pt x="714" y="147"/>
                      </a:cubicBezTo>
                      <a:cubicBezTo>
                        <a:pt x="624" y="15"/>
                        <a:pt x="624" y="15"/>
                        <a:pt x="624" y="15"/>
                      </a:cubicBezTo>
                      <a:cubicBezTo>
                        <a:pt x="618" y="6"/>
                        <a:pt x="607" y="0"/>
                        <a:pt x="596" y="0"/>
                      </a:cubicBezTo>
                      <a:cubicBezTo>
                        <a:pt x="123" y="0"/>
                        <a:pt x="123" y="0"/>
                        <a:pt x="123" y="0"/>
                      </a:cubicBezTo>
                      <a:cubicBezTo>
                        <a:pt x="111" y="0"/>
                        <a:pt x="101" y="6"/>
                        <a:pt x="94" y="15"/>
                      </a:cubicBezTo>
                      <a:cubicBezTo>
                        <a:pt x="5" y="147"/>
                        <a:pt x="5" y="147"/>
                        <a:pt x="5" y="147"/>
                      </a:cubicBezTo>
                      <a:cubicBezTo>
                        <a:pt x="0" y="153"/>
                        <a:pt x="5" y="162"/>
                        <a:pt x="13" y="162"/>
                      </a:cubicBezTo>
                      <a:lnTo>
                        <a:pt x="706" y="162"/>
                      </a:lnTo>
                      <a:close/>
                      <a:moveTo>
                        <a:pt x="117" y="30"/>
                      </a:moveTo>
                      <a:cubicBezTo>
                        <a:pt x="118" y="29"/>
                        <a:pt x="120" y="27"/>
                        <a:pt x="123" y="27"/>
                      </a:cubicBezTo>
                      <a:cubicBezTo>
                        <a:pt x="596" y="27"/>
                        <a:pt x="596" y="27"/>
                        <a:pt x="596" y="27"/>
                      </a:cubicBezTo>
                      <a:cubicBezTo>
                        <a:pt x="598" y="27"/>
                        <a:pt x="601" y="29"/>
                        <a:pt x="602" y="30"/>
                      </a:cubicBezTo>
                      <a:cubicBezTo>
                        <a:pt x="673" y="134"/>
                        <a:pt x="673" y="134"/>
                        <a:pt x="673" y="134"/>
                      </a:cubicBezTo>
                      <a:cubicBezTo>
                        <a:pt x="46" y="134"/>
                        <a:pt x="46" y="134"/>
                        <a:pt x="46" y="134"/>
                      </a:cubicBezTo>
                      <a:lnTo>
                        <a:pt x="117" y="3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09" name="Oval 219"/>
                <p:cNvSpPr>
                  <a:spLocks noChangeArrowheads="1"/>
                </p:cNvSpPr>
                <p:nvPr/>
              </p:nvSpPr>
              <p:spPr bwMode="auto">
                <a:xfrm>
                  <a:off x="6921134" y="7550094"/>
                  <a:ext cx="142293" cy="2845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0" name="Oval 220"/>
                <p:cNvSpPr>
                  <a:spLocks noChangeArrowheads="1"/>
                </p:cNvSpPr>
                <p:nvPr/>
              </p:nvSpPr>
              <p:spPr bwMode="auto">
                <a:xfrm>
                  <a:off x="6958131" y="7518788"/>
                  <a:ext cx="91068" cy="170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1" name="Oval 221"/>
                <p:cNvSpPr>
                  <a:spLocks noChangeArrowheads="1"/>
                </p:cNvSpPr>
                <p:nvPr/>
              </p:nvSpPr>
              <p:spPr bwMode="auto">
                <a:xfrm>
                  <a:off x="7134575" y="7550094"/>
                  <a:ext cx="145140" cy="2845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2" name="Oval 222"/>
                <p:cNvSpPr>
                  <a:spLocks noChangeArrowheads="1"/>
                </p:cNvSpPr>
                <p:nvPr/>
              </p:nvSpPr>
              <p:spPr bwMode="auto">
                <a:xfrm>
                  <a:off x="7151650" y="7518788"/>
                  <a:ext cx="91068" cy="170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3" name="Freeform 223"/>
                <p:cNvSpPr>
                  <a:spLocks noEditPoints="1"/>
                </p:cNvSpPr>
                <p:nvPr/>
              </p:nvSpPr>
              <p:spPr bwMode="auto">
                <a:xfrm>
                  <a:off x="7791969" y="7217126"/>
                  <a:ext cx="899295" cy="654550"/>
                </a:xfrm>
                <a:custGeom>
                  <a:avLst/>
                  <a:gdLst>
                    <a:gd name="T0" fmla="*/ 31 w 1177"/>
                    <a:gd name="T1" fmla="*/ 702 h 860"/>
                    <a:gd name="T2" fmla="*/ 451 w 1177"/>
                    <a:gd name="T3" fmla="*/ 702 h 860"/>
                    <a:gd name="T4" fmla="*/ 451 w 1177"/>
                    <a:gd name="T5" fmla="*/ 779 h 860"/>
                    <a:gd name="T6" fmla="*/ 395 w 1177"/>
                    <a:gd name="T7" fmla="*/ 779 h 860"/>
                    <a:gd name="T8" fmla="*/ 332 w 1177"/>
                    <a:gd name="T9" fmla="*/ 796 h 860"/>
                    <a:gd name="T10" fmla="*/ 248 w 1177"/>
                    <a:gd name="T11" fmla="*/ 844 h 860"/>
                    <a:gd name="T12" fmla="*/ 253 w 1177"/>
                    <a:gd name="T13" fmla="*/ 860 h 860"/>
                    <a:gd name="T14" fmla="*/ 924 w 1177"/>
                    <a:gd name="T15" fmla="*/ 860 h 860"/>
                    <a:gd name="T16" fmla="*/ 929 w 1177"/>
                    <a:gd name="T17" fmla="*/ 844 h 860"/>
                    <a:gd name="T18" fmla="*/ 845 w 1177"/>
                    <a:gd name="T19" fmla="*/ 796 h 860"/>
                    <a:gd name="T20" fmla="*/ 782 w 1177"/>
                    <a:gd name="T21" fmla="*/ 779 h 860"/>
                    <a:gd name="T22" fmla="*/ 726 w 1177"/>
                    <a:gd name="T23" fmla="*/ 779 h 860"/>
                    <a:gd name="T24" fmla="*/ 726 w 1177"/>
                    <a:gd name="T25" fmla="*/ 702 h 860"/>
                    <a:gd name="T26" fmla="*/ 1146 w 1177"/>
                    <a:gd name="T27" fmla="*/ 702 h 860"/>
                    <a:gd name="T28" fmla="*/ 1177 w 1177"/>
                    <a:gd name="T29" fmla="*/ 672 h 860"/>
                    <a:gd name="T30" fmla="*/ 1177 w 1177"/>
                    <a:gd name="T31" fmla="*/ 31 h 860"/>
                    <a:gd name="T32" fmla="*/ 1146 w 1177"/>
                    <a:gd name="T33" fmla="*/ 0 h 860"/>
                    <a:gd name="T34" fmla="*/ 31 w 1177"/>
                    <a:gd name="T35" fmla="*/ 0 h 860"/>
                    <a:gd name="T36" fmla="*/ 0 w 1177"/>
                    <a:gd name="T37" fmla="*/ 31 h 860"/>
                    <a:gd name="T38" fmla="*/ 0 w 1177"/>
                    <a:gd name="T39" fmla="*/ 672 h 860"/>
                    <a:gd name="T40" fmla="*/ 31 w 1177"/>
                    <a:gd name="T41" fmla="*/ 702 h 860"/>
                    <a:gd name="T42" fmla="*/ 61 w 1177"/>
                    <a:gd name="T43" fmla="*/ 61 h 860"/>
                    <a:gd name="T44" fmla="*/ 1116 w 1177"/>
                    <a:gd name="T45" fmla="*/ 61 h 860"/>
                    <a:gd name="T46" fmla="*/ 1116 w 1177"/>
                    <a:gd name="T47" fmla="*/ 641 h 860"/>
                    <a:gd name="T48" fmla="*/ 61 w 1177"/>
                    <a:gd name="T49" fmla="*/ 641 h 860"/>
                    <a:gd name="T50" fmla="*/ 61 w 1177"/>
                    <a:gd name="T51" fmla="*/ 61 h 8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177" h="860">
                      <a:moveTo>
                        <a:pt x="31" y="702"/>
                      </a:moveTo>
                      <a:cubicBezTo>
                        <a:pt x="451" y="702"/>
                        <a:pt x="451" y="702"/>
                        <a:pt x="451" y="702"/>
                      </a:cubicBezTo>
                      <a:cubicBezTo>
                        <a:pt x="451" y="779"/>
                        <a:pt x="451" y="779"/>
                        <a:pt x="451" y="779"/>
                      </a:cubicBezTo>
                      <a:cubicBezTo>
                        <a:pt x="395" y="779"/>
                        <a:pt x="395" y="779"/>
                        <a:pt x="395" y="779"/>
                      </a:cubicBezTo>
                      <a:cubicBezTo>
                        <a:pt x="373" y="779"/>
                        <a:pt x="351" y="785"/>
                        <a:pt x="332" y="796"/>
                      </a:cubicBezTo>
                      <a:cubicBezTo>
                        <a:pt x="248" y="844"/>
                        <a:pt x="248" y="844"/>
                        <a:pt x="248" y="844"/>
                      </a:cubicBezTo>
                      <a:cubicBezTo>
                        <a:pt x="240" y="848"/>
                        <a:pt x="243" y="860"/>
                        <a:pt x="253" y="860"/>
                      </a:cubicBezTo>
                      <a:cubicBezTo>
                        <a:pt x="924" y="860"/>
                        <a:pt x="924" y="860"/>
                        <a:pt x="924" y="860"/>
                      </a:cubicBezTo>
                      <a:cubicBezTo>
                        <a:pt x="933" y="860"/>
                        <a:pt x="937" y="848"/>
                        <a:pt x="929" y="844"/>
                      </a:cubicBezTo>
                      <a:cubicBezTo>
                        <a:pt x="845" y="796"/>
                        <a:pt x="845" y="796"/>
                        <a:pt x="845" y="796"/>
                      </a:cubicBezTo>
                      <a:cubicBezTo>
                        <a:pt x="826" y="785"/>
                        <a:pt x="804" y="779"/>
                        <a:pt x="782" y="779"/>
                      </a:cubicBezTo>
                      <a:cubicBezTo>
                        <a:pt x="726" y="779"/>
                        <a:pt x="726" y="779"/>
                        <a:pt x="726" y="779"/>
                      </a:cubicBezTo>
                      <a:cubicBezTo>
                        <a:pt x="726" y="702"/>
                        <a:pt x="726" y="702"/>
                        <a:pt x="726" y="702"/>
                      </a:cubicBezTo>
                      <a:cubicBezTo>
                        <a:pt x="1146" y="702"/>
                        <a:pt x="1146" y="702"/>
                        <a:pt x="1146" y="702"/>
                      </a:cubicBezTo>
                      <a:cubicBezTo>
                        <a:pt x="1163" y="702"/>
                        <a:pt x="1177" y="689"/>
                        <a:pt x="1177" y="672"/>
                      </a:cubicBezTo>
                      <a:cubicBezTo>
                        <a:pt x="1177" y="31"/>
                        <a:pt x="1177" y="31"/>
                        <a:pt x="1177" y="31"/>
                      </a:cubicBezTo>
                      <a:cubicBezTo>
                        <a:pt x="1177" y="14"/>
                        <a:pt x="1163" y="0"/>
                        <a:pt x="1146" y="0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672"/>
                        <a:pt x="0" y="672"/>
                        <a:pt x="0" y="672"/>
                      </a:cubicBezTo>
                      <a:cubicBezTo>
                        <a:pt x="0" y="689"/>
                        <a:pt x="14" y="702"/>
                        <a:pt x="31" y="702"/>
                      </a:cubicBezTo>
                      <a:close/>
                      <a:moveTo>
                        <a:pt x="61" y="61"/>
                      </a:moveTo>
                      <a:cubicBezTo>
                        <a:pt x="1116" y="61"/>
                        <a:pt x="1116" y="61"/>
                        <a:pt x="1116" y="61"/>
                      </a:cubicBezTo>
                      <a:cubicBezTo>
                        <a:pt x="1116" y="641"/>
                        <a:pt x="1116" y="641"/>
                        <a:pt x="1116" y="641"/>
                      </a:cubicBezTo>
                      <a:cubicBezTo>
                        <a:pt x="61" y="641"/>
                        <a:pt x="61" y="641"/>
                        <a:pt x="61" y="641"/>
                      </a:cubicBezTo>
                      <a:lnTo>
                        <a:pt x="61" y="6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4" name="Freeform 224"/>
                <p:cNvSpPr>
                  <a:spLocks/>
                </p:cNvSpPr>
                <p:nvPr/>
              </p:nvSpPr>
              <p:spPr bwMode="auto">
                <a:xfrm>
                  <a:off x="7877346" y="7288274"/>
                  <a:ext cx="731389" cy="392730"/>
                </a:xfrm>
                <a:custGeom>
                  <a:avLst/>
                  <a:gdLst>
                    <a:gd name="T0" fmla="*/ 923 w 957"/>
                    <a:gd name="T1" fmla="*/ 0 h 517"/>
                    <a:gd name="T2" fmla="*/ 34 w 957"/>
                    <a:gd name="T3" fmla="*/ 0 h 517"/>
                    <a:gd name="T4" fmla="*/ 0 w 957"/>
                    <a:gd name="T5" fmla="*/ 33 h 517"/>
                    <a:gd name="T6" fmla="*/ 0 w 957"/>
                    <a:gd name="T7" fmla="*/ 483 h 517"/>
                    <a:gd name="T8" fmla="*/ 34 w 957"/>
                    <a:gd name="T9" fmla="*/ 517 h 517"/>
                    <a:gd name="T10" fmla="*/ 923 w 957"/>
                    <a:gd name="T11" fmla="*/ 517 h 517"/>
                    <a:gd name="T12" fmla="*/ 957 w 957"/>
                    <a:gd name="T13" fmla="*/ 483 h 517"/>
                    <a:gd name="T14" fmla="*/ 957 w 957"/>
                    <a:gd name="T15" fmla="*/ 33 h 517"/>
                    <a:gd name="T16" fmla="*/ 923 w 957"/>
                    <a:gd name="T1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57" h="517">
                      <a:moveTo>
                        <a:pt x="923" y="0"/>
                      </a:move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483"/>
                        <a:pt x="0" y="483"/>
                        <a:pt x="0" y="483"/>
                      </a:cubicBezTo>
                      <a:cubicBezTo>
                        <a:pt x="0" y="502"/>
                        <a:pt x="15" y="517"/>
                        <a:pt x="34" y="517"/>
                      </a:cubicBezTo>
                      <a:cubicBezTo>
                        <a:pt x="923" y="517"/>
                        <a:pt x="923" y="517"/>
                        <a:pt x="923" y="517"/>
                      </a:cubicBezTo>
                      <a:cubicBezTo>
                        <a:pt x="942" y="517"/>
                        <a:pt x="957" y="502"/>
                        <a:pt x="957" y="483"/>
                      </a:cubicBezTo>
                      <a:cubicBezTo>
                        <a:pt x="957" y="33"/>
                        <a:pt x="957" y="33"/>
                        <a:pt x="957" y="33"/>
                      </a:cubicBezTo>
                      <a:cubicBezTo>
                        <a:pt x="957" y="15"/>
                        <a:pt x="942" y="0"/>
                        <a:pt x="92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5" name="Freeform 225"/>
                <p:cNvSpPr>
                  <a:spLocks/>
                </p:cNvSpPr>
                <p:nvPr/>
              </p:nvSpPr>
              <p:spPr bwMode="auto">
                <a:xfrm>
                  <a:off x="7478924" y="7902982"/>
                  <a:ext cx="1488390" cy="51226"/>
                </a:xfrm>
                <a:custGeom>
                  <a:avLst/>
                  <a:gdLst>
                    <a:gd name="T0" fmla="*/ 1951 w 1951"/>
                    <a:gd name="T1" fmla="*/ 34 h 67"/>
                    <a:gd name="T2" fmla="*/ 1917 w 1951"/>
                    <a:gd name="T3" fmla="*/ 0 h 67"/>
                    <a:gd name="T4" fmla="*/ 33 w 1951"/>
                    <a:gd name="T5" fmla="*/ 0 h 67"/>
                    <a:gd name="T6" fmla="*/ 0 w 1951"/>
                    <a:gd name="T7" fmla="*/ 34 h 67"/>
                    <a:gd name="T8" fmla="*/ 0 w 1951"/>
                    <a:gd name="T9" fmla="*/ 67 h 67"/>
                    <a:gd name="T10" fmla="*/ 1951 w 1951"/>
                    <a:gd name="T11" fmla="*/ 67 h 67"/>
                    <a:gd name="T12" fmla="*/ 1951 w 1951"/>
                    <a:gd name="T13" fmla="*/ 34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51" h="67">
                      <a:moveTo>
                        <a:pt x="1951" y="34"/>
                      </a:moveTo>
                      <a:cubicBezTo>
                        <a:pt x="1951" y="15"/>
                        <a:pt x="1936" y="0"/>
                        <a:pt x="191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15" y="0"/>
                        <a:pt x="0" y="15"/>
                        <a:pt x="0" y="34"/>
                      </a:cubicBezTo>
                      <a:cubicBezTo>
                        <a:pt x="0" y="67"/>
                        <a:pt x="0" y="67"/>
                        <a:pt x="0" y="67"/>
                      </a:cubicBezTo>
                      <a:cubicBezTo>
                        <a:pt x="1951" y="67"/>
                        <a:pt x="1951" y="67"/>
                        <a:pt x="1951" y="67"/>
                      </a:cubicBezTo>
                      <a:lnTo>
                        <a:pt x="1951" y="34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6" name="Freeform 226"/>
                <p:cNvSpPr>
                  <a:spLocks/>
                </p:cNvSpPr>
                <p:nvPr/>
              </p:nvSpPr>
              <p:spPr bwMode="auto">
                <a:xfrm>
                  <a:off x="7478924" y="7976974"/>
                  <a:ext cx="1488390" cy="406960"/>
                </a:xfrm>
                <a:custGeom>
                  <a:avLst/>
                  <a:gdLst>
                    <a:gd name="T0" fmla="*/ 33 w 1951"/>
                    <a:gd name="T1" fmla="*/ 409 h 534"/>
                    <a:gd name="T2" fmla="*/ 95 w 1951"/>
                    <a:gd name="T3" fmla="*/ 409 h 534"/>
                    <a:gd name="T4" fmla="*/ 95 w 1951"/>
                    <a:gd name="T5" fmla="*/ 500 h 534"/>
                    <a:gd name="T6" fmla="*/ 129 w 1951"/>
                    <a:gd name="T7" fmla="*/ 534 h 534"/>
                    <a:gd name="T8" fmla="*/ 182 w 1951"/>
                    <a:gd name="T9" fmla="*/ 534 h 534"/>
                    <a:gd name="T10" fmla="*/ 236 w 1951"/>
                    <a:gd name="T11" fmla="*/ 507 h 534"/>
                    <a:gd name="T12" fmla="*/ 310 w 1951"/>
                    <a:gd name="T13" fmla="*/ 409 h 534"/>
                    <a:gd name="T14" fmla="*/ 1641 w 1951"/>
                    <a:gd name="T15" fmla="*/ 409 h 534"/>
                    <a:gd name="T16" fmla="*/ 1715 w 1951"/>
                    <a:gd name="T17" fmla="*/ 507 h 534"/>
                    <a:gd name="T18" fmla="*/ 1769 w 1951"/>
                    <a:gd name="T19" fmla="*/ 534 h 534"/>
                    <a:gd name="T20" fmla="*/ 1822 w 1951"/>
                    <a:gd name="T21" fmla="*/ 534 h 534"/>
                    <a:gd name="T22" fmla="*/ 1855 w 1951"/>
                    <a:gd name="T23" fmla="*/ 500 h 534"/>
                    <a:gd name="T24" fmla="*/ 1855 w 1951"/>
                    <a:gd name="T25" fmla="*/ 409 h 534"/>
                    <a:gd name="T26" fmla="*/ 1917 w 1951"/>
                    <a:gd name="T27" fmla="*/ 409 h 534"/>
                    <a:gd name="T28" fmla="*/ 1951 w 1951"/>
                    <a:gd name="T29" fmla="*/ 375 h 534"/>
                    <a:gd name="T30" fmla="*/ 1951 w 1951"/>
                    <a:gd name="T31" fmla="*/ 0 h 534"/>
                    <a:gd name="T32" fmla="*/ 1396 w 1951"/>
                    <a:gd name="T33" fmla="*/ 0 h 534"/>
                    <a:gd name="T34" fmla="*/ 1396 w 1951"/>
                    <a:gd name="T35" fmla="*/ 224 h 534"/>
                    <a:gd name="T36" fmla="*/ 1362 w 1951"/>
                    <a:gd name="T37" fmla="*/ 258 h 534"/>
                    <a:gd name="T38" fmla="*/ 575 w 1951"/>
                    <a:gd name="T39" fmla="*/ 257 h 534"/>
                    <a:gd name="T40" fmla="*/ 542 w 1951"/>
                    <a:gd name="T41" fmla="*/ 223 h 534"/>
                    <a:gd name="T42" fmla="*/ 542 w 1951"/>
                    <a:gd name="T43" fmla="*/ 0 h 534"/>
                    <a:gd name="T44" fmla="*/ 0 w 1951"/>
                    <a:gd name="T45" fmla="*/ 0 h 534"/>
                    <a:gd name="T46" fmla="*/ 0 w 1951"/>
                    <a:gd name="T47" fmla="*/ 375 h 534"/>
                    <a:gd name="T48" fmla="*/ 33 w 1951"/>
                    <a:gd name="T49" fmla="*/ 409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51" h="534">
                      <a:moveTo>
                        <a:pt x="33" y="409"/>
                      </a:moveTo>
                      <a:cubicBezTo>
                        <a:pt x="95" y="409"/>
                        <a:pt x="95" y="409"/>
                        <a:pt x="95" y="409"/>
                      </a:cubicBezTo>
                      <a:cubicBezTo>
                        <a:pt x="95" y="500"/>
                        <a:pt x="95" y="500"/>
                        <a:pt x="95" y="500"/>
                      </a:cubicBezTo>
                      <a:cubicBezTo>
                        <a:pt x="95" y="519"/>
                        <a:pt x="110" y="534"/>
                        <a:pt x="129" y="534"/>
                      </a:cubicBezTo>
                      <a:cubicBezTo>
                        <a:pt x="182" y="534"/>
                        <a:pt x="182" y="534"/>
                        <a:pt x="182" y="534"/>
                      </a:cubicBezTo>
                      <a:cubicBezTo>
                        <a:pt x="203" y="534"/>
                        <a:pt x="223" y="524"/>
                        <a:pt x="236" y="507"/>
                      </a:cubicBezTo>
                      <a:cubicBezTo>
                        <a:pt x="310" y="409"/>
                        <a:pt x="310" y="409"/>
                        <a:pt x="310" y="409"/>
                      </a:cubicBezTo>
                      <a:cubicBezTo>
                        <a:pt x="1641" y="409"/>
                        <a:pt x="1641" y="409"/>
                        <a:pt x="1641" y="409"/>
                      </a:cubicBezTo>
                      <a:cubicBezTo>
                        <a:pt x="1715" y="507"/>
                        <a:pt x="1715" y="507"/>
                        <a:pt x="1715" y="507"/>
                      </a:cubicBezTo>
                      <a:cubicBezTo>
                        <a:pt x="1728" y="524"/>
                        <a:pt x="1748" y="534"/>
                        <a:pt x="1769" y="534"/>
                      </a:cubicBezTo>
                      <a:cubicBezTo>
                        <a:pt x="1822" y="534"/>
                        <a:pt x="1822" y="534"/>
                        <a:pt x="1822" y="534"/>
                      </a:cubicBezTo>
                      <a:cubicBezTo>
                        <a:pt x="1840" y="534"/>
                        <a:pt x="1855" y="519"/>
                        <a:pt x="1855" y="500"/>
                      </a:cubicBezTo>
                      <a:cubicBezTo>
                        <a:pt x="1855" y="409"/>
                        <a:pt x="1855" y="409"/>
                        <a:pt x="1855" y="409"/>
                      </a:cubicBezTo>
                      <a:cubicBezTo>
                        <a:pt x="1917" y="409"/>
                        <a:pt x="1917" y="409"/>
                        <a:pt x="1917" y="409"/>
                      </a:cubicBezTo>
                      <a:cubicBezTo>
                        <a:pt x="1936" y="409"/>
                        <a:pt x="1951" y="394"/>
                        <a:pt x="1951" y="375"/>
                      </a:cubicBezTo>
                      <a:cubicBezTo>
                        <a:pt x="1951" y="0"/>
                        <a:pt x="1951" y="0"/>
                        <a:pt x="1951" y="0"/>
                      </a:cubicBezTo>
                      <a:cubicBezTo>
                        <a:pt x="1396" y="0"/>
                        <a:pt x="1396" y="0"/>
                        <a:pt x="1396" y="0"/>
                      </a:cubicBezTo>
                      <a:cubicBezTo>
                        <a:pt x="1396" y="224"/>
                        <a:pt x="1396" y="224"/>
                        <a:pt x="1396" y="224"/>
                      </a:cubicBezTo>
                      <a:cubicBezTo>
                        <a:pt x="1396" y="242"/>
                        <a:pt x="1381" y="258"/>
                        <a:pt x="1362" y="258"/>
                      </a:cubicBezTo>
                      <a:cubicBezTo>
                        <a:pt x="575" y="257"/>
                        <a:pt x="575" y="257"/>
                        <a:pt x="575" y="257"/>
                      </a:cubicBezTo>
                      <a:cubicBezTo>
                        <a:pt x="557" y="257"/>
                        <a:pt x="542" y="242"/>
                        <a:pt x="542" y="223"/>
                      </a:cubicBezTo>
                      <a:cubicBezTo>
                        <a:pt x="542" y="0"/>
                        <a:pt x="542" y="0"/>
                        <a:pt x="54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375"/>
                        <a:pt x="0" y="375"/>
                        <a:pt x="0" y="375"/>
                      </a:cubicBezTo>
                      <a:cubicBezTo>
                        <a:pt x="0" y="394"/>
                        <a:pt x="15" y="409"/>
                        <a:pt x="33" y="409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7" name="Freeform 227"/>
                <p:cNvSpPr>
                  <a:spLocks/>
                </p:cNvSpPr>
                <p:nvPr/>
              </p:nvSpPr>
              <p:spPr bwMode="auto">
                <a:xfrm>
                  <a:off x="7917188" y="8025353"/>
                  <a:ext cx="594788" cy="28459"/>
                </a:xfrm>
                <a:custGeom>
                  <a:avLst/>
                  <a:gdLst>
                    <a:gd name="T0" fmla="*/ 762 w 779"/>
                    <a:gd name="T1" fmla="*/ 0 h 35"/>
                    <a:gd name="T2" fmla="*/ 17 w 779"/>
                    <a:gd name="T3" fmla="*/ 0 h 35"/>
                    <a:gd name="T4" fmla="*/ 17 w 779"/>
                    <a:gd name="T5" fmla="*/ 0 h 35"/>
                    <a:gd name="T6" fmla="*/ 0 w 779"/>
                    <a:gd name="T7" fmla="*/ 17 h 35"/>
                    <a:gd name="T8" fmla="*/ 17 w 779"/>
                    <a:gd name="T9" fmla="*/ 34 h 35"/>
                    <a:gd name="T10" fmla="*/ 762 w 779"/>
                    <a:gd name="T11" fmla="*/ 35 h 35"/>
                    <a:gd name="T12" fmla="*/ 762 w 779"/>
                    <a:gd name="T13" fmla="*/ 35 h 35"/>
                    <a:gd name="T14" fmla="*/ 779 w 779"/>
                    <a:gd name="T15" fmla="*/ 17 h 35"/>
                    <a:gd name="T16" fmla="*/ 762 w 779"/>
                    <a:gd name="T1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79" h="35">
                      <a:moveTo>
                        <a:pt x="762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8" y="0"/>
                        <a:pt x="0" y="7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762" y="35"/>
                        <a:pt x="762" y="35"/>
                        <a:pt x="762" y="35"/>
                      </a:cubicBezTo>
                      <a:cubicBezTo>
                        <a:pt x="762" y="35"/>
                        <a:pt x="762" y="35"/>
                        <a:pt x="762" y="35"/>
                      </a:cubicBezTo>
                      <a:cubicBezTo>
                        <a:pt x="771" y="35"/>
                        <a:pt x="779" y="27"/>
                        <a:pt x="779" y="17"/>
                      </a:cubicBezTo>
                      <a:cubicBezTo>
                        <a:pt x="779" y="8"/>
                        <a:pt x="771" y="0"/>
                        <a:pt x="762" y="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18" name="Freeform 228"/>
                <p:cNvSpPr>
                  <a:spLocks/>
                </p:cNvSpPr>
                <p:nvPr/>
              </p:nvSpPr>
              <p:spPr bwMode="auto">
                <a:xfrm>
                  <a:off x="7917188" y="8105037"/>
                  <a:ext cx="594788" cy="25614"/>
                </a:xfrm>
                <a:custGeom>
                  <a:avLst/>
                  <a:gdLst>
                    <a:gd name="T0" fmla="*/ 762 w 779"/>
                    <a:gd name="T1" fmla="*/ 0 h 35"/>
                    <a:gd name="T2" fmla="*/ 17 w 779"/>
                    <a:gd name="T3" fmla="*/ 0 h 35"/>
                    <a:gd name="T4" fmla="*/ 17 w 779"/>
                    <a:gd name="T5" fmla="*/ 0 h 35"/>
                    <a:gd name="T6" fmla="*/ 0 w 779"/>
                    <a:gd name="T7" fmla="*/ 17 h 35"/>
                    <a:gd name="T8" fmla="*/ 17 w 779"/>
                    <a:gd name="T9" fmla="*/ 34 h 35"/>
                    <a:gd name="T10" fmla="*/ 762 w 779"/>
                    <a:gd name="T11" fmla="*/ 35 h 35"/>
                    <a:gd name="T12" fmla="*/ 762 w 779"/>
                    <a:gd name="T13" fmla="*/ 35 h 35"/>
                    <a:gd name="T14" fmla="*/ 779 w 779"/>
                    <a:gd name="T15" fmla="*/ 17 h 35"/>
                    <a:gd name="T16" fmla="*/ 762 w 779"/>
                    <a:gd name="T1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79" h="35">
                      <a:moveTo>
                        <a:pt x="762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8" y="0"/>
                        <a:pt x="0" y="7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762" y="35"/>
                        <a:pt x="762" y="35"/>
                        <a:pt x="762" y="35"/>
                      </a:cubicBezTo>
                      <a:cubicBezTo>
                        <a:pt x="762" y="35"/>
                        <a:pt x="762" y="35"/>
                        <a:pt x="762" y="35"/>
                      </a:cubicBezTo>
                      <a:cubicBezTo>
                        <a:pt x="771" y="35"/>
                        <a:pt x="779" y="27"/>
                        <a:pt x="779" y="17"/>
                      </a:cubicBezTo>
                      <a:cubicBezTo>
                        <a:pt x="779" y="8"/>
                        <a:pt x="771" y="0"/>
                        <a:pt x="762" y="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819" name="Group 818"/>
                <p:cNvGrpSpPr/>
                <p:nvPr/>
              </p:nvGrpSpPr>
              <p:grpSpPr>
                <a:xfrm>
                  <a:off x="5556515" y="6858000"/>
                  <a:ext cx="343258" cy="200127"/>
                  <a:chOff x="1069911" y="239035"/>
                  <a:chExt cx="511773" cy="298376"/>
                </a:xfrm>
              </p:grpSpPr>
              <p:sp>
                <p:nvSpPr>
                  <p:cNvPr id="832" name="Freeform 36"/>
                  <p:cNvSpPr>
                    <a:spLocks/>
                  </p:cNvSpPr>
                  <p:nvPr/>
                </p:nvSpPr>
                <p:spPr bwMode="auto">
                  <a:xfrm>
                    <a:off x="1225807" y="453712"/>
                    <a:ext cx="201259" cy="83699"/>
                  </a:xfrm>
                  <a:custGeom>
                    <a:avLst/>
                    <a:gdLst>
                      <a:gd name="T0" fmla="*/ 12 w 168"/>
                      <a:gd name="T1" fmla="*/ 22 h 70"/>
                      <a:gd name="T2" fmla="*/ 1 w 168"/>
                      <a:gd name="T3" fmla="*/ 41 h 70"/>
                      <a:gd name="T4" fmla="*/ 8 w 168"/>
                      <a:gd name="T5" fmla="*/ 61 h 70"/>
                      <a:gd name="T6" fmla="*/ 9 w 168"/>
                      <a:gd name="T7" fmla="*/ 61 h 70"/>
                      <a:gd name="T8" fmla="*/ 39 w 168"/>
                      <a:gd name="T9" fmla="*/ 64 h 70"/>
                      <a:gd name="T10" fmla="*/ 84 w 168"/>
                      <a:gd name="T11" fmla="*/ 50 h 70"/>
                      <a:gd name="T12" fmla="*/ 129 w 168"/>
                      <a:gd name="T13" fmla="*/ 64 h 70"/>
                      <a:gd name="T14" fmla="*/ 159 w 168"/>
                      <a:gd name="T15" fmla="*/ 61 h 70"/>
                      <a:gd name="T16" fmla="*/ 159 w 168"/>
                      <a:gd name="T17" fmla="*/ 61 h 70"/>
                      <a:gd name="T18" fmla="*/ 167 w 168"/>
                      <a:gd name="T19" fmla="*/ 41 h 70"/>
                      <a:gd name="T20" fmla="*/ 156 w 168"/>
                      <a:gd name="T21" fmla="*/ 22 h 70"/>
                      <a:gd name="T22" fmla="*/ 84 w 168"/>
                      <a:gd name="T23" fmla="*/ 0 h 70"/>
                      <a:gd name="T24" fmla="*/ 12 w 168"/>
                      <a:gd name="T25" fmla="*/ 22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68" h="70">
                        <a:moveTo>
                          <a:pt x="12" y="22"/>
                        </a:moveTo>
                        <a:cubicBezTo>
                          <a:pt x="5" y="26"/>
                          <a:pt x="1" y="33"/>
                          <a:pt x="1" y="41"/>
                        </a:cubicBezTo>
                        <a:cubicBezTo>
                          <a:pt x="0" y="48"/>
                          <a:pt x="3" y="56"/>
                          <a:pt x="8" y="61"/>
                        </a:cubicBezTo>
                        <a:cubicBezTo>
                          <a:pt x="9" y="61"/>
                          <a:pt x="9" y="61"/>
                          <a:pt x="9" y="61"/>
                        </a:cubicBezTo>
                        <a:cubicBezTo>
                          <a:pt x="17" y="69"/>
                          <a:pt x="29" y="70"/>
                          <a:pt x="39" y="64"/>
                        </a:cubicBezTo>
                        <a:cubicBezTo>
                          <a:pt x="53" y="55"/>
                          <a:pt x="68" y="50"/>
                          <a:pt x="84" y="50"/>
                        </a:cubicBezTo>
                        <a:cubicBezTo>
                          <a:pt x="100" y="50"/>
                          <a:pt x="115" y="55"/>
                          <a:pt x="129" y="64"/>
                        </a:cubicBezTo>
                        <a:cubicBezTo>
                          <a:pt x="138" y="70"/>
                          <a:pt x="151" y="69"/>
                          <a:pt x="159" y="61"/>
                        </a:cubicBezTo>
                        <a:cubicBezTo>
                          <a:pt x="159" y="61"/>
                          <a:pt x="159" y="61"/>
                          <a:pt x="159" y="61"/>
                        </a:cubicBezTo>
                        <a:cubicBezTo>
                          <a:pt x="165" y="56"/>
                          <a:pt x="168" y="48"/>
                          <a:pt x="167" y="41"/>
                        </a:cubicBezTo>
                        <a:cubicBezTo>
                          <a:pt x="166" y="33"/>
                          <a:pt x="162" y="26"/>
                          <a:pt x="156" y="22"/>
                        </a:cubicBezTo>
                        <a:cubicBezTo>
                          <a:pt x="134" y="8"/>
                          <a:pt x="109" y="0"/>
                          <a:pt x="84" y="0"/>
                        </a:cubicBezTo>
                        <a:cubicBezTo>
                          <a:pt x="58" y="0"/>
                          <a:pt x="34" y="8"/>
                          <a:pt x="12" y="2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3" name="Freeform 37"/>
                  <p:cNvSpPr>
                    <a:spLocks/>
                  </p:cNvSpPr>
                  <p:nvPr/>
                </p:nvSpPr>
                <p:spPr bwMode="auto">
                  <a:xfrm>
                    <a:off x="1147860" y="347012"/>
                    <a:ext cx="355878" cy="118839"/>
                  </a:xfrm>
                  <a:custGeom>
                    <a:avLst/>
                    <a:gdLst>
                      <a:gd name="T0" fmla="*/ 149 w 297"/>
                      <a:gd name="T1" fmla="*/ 0 h 99"/>
                      <a:gd name="T2" fmla="*/ 9 w 297"/>
                      <a:gd name="T3" fmla="*/ 53 h 99"/>
                      <a:gd name="T4" fmla="*/ 0 w 297"/>
                      <a:gd name="T5" fmla="*/ 71 h 99"/>
                      <a:gd name="T6" fmla="*/ 8 w 297"/>
                      <a:gd name="T7" fmla="*/ 90 h 99"/>
                      <a:gd name="T8" fmla="*/ 8 w 297"/>
                      <a:gd name="T9" fmla="*/ 90 h 99"/>
                      <a:gd name="T10" fmla="*/ 41 w 297"/>
                      <a:gd name="T11" fmla="*/ 91 h 99"/>
                      <a:gd name="T12" fmla="*/ 149 w 297"/>
                      <a:gd name="T13" fmla="*/ 49 h 99"/>
                      <a:gd name="T14" fmla="*/ 256 w 297"/>
                      <a:gd name="T15" fmla="*/ 91 h 99"/>
                      <a:gd name="T16" fmla="*/ 289 w 297"/>
                      <a:gd name="T17" fmla="*/ 90 h 99"/>
                      <a:gd name="T18" fmla="*/ 289 w 297"/>
                      <a:gd name="T19" fmla="*/ 90 h 99"/>
                      <a:gd name="T20" fmla="*/ 297 w 297"/>
                      <a:gd name="T21" fmla="*/ 71 h 99"/>
                      <a:gd name="T22" fmla="*/ 288 w 297"/>
                      <a:gd name="T23" fmla="*/ 53 h 99"/>
                      <a:gd name="T24" fmla="*/ 149 w 297"/>
                      <a:gd name="T25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97" h="99">
                        <a:moveTo>
                          <a:pt x="149" y="0"/>
                        </a:moveTo>
                        <a:cubicBezTo>
                          <a:pt x="98" y="0"/>
                          <a:pt x="50" y="18"/>
                          <a:pt x="9" y="53"/>
                        </a:cubicBezTo>
                        <a:cubicBezTo>
                          <a:pt x="4" y="57"/>
                          <a:pt x="1" y="64"/>
                          <a:pt x="0" y="71"/>
                        </a:cubicBezTo>
                        <a:cubicBezTo>
                          <a:pt x="0" y="78"/>
                          <a:pt x="3" y="85"/>
                          <a:pt x="8" y="90"/>
                        </a:cubicBezTo>
                        <a:cubicBezTo>
                          <a:pt x="8" y="90"/>
                          <a:pt x="8" y="90"/>
                          <a:pt x="8" y="90"/>
                        </a:cubicBezTo>
                        <a:cubicBezTo>
                          <a:pt x="18" y="98"/>
                          <a:pt x="32" y="99"/>
                          <a:pt x="41" y="91"/>
                        </a:cubicBezTo>
                        <a:cubicBezTo>
                          <a:pt x="73" y="64"/>
                          <a:pt x="110" y="49"/>
                          <a:pt x="149" y="49"/>
                        </a:cubicBezTo>
                        <a:cubicBezTo>
                          <a:pt x="188" y="49"/>
                          <a:pt x="225" y="64"/>
                          <a:pt x="256" y="91"/>
                        </a:cubicBezTo>
                        <a:cubicBezTo>
                          <a:pt x="266" y="99"/>
                          <a:pt x="280" y="98"/>
                          <a:pt x="289" y="90"/>
                        </a:cubicBezTo>
                        <a:cubicBezTo>
                          <a:pt x="289" y="90"/>
                          <a:pt x="289" y="90"/>
                          <a:pt x="289" y="90"/>
                        </a:cubicBezTo>
                        <a:cubicBezTo>
                          <a:pt x="295" y="85"/>
                          <a:pt x="297" y="78"/>
                          <a:pt x="297" y="71"/>
                        </a:cubicBezTo>
                        <a:cubicBezTo>
                          <a:pt x="297" y="64"/>
                          <a:pt x="294" y="57"/>
                          <a:pt x="288" y="53"/>
                        </a:cubicBezTo>
                        <a:cubicBezTo>
                          <a:pt x="248" y="18"/>
                          <a:pt x="200" y="0"/>
                          <a:pt x="14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4" name="Freeform 38"/>
                  <p:cNvSpPr>
                    <a:spLocks/>
                  </p:cNvSpPr>
                  <p:nvPr/>
                </p:nvSpPr>
                <p:spPr bwMode="auto">
                  <a:xfrm>
                    <a:off x="1069911" y="239035"/>
                    <a:ext cx="511773" cy="154619"/>
                  </a:xfrm>
                  <a:custGeom>
                    <a:avLst/>
                    <a:gdLst>
                      <a:gd name="T0" fmla="*/ 214 w 427"/>
                      <a:gd name="T1" fmla="*/ 0 h 129"/>
                      <a:gd name="T2" fmla="*/ 8 w 427"/>
                      <a:gd name="T3" fmla="*/ 84 h 129"/>
                      <a:gd name="T4" fmla="*/ 0 w 427"/>
                      <a:gd name="T5" fmla="*/ 102 h 129"/>
                      <a:gd name="T6" fmla="*/ 8 w 427"/>
                      <a:gd name="T7" fmla="*/ 120 h 129"/>
                      <a:gd name="T8" fmla="*/ 9 w 427"/>
                      <a:gd name="T9" fmla="*/ 120 h 129"/>
                      <a:gd name="T10" fmla="*/ 43 w 427"/>
                      <a:gd name="T11" fmla="*/ 120 h 129"/>
                      <a:gd name="T12" fmla="*/ 214 w 427"/>
                      <a:gd name="T13" fmla="*/ 50 h 129"/>
                      <a:gd name="T14" fmla="*/ 385 w 427"/>
                      <a:gd name="T15" fmla="*/ 120 h 129"/>
                      <a:gd name="T16" fmla="*/ 419 w 427"/>
                      <a:gd name="T17" fmla="*/ 120 h 129"/>
                      <a:gd name="T18" fmla="*/ 419 w 427"/>
                      <a:gd name="T19" fmla="*/ 120 h 129"/>
                      <a:gd name="T20" fmla="*/ 427 w 427"/>
                      <a:gd name="T21" fmla="*/ 102 h 129"/>
                      <a:gd name="T22" fmla="*/ 419 w 427"/>
                      <a:gd name="T23" fmla="*/ 84 h 129"/>
                      <a:gd name="T24" fmla="*/ 214 w 427"/>
                      <a:gd name="T25" fmla="*/ 0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27" h="129">
                        <a:moveTo>
                          <a:pt x="214" y="0"/>
                        </a:moveTo>
                        <a:cubicBezTo>
                          <a:pt x="131" y="0"/>
                          <a:pt x="55" y="40"/>
                          <a:pt x="8" y="84"/>
                        </a:cubicBezTo>
                        <a:cubicBezTo>
                          <a:pt x="3" y="88"/>
                          <a:pt x="0" y="95"/>
                          <a:pt x="0" y="102"/>
                        </a:cubicBezTo>
                        <a:cubicBezTo>
                          <a:pt x="1" y="109"/>
                          <a:pt x="3" y="115"/>
                          <a:pt x="8" y="120"/>
                        </a:cubicBezTo>
                        <a:cubicBezTo>
                          <a:pt x="9" y="120"/>
                          <a:pt x="9" y="120"/>
                          <a:pt x="9" y="120"/>
                        </a:cubicBezTo>
                        <a:cubicBezTo>
                          <a:pt x="18" y="129"/>
                          <a:pt x="33" y="129"/>
                          <a:pt x="43" y="120"/>
                        </a:cubicBezTo>
                        <a:cubicBezTo>
                          <a:pt x="78" y="87"/>
                          <a:pt x="141" y="50"/>
                          <a:pt x="214" y="50"/>
                        </a:cubicBezTo>
                        <a:cubicBezTo>
                          <a:pt x="286" y="50"/>
                          <a:pt x="349" y="87"/>
                          <a:pt x="385" y="120"/>
                        </a:cubicBezTo>
                        <a:cubicBezTo>
                          <a:pt x="395" y="129"/>
                          <a:pt x="409" y="129"/>
                          <a:pt x="419" y="120"/>
                        </a:cubicBezTo>
                        <a:cubicBezTo>
                          <a:pt x="419" y="120"/>
                          <a:pt x="419" y="120"/>
                          <a:pt x="419" y="120"/>
                        </a:cubicBezTo>
                        <a:cubicBezTo>
                          <a:pt x="424" y="115"/>
                          <a:pt x="427" y="109"/>
                          <a:pt x="427" y="102"/>
                        </a:cubicBezTo>
                        <a:cubicBezTo>
                          <a:pt x="427" y="95"/>
                          <a:pt x="424" y="88"/>
                          <a:pt x="419" y="84"/>
                        </a:cubicBezTo>
                        <a:cubicBezTo>
                          <a:pt x="372" y="40"/>
                          <a:pt x="297" y="0"/>
                          <a:pt x="214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820" name="Group 819"/>
                <p:cNvGrpSpPr/>
                <p:nvPr/>
              </p:nvGrpSpPr>
              <p:grpSpPr>
                <a:xfrm>
                  <a:off x="6100281" y="7213980"/>
                  <a:ext cx="343258" cy="200127"/>
                  <a:chOff x="1069911" y="239035"/>
                  <a:chExt cx="511773" cy="298376"/>
                </a:xfrm>
              </p:grpSpPr>
              <p:sp>
                <p:nvSpPr>
                  <p:cNvPr id="829" name="Freeform 36"/>
                  <p:cNvSpPr>
                    <a:spLocks/>
                  </p:cNvSpPr>
                  <p:nvPr/>
                </p:nvSpPr>
                <p:spPr bwMode="auto">
                  <a:xfrm>
                    <a:off x="1225807" y="453712"/>
                    <a:ext cx="201259" cy="83699"/>
                  </a:xfrm>
                  <a:custGeom>
                    <a:avLst/>
                    <a:gdLst>
                      <a:gd name="T0" fmla="*/ 12 w 168"/>
                      <a:gd name="T1" fmla="*/ 22 h 70"/>
                      <a:gd name="T2" fmla="*/ 1 w 168"/>
                      <a:gd name="T3" fmla="*/ 41 h 70"/>
                      <a:gd name="T4" fmla="*/ 8 w 168"/>
                      <a:gd name="T5" fmla="*/ 61 h 70"/>
                      <a:gd name="T6" fmla="*/ 9 w 168"/>
                      <a:gd name="T7" fmla="*/ 61 h 70"/>
                      <a:gd name="T8" fmla="*/ 39 w 168"/>
                      <a:gd name="T9" fmla="*/ 64 h 70"/>
                      <a:gd name="T10" fmla="*/ 84 w 168"/>
                      <a:gd name="T11" fmla="*/ 50 h 70"/>
                      <a:gd name="T12" fmla="*/ 129 w 168"/>
                      <a:gd name="T13" fmla="*/ 64 h 70"/>
                      <a:gd name="T14" fmla="*/ 159 w 168"/>
                      <a:gd name="T15" fmla="*/ 61 h 70"/>
                      <a:gd name="T16" fmla="*/ 159 w 168"/>
                      <a:gd name="T17" fmla="*/ 61 h 70"/>
                      <a:gd name="T18" fmla="*/ 167 w 168"/>
                      <a:gd name="T19" fmla="*/ 41 h 70"/>
                      <a:gd name="T20" fmla="*/ 156 w 168"/>
                      <a:gd name="T21" fmla="*/ 22 h 70"/>
                      <a:gd name="T22" fmla="*/ 84 w 168"/>
                      <a:gd name="T23" fmla="*/ 0 h 70"/>
                      <a:gd name="T24" fmla="*/ 12 w 168"/>
                      <a:gd name="T25" fmla="*/ 22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68" h="70">
                        <a:moveTo>
                          <a:pt x="12" y="22"/>
                        </a:moveTo>
                        <a:cubicBezTo>
                          <a:pt x="5" y="26"/>
                          <a:pt x="1" y="33"/>
                          <a:pt x="1" y="41"/>
                        </a:cubicBezTo>
                        <a:cubicBezTo>
                          <a:pt x="0" y="48"/>
                          <a:pt x="3" y="56"/>
                          <a:pt x="8" y="61"/>
                        </a:cubicBezTo>
                        <a:cubicBezTo>
                          <a:pt x="9" y="61"/>
                          <a:pt x="9" y="61"/>
                          <a:pt x="9" y="61"/>
                        </a:cubicBezTo>
                        <a:cubicBezTo>
                          <a:pt x="17" y="69"/>
                          <a:pt x="29" y="70"/>
                          <a:pt x="39" y="64"/>
                        </a:cubicBezTo>
                        <a:cubicBezTo>
                          <a:pt x="53" y="55"/>
                          <a:pt x="68" y="50"/>
                          <a:pt x="84" y="50"/>
                        </a:cubicBezTo>
                        <a:cubicBezTo>
                          <a:pt x="100" y="50"/>
                          <a:pt x="115" y="55"/>
                          <a:pt x="129" y="64"/>
                        </a:cubicBezTo>
                        <a:cubicBezTo>
                          <a:pt x="138" y="70"/>
                          <a:pt x="151" y="69"/>
                          <a:pt x="159" y="61"/>
                        </a:cubicBezTo>
                        <a:cubicBezTo>
                          <a:pt x="159" y="61"/>
                          <a:pt x="159" y="61"/>
                          <a:pt x="159" y="61"/>
                        </a:cubicBezTo>
                        <a:cubicBezTo>
                          <a:pt x="165" y="56"/>
                          <a:pt x="168" y="48"/>
                          <a:pt x="167" y="41"/>
                        </a:cubicBezTo>
                        <a:cubicBezTo>
                          <a:pt x="166" y="33"/>
                          <a:pt x="162" y="26"/>
                          <a:pt x="156" y="22"/>
                        </a:cubicBezTo>
                        <a:cubicBezTo>
                          <a:pt x="134" y="8"/>
                          <a:pt x="109" y="0"/>
                          <a:pt x="84" y="0"/>
                        </a:cubicBezTo>
                        <a:cubicBezTo>
                          <a:pt x="58" y="0"/>
                          <a:pt x="34" y="8"/>
                          <a:pt x="12" y="2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0" name="Freeform 37"/>
                  <p:cNvSpPr>
                    <a:spLocks/>
                  </p:cNvSpPr>
                  <p:nvPr/>
                </p:nvSpPr>
                <p:spPr bwMode="auto">
                  <a:xfrm>
                    <a:off x="1147860" y="347012"/>
                    <a:ext cx="355878" cy="118839"/>
                  </a:xfrm>
                  <a:custGeom>
                    <a:avLst/>
                    <a:gdLst>
                      <a:gd name="T0" fmla="*/ 149 w 297"/>
                      <a:gd name="T1" fmla="*/ 0 h 99"/>
                      <a:gd name="T2" fmla="*/ 9 w 297"/>
                      <a:gd name="T3" fmla="*/ 53 h 99"/>
                      <a:gd name="T4" fmla="*/ 0 w 297"/>
                      <a:gd name="T5" fmla="*/ 71 h 99"/>
                      <a:gd name="T6" fmla="*/ 8 w 297"/>
                      <a:gd name="T7" fmla="*/ 90 h 99"/>
                      <a:gd name="T8" fmla="*/ 8 w 297"/>
                      <a:gd name="T9" fmla="*/ 90 h 99"/>
                      <a:gd name="T10" fmla="*/ 41 w 297"/>
                      <a:gd name="T11" fmla="*/ 91 h 99"/>
                      <a:gd name="T12" fmla="*/ 149 w 297"/>
                      <a:gd name="T13" fmla="*/ 49 h 99"/>
                      <a:gd name="T14" fmla="*/ 256 w 297"/>
                      <a:gd name="T15" fmla="*/ 91 h 99"/>
                      <a:gd name="T16" fmla="*/ 289 w 297"/>
                      <a:gd name="T17" fmla="*/ 90 h 99"/>
                      <a:gd name="T18" fmla="*/ 289 w 297"/>
                      <a:gd name="T19" fmla="*/ 90 h 99"/>
                      <a:gd name="T20" fmla="*/ 297 w 297"/>
                      <a:gd name="T21" fmla="*/ 71 h 99"/>
                      <a:gd name="T22" fmla="*/ 288 w 297"/>
                      <a:gd name="T23" fmla="*/ 53 h 99"/>
                      <a:gd name="T24" fmla="*/ 149 w 297"/>
                      <a:gd name="T25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97" h="99">
                        <a:moveTo>
                          <a:pt x="149" y="0"/>
                        </a:moveTo>
                        <a:cubicBezTo>
                          <a:pt x="98" y="0"/>
                          <a:pt x="50" y="18"/>
                          <a:pt x="9" y="53"/>
                        </a:cubicBezTo>
                        <a:cubicBezTo>
                          <a:pt x="4" y="57"/>
                          <a:pt x="1" y="64"/>
                          <a:pt x="0" y="71"/>
                        </a:cubicBezTo>
                        <a:cubicBezTo>
                          <a:pt x="0" y="78"/>
                          <a:pt x="3" y="85"/>
                          <a:pt x="8" y="90"/>
                        </a:cubicBezTo>
                        <a:cubicBezTo>
                          <a:pt x="8" y="90"/>
                          <a:pt x="8" y="90"/>
                          <a:pt x="8" y="90"/>
                        </a:cubicBezTo>
                        <a:cubicBezTo>
                          <a:pt x="18" y="98"/>
                          <a:pt x="32" y="99"/>
                          <a:pt x="41" y="91"/>
                        </a:cubicBezTo>
                        <a:cubicBezTo>
                          <a:pt x="73" y="64"/>
                          <a:pt x="110" y="49"/>
                          <a:pt x="149" y="49"/>
                        </a:cubicBezTo>
                        <a:cubicBezTo>
                          <a:pt x="188" y="49"/>
                          <a:pt x="225" y="64"/>
                          <a:pt x="256" y="91"/>
                        </a:cubicBezTo>
                        <a:cubicBezTo>
                          <a:pt x="266" y="99"/>
                          <a:pt x="280" y="98"/>
                          <a:pt x="289" y="90"/>
                        </a:cubicBezTo>
                        <a:cubicBezTo>
                          <a:pt x="289" y="90"/>
                          <a:pt x="289" y="90"/>
                          <a:pt x="289" y="90"/>
                        </a:cubicBezTo>
                        <a:cubicBezTo>
                          <a:pt x="295" y="85"/>
                          <a:pt x="297" y="78"/>
                          <a:pt x="297" y="71"/>
                        </a:cubicBezTo>
                        <a:cubicBezTo>
                          <a:pt x="297" y="64"/>
                          <a:pt x="294" y="57"/>
                          <a:pt x="288" y="53"/>
                        </a:cubicBezTo>
                        <a:cubicBezTo>
                          <a:pt x="248" y="18"/>
                          <a:pt x="200" y="0"/>
                          <a:pt x="14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1" name="Freeform 38"/>
                  <p:cNvSpPr>
                    <a:spLocks/>
                  </p:cNvSpPr>
                  <p:nvPr/>
                </p:nvSpPr>
                <p:spPr bwMode="auto">
                  <a:xfrm>
                    <a:off x="1069911" y="239035"/>
                    <a:ext cx="511773" cy="154619"/>
                  </a:xfrm>
                  <a:custGeom>
                    <a:avLst/>
                    <a:gdLst>
                      <a:gd name="T0" fmla="*/ 214 w 427"/>
                      <a:gd name="T1" fmla="*/ 0 h 129"/>
                      <a:gd name="T2" fmla="*/ 8 w 427"/>
                      <a:gd name="T3" fmla="*/ 84 h 129"/>
                      <a:gd name="T4" fmla="*/ 0 w 427"/>
                      <a:gd name="T5" fmla="*/ 102 h 129"/>
                      <a:gd name="T6" fmla="*/ 8 w 427"/>
                      <a:gd name="T7" fmla="*/ 120 h 129"/>
                      <a:gd name="T8" fmla="*/ 9 w 427"/>
                      <a:gd name="T9" fmla="*/ 120 h 129"/>
                      <a:gd name="T10" fmla="*/ 43 w 427"/>
                      <a:gd name="T11" fmla="*/ 120 h 129"/>
                      <a:gd name="T12" fmla="*/ 214 w 427"/>
                      <a:gd name="T13" fmla="*/ 50 h 129"/>
                      <a:gd name="T14" fmla="*/ 385 w 427"/>
                      <a:gd name="T15" fmla="*/ 120 h 129"/>
                      <a:gd name="T16" fmla="*/ 419 w 427"/>
                      <a:gd name="T17" fmla="*/ 120 h 129"/>
                      <a:gd name="T18" fmla="*/ 419 w 427"/>
                      <a:gd name="T19" fmla="*/ 120 h 129"/>
                      <a:gd name="T20" fmla="*/ 427 w 427"/>
                      <a:gd name="T21" fmla="*/ 102 h 129"/>
                      <a:gd name="T22" fmla="*/ 419 w 427"/>
                      <a:gd name="T23" fmla="*/ 84 h 129"/>
                      <a:gd name="T24" fmla="*/ 214 w 427"/>
                      <a:gd name="T25" fmla="*/ 0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27" h="129">
                        <a:moveTo>
                          <a:pt x="214" y="0"/>
                        </a:moveTo>
                        <a:cubicBezTo>
                          <a:pt x="131" y="0"/>
                          <a:pt x="55" y="40"/>
                          <a:pt x="8" y="84"/>
                        </a:cubicBezTo>
                        <a:cubicBezTo>
                          <a:pt x="3" y="88"/>
                          <a:pt x="0" y="95"/>
                          <a:pt x="0" y="102"/>
                        </a:cubicBezTo>
                        <a:cubicBezTo>
                          <a:pt x="1" y="109"/>
                          <a:pt x="3" y="115"/>
                          <a:pt x="8" y="120"/>
                        </a:cubicBezTo>
                        <a:cubicBezTo>
                          <a:pt x="9" y="120"/>
                          <a:pt x="9" y="120"/>
                          <a:pt x="9" y="120"/>
                        </a:cubicBezTo>
                        <a:cubicBezTo>
                          <a:pt x="18" y="129"/>
                          <a:pt x="33" y="129"/>
                          <a:pt x="43" y="120"/>
                        </a:cubicBezTo>
                        <a:cubicBezTo>
                          <a:pt x="78" y="87"/>
                          <a:pt x="141" y="50"/>
                          <a:pt x="214" y="50"/>
                        </a:cubicBezTo>
                        <a:cubicBezTo>
                          <a:pt x="286" y="50"/>
                          <a:pt x="349" y="87"/>
                          <a:pt x="385" y="120"/>
                        </a:cubicBezTo>
                        <a:cubicBezTo>
                          <a:pt x="395" y="129"/>
                          <a:pt x="409" y="129"/>
                          <a:pt x="419" y="120"/>
                        </a:cubicBezTo>
                        <a:cubicBezTo>
                          <a:pt x="419" y="120"/>
                          <a:pt x="419" y="120"/>
                          <a:pt x="419" y="120"/>
                        </a:cubicBezTo>
                        <a:cubicBezTo>
                          <a:pt x="424" y="115"/>
                          <a:pt x="427" y="109"/>
                          <a:pt x="427" y="102"/>
                        </a:cubicBezTo>
                        <a:cubicBezTo>
                          <a:pt x="427" y="95"/>
                          <a:pt x="424" y="88"/>
                          <a:pt x="419" y="84"/>
                        </a:cubicBezTo>
                        <a:cubicBezTo>
                          <a:pt x="372" y="40"/>
                          <a:pt x="297" y="0"/>
                          <a:pt x="214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821" name="Group 820"/>
                <p:cNvGrpSpPr/>
                <p:nvPr/>
              </p:nvGrpSpPr>
              <p:grpSpPr>
                <a:xfrm>
                  <a:off x="6880987" y="7217126"/>
                  <a:ext cx="343258" cy="200127"/>
                  <a:chOff x="1069911" y="239035"/>
                  <a:chExt cx="511773" cy="298376"/>
                </a:xfrm>
              </p:grpSpPr>
              <p:sp>
                <p:nvSpPr>
                  <p:cNvPr id="826" name="Freeform 36"/>
                  <p:cNvSpPr>
                    <a:spLocks/>
                  </p:cNvSpPr>
                  <p:nvPr/>
                </p:nvSpPr>
                <p:spPr bwMode="auto">
                  <a:xfrm>
                    <a:off x="1225807" y="453712"/>
                    <a:ext cx="201259" cy="83699"/>
                  </a:xfrm>
                  <a:custGeom>
                    <a:avLst/>
                    <a:gdLst>
                      <a:gd name="T0" fmla="*/ 12 w 168"/>
                      <a:gd name="T1" fmla="*/ 22 h 70"/>
                      <a:gd name="T2" fmla="*/ 1 w 168"/>
                      <a:gd name="T3" fmla="*/ 41 h 70"/>
                      <a:gd name="T4" fmla="*/ 8 w 168"/>
                      <a:gd name="T5" fmla="*/ 61 h 70"/>
                      <a:gd name="T6" fmla="*/ 9 w 168"/>
                      <a:gd name="T7" fmla="*/ 61 h 70"/>
                      <a:gd name="T8" fmla="*/ 39 w 168"/>
                      <a:gd name="T9" fmla="*/ 64 h 70"/>
                      <a:gd name="T10" fmla="*/ 84 w 168"/>
                      <a:gd name="T11" fmla="*/ 50 h 70"/>
                      <a:gd name="T12" fmla="*/ 129 w 168"/>
                      <a:gd name="T13" fmla="*/ 64 h 70"/>
                      <a:gd name="T14" fmla="*/ 159 w 168"/>
                      <a:gd name="T15" fmla="*/ 61 h 70"/>
                      <a:gd name="T16" fmla="*/ 159 w 168"/>
                      <a:gd name="T17" fmla="*/ 61 h 70"/>
                      <a:gd name="T18" fmla="*/ 167 w 168"/>
                      <a:gd name="T19" fmla="*/ 41 h 70"/>
                      <a:gd name="T20" fmla="*/ 156 w 168"/>
                      <a:gd name="T21" fmla="*/ 22 h 70"/>
                      <a:gd name="T22" fmla="*/ 84 w 168"/>
                      <a:gd name="T23" fmla="*/ 0 h 70"/>
                      <a:gd name="T24" fmla="*/ 12 w 168"/>
                      <a:gd name="T25" fmla="*/ 22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68" h="70">
                        <a:moveTo>
                          <a:pt x="12" y="22"/>
                        </a:moveTo>
                        <a:cubicBezTo>
                          <a:pt x="5" y="26"/>
                          <a:pt x="1" y="33"/>
                          <a:pt x="1" y="41"/>
                        </a:cubicBezTo>
                        <a:cubicBezTo>
                          <a:pt x="0" y="48"/>
                          <a:pt x="3" y="56"/>
                          <a:pt x="8" y="61"/>
                        </a:cubicBezTo>
                        <a:cubicBezTo>
                          <a:pt x="9" y="61"/>
                          <a:pt x="9" y="61"/>
                          <a:pt x="9" y="61"/>
                        </a:cubicBezTo>
                        <a:cubicBezTo>
                          <a:pt x="17" y="69"/>
                          <a:pt x="29" y="70"/>
                          <a:pt x="39" y="64"/>
                        </a:cubicBezTo>
                        <a:cubicBezTo>
                          <a:pt x="53" y="55"/>
                          <a:pt x="68" y="50"/>
                          <a:pt x="84" y="50"/>
                        </a:cubicBezTo>
                        <a:cubicBezTo>
                          <a:pt x="100" y="50"/>
                          <a:pt x="115" y="55"/>
                          <a:pt x="129" y="64"/>
                        </a:cubicBezTo>
                        <a:cubicBezTo>
                          <a:pt x="138" y="70"/>
                          <a:pt x="151" y="69"/>
                          <a:pt x="159" y="61"/>
                        </a:cubicBezTo>
                        <a:cubicBezTo>
                          <a:pt x="159" y="61"/>
                          <a:pt x="159" y="61"/>
                          <a:pt x="159" y="61"/>
                        </a:cubicBezTo>
                        <a:cubicBezTo>
                          <a:pt x="165" y="56"/>
                          <a:pt x="168" y="48"/>
                          <a:pt x="167" y="41"/>
                        </a:cubicBezTo>
                        <a:cubicBezTo>
                          <a:pt x="166" y="33"/>
                          <a:pt x="162" y="26"/>
                          <a:pt x="156" y="22"/>
                        </a:cubicBezTo>
                        <a:cubicBezTo>
                          <a:pt x="134" y="8"/>
                          <a:pt x="109" y="0"/>
                          <a:pt x="84" y="0"/>
                        </a:cubicBezTo>
                        <a:cubicBezTo>
                          <a:pt x="58" y="0"/>
                          <a:pt x="34" y="8"/>
                          <a:pt x="12" y="2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7" name="Freeform 37"/>
                  <p:cNvSpPr>
                    <a:spLocks/>
                  </p:cNvSpPr>
                  <p:nvPr/>
                </p:nvSpPr>
                <p:spPr bwMode="auto">
                  <a:xfrm>
                    <a:off x="1147860" y="347012"/>
                    <a:ext cx="355878" cy="118839"/>
                  </a:xfrm>
                  <a:custGeom>
                    <a:avLst/>
                    <a:gdLst>
                      <a:gd name="T0" fmla="*/ 149 w 297"/>
                      <a:gd name="T1" fmla="*/ 0 h 99"/>
                      <a:gd name="T2" fmla="*/ 9 w 297"/>
                      <a:gd name="T3" fmla="*/ 53 h 99"/>
                      <a:gd name="T4" fmla="*/ 0 w 297"/>
                      <a:gd name="T5" fmla="*/ 71 h 99"/>
                      <a:gd name="T6" fmla="*/ 8 w 297"/>
                      <a:gd name="T7" fmla="*/ 90 h 99"/>
                      <a:gd name="T8" fmla="*/ 8 w 297"/>
                      <a:gd name="T9" fmla="*/ 90 h 99"/>
                      <a:gd name="T10" fmla="*/ 41 w 297"/>
                      <a:gd name="T11" fmla="*/ 91 h 99"/>
                      <a:gd name="T12" fmla="*/ 149 w 297"/>
                      <a:gd name="T13" fmla="*/ 49 h 99"/>
                      <a:gd name="T14" fmla="*/ 256 w 297"/>
                      <a:gd name="T15" fmla="*/ 91 h 99"/>
                      <a:gd name="T16" fmla="*/ 289 w 297"/>
                      <a:gd name="T17" fmla="*/ 90 h 99"/>
                      <a:gd name="T18" fmla="*/ 289 w 297"/>
                      <a:gd name="T19" fmla="*/ 90 h 99"/>
                      <a:gd name="T20" fmla="*/ 297 w 297"/>
                      <a:gd name="T21" fmla="*/ 71 h 99"/>
                      <a:gd name="T22" fmla="*/ 288 w 297"/>
                      <a:gd name="T23" fmla="*/ 53 h 99"/>
                      <a:gd name="T24" fmla="*/ 149 w 297"/>
                      <a:gd name="T25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97" h="99">
                        <a:moveTo>
                          <a:pt x="149" y="0"/>
                        </a:moveTo>
                        <a:cubicBezTo>
                          <a:pt x="98" y="0"/>
                          <a:pt x="50" y="18"/>
                          <a:pt x="9" y="53"/>
                        </a:cubicBezTo>
                        <a:cubicBezTo>
                          <a:pt x="4" y="57"/>
                          <a:pt x="1" y="64"/>
                          <a:pt x="0" y="71"/>
                        </a:cubicBezTo>
                        <a:cubicBezTo>
                          <a:pt x="0" y="78"/>
                          <a:pt x="3" y="85"/>
                          <a:pt x="8" y="90"/>
                        </a:cubicBezTo>
                        <a:cubicBezTo>
                          <a:pt x="8" y="90"/>
                          <a:pt x="8" y="90"/>
                          <a:pt x="8" y="90"/>
                        </a:cubicBezTo>
                        <a:cubicBezTo>
                          <a:pt x="18" y="98"/>
                          <a:pt x="32" y="99"/>
                          <a:pt x="41" y="91"/>
                        </a:cubicBezTo>
                        <a:cubicBezTo>
                          <a:pt x="73" y="64"/>
                          <a:pt x="110" y="49"/>
                          <a:pt x="149" y="49"/>
                        </a:cubicBezTo>
                        <a:cubicBezTo>
                          <a:pt x="188" y="49"/>
                          <a:pt x="225" y="64"/>
                          <a:pt x="256" y="91"/>
                        </a:cubicBezTo>
                        <a:cubicBezTo>
                          <a:pt x="266" y="99"/>
                          <a:pt x="280" y="98"/>
                          <a:pt x="289" y="90"/>
                        </a:cubicBezTo>
                        <a:cubicBezTo>
                          <a:pt x="289" y="90"/>
                          <a:pt x="289" y="90"/>
                          <a:pt x="289" y="90"/>
                        </a:cubicBezTo>
                        <a:cubicBezTo>
                          <a:pt x="295" y="85"/>
                          <a:pt x="297" y="78"/>
                          <a:pt x="297" y="71"/>
                        </a:cubicBezTo>
                        <a:cubicBezTo>
                          <a:pt x="297" y="64"/>
                          <a:pt x="294" y="57"/>
                          <a:pt x="288" y="53"/>
                        </a:cubicBezTo>
                        <a:cubicBezTo>
                          <a:pt x="248" y="18"/>
                          <a:pt x="200" y="0"/>
                          <a:pt x="14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8" name="Freeform 38"/>
                  <p:cNvSpPr>
                    <a:spLocks/>
                  </p:cNvSpPr>
                  <p:nvPr/>
                </p:nvSpPr>
                <p:spPr bwMode="auto">
                  <a:xfrm>
                    <a:off x="1069911" y="239035"/>
                    <a:ext cx="511773" cy="154619"/>
                  </a:xfrm>
                  <a:custGeom>
                    <a:avLst/>
                    <a:gdLst>
                      <a:gd name="T0" fmla="*/ 214 w 427"/>
                      <a:gd name="T1" fmla="*/ 0 h 129"/>
                      <a:gd name="T2" fmla="*/ 8 w 427"/>
                      <a:gd name="T3" fmla="*/ 84 h 129"/>
                      <a:gd name="T4" fmla="*/ 0 w 427"/>
                      <a:gd name="T5" fmla="*/ 102 h 129"/>
                      <a:gd name="T6" fmla="*/ 8 w 427"/>
                      <a:gd name="T7" fmla="*/ 120 h 129"/>
                      <a:gd name="T8" fmla="*/ 9 w 427"/>
                      <a:gd name="T9" fmla="*/ 120 h 129"/>
                      <a:gd name="T10" fmla="*/ 43 w 427"/>
                      <a:gd name="T11" fmla="*/ 120 h 129"/>
                      <a:gd name="T12" fmla="*/ 214 w 427"/>
                      <a:gd name="T13" fmla="*/ 50 h 129"/>
                      <a:gd name="T14" fmla="*/ 385 w 427"/>
                      <a:gd name="T15" fmla="*/ 120 h 129"/>
                      <a:gd name="T16" fmla="*/ 419 w 427"/>
                      <a:gd name="T17" fmla="*/ 120 h 129"/>
                      <a:gd name="T18" fmla="*/ 419 w 427"/>
                      <a:gd name="T19" fmla="*/ 120 h 129"/>
                      <a:gd name="T20" fmla="*/ 427 w 427"/>
                      <a:gd name="T21" fmla="*/ 102 h 129"/>
                      <a:gd name="T22" fmla="*/ 419 w 427"/>
                      <a:gd name="T23" fmla="*/ 84 h 129"/>
                      <a:gd name="T24" fmla="*/ 214 w 427"/>
                      <a:gd name="T25" fmla="*/ 0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27" h="129">
                        <a:moveTo>
                          <a:pt x="214" y="0"/>
                        </a:moveTo>
                        <a:cubicBezTo>
                          <a:pt x="131" y="0"/>
                          <a:pt x="55" y="40"/>
                          <a:pt x="8" y="84"/>
                        </a:cubicBezTo>
                        <a:cubicBezTo>
                          <a:pt x="3" y="88"/>
                          <a:pt x="0" y="95"/>
                          <a:pt x="0" y="102"/>
                        </a:cubicBezTo>
                        <a:cubicBezTo>
                          <a:pt x="1" y="109"/>
                          <a:pt x="3" y="115"/>
                          <a:pt x="8" y="120"/>
                        </a:cubicBezTo>
                        <a:cubicBezTo>
                          <a:pt x="9" y="120"/>
                          <a:pt x="9" y="120"/>
                          <a:pt x="9" y="120"/>
                        </a:cubicBezTo>
                        <a:cubicBezTo>
                          <a:pt x="18" y="129"/>
                          <a:pt x="33" y="129"/>
                          <a:pt x="43" y="120"/>
                        </a:cubicBezTo>
                        <a:cubicBezTo>
                          <a:pt x="78" y="87"/>
                          <a:pt x="141" y="50"/>
                          <a:pt x="214" y="50"/>
                        </a:cubicBezTo>
                        <a:cubicBezTo>
                          <a:pt x="286" y="50"/>
                          <a:pt x="349" y="87"/>
                          <a:pt x="385" y="120"/>
                        </a:cubicBezTo>
                        <a:cubicBezTo>
                          <a:pt x="395" y="129"/>
                          <a:pt x="409" y="129"/>
                          <a:pt x="419" y="120"/>
                        </a:cubicBezTo>
                        <a:cubicBezTo>
                          <a:pt x="419" y="120"/>
                          <a:pt x="419" y="120"/>
                          <a:pt x="419" y="120"/>
                        </a:cubicBezTo>
                        <a:cubicBezTo>
                          <a:pt x="424" y="115"/>
                          <a:pt x="427" y="109"/>
                          <a:pt x="427" y="102"/>
                        </a:cubicBezTo>
                        <a:cubicBezTo>
                          <a:pt x="427" y="95"/>
                          <a:pt x="424" y="88"/>
                          <a:pt x="419" y="84"/>
                        </a:cubicBezTo>
                        <a:cubicBezTo>
                          <a:pt x="372" y="40"/>
                          <a:pt x="297" y="0"/>
                          <a:pt x="214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822" name="Group 821"/>
                <p:cNvGrpSpPr/>
                <p:nvPr/>
              </p:nvGrpSpPr>
              <p:grpSpPr>
                <a:xfrm>
                  <a:off x="8300212" y="6969755"/>
                  <a:ext cx="343258" cy="200127"/>
                  <a:chOff x="1069911" y="239035"/>
                  <a:chExt cx="511773" cy="298376"/>
                </a:xfrm>
              </p:grpSpPr>
              <p:sp>
                <p:nvSpPr>
                  <p:cNvPr id="823" name="Freeform 36"/>
                  <p:cNvSpPr>
                    <a:spLocks/>
                  </p:cNvSpPr>
                  <p:nvPr/>
                </p:nvSpPr>
                <p:spPr bwMode="auto">
                  <a:xfrm>
                    <a:off x="1225807" y="453712"/>
                    <a:ext cx="201259" cy="83699"/>
                  </a:xfrm>
                  <a:custGeom>
                    <a:avLst/>
                    <a:gdLst>
                      <a:gd name="T0" fmla="*/ 12 w 168"/>
                      <a:gd name="T1" fmla="*/ 22 h 70"/>
                      <a:gd name="T2" fmla="*/ 1 w 168"/>
                      <a:gd name="T3" fmla="*/ 41 h 70"/>
                      <a:gd name="T4" fmla="*/ 8 w 168"/>
                      <a:gd name="T5" fmla="*/ 61 h 70"/>
                      <a:gd name="T6" fmla="*/ 9 w 168"/>
                      <a:gd name="T7" fmla="*/ 61 h 70"/>
                      <a:gd name="T8" fmla="*/ 39 w 168"/>
                      <a:gd name="T9" fmla="*/ 64 h 70"/>
                      <a:gd name="T10" fmla="*/ 84 w 168"/>
                      <a:gd name="T11" fmla="*/ 50 h 70"/>
                      <a:gd name="T12" fmla="*/ 129 w 168"/>
                      <a:gd name="T13" fmla="*/ 64 h 70"/>
                      <a:gd name="T14" fmla="*/ 159 w 168"/>
                      <a:gd name="T15" fmla="*/ 61 h 70"/>
                      <a:gd name="T16" fmla="*/ 159 w 168"/>
                      <a:gd name="T17" fmla="*/ 61 h 70"/>
                      <a:gd name="T18" fmla="*/ 167 w 168"/>
                      <a:gd name="T19" fmla="*/ 41 h 70"/>
                      <a:gd name="T20" fmla="*/ 156 w 168"/>
                      <a:gd name="T21" fmla="*/ 22 h 70"/>
                      <a:gd name="T22" fmla="*/ 84 w 168"/>
                      <a:gd name="T23" fmla="*/ 0 h 70"/>
                      <a:gd name="T24" fmla="*/ 12 w 168"/>
                      <a:gd name="T25" fmla="*/ 22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68" h="70">
                        <a:moveTo>
                          <a:pt x="12" y="22"/>
                        </a:moveTo>
                        <a:cubicBezTo>
                          <a:pt x="5" y="26"/>
                          <a:pt x="1" y="33"/>
                          <a:pt x="1" y="41"/>
                        </a:cubicBezTo>
                        <a:cubicBezTo>
                          <a:pt x="0" y="48"/>
                          <a:pt x="3" y="56"/>
                          <a:pt x="8" y="61"/>
                        </a:cubicBezTo>
                        <a:cubicBezTo>
                          <a:pt x="9" y="61"/>
                          <a:pt x="9" y="61"/>
                          <a:pt x="9" y="61"/>
                        </a:cubicBezTo>
                        <a:cubicBezTo>
                          <a:pt x="17" y="69"/>
                          <a:pt x="29" y="70"/>
                          <a:pt x="39" y="64"/>
                        </a:cubicBezTo>
                        <a:cubicBezTo>
                          <a:pt x="53" y="55"/>
                          <a:pt x="68" y="50"/>
                          <a:pt x="84" y="50"/>
                        </a:cubicBezTo>
                        <a:cubicBezTo>
                          <a:pt x="100" y="50"/>
                          <a:pt x="115" y="55"/>
                          <a:pt x="129" y="64"/>
                        </a:cubicBezTo>
                        <a:cubicBezTo>
                          <a:pt x="138" y="70"/>
                          <a:pt x="151" y="69"/>
                          <a:pt x="159" y="61"/>
                        </a:cubicBezTo>
                        <a:cubicBezTo>
                          <a:pt x="159" y="61"/>
                          <a:pt x="159" y="61"/>
                          <a:pt x="159" y="61"/>
                        </a:cubicBezTo>
                        <a:cubicBezTo>
                          <a:pt x="165" y="56"/>
                          <a:pt x="168" y="48"/>
                          <a:pt x="167" y="41"/>
                        </a:cubicBezTo>
                        <a:cubicBezTo>
                          <a:pt x="166" y="33"/>
                          <a:pt x="162" y="26"/>
                          <a:pt x="156" y="22"/>
                        </a:cubicBezTo>
                        <a:cubicBezTo>
                          <a:pt x="134" y="8"/>
                          <a:pt x="109" y="0"/>
                          <a:pt x="84" y="0"/>
                        </a:cubicBezTo>
                        <a:cubicBezTo>
                          <a:pt x="58" y="0"/>
                          <a:pt x="34" y="8"/>
                          <a:pt x="12" y="2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4" name="Freeform 37"/>
                  <p:cNvSpPr>
                    <a:spLocks/>
                  </p:cNvSpPr>
                  <p:nvPr/>
                </p:nvSpPr>
                <p:spPr bwMode="auto">
                  <a:xfrm>
                    <a:off x="1147860" y="347012"/>
                    <a:ext cx="355878" cy="118839"/>
                  </a:xfrm>
                  <a:custGeom>
                    <a:avLst/>
                    <a:gdLst>
                      <a:gd name="T0" fmla="*/ 149 w 297"/>
                      <a:gd name="T1" fmla="*/ 0 h 99"/>
                      <a:gd name="T2" fmla="*/ 9 w 297"/>
                      <a:gd name="T3" fmla="*/ 53 h 99"/>
                      <a:gd name="T4" fmla="*/ 0 w 297"/>
                      <a:gd name="T5" fmla="*/ 71 h 99"/>
                      <a:gd name="T6" fmla="*/ 8 w 297"/>
                      <a:gd name="T7" fmla="*/ 90 h 99"/>
                      <a:gd name="T8" fmla="*/ 8 w 297"/>
                      <a:gd name="T9" fmla="*/ 90 h 99"/>
                      <a:gd name="T10" fmla="*/ 41 w 297"/>
                      <a:gd name="T11" fmla="*/ 91 h 99"/>
                      <a:gd name="T12" fmla="*/ 149 w 297"/>
                      <a:gd name="T13" fmla="*/ 49 h 99"/>
                      <a:gd name="T14" fmla="*/ 256 w 297"/>
                      <a:gd name="T15" fmla="*/ 91 h 99"/>
                      <a:gd name="T16" fmla="*/ 289 w 297"/>
                      <a:gd name="T17" fmla="*/ 90 h 99"/>
                      <a:gd name="T18" fmla="*/ 289 w 297"/>
                      <a:gd name="T19" fmla="*/ 90 h 99"/>
                      <a:gd name="T20" fmla="*/ 297 w 297"/>
                      <a:gd name="T21" fmla="*/ 71 h 99"/>
                      <a:gd name="T22" fmla="*/ 288 w 297"/>
                      <a:gd name="T23" fmla="*/ 53 h 99"/>
                      <a:gd name="T24" fmla="*/ 149 w 297"/>
                      <a:gd name="T25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97" h="99">
                        <a:moveTo>
                          <a:pt x="149" y="0"/>
                        </a:moveTo>
                        <a:cubicBezTo>
                          <a:pt x="98" y="0"/>
                          <a:pt x="50" y="18"/>
                          <a:pt x="9" y="53"/>
                        </a:cubicBezTo>
                        <a:cubicBezTo>
                          <a:pt x="4" y="57"/>
                          <a:pt x="1" y="64"/>
                          <a:pt x="0" y="71"/>
                        </a:cubicBezTo>
                        <a:cubicBezTo>
                          <a:pt x="0" y="78"/>
                          <a:pt x="3" y="85"/>
                          <a:pt x="8" y="90"/>
                        </a:cubicBezTo>
                        <a:cubicBezTo>
                          <a:pt x="8" y="90"/>
                          <a:pt x="8" y="90"/>
                          <a:pt x="8" y="90"/>
                        </a:cubicBezTo>
                        <a:cubicBezTo>
                          <a:pt x="18" y="98"/>
                          <a:pt x="32" y="99"/>
                          <a:pt x="41" y="91"/>
                        </a:cubicBezTo>
                        <a:cubicBezTo>
                          <a:pt x="73" y="64"/>
                          <a:pt x="110" y="49"/>
                          <a:pt x="149" y="49"/>
                        </a:cubicBezTo>
                        <a:cubicBezTo>
                          <a:pt x="188" y="49"/>
                          <a:pt x="225" y="64"/>
                          <a:pt x="256" y="91"/>
                        </a:cubicBezTo>
                        <a:cubicBezTo>
                          <a:pt x="266" y="99"/>
                          <a:pt x="280" y="98"/>
                          <a:pt x="289" y="90"/>
                        </a:cubicBezTo>
                        <a:cubicBezTo>
                          <a:pt x="289" y="90"/>
                          <a:pt x="289" y="90"/>
                          <a:pt x="289" y="90"/>
                        </a:cubicBezTo>
                        <a:cubicBezTo>
                          <a:pt x="295" y="85"/>
                          <a:pt x="297" y="78"/>
                          <a:pt x="297" y="71"/>
                        </a:cubicBezTo>
                        <a:cubicBezTo>
                          <a:pt x="297" y="64"/>
                          <a:pt x="294" y="57"/>
                          <a:pt x="288" y="53"/>
                        </a:cubicBezTo>
                        <a:cubicBezTo>
                          <a:pt x="248" y="18"/>
                          <a:pt x="200" y="0"/>
                          <a:pt x="14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25" name="Freeform 38"/>
                  <p:cNvSpPr>
                    <a:spLocks/>
                  </p:cNvSpPr>
                  <p:nvPr/>
                </p:nvSpPr>
                <p:spPr bwMode="auto">
                  <a:xfrm>
                    <a:off x="1069911" y="239035"/>
                    <a:ext cx="511773" cy="154619"/>
                  </a:xfrm>
                  <a:custGeom>
                    <a:avLst/>
                    <a:gdLst>
                      <a:gd name="T0" fmla="*/ 214 w 427"/>
                      <a:gd name="T1" fmla="*/ 0 h 129"/>
                      <a:gd name="T2" fmla="*/ 8 w 427"/>
                      <a:gd name="T3" fmla="*/ 84 h 129"/>
                      <a:gd name="T4" fmla="*/ 0 w 427"/>
                      <a:gd name="T5" fmla="*/ 102 h 129"/>
                      <a:gd name="T6" fmla="*/ 8 w 427"/>
                      <a:gd name="T7" fmla="*/ 120 h 129"/>
                      <a:gd name="T8" fmla="*/ 9 w 427"/>
                      <a:gd name="T9" fmla="*/ 120 h 129"/>
                      <a:gd name="T10" fmla="*/ 43 w 427"/>
                      <a:gd name="T11" fmla="*/ 120 h 129"/>
                      <a:gd name="T12" fmla="*/ 214 w 427"/>
                      <a:gd name="T13" fmla="*/ 50 h 129"/>
                      <a:gd name="T14" fmla="*/ 385 w 427"/>
                      <a:gd name="T15" fmla="*/ 120 h 129"/>
                      <a:gd name="T16" fmla="*/ 419 w 427"/>
                      <a:gd name="T17" fmla="*/ 120 h 129"/>
                      <a:gd name="T18" fmla="*/ 419 w 427"/>
                      <a:gd name="T19" fmla="*/ 120 h 129"/>
                      <a:gd name="T20" fmla="*/ 427 w 427"/>
                      <a:gd name="T21" fmla="*/ 102 h 129"/>
                      <a:gd name="T22" fmla="*/ 419 w 427"/>
                      <a:gd name="T23" fmla="*/ 84 h 129"/>
                      <a:gd name="T24" fmla="*/ 214 w 427"/>
                      <a:gd name="T25" fmla="*/ 0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27" h="129">
                        <a:moveTo>
                          <a:pt x="214" y="0"/>
                        </a:moveTo>
                        <a:cubicBezTo>
                          <a:pt x="131" y="0"/>
                          <a:pt x="55" y="40"/>
                          <a:pt x="8" y="84"/>
                        </a:cubicBezTo>
                        <a:cubicBezTo>
                          <a:pt x="3" y="88"/>
                          <a:pt x="0" y="95"/>
                          <a:pt x="0" y="102"/>
                        </a:cubicBezTo>
                        <a:cubicBezTo>
                          <a:pt x="1" y="109"/>
                          <a:pt x="3" y="115"/>
                          <a:pt x="8" y="120"/>
                        </a:cubicBezTo>
                        <a:cubicBezTo>
                          <a:pt x="9" y="120"/>
                          <a:pt x="9" y="120"/>
                          <a:pt x="9" y="120"/>
                        </a:cubicBezTo>
                        <a:cubicBezTo>
                          <a:pt x="18" y="129"/>
                          <a:pt x="33" y="129"/>
                          <a:pt x="43" y="120"/>
                        </a:cubicBezTo>
                        <a:cubicBezTo>
                          <a:pt x="78" y="87"/>
                          <a:pt x="141" y="50"/>
                          <a:pt x="214" y="50"/>
                        </a:cubicBezTo>
                        <a:cubicBezTo>
                          <a:pt x="286" y="50"/>
                          <a:pt x="349" y="87"/>
                          <a:pt x="385" y="120"/>
                        </a:cubicBezTo>
                        <a:cubicBezTo>
                          <a:pt x="395" y="129"/>
                          <a:pt x="409" y="129"/>
                          <a:pt x="419" y="120"/>
                        </a:cubicBezTo>
                        <a:cubicBezTo>
                          <a:pt x="419" y="120"/>
                          <a:pt x="419" y="120"/>
                          <a:pt x="419" y="120"/>
                        </a:cubicBezTo>
                        <a:cubicBezTo>
                          <a:pt x="424" y="115"/>
                          <a:pt x="427" y="109"/>
                          <a:pt x="427" y="102"/>
                        </a:cubicBezTo>
                        <a:cubicBezTo>
                          <a:pt x="427" y="95"/>
                          <a:pt x="424" y="88"/>
                          <a:pt x="419" y="84"/>
                        </a:cubicBezTo>
                        <a:cubicBezTo>
                          <a:pt x="372" y="40"/>
                          <a:pt x="297" y="0"/>
                          <a:pt x="214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915" name="Freeform: Shape 914"/>
                <p:cNvSpPr>
                  <a:spLocks noChangeAspect="1"/>
                </p:cNvSpPr>
                <p:nvPr/>
              </p:nvSpPr>
              <p:spPr>
                <a:xfrm>
                  <a:off x="5173770" y="8591682"/>
                  <a:ext cx="3689665" cy="502920"/>
                </a:xfrm>
                <a:custGeom>
                  <a:avLst/>
                  <a:gdLst>
                    <a:gd name="connsiteX0" fmla="*/ 1496579 w 3284716"/>
                    <a:gd name="connsiteY0" fmla="*/ 427987 h 556323"/>
                    <a:gd name="connsiteX1" fmla="*/ 1461167 w 3284716"/>
                    <a:gd name="connsiteY1" fmla="*/ 433135 h 556323"/>
                    <a:gd name="connsiteX2" fmla="*/ 1432787 w 3284716"/>
                    <a:gd name="connsiteY2" fmla="*/ 442491 h 556323"/>
                    <a:gd name="connsiteX3" fmla="*/ 1424625 w 3284716"/>
                    <a:gd name="connsiteY3" fmla="*/ 463524 h 556323"/>
                    <a:gd name="connsiteX4" fmla="*/ 1432222 w 3284716"/>
                    <a:gd name="connsiteY4" fmla="*/ 482360 h 556323"/>
                    <a:gd name="connsiteX5" fmla="*/ 1453382 w 3284716"/>
                    <a:gd name="connsiteY5" fmla="*/ 489769 h 556323"/>
                    <a:gd name="connsiteX6" fmla="*/ 1484273 w 3284716"/>
                    <a:gd name="connsiteY6" fmla="*/ 476019 h 556323"/>
                    <a:gd name="connsiteX7" fmla="*/ 1496579 w 3284716"/>
                    <a:gd name="connsiteY7" fmla="*/ 440544 h 556323"/>
                    <a:gd name="connsiteX8" fmla="*/ 972704 w 3284716"/>
                    <a:gd name="connsiteY8" fmla="*/ 427987 h 556323"/>
                    <a:gd name="connsiteX9" fmla="*/ 937292 w 3284716"/>
                    <a:gd name="connsiteY9" fmla="*/ 433135 h 556323"/>
                    <a:gd name="connsiteX10" fmla="*/ 908912 w 3284716"/>
                    <a:gd name="connsiteY10" fmla="*/ 442491 h 556323"/>
                    <a:gd name="connsiteX11" fmla="*/ 900750 w 3284716"/>
                    <a:gd name="connsiteY11" fmla="*/ 463524 h 556323"/>
                    <a:gd name="connsiteX12" fmla="*/ 908347 w 3284716"/>
                    <a:gd name="connsiteY12" fmla="*/ 482360 h 556323"/>
                    <a:gd name="connsiteX13" fmla="*/ 929507 w 3284716"/>
                    <a:gd name="connsiteY13" fmla="*/ 489769 h 556323"/>
                    <a:gd name="connsiteX14" fmla="*/ 960398 w 3284716"/>
                    <a:gd name="connsiteY14" fmla="*/ 476019 h 556323"/>
                    <a:gd name="connsiteX15" fmla="*/ 972704 w 3284716"/>
                    <a:gd name="connsiteY15" fmla="*/ 440544 h 556323"/>
                    <a:gd name="connsiteX16" fmla="*/ 2133316 w 3284716"/>
                    <a:gd name="connsiteY16" fmla="*/ 406890 h 556323"/>
                    <a:gd name="connsiteX17" fmla="*/ 2095769 w 3284716"/>
                    <a:gd name="connsiteY17" fmla="*/ 451092 h 556323"/>
                    <a:gd name="connsiteX18" fmla="*/ 2107762 w 3284716"/>
                    <a:gd name="connsiteY18" fmla="*/ 478907 h 556323"/>
                    <a:gd name="connsiteX19" fmla="*/ 2140725 w 3284716"/>
                    <a:gd name="connsiteY19" fmla="*/ 489769 h 556323"/>
                    <a:gd name="connsiteX20" fmla="*/ 2192210 w 3284716"/>
                    <a:gd name="connsiteY20" fmla="*/ 465785 h 556323"/>
                    <a:gd name="connsiteX21" fmla="*/ 2133316 w 3284716"/>
                    <a:gd name="connsiteY21" fmla="*/ 406890 h 556323"/>
                    <a:gd name="connsiteX22" fmla="*/ 2373952 w 3284716"/>
                    <a:gd name="connsiteY22" fmla="*/ 376000 h 556323"/>
                    <a:gd name="connsiteX23" fmla="*/ 2340550 w 3284716"/>
                    <a:gd name="connsiteY23" fmla="*/ 391509 h 556323"/>
                    <a:gd name="connsiteX24" fmla="*/ 2327364 w 3284716"/>
                    <a:gd name="connsiteY24" fmla="*/ 434141 h 556323"/>
                    <a:gd name="connsiteX25" fmla="*/ 2339231 w 3284716"/>
                    <a:gd name="connsiteY25" fmla="*/ 475266 h 556323"/>
                    <a:gd name="connsiteX26" fmla="*/ 2369808 w 3284716"/>
                    <a:gd name="connsiteY26" fmla="*/ 489770 h 556323"/>
                    <a:gd name="connsiteX27" fmla="*/ 2403839 w 3284716"/>
                    <a:gd name="connsiteY27" fmla="*/ 476145 h 556323"/>
                    <a:gd name="connsiteX28" fmla="*/ 2415894 w 3284716"/>
                    <a:gd name="connsiteY28" fmla="*/ 442931 h 556323"/>
                    <a:gd name="connsiteX29" fmla="*/ 2415894 w 3284716"/>
                    <a:gd name="connsiteY29" fmla="*/ 418947 h 556323"/>
                    <a:gd name="connsiteX30" fmla="*/ 2404529 w 3284716"/>
                    <a:gd name="connsiteY30" fmla="*/ 388495 h 556323"/>
                    <a:gd name="connsiteX31" fmla="*/ 2373952 w 3284716"/>
                    <a:gd name="connsiteY31" fmla="*/ 376000 h 556323"/>
                    <a:gd name="connsiteX32" fmla="*/ 2934421 w 3284716"/>
                    <a:gd name="connsiteY32" fmla="*/ 375999 h 556323"/>
                    <a:gd name="connsiteX33" fmla="*/ 2904471 w 3284716"/>
                    <a:gd name="connsiteY33" fmla="*/ 388117 h 556323"/>
                    <a:gd name="connsiteX34" fmla="*/ 2889842 w 3284716"/>
                    <a:gd name="connsiteY34" fmla="*/ 422838 h 556323"/>
                    <a:gd name="connsiteX35" fmla="*/ 2972469 w 3284716"/>
                    <a:gd name="connsiteY35" fmla="*/ 422838 h 556323"/>
                    <a:gd name="connsiteX36" fmla="*/ 2961796 w 3284716"/>
                    <a:gd name="connsiteY36" fmla="*/ 388306 h 556323"/>
                    <a:gd name="connsiteX37" fmla="*/ 2934421 w 3284716"/>
                    <a:gd name="connsiteY37" fmla="*/ 375999 h 556323"/>
                    <a:gd name="connsiteX38" fmla="*/ 2515320 w 3284716"/>
                    <a:gd name="connsiteY38" fmla="*/ 375999 h 556323"/>
                    <a:gd name="connsiteX39" fmla="*/ 2485371 w 3284716"/>
                    <a:gd name="connsiteY39" fmla="*/ 388117 h 556323"/>
                    <a:gd name="connsiteX40" fmla="*/ 2470742 w 3284716"/>
                    <a:gd name="connsiteY40" fmla="*/ 422838 h 556323"/>
                    <a:gd name="connsiteX41" fmla="*/ 2553369 w 3284716"/>
                    <a:gd name="connsiteY41" fmla="*/ 422838 h 556323"/>
                    <a:gd name="connsiteX42" fmla="*/ 2542695 w 3284716"/>
                    <a:gd name="connsiteY42" fmla="*/ 388306 h 556323"/>
                    <a:gd name="connsiteX43" fmla="*/ 2515320 w 3284716"/>
                    <a:gd name="connsiteY43" fmla="*/ 375999 h 556323"/>
                    <a:gd name="connsiteX44" fmla="*/ 1839045 w 3284716"/>
                    <a:gd name="connsiteY44" fmla="*/ 375999 h 556323"/>
                    <a:gd name="connsiteX45" fmla="*/ 1809096 w 3284716"/>
                    <a:gd name="connsiteY45" fmla="*/ 388117 h 556323"/>
                    <a:gd name="connsiteX46" fmla="*/ 1794467 w 3284716"/>
                    <a:gd name="connsiteY46" fmla="*/ 422838 h 556323"/>
                    <a:gd name="connsiteX47" fmla="*/ 1877094 w 3284716"/>
                    <a:gd name="connsiteY47" fmla="*/ 422838 h 556323"/>
                    <a:gd name="connsiteX48" fmla="*/ 1866420 w 3284716"/>
                    <a:gd name="connsiteY48" fmla="*/ 388306 h 556323"/>
                    <a:gd name="connsiteX49" fmla="*/ 1839045 w 3284716"/>
                    <a:gd name="connsiteY49" fmla="*/ 375999 h 556323"/>
                    <a:gd name="connsiteX50" fmla="*/ 1221196 w 3284716"/>
                    <a:gd name="connsiteY50" fmla="*/ 375999 h 556323"/>
                    <a:gd name="connsiteX51" fmla="*/ 1186412 w 3284716"/>
                    <a:gd name="connsiteY51" fmla="*/ 391068 h 556323"/>
                    <a:gd name="connsiteX52" fmla="*/ 1174106 w 3284716"/>
                    <a:gd name="connsiteY52" fmla="*/ 426480 h 556323"/>
                    <a:gd name="connsiteX53" fmla="*/ 1174106 w 3284716"/>
                    <a:gd name="connsiteY53" fmla="*/ 442679 h 556323"/>
                    <a:gd name="connsiteX54" fmla="*/ 1186286 w 3284716"/>
                    <a:gd name="connsiteY54" fmla="*/ 475893 h 556323"/>
                    <a:gd name="connsiteX55" fmla="*/ 1218308 w 3284716"/>
                    <a:gd name="connsiteY55" fmla="*/ 489769 h 556323"/>
                    <a:gd name="connsiteX56" fmla="*/ 1250329 w 3284716"/>
                    <a:gd name="connsiteY56" fmla="*/ 472879 h 556323"/>
                    <a:gd name="connsiteX57" fmla="*/ 1262635 w 3284716"/>
                    <a:gd name="connsiteY57" fmla="*/ 428489 h 556323"/>
                    <a:gd name="connsiteX58" fmla="*/ 1251333 w 3284716"/>
                    <a:gd name="connsiteY58" fmla="*/ 390189 h 556323"/>
                    <a:gd name="connsiteX59" fmla="*/ 1221196 w 3284716"/>
                    <a:gd name="connsiteY59" fmla="*/ 375999 h 556323"/>
                    <a:gd name="connsiteX60" fmla="*/ 1078321 w 3284716"/>
                    <a:gd name="connsiteY60" fmla="*/ 375999 h 556323"/>
                    <a:gd name="connsiteX61" fmla="*/ 1043537 w 3284716"/>
                    <a:gd name="connsiteY61" fmla="*/ 391068 h 556323"/>
                    <a:gd name="connsiteX62" fmla="*/ 1031231 w 3284716"/>
                    <a:gd name="connsiteY62" fmla="*/ 426480 h 556323"/>
                    <a:gd name="connsiteX63" fmla="*/ 1031231 w 3284716"/>
                    <a:gd name="connsiteY63" fmla="*/ 442679 h 556323"/>
                    <a:gd name="connsiteX64" fmla="*/ 1043411 w 3284716"/>
                    <a:gd name="connsiteY64" fmla="*/ 475893 h 556323"/>
                    <a:gd name="connsiteX65" fmla="*/ 1075433 w 3284716"/>
                    <a:gd name="connsiteY65" fmla="*/ 489769 h 556323"/>
                    <a:gd name="connsiteX66" fmla="*/ 1107454 w 3284716"/>
                    <a:gd name="connsiteY66" fmla="*/ 472879 h 556323"/>
                    <a:gd name="connsiteX67" fmla="*/ 1119760 w 3284716"/>
                    <a:gd name="connsiteY67" fmla="*/ 428489 h 556323"/>
                    <a:gd name="connsiteX68" fmla="*/ 1108458 w 3284716"/>
                    <a:gd name="connsiteY68" fmla="*/ 390189 h 556323"/>
                    <a:gd name="connsiteX69" fmla="*/ 1078321 w 3284716"/>
                    <a:gd name="connsiteY69" fmla="*/ 375999 h 556323"/>
                    <a:gd name="connsiteX70" fmla="*/ 743670 w 3284716"/>
                    <a:gd name="connsiteY70" fmla="*/ 375999 h 556323"/>
                    <a:gd name="connsiteX71" fmla="*/ 713721 w 3284716"/>
                    <a:gd name="connsiteY71" fmla="*/ 388117 h 556323"/>
                    <a:gd name="connsiteX72" fmla="*/ 699092 w 3284716"/>
                    <a:gd name="connsiteY72" fmla="*/ 422838 h 556323"/>
                    <a:gd name="connsiteX73" fmla="*/ 781719 w 3284716"/>
                    <a:gd name="connsiteY73" fmla="*/ 422838 h 556323"/>
                    <a:gd name="connsiteX74" fmla="*/ 771045 w 3284716"/>
                    <a:gd name="connsiteY74" fmla="*/ 388306 h 556323"/>
                    <a:gd name="connsiteX75" fmla="*/ 743670 w 3284716"/>
                    <a:gd name="connsiteY75" fmla="*/ 375999 h 556323"/>
                    <a:gd name="connsiteX76" fmla="*/ 395893 w 3284716"/>
                    <a:gd name="connsiteY76" fmla="*/ 375999 h 556323"/>
                    <a:gd name="connsiteX77" fmla="*/ 359665 w 3284716"/>
                    <a:gd name="connsiteY77" fmla="*/ 391319 h 556323"/>
                    <a:gd name="connsiteX78" fmla="*/ 346165 w 3284716"/>
                    <a:gd name="connsiteY78" fmla="*/ 433889 h 556323"/>
                    <a:gd name="connsiteX79" fmla="*/ 359351 w 3284716"/>
                    <a:gd name="connsiteY79" fmla="*/ 474449 h 556323"/>
                    <a:gd name="connsiteX80" fmla="*/ 395390 w 3284716"/>
                    <a:gd name="connsiteY80" fmla="*/ 489769 h 556323"/>
                    <a:gd name="connsiteX81" fmla="*/ 431179 w 3284716"/>
                    <a:gd name="connsiteY81" fmla="*/ 474700 h 556323"/>
                    <a:gd name="connsiteX82" fmla="*/ 443736 w 3284716"/>
                    <a:gd name="connsiteY82" fmla="*/ 432884 h 556323"/>
                    <a:gd name="connsiteX83" fmla="*/ 431242 w 3284716"/>
                    <a:gd name="connsiteY83" fmla="*/ 390691 h 556323"/>
                    <a:gd name="connsiteX84" fmla="*/ 395893 w 3284716"/>
                    <a:gd name="connsiteY84" fmla="*/ 375999 h 556323"/>
                    <a:gd name="connsiteX85" fmla="*/ 2715128 w 3284716"/>
                    <a:gd name="connsiteY85" fmla="*/ 368592 h 556323"/>
                    <a:gd name="connsiteX86" fmla="*/ 2726681 w 3284716"/>
                    <a:gd name="connsiteY86" fmla="*/ 368592 h 556323"/>
                    <a:gd name="connsiteX87" fmla="*/ 2726681 w 3284716"/>
                    <a:gd name="connsiteY87" fmla="*/ 497179 h 556323"/>
                    <a:gd name="connsiteX88" fmla="*/ 2715128 w 3284716"/>
                    <a:gd name="connsiteY88" fmla="*/ 497179 h 556323"/>
                    <a:gd name="connsiteX89" fmla="*/ 2582744 w 3284716"/>
                    <a:gd name="connsiteY89" fmla="*/ 368592 h 556323"/>
                    <a:gd name="connsiteX90" fmla="*/ 2595678 w 3284716"/>
                    <a:gd name="connsiteY90" fmla="*/ 368592 h 556323"/>
                    <a:gd name="connsiteX91" fmla="*/ 2633978 w 3284716"/>
                    <a:gd name="connsiteY91" fmla="*/ 470934 h 556323"/>
                    <a:gd name="connsiteX92" fmla="*/ 2637871 w 3284716"/>
                    <a:gd name="connsiteY92" fmla="*/ 484370 h 556323"/>
                    <a:gd name="connsiteX93" fmla="*/ 2638373 w 3284716"/>
                    <a:gd name="connsiteY93" fmla="*/ 484370 h 556323"/>
                    <a:gd name="connsiteX94" fmla="*/ 2642015 w 3284716"/>
                    <a:gd name="connsiteY94" fmla="*/ 471436 h 556323"/>
                    <a:gd name="connsiteX95" fmla="*/ 2681571 w 3284716"/>
                    <a:gd name="connsiteY95" fmla="*/ 368592 h 556323"/>
                    <a:gd name="connsiteX96" fmla="*/ 2694128 w 3284716"/>
                    <a:gd name="connsiteY96" fmla="*/ 368592 h 556323"/>
                    <a:gd name="connsiteX97" fmla="*/ 2643020 w 3284716"/>
                    <a:gd name="connsiteY97" fmla="*/ 497179 h 556323"/>
                    <a:gd name="connsiteX98" fmla="*/ 2632471 w 3284716"/>
                    <a:gd name="connsiteY98" fmla="*/ 497179 h 556323"/>
                    <a:gd name="connsiteX99" fmla="*/ 1362578 w 3284716"/>
                    <a:gd name="connsiteY99" fmla="*/ 368592 h 556323"/>
                    <a:gd name="connsiteX100" fmla="*/ 1374131 w 3284716"/>
                    <a:gd name="connsiteY100" fmla="*/ 368592 h 556323"/>
                    <a:gd name="connsiteX101" fmla="*/ 1374131 w 3284716"/>
                    <a:gd name="connsiteY101" fmla="*/ 497179 h 556323"/>
                    <a:gd name="connsiteX102" fmla="*/ 1362578 w 3284716"/>
                    <a:gd name="connsiteY102" fmla="*/ 497179 h 556323"/>
                    <a:gd name="connsiteX103" fmla="*/ 1599558 w 3284716"/>
                    <a:gd name="connsiteY103" fmla="*/ 365452 h 556323"/>
                    <a:gd name="connsiteX104" fmla="*/ 1631453 w 3284716"/>
                    <a:gd name="connsiteY104" fmla="*/ 379328 h 556323"/>
                    <a:gd name="connsiteX105" fmla="*/ 1642504 w 3284716"/>
                    <a:gd name="connsiteY105" fmla="*/ 418947 h 556323"/>
                    <a:gd name="connsiteX106" fmla="*/ 1642504 w 3284716"/>
                    <a:gd name="connsiteY106" fmla="*/ 497179 h 556323"/>
                    <a:gd name="connsiteX107" fmla="*/ 1630951 w 3284716"/>
                    <a:gd name="connsiteY107" fmla="*/ 497179 h 556323"/>
                    <a:gd name="connsiteX108" fmla="*/ 1630951 w 3284716"/>
                    <a:gd name="connsiteY108" fmla="*/ 422337 h 556323"/>
                    <a:gd name="connsiteX109" fmla="*/ 1597549 w 3284716"/>
                    <a:gd name="connsiteY109" fmla="*/ 376000 h 556323"/>
                    <a:gd name="connsiteX110" fmla="*/ 1567034 w 3284716"/>
                    <a:gd name="connsiteY110" fmla="*/ 389625 h 556323"/>
                    <a:gd name="connsiteX111" fmla="*/ 1555105 w 3284716"/>
                    <a:gd name="connsiteY111" fmla="*/ 423342 h 556323"/>
                    <a:gd name="connsiteX112" fmla="*/ 1555105 w 3284716"/>
                    <a:gd name="connsiteY112" fmla="*/ 497179 h 556323"/>
                    <a:gd name="connsiteX113" fmla="*/ 1543552 w 3284716"/>
                    <a:gd name="connsiteY113" fmla="*/ 497179 h 556323"/>
                    <a:gd name="connsiteX114" fmla="*/ 1543552 w 3284716"/>
                    <a:gd name="connsiteY114" fmla="*/ 368592 h 556323"/>
                    <a:gd name="connsiteX115" fmla="*/ 1555105 w 3284716"/>
                    <a:gd name="connsiteY115" fmla="*/ 368592 h 556323"/>
                    <a:gd name="connsiteX116" fmla="*/ 1555105 w 3284716"/>
                    <a:gd name="connsiteY116" fmla="*/ 391948 h 556323"/>
                    <a:gd name="connsiteX117" fmla="*/ 1555607 w 3284716"/>
                    <a:gd name="connsiteY117" fmla="*/ 391948 h 556323"/>
                    <a:gd name="connsiteX118" fmla="*/ 1599558 w 3284716"/>
                    <a:gd name="connsiteY118" fmla="*/ 365452 h 556323"/>
                    <a:gd name="connsiteX119" fmla="*/ 537637 w 3284716"/>
                    <a:gd name="connsiteY119" fmla="*/ 365452 h 556323"/>
                    <a:gd name="connsiteX120" fmla="*/ 561685 w 3284716"/>
                    <a:gd name="connsiteY120" fmla="*/ 373552 h 556323"/>
                    <a:gd name="connsiteX121" fmla="*/ 575184 w 3284716"/>
                    <a:gd name="connsiteY121" fmla="*/ 394836 h 556323"/>
                    <a:gd name="connsiteX122" fmla="*/ 592450 w 3284716"/>
                    <a:gd name="connsiteY122" fmla="*/ 373175 h 556323"/>
                    <a:gd name="connsiteX123" fmla="*/ 616874 w 3284716"/>
                    <a:gd name="connsiteY123" fmla="*/ 365452 h 556323"/>
                    <a:gd name="connsiteX124" fmla="*/ 659067 w 3284716"/>
                    <a:gd name="connsiteY124" fmla="*/ 417691 h 556323"/>
                    <a:gd name="connsiteX125" fmla="*/ 659067 w 3284716"/>
                    <a:gd name="connsiteY125" fmla="*/ 497179 h 556323"/>
                    <a:gd name="connsiteX126" fmla="*/ 647514 w 3284716"/>
                    <a:gd name="connsiteY126" fmla="*/ 497179 h 556323"/>
                    <a:gd name="connsiteX127" fmla="*/ 647514 w 3284716"/>
                    <a:gd name="connsiteY127" fmla="*/ 419826 h 556323"/>
                    <a:gd name="connsiteX128" fmla="*/ 639917 w 3284716"/>
                    <a:gd name="connsiteY128" fmla="*/ 385795 h 556323"/>
                    <a:gd name="connsiteX129" fmla="*/ 615870 w 3284716"/>
                    <a:gd name="connsiteY129" fmla="*/ 376000 h 556323"/>
                    <a:gd name="connsiteX130" fmla="*/ 589625 w 3284716"/>
                    <a:gd name="connsiteY130" fmla="*/ 389060 h 556323"/>
                    <a:gd name="connsiteX131" fmla="*/ 578574 w 3284716"/>
                    <a:gd name="connsiteY131" fmla="*/ 421835 h 556323"/>
                    <a:gd name="connsiteX132" fmla="*/ 578574 w 3284716"/>
                    <a:gd name="connsiteY132" fmla="*/ 497179 h 556323"/>
                    <a:gd name="connsiteX133" fmla="*/ 567022 w 3284716"/>
                    <a:gd name="connsiteY133" fmla="*/ 497179 h 556323"/>
                    <a:gd name="connsiteX134" fmla="*/ 567022 w 3284716"/>
                    <a:gd name="connsiteY134" fmla="*/ 418947 h 556323"/>
                    <a:gd name="connsiteX135" fmla="*/ 534372 w 3284716"/>
                    <a:gd name="connsiteY135" fmla="*/ 376000 h 556323"/>
                    <a:gd name="connsiteX136" fmla="*/ 508253 w 3284716"/>
                    <a:gd name="connsiteY136" fmla="*/ 389123 h 556323"/>
                    <a:gd name="connsiteX137" fmla="*/ 497831 w 3284716"/>
                    <a:gd name="connsiteY137" fmla="*/ 423090 h 556323"/>
                    <a:gd name="connsiteX138" fmla="*/ 497831 w 3284716"/>
                    <a:gd name="connsiteY138" fmla="*/ 497179 h 556323"/>
                    <a:gd name="connsiteX139" fmla="*/ 486278 w 3284716"/>
                    <a:gd name="connsiteY139" fmla="*/ 497179 h 556323"/>
                    <a:gd name="connsiteX140" fmla="*/ 486278 w 3284716"/>
                    <a:gd name="connsiteY140" fmla="*/ 368592 h 556323"/>
                    <a:gd name="connsiteX141" fmla="*/ 497831 w 3284716"/>
                    <a:gd name="connsiteY141" fmla="*/ 368592 h 556323"/>
                    <a:gd name="connsiteX142" fmla="*/ 497831 w 3284716"/>
                    <a:gd name="connsiteY142" fmla="*/ 389939 h 556323"/>
                    <a:gd name="connsiteX143" fmla="*/ 498333 w 3284716"/>
                    <a:gd name="connsiteY143" fmla="*/ 389939 h 556323"/>
                    <a:gd name="connsiteX144" fmla="*/ 537637 w 3284716"/>
                    <a:gd name="connsiteY144" fmla="*/ 365452 h 556323"/>
                    <a:gd name="connsiteX145" fmla="*/ 3055339 w 3284716"/>
                    <a:gd name="connsiteY145" fmla="*/ 365451 h 556323"/>
                    <a:gd name="connsiteX146" fmla="*/ 3083718 w 3284716"/>
                    <a:gd name="connsiteY146" fmla="*/ 372232 h 556323"/>
                    <a:gd name="connsiteX147" fmla="*/ 3083718 w 3284716"/>
                    <a:gd name="connsiteY147" fmla="*/ 385292 h 556323"/>
                    <a:gd name="connsiteX148" fmla="*/ 3054083 w 3284716"/>
                    <a:gd name="connsiteY148" fmla="*/ 375999 h 556323"/>
                    <a:gd name="connsiteX149" fmla="*/ 3033614 w 3284716"/>
                    <a:gd name="connsiteY149" fmla="*/ 382592 h 556323"/>
                    <a:gd name="connsiteX150" fmla="*/ 3025829 w 3284716"/>
                    <a:gd name="connsiteY150" fmla="*/ 399733 h 556323"/>
                    <a:gd name="connsiteX151" fmla="*/ 3030726 w 3284716"/>
                    <a:gd name="connsiteY151" fmla="*/ 414613 h 556323"/>
                    <a:gd name="connsiteX152" fmla="*/ 3052325 w 3284716"/>
                    <a:gd name="connsiteY152" fmla="*/ 427736 h 556323"/>
                    <a:gd name="connsiteX153" fmla="*/ 3079951 w 3284716"/>
                    <a:gd name="connsiteY153" fmla="*/ 444500 h 556323"/>
                    <a:gd name="connsiteX154" fmla="*/ 3087486 w 3284716"/>
                    <a:gd name="connsiteY154" fmla="*/ 465031 h 556323"/>
                    <a:gd name="connsiteX155" fmla="*/ 3075996 w 3284716"/>
                    <a:gd name="connsiteY155" fmla="*/ 490334 h 556323"/>
                    <a:gd name="connsiteX156" fmla="*/ 3044288 w 3284716"/>
                    <a:gd name="connsiteY156" fmla="*/ 500317 h 556323"/>
                    <a:gd name="connsiteX157" fmla="*/ 3013272 w 3284716"/>
                    <a:gd name="connsiteY157" fmla="*/ 491527 h 556323"/>
                    <a:gd name="connsiteX158" fmla="*/ 3013272 w 3284716"/>
                    <a:gd name="connsiteY158" fmla="*/ 477589 h 556323"/>
                    <a:gd name="connsiteX159" fmla="*/ 3029094 w 3284716"/>
                    <a:gd name="connsiteY159" fmla="*/ 486504 h 556323"/>
                    <a:gd name="connsiteX160" fmla="*/ 3045167 w 3284716"/>
                    <a:gd name="connsiteY160" fmla="*/ 489769 h 556323"/>
                    <a:gd name="connsiteX161" fmla="*/ 3075431 w 3284716"/>
                    <a:gd name="connsiteY161" fmla="*/ 465031 h 556323"/>
                    <a:gd name="connsiteX162" fmla="*/ 3068775 w 3284716"/>
                    <a:gd name="connsiteY162" fmla="*/ 450465 h 556323"/>
                    <a:gd name="connsiteX163" fmla="*/ 3047176 w 3284716"/>
                    <a:gd name="connsiteY163" fmla="*/ 438033 h 556323"/>
                    <a:gd name="connsiteX164" fmla="*/ 3021245 w 3284716"/>
                    <a:gd name="connsiteY164" fmla="*/ 421394 h 556323"/>
                    <a:gd name="connsiteX165" fmla="*/ 3013774 w 3284716"/>
                    <a:gd name="connsiteY165" fmla="*/ 400486 h 556323"/>
                    <a:gd name="connsiteX166" fmla="*/ 3025766 w 3284716"/>
                    <a:gd name="connsiteY166" fmla="*/ 375120 h 556323"/>
                    <a:gd name="connsiteX167" fmla="*/ 3055339 w 3284716"/>
                    <a:gd name="connsiteY167" fmla="*/ 365451 h 556323"/>
                    <a:gd name="connsiteX168" fmla="*/ 2934923 w 3284716"/>
                    <a:gd name="connsiteY168" fmla="*/ 365451 h 556323"/>
                    <a:gd name="connsiteX169" fmla="*/ 2971716 w 3284716"/>
                    <a:gd name="connsiteY169" fmla="*/ 382278 h 556323"/>
                    <a:gd name="connsiteX170" fmla="*/ 2984524 w 3284716"/>
                    <a:gd name="connsiteY170" fmla="*/ 428238 h 556323"/>
                    <a:gd name="connsiteX171" fmla="*/ 2984524 w 3284716"/>
                    <a:gd name="connsiteY171" fmla="*/ 433387 h 556323"/>
                    <a:gd name="connsiteX172" fmla="*/ 2889340 w 3284716"/>
                    <a:gd name="connsiteY172" fmla="*/ 433387 h 556323"/>
                    <a:gd name="connsiteX173" fmla="*/ 2901583 w 3284716"/>
                    <a:gd name="connsiteY173" fmla="*/ 474826 h 556323"/>
                    <a:gd name="connsiteX174" fmla="*/ 2935174 w 3284716"/>
                    <a:gd name="connsiteY174" fmla="*/ 489769 h 556323"/>
                    <a:gd name="connsiteX175" fmla="*/ 2977367 w 3284716"/>
                    <a:gd name="connsiteY175" fmla="*/ 473821 h 556323"/>
                    <a:gd name="connsiteX176" fmla="*/ 2977367 w 3284716"/>
                    <a:gd name="connsiteY176" fmla="*/ 486127 h 556323"/>
                    <a:gd name="connsiteX177" fmla="*/ 2932788 w 3284716"/>
                    <a:gd name="connsiteY177" fmla="*/ 500317 h 556323"/>
                    <a:gd name="connsiteX178" fmla="*/ 2892604 w 3284716"/>
                    <a:gd name="connsiteY178" fmla="*/ 482486 h 556323"/>
                    <a:gd name="connsiteX179" fmla="*/ 2877284 w 3284716"/>
                    <a:gd name="connsiteY179" fmla="*/ 432131 h 556323"/>
                    <a:gd name="connsiteX180" fmla="*/ 2893295 w 3284716"/>
                    <a:gd name="connsiteY180" fmla="*/ 384727 h 556323"/>
                    <a:gd name="connsiteX181" fmla="*/ 2934923 w 3284716"/>
                    <a:gd name="connsiteY181" fmla="*/ 365451 h 556323"/>
                    <a:gd name="connsiteX182" fmla="*/ 2827530 w 3284716"/>
                    <a:gd name="connsiteY182" fmla="*/ 365451 h 556323"/>
                    <a:gd name="connsiteX183" fmla="*/ 2856036 w 3284716"/>
                    <a:gd name="connsiteY183" fmla="*/ 371479 h 556323"/>
                    <a:gd name="connsiteX184" fmla="*/ 2856036 w 3284716"/>
                    <a:gd name="connsiteY184" fmla="*/ 384538 h 556323"/>
                    <a:gd name="connsiteX185" fmla="*/ 2825772 w 3284716"/>
                    <a:gd name="connsiteY185" fmla="*/ 375999 h 556323"/>
                    <a:gd name="connsiteX186" fmla="*/ 2789105 w 3284716"/>
                    <a:gd name="connsiteY186" fmla="*/ 392261 h 556323"/>
                    <a:gd name="connsiteX187" fmla="*/ 2775040 w 3284716"/>
                    <a:gd name="connsiteY187" fmla="*/ 434391 h 556323"/>
                    <a:gd name="connsiteX188" fmla="*/ 2787912 w 3284716"/>
                    <a:gd name="connsiteY188" fmla="*/ 474575 h 556323"/>
                    <a:gd name="connsiteX189" fmla="*/ 2821880 w 3284716"/>
                    <a:gd name="connsiteY189" fmla="*/ 489769 h 556323"/>
                    <a:gd name="connsiteX190" fmla="*/ 2855533 w 3284716"/>
                    <a:gd name="connsiteY190" fmla="*/ 479472 h 556323"/>
                    <a:gd name="connsiteX191" fmla="*/ 2855533 w 3284716"/>
                    <a:gd name="connsiteY191" fmla="*/ 491527 h 556323"/>
                    <a:gd name="connsiteX192" fmla="*/ 2821377 w 3284716"/>
                    <a:gd name="connsiteY192" fmla="*/ 500317 h 556323"/>
                    <a:gd name="connsiteX193" fmla="*/ 2779059 w 3284716"/>
                    <a:gd name="connsiteY193" fmla="*/ 482297 h 556323"/>
                    <a:gd name="connsiteX194" fmla="*/ 2762985 w 3284716"/>
                    <a:gd name="connsiteY194" fmla="*/ 435145 h 556323"/>
                    <a:gd name="connsiteX195" fmla="*/ 2781068 w 3284716"/>
                    <a:gd name="connsiteY195" fmla="*/ 384978 h 556323"/>
                    <a:gd name="connsiteX196" fmla="*/ 2827530 w 3284716"/>
                    <a:gd name="connsiteY196" fmla="*/ 365451 h 556323"/>
                    <a:gd name="connsiteX197" fmla="*/ 2515823 w 3284716"/>
                    <a:gd name="connsiteY197" fmla="*/ 365451 h 556323"/>
                    <a:gd name="connsiteX198" fmla="*/ 2552616 w 3284716"/>
                    <a:gd name="connsiteY198" fmla="*/ 382278 h 556323"/>
                    <a:gd name="connsiteX199" fmla="*/ 2565424 w 3284716"/>
                    <a:gd name="connsiteY199" fmla="*/ 428238 h 556323"/>
                    <a:gd name="connsiteX200" fmla="*/ 2565424 w 3284716"/>
                    <a:gd name="connsiteY200" fmla="*/ 433387 h 556323"/>
                    <a:gd name="connsiteX201" fmla="*/ 2470239 w 3284716"/>
                    <a:gd name="connsiteY201" fmla="*/ 433387 h 556323"/>
                    <a:gd name="connsiteX202" fmla="*/ 2482483 w 3284716"/>
                    <a:gd name="connsiteY202" fmla="*/ 474826 h 556323"/>
                    <a:gd name="connsiteX203" fmla="*/ 2516074 w 3284716"/>
                    <a:gd name="connsiteY203" fmla="*/ 489769 h 556323"/>
                    <a:gd name="connsiteX204" fmla="*/ 2558267 w 3284716"/>
                    <a:gd name="connsiteY204" fmla="*/ 473821 h 556323"/>
                    <a:gd name="connsiteX205" fmla="*/ 2558267 w 3284716"/>
                    <a:gd name="connsiteY205" fmla="*/ 486127 h 556323"/>
                    <a:gd name="connsiteX206" fmla="*/ 2513688 w 3284716"/>
                    <a:gd name="connsiteY206" fmla="*/ 500317 h 556323"/>
                    <a:gd name="connsiteX207" fmla="*/ 2473504 w 3284716"/>
                    <a:gd name="connsiteY207" fmla="*/ 482486 h 556323"/>
                    <a:gd name="connsiteX208" fmla="*/ 2458184 w 3284716"/>
                    <a:gd name="connsiteY208" fmla="*/ 432131 h 556323"/>
                    <a:gd name="connsiteX209" fmla="*/ 2474195 w 3284716"/>
                    <a:gd name="connsiteY209" fmla="*/ 384727 h 556323"/>
                    <a:gd name="connsiteX210" fmla="*/ 2515823 w 3284716"/>
                    <a:gd name="connsiteY210" fmla="*/ 365451 h 556323"/>
                    <a:gd name="connsiteX211" fmla="*/ 1959964 w 3284716"/>
                    <a:gd name="connsiteY211" fmla="*/ 365451 h 556323"/>
                    <a:gd name="connsiteX212" fmla="*/ 1988343 w 3284716"/>
                    <a:gd name="connsiteY212" fmla="*/ 372232 h 556323"/>
                    <a:gd name="connsiteX213" fmla="*/ 1988343 w 3284716"/>
                    <a:gd name="connsiteY213" fmla="*/ 385292 h 556323"/>
                    <a:gd name="connsiteX214" fmla="*/ 1958708 w 3284716"/>
                    <a:gd name="connsiteY214" fmla="*/ 375999 h 556323"/>
                    <a:gd name="connsiteX215" fmla="*/ 1938239 w 3284716"/>
                    <a:gd name="connsiteY215" fmla="*/ 382592 h 556323"/>
                    <a:gd name="connsiteX216" fmla="*/ 1930454 w 3284716"/>
                    <a:gd name="connsiteY216" fmla="*/ 399733 h 556323"/>
                    <a:gd name="connsiteX217" fmla="*/ 1935351 w 3284716"/>
                    <a:gd name="connsiteY217" fmla="*/ 414613 h 556323"/>
                    <a:gd name="connsiteX218" fmla="*/ 1956950 w 3284716"/>
                    <a:gd name="connsiteY218" fmla="*/ 427736 h 556323"/>
                    <a:gd name="connsiteX219" fmla="*/ 1984576 w 3284716"/>
                    <a:gd name="connsiteY219" fmla="*/ 444500 h 556323"/>
                    <a:gd name="connsiteX220" fmla="*/ 1992110 w 3284716"/>
                    <a:gd name="connsiteY220" fmla="*/ 465031 h 556323"/>
                    <a:gd name="connsiteX221" fmla="*/ 1980620 w 3284716"/>
                    <a:gd name="connsiteY221" fmla="*/ 490334 h 556323"/>
                    <a:gd name="connsiteX222" fmla="*/ 1948913 w 3284716"/>
                    <a:gd name="connsiteY222" fmla="*/ 500317 h 556323"/>
                    <a:gd name="connsiteX223" fmla="*/ 1917896 w 3284716"/>
                    <a:gd name="connsiteY223" fmla="*/ 491527 h 556323"/>
                    <a:gd name="connsiteX224" fmla="*/ 1917896 w 3284716"/>
                    <a:gd name="connsiteY224" fmla="*/ 477589 h 556323"/>
                    <a:gd name="connsiteX225" fmla="*/ 1933719 w 3284716"/>
                    <a:gd name="connsiteY225" fmla="*/ 486504 h 556323"/>
                    <a:gd name="connsiteX226" fmla="*/ 1949792 w 3284716"/>
                    <a:gd name="connsiteY226" fmla="*/ 489769 h 556323"/>
                    <a:gd name="connsiteX227" fmla="*/ 1980055 w 3284716"/>
                    <a:gd name="connsiteY227" fmla="*/ 465031 h 556323"/>
                    <a:gd name="connsiteX228" fmla="*/ 1973400 w 3284716"/>
                    <a:gd name="connsiteY228" fmla="*/ 450465 h 556323"/>
                    <a:gd name="connsiteX229" fmla="*/ 1951801 w 3284716"/>
                    <a:gd name="connsiteY229" fmla="*/ 438033 h 556323"/>
                    <a:gd name="connsiteX230" fmla="*/ 1925870 w 3284716"/>
                    <a:gd name="connsiteY230" fmla="*/ 421394 h 556323"/>
                    <a:gd name="connsiteX231" fmla="*/ 1918399 w 3284716"/>
                    <a:gd name="connsiteY231" fmla="*/ 400486 h 556323"/>
                    <a:gd name="connsiteX232" fmla="*/ 1930391 w 3284716"/>
                    <a:gd name="connsiteY232" fmla="*/ 375120 h 556323"/>
                    <a:gd name="connsiteX233" fmla="*/ 1959964 w 3284716"/>
                    <a:gd name="connsiteY233" fmla="*/ 365451 h 556323"/>
                    <a:gd name="connsiteX234" fmla="*/ 1839548 w 3284716"/>
                    <a:gd name="connsiteY234" fmla="*/ 365451 h 556323"/>
                    <a:gd name="connsiteX235" fmla="*/ 1876341 w 3284716"/>
                    <a:gd name="connsiteY235" fmla="*/ 382278 h 556323"/>
                    <a:gd name="connsiteX236" fmla="*/ 1889149 w 3284716"/>
                    <a:gd name="connsiteY236" fmla="*/ 428238 h 556323"/>
                    <a:gd name="connsiteX237" fmla="*/ 1889149 w 3284716"/>
                    <a:gd name="connsiteY237" fmla="*/ 433387 h 556323"/>
                    <a:gd name="connsiteX238" fmla="*/ 1793964 w 3284716"/>
                    <a:gd name="connsiteY238" fmla="*/ 433387 h 556323"/>
                    <a:gd name="connsiteX239" fmla="*/ 1806208 w 3284716"/>
                    <a:gd name="connsiteY239" fmla="*/ 474826 h 556323"/>
                    <a:gd name="connsiteX240" fmla="*/ 1839799 w 3284716"/>
                    <a:gd name="connsiteY240" fmla="*/ 489769 h 556323"/>
                    <a:gd name="connsiteX241" fmla="*/ 1881992 w 3284716"/>
                    <a:gd name="connsiteY241" fmla="*/ 473821 h 556323"/>
                    <a:gd name="connsiteX242" fmla="*/ 1881992 w 3284716"/>
                    <a:gd name="connsiteY242" fmla="*/ 486127 h 556323"/>
                    <a:gd name="connsiteX243" fmla="*/ 1837413 w 3284716"/>
                    <a:gd name="connsiteY243" fmla="*/ 500317 h 556323"/>
                    <a:gd name="connsiteX244" fmla="*/ 1797229 w 3284716"/>
                    <a:gd name="connsiteY244" fmla="*/ 482486 h 556323"/>
                    <a:gd name="connsiteX245" fmla="*/ 1781909 w 3284716"/>
                    <a:gd name="connsiteY245" fmla="*/ 432131 h 556323"/>
                    <a:gd name="connsiteX246" fmla="*/ 1797920 w 3284716"/>
                    <a:gd name="connsiteY246" fmla="*/ 384727 h 556323"/>
                    <a:gd name="connsiteX247" fmla="*/ 1839548 w 3284716"/>
                    <a:gd name="connsiteY247" fmla="*/ 365451 h 556323"/>
                    <a:gd name="connsiteX248" fmla="*/ 1732154 w 3284716"/>
                    <a:gd name="connsiteY248" fmla="*/ 365451 h 556323"/>
                    <a:gd name="connsiteX249" fmla="*/ 1760659 w 3284716"/>
                    <a:gd name="connsiteY249" fmla="*/ 371479 h 556323"/>
                    <a:gd name="connsiteX250" fmla="*/ 1760659 w 3284716"/>
                    <a:gd name="connsiteY250" fmla="*/ 384538 h 556323"/>
                    <a:gd name="connsiteX251" fmla="*/ 1730396 w 3284716"/>
                    <a:gd name="connsiteY251" fmla="*/ 375999 h 556323"/>
                    <a:gd name="connsiteX252" fmla="*/ 1693729 w 3284716"/>
                    <a:gd name="connsiteY252" fmla="*/ 392261 h 556323"/>
                    <a:gd name="connsiteX253" fmla="*/ 1679664 w 3284716"/>
                    <a:gd name="connsiteY253" fmla="*/ 434391 h 556323"/>
                    <a:gd name="connsiteX254" fmla="*/ 1692536 w 3284716"/>
                    <a:gd name="connsiteY254" fmla="*/ 474575 h 556323"/>
                    <a:gd name="connsiteX255" fmla="*/ 1726503 w 3284716"/>
                    <a:gd name="connsiteY255" fmla="*/ 489769 h 556323"/>
                    <a:gd name="connsiteX256" fmla="*/ 1760157 w 3284716"/>
                    <a:gd name="connsiteY256" fmla="*/ 479472 h 556323"/>
                    <a:gd name="connsiteX257" fmla="*/ 1760157 w 3284716"/>
                    <a:gd name="connsiteY257" fmla="*/ 491527 h 556323"/>
                    <a:gd name="connsiteX258" fmla="*/ 1726001 w 3284716"/>
                    <a:gd name="connsiteY258" fmla="*/ 500317 h 556323"/>
                    <a:gd name="connsiteX259" fmla="*/ 1683683 w 3284716"/>
                    <a:gd name="connsiteY259" fmla="*/ 482297 h 556323"/>
                    <a:gd name="connsiteX260" fmla="*/ 1667609 w 3284716"/>
                    <a:gd name="connsiteY260" fmla="*/ 435145 h 556323"/>
                    <a:gd name="connsiteX261" fmla="*/ 1685692 w 3284716"/>
                    <a:gd name="connsiteY261" fmla="*/ 384978 h 556323"/>
                    <a:gd name="connsiteX262" fmla="*/ 1732154 w 3284716"/>
                    <a:gd name="connsiteY262" fmla="*/ 365451 h 556323"/>
                    <a:gd name="connsiteX263" fmla="*/ 1466567 w 3284716"/>
                    <a:gd name="connsiteY263" fmla="*/ 365451 h 556323"/>
                    <a:gd name="connsiteX264" fmla="*/ 1497270 w 3284716"/>
                    <a:gd name="connsiteY264" fmla="*/ 377757 h 556323"/>
                    <a:gd name="connsiteX265" fmla="*/ 1508132 w 3284716"/>
                    <a:gd name="connsiteY265" fmla="*/ 413546 h 556323"/>
                    <a:gd name="connsiteX266" fmla="*/ 1508132 w 3284716"/>
                    <a:gd name="connsiteY266" fmla="*/ 497178 h 556323"/>
                    <a:gd name="connsiteX267" fmla="*/ 1496579 w 3284716"/>
                    <a:gd name="connsiteY267" fmla="*/ 497178 h 556323"/>
                    <a:gd name="connsiteX268" fmla="*/ 1496579 w 3284716"/>
                    <a:gd name="connsiteY268" fmla="*/ 471435 h 556323"/>
                    <a:gd name="connsiteX269" fmla="*/ 1496077 w 3284716"/>
                    <a:gd name="connsiteY269" fmla="*/ 471435 h 556323"/>
                    <a:gd name="connsiteX270" fmla="*/ 1478182 w 3284716"/>
                    <a:gd name="connsiteY270" fmla="*/ 492469 h 556323"/>
                    <a:gd name="connsiteX271" fmla="*/ 1452126 w 3284716"/>
                    <a:gd name="connsiteY271" fmla="*/ 500317 h 556323"/>
                    <a:gd name="connsiteX272" fmla="*/ 1423118 w 3284716"/>
                    <a:gd name="connsiteY272" fmla="*/ 490020 h 556323"/>
                    <a:gd name="connsiteX273" fmla="*/ 1412445 w 3284716"/>
                    <a:gd name="connsiteY273" fmla="*/ 464027 h 556323"/>
                    <a:gd name="connsiteX274" fmla="*/ 1457023 w 3284716"/>
                    <a:gd name="connsiteY274" fmla="*/ 423341 h 556323"/>
                    <a:gd name="connsiteX275" fmla="*/ 1496579 w 3284716"/>
                    <a:gd name="connsiteY275" fmla="*/ 417439 h 556323"/>
                    <a:gd name="connsiteX276" fmla="*/ 1465437 w 3284716"/>
                    <a:gd name="connsiteY276" fmla="*/ 375999 h 556323"/>
                    <a:gd name="connsiteX277" fmla="*/ 1424123 w 3284716"/>
                    <a:gd name="connsiteY277" fmla="*/ 393077 h 556323"/>
                    <a:gd name="connsiteX278" fmla="*/ 1424123 w 3284716"/>
                    <a:gd name="connsiteY278" fmla="*/ 379139 h 556323"/>
                    <a:gd name="connsiteX279" fmla="*/ 1443524 w 3284716"/>
                    <a:gd name="connsiteY279" fmla="*/ 369469 h 556323"/>
                    <a:gd name="connsiteX280" fmla="*/ 1466567 w 3284716"/>
                    <a:gd name="connsiteY280" fmla="*/ 365451 h 556323"/>
                    <a:gd name="connsiteX281" fmla="*/ 1222703 w 3284716"/>
                    <a:gd name="connsiteY281" fmla="*/ 365451 h 556323"/>
                    <a:gd name="connsiteX282" fmla="*/ 1260940 w 3284716"/>
                    <a:gd name="connsiteY282" fmla="*/ 382341 h 556323"/>
                    <a:gd name="connsiteX283" fmla="*/ 1274690 w 3284716"/>
                    <a:gd name="connsiteY283" fmla="*/ 428238 h 556323"/>
                    <a:gd name="connsiteX284" fmla="*/ 1258931 w 3284716"/>
                    <a:gd name="connsiteY284" fmla="*/ 480414 h 556323"/>
                    <a:gd name="connsiteX285" fmla="*/ 1217303 w 3284716"/>
                    <a:gd name="connsiteY285" fmla="*/ 500317 h 556323"/>
                    <a:gd name="connsiteX286" fmla="*/ 1174608 w 3284716"/>
                    <a:gd name="connsiteY286" fmla="*/ 474324 h 556323"/>
                    <a:gd name="connsiteX287" fmla="*/ 1174106 w 3284716"/>
                    <a:gd name="connsiteY287" fmla="*/ 474324 h 556323"/>
                    <a:gd name="connsiteX288" fmla="*/ 1174106 w 3284716"/>
                    <a:gd name="connsiteY288" fmla="*/ 556323 h 556323"/>
                    <a:gd name="connsiteX289" fmla="*/ 1162553 w 3284716"/>
                    <a:gd name="connsiteY289" fmla="*/ 556323 h 556323"/>
                    <a:gd name="connsiteX290" fmla="*/ 1162553 w 3284716"/>
                    <a:gd name="connsiteY290" fmla="*/ 368591 h 556323"/>
                    <a:gd name="connsiteX291" fmla="*/ 1174106 w 3284716"/>
                    <a:gd name="connsiteY291" fmla="*/ 368591 h 556323"/>
                    <a:gd name="connsiteX292" fmla="*/ 1174106 w 3284716"/>
                    <a:gd name="connsiteY292" fmla="*/ 395087 h 556323"/>
                    <a:gd name="connsiteX293" fmla="*/ 1174608 w 3284716"/>
                    <a:gd name="connsiteY293" fmla="*/ 395087 h 556323"/>
                    <a:gd name="connsiteX294" fmla="*/ 1194386 w 3284716"/>
                    <a:gd name="connsiteY294" fmla="*/ 373174 h 556323"/>
                    <a:gd name="connsiteX295" fmla="*/ 1222703 w 3284716"/>
                    <a:gd name="connsiteY295" fmla="*/ 365451 h 556323"/>
                    <a:gd name="connsiteX296" fmla="*/ 1079828 w 3284716"/>
                    <a:gd name="connsiteY296" fmla="*/ 365451 h 556323"/>
                    <a:gd name="connsiteX297" fmla="*/ 1118065 w 3284716"/>
                    <a:gd name="connsiteY297" fmla="*/ 382341 h 556323"/>
                    <a:gd name="connsiteX298" fmla="*/ 1131815 w 3284716"/>
                    <a:gd name="connsiteY298" fmla="*/ 428238 h 556323"/>
                    <a:gd name="connsiteX299" fmla="*/ 1116056 w 3284716"/>
                    <a:gd name="connsiteY299" fmla="*/ 480414 h 556323"/>
                    <a:gd name="connsiteX300" fmla="*/ 1074428 w 3284716"/>
                    <a:gd name="connsiteY300" fmla="*/ 500317 h 556323"/>
                    <a:gd name="connsiteX301" fmla="*/ 1031733 w 3284716"/>
                    <a:gd name="connsiteY301" fmla="*/ 474324 h 556323"/>
                    <a:gd name="connsiteX302" fmla="*/ 1031231 w 3284716"/>
                    <a:gd name="connsiteY302" fmla="*/ 474324 h 556323"/>
                    <a:gd name="connsiteX303" fmla="*/ 1031231 w 3284716"/>
                    <a:gd name="connsiteY303" fmla="*/ 556323 h 556323"/>
                    <a:gd name="connsiteX304" fmla="*/ 1019678 w 3284716"/>
                    <a:gd name="connsiteY304" fmla="*/ 556323 h 556323"/>
                    <a:gd name="connsiteX305" fmla="*/ 1019678 w 3284716"/>
                    <a:gd name="connsiteY305" fmla="*/ 368591 h 556323"/>
                    <a:gd name="connsiteX306" fmla="*/ 1031231 w 3284716"/>
                    <a:gd name="connsiteY306" fmla="*/ 368591 h 556323"/>
                    <a:gd name="connsiteX307" fmla="*/ 1031231 w 3284716"/>
                    <a:gd name="connsiteY307" fmla="*/ 395087 h 556323"/>
                    <a:gd name="connsiteX308" fmla="*/ 1031733 w 3284716"/>
                    <a:gd name="connsiteY308" fmla="*/ 395087 h 556323"/>
                    <a:gd name="connsiteX309" fmla="*/ 1051511 w 3284716"/>
                    <a:gd name="connsiteY309" fmla="*/ 373174 h 556323"/>
                    <a:gd name="connsiteX310" fmla="*/ 1079828 w 3284716"/>
                    <a:gd name="connsiteY310" fmla="*/ 365451 h 556323"/>
                    <a:gd name="connsiteX311" fmla="*/ 942692 w 3284716"/>
                    <a:gd name="connsiteY311" fmla="*/ 365451 h 556323"/>
                    <a:gd name="connsiteX312" fmla="*/ 973395 w 3284716"/>
                    <a:gd name="connsiteY312" fmla="*/ 377757 h 556323"/>
                    <a:gd name="connsiteX313" fmla="*/ 984257 w 3284716"/>
                    <a:gd name="connsiteY313" fmla="*/ 413546 h 556323"/>
                    <a:gd name="connsiteX314" fmla="*/ 984257 w 3284716"/>
                    <a:gd name="connsiteY314" fmla="*/ 497178 h 556323"/>
                    <a:gd name="connsiteX315" fmla="*/ 972704 w 3284716"/>
                    <a:gd name="connsiteY315" fmla="*/ 497178 h 556323"/>
                    <a:gd name="connsiteX316" fmla="*/ 972704 w 3284716"/>
                    <a:gd name="connsiteY316" fmla="*/ 471435 h 556323"/>
                    <a:gd name="connsiteX317" fmla="*/ 972202 w 3284716"/>
                    <a:gd name="connsiteY317" fmla="*/ 471435 h 556323"/>
                    <a:gd name="connsiteX318" fmla="*/ 954307 w 3284716"/>
                    <a:gd name="connsiteY318" fmla="*/ 492469 h 556323"/>
                    <a:gd name="connsiteX319" fmla="*/ 928251 w 3284716"/>
                    <a:gd name="connsiteY319" fmla="*/ 500317 h 556323"/>
                    <a:gd name="connsiteX320" fmla="*/ 899243 w 3284716"/>
                    <a:gd name="connsiteY320" fmla="*/ 490020 h 556323"/>
                    <a:gd name="connsiteX321" fmla="*/ 888570 w 3284716"/>
                    <a:gd name="connsiteY321" fmla="*/ 464027 h 556323"/>
                    <a:gd name="connsiteX322" fmla="*/ 933148 w 3284716"/>
                    <a:gd name="connsiteY322" fmla="*/ 423341 h 556323"/>
                    <a:gd name="connsiteX323" fmla="*/ 972704 w 3284716"/>
                    <a:gd name="connsiteY323" fmla="*/ 417439 h 556323"/>
                    <a:gd name="connsiteX324" fmla="*/ 941562 w 3284716"/>
                    <a:gd name="connsiteY324" fmla="*/ 375999 h 556323"/>
                    <a:gd name="connsiteX325" fmla="*/ 900248 w 3284716"/>
                    <a:gd name="connsiteY325" fmla="*/ 393077 h 556323"/>
                    <a:gd name="connsiteX326" fmla="*/ 900248 w 3284716"/>
                    <a:gd name="connsiteY326" fmla="*/ 379139 h 556323"/>
                    <a:gd name="connsiteX327" fmla="*/ 919649 w 3284716"/>
                    <a:gd name="connsiteY327" fmla="*/ 369469 h 556323"/>
                    <a:gd name="connsiteX328" fmla="*/ 942692 w 3284716"/>
                    <a:gd name="connsiteY328" fmla="*/ 365451 h 556323"/>
                    <a:gd name="connsiteX329" fmla="*/ 744173 w 3284716"/>
                    <a:gd name="connsiteY329" fmla="*/ 365451 h 556323"/>
                    <a:gd name="connsiteX330" fmla="*/ 780966 w 3284716"/>
                    <a:gd name="connsiteY330" fmla="*/ 382278 h 556323"/>
                    <a:gd name="connsiteX331" fmla="*/ 793774 w 3284716"/>
                    <a:gd name="connsiteY331" fmla="*/ 428238 h 556323"/>
                    <a:gd name="connsiteX332" fmla="*/ 793774 w 3284716"/>
                    <a:gd name="connsiteY332" fmla="*/ 433387 h 556323"/>
                    <a:gd name="connsiteX333" fmla="*/ 698589 w 3284716"/>
                    <a:gd name="connsiteY333" fmla="*/ 433387 h 556323"/>
                    <a:gd name="connsiteX334" fmla="*/ 710833 w 3284716"/>
                    <a:gd name="connsiteY334" fmla="*/ 474826 h 556323"/>
                    <a:gd name="connsiteX335" fmla="*/ 744424 w 3284716"/>
                    <a:gd name="connsiteY335" fmla="*/ 489769 h 556323"/>
                    <a:gd name="connsiteX336" fmla="*/ 786616 w 3284716"/>
                    <a:gd name="connsiteY336" fmla="*/ 473821 h 556323"/>
                    <a:gd name="connsiteX337" fmla="*/ 786616 w 3284716"/>
                    <a:gd name="connsiteY337" fmla="*/ 486127 h 556323"/>
                    <a:gd name="connsiteX338" fmla="*/ 742038 w 3284716"/>
                    <a:gd name="connsiteY338" fmla="*/ 500317 h 556323"/>
                    <a:gd name="connsiteX339" fmla="*/ 701854 w 3284716"/>
                    <a:gd name="connsiteY339" fmla="*/ 482486 h 556323"/>
                    <a:gd name="connsiteX340" fmla="*/ 686534 w 3284716"/>
                    <a:gd name="connsiteY340" fmla="*/ 432131 h 556323"/>
                    <a:gd name="connsiteX341" fmla="*/ 702545 w 3284716"/>
                    <a:gd name="connsiteY341" fmla="*/ 384727 h 556323"/>
                    <a:gd name="connsiteX342" fmla="*/ 744173 w 3284716"/>
                    <a:gd name="connsiteY342" fmla="*/ 365451 h 556323"/>
                    <a:gd name="connsiteX343" fmla="*/ 396395 w 3284716"/>
                    <a:gd name="connsiteY343" fmla="*/ 365451 h 556323"/>
                    <a:gd name="connsiteX344" fmla="*/ 439843 w 3284716"/>
                    <a:gd name="connsiteY344" fmla="*/ 383408 h 556323"/>
                    <a:gd name="connsiteX345" fmla="*/ 455791 w 3284716"/>
                    <a:gd name="connsiteY345" fmla="*/ 433135 h 556323"/>
                    <a:gd name="connsiteX346" fmla="*/ 439529 w 3284716"/>
                    <a:gd name="connsiteY346" fmla="*/ 481732 h 556323"/>
                    <a:gd name="connsiteX347" fmla="*/ 395014 w 3284716"/>
                    <a:gd name="connsiteY347" fmla="*/ 500317 h 556323"/>
                    <a:gd name="connsiteX348" fmla="*/ 350498 w 3284716"/>
                    <a:gd name="connsiteY348" fmla="*/ 481795 h 556323"/>
                    <a:gd name="connsiteX349" fmla="*/ 334110 w 3284716"/>
                    <a:gd name="connsiteY349" fmla="*/ 433638 h 556323"/>
                    <a:gd name="connsiteX350" fmla="*/ 351251 w 3284716"/>
                    <a:gd name="connsiteY350" fmla="*/ 383534 h 556323"/>
                    <a:gd name="connsiteX351" fmla="*/ 396395 w 3284716"/>
                    <a:gd name="connsiteY351" fmla="*/ 365451 h 556323"/>
                    <a:gd name="connsiteX352" fmla="*/ 2148134 w 3284716"/>
                    <a:gd name="connsiteY352" fmla="*/ 324640 h 556323"/>
                    <a:gd name="connsiteX353" fmla="*/ 2125530 w 3284716"/>
                    <a:gd name="connsiteY353" fmla="*/ 333744 h 556323"/>
                    <a:gd name="connsiteX354" fmla="*/ 2117117 w 3284716"/>
                    <a:gd name="connsiteY354" fmla="*/ 356033 h 556323"/>
                    <a:gd name="connsiteX355" fmla="*/ 2136581 w 3284716"/>
                    <a:gd name="connsiteY355" fmla="*/ 393831 h 556323"/>
                    <a:gd name="connsiteX356" fmla="*/ 2167032 w 3284716"/>
                    <a:gd name="connsiteY356" fmla="*/ 374492 h 556323"/>
                    <a:gd name="connsiteX357" fmla="*/ 2175634 w 3284716"/>
                    <a:gd name="connsiteY357" fmla="*/ 351889 h 556323"/>
                    <a:gd name="connsiteX358" fmla="*/ 2167723 w 3284716"/>
                    <a:gd name="connsiteY358" fmla="*/ 332049 h 556323"/>
                    <a:gd name="connsiteX359" fmla="*/ 2148134 w 3284716"/>
                    <a:gd name="connsiteY359" fmla="*/ 324640 h 556323"/>
                    <a:gd name="connsiteX360" fmla="*/ 2720778 w 3284716"/>
                    <a:gd name="connsiteY360" fmla="*/ 317106 h 556323"/>
                    <a:gd name="connsiteX361" fmla="*/ 2727621 w 3284716"/>
                    <a:gd name="connsiteY361" fmla="*/ 319618 h 556323"/>
                    <a:gd name="connsiteX362" fmla="*/ 2730572 w 3284716"/>
                    <a:gd name="connsiteY362" fmla="*/ 326399 h 556323"/>
                    <a:gd name="connsiteX363" fmla="*/ 2727684 w 3284716"/>
                    <a:gd name="connsiteY363" fmla="*/ 333305 h 556323"/>
                    <a:gd name="connsiteX364" fmla="*/ 2720778 w 3284716"/>
                    <a:gd name="connsiteY364" fmla="*/ 336193 h 556323"/>
                    <a:gd name="connsiteX365" fmla="*/ 2714122 w 3284716"/>
                    <a:gd name="connsiteY365" fmla="*/ 333431 h 556323"/>
                    <a:gd name="connsiteX366" fmla="*/ 2711234 w 3284716"/>
                    <a:gd name="connsiteY366" fmla="*/ 326399 h 556323"/>
                    <a:gd name="connsiteX367" fmla="*/ 2714185 w 3284716"/>
                    <a:gd name="connsiteY367" fmla="*/ 319681 h 556323"/>
                    <a:gd name="connsiteX368" fmla="*/ 2720778 w 3284716"/>
                    <a:gd name="connsiteY368" fmla="*/ 317106 h 556323"/>
                    <a:gd name="connsiteX369" fmla="*/ 1368228 w 3284716"/>
                    <a:gd name="connsiteY369" fmla="*/ 317106 h 556323"/>
                    <a:gd name="connsiteX370" fmla="*/ 1375071 w 3284716"/>
                    <a:gd name="connsiteY370" fmla="*/ 319618 h 556323"/>
                    <a:gd name="connsiteX371" fmla="*/ 1378022 w 3284716"/>
                    <a:gd name="connsiteY371" fmla="*/ 326399 h 556323"/>
                    <a:gd name="connsiteX372" fmla="*/ 1375134 w 3284716"/>
                    <a:gd name="connsiteY372" fmla="*/ 333305 h 556323"/>
                    <a:gd name="connsiteX373" fmla="*/ 1368228 w 3284716"/>
                    <a:gd name="connsiteY373" fmla="*/ 336193 h 556323"/>
                    <a:gd name="connsiteX374" fmla="*/ 1361572 w 3284716"/>
                    <a:gd name="connsiteY374" fmla="*/ 333431 h 556323"/>
                    <a:gd name="connsiteX375" fmla="*/ 1358684 w 3284716"/>
                    <a:gd name="connsiteY375" fmla="*/ 326399 h 556323"/>
                    <a:gd name="connsiteX376" fmla="*/ 1361635 w 3284716"/>
                    <a:gd name="connsiteY376" fmla="*/ 319681 h 556323"/>
                    <a:gd name="connsiteX377" fmla="*/ 1368228 w 3284716"/>
                    <a:gd name="connsiteY377" fmla="*/ 317106 h 556323"/>
                    <a:gd name="connsiteX378" fmla="*/ 2149264 w 3284716"/>
                    <a:gd name="connsiteY378" fmla="*/ 314091 h 556323"/>
                    <a:gd name="connsiteX379" fmla="*/ 2177518 w 3284716"/>
                    <a:gd name="connsiteY379" fmla="*/ 324326 h 556323"/>
                    <a:gd name="connsiteX380" fmla="*/ 2187815 w 3284716"/>
                    <a:gd name="connsiteY380" fmla="*/ 350382 h 556323"/>
                    <a:gd name="connsiteX381" fmla="*/ 2177392 w 3284716"/>
                    <a:gd name="connsiteY381" fmla="*/ 379704 h 556323"/>
                    <a:gd name="connsiteX382" fmla="*/ 2144617 w 3284716"/>
                    <a:gd name="connsiteY382" fmla="*/ 401993 h 556323"/>
                    <a:gd name="connsiteX383" fmla="*/ 2199870 w 3284716"/>
                    <a:gd name="connsiteY383" fmla="*/ 456492 h 556323"/>
                    <a:gd name="connsiteX384" fmla="*/ 2216571 w 3284716"/>
                    <a:gd name="connsiteY384" fmla="*/ 401993 h 556323"/>
                    <a:gd name="connsiteX385" fmla="*/ 2228626 w 3284716"/>
                    <a:gd name="connsiteY385" fmla="*/ 401993 h 556323"/>
                    <a:gd name="connsiteX386" fmla="*/ 2207781 w 3284716"/>
                    <a:gd name="connsiteY386" fmla="*/ 464529 h 556323"/>
                    <a:gd name="connsiteX387" fmla="*/ 2242063 w 3284716"/>
                    <a:gd name="connsiteY387" fmla="*/ 497429 h 556323"/>
                    <a:gd name="connsiteX388" fmla="*/ 2224106 w 3284716"/>
                    <a:gd name="connsiteY388" fmla="*/ 497178 h 556323"/>
                    <a:gd name="connsiteX389" fmla="*/ 2199870 w 3284716"/>
                    <a:gd name="connsiteY389" fmla="*/ 473570 h 556323"/>
                    <a:gd name="connsiteX390" fmla="*/ 2139720 w 3284716"/>
                    <a:gd name="connsiteY390" fmla="*/ 500317 h 556323"/>
                    <a:gd name="connsiteX391" fmla="*/ 2098406 w 3284716"/>
                    <a:gd name="connsiteY391" fmla="*/ 486693 h 556323"/>
                    <a:gd name="connsiteX392" fmla="*/ 2083589 w 3284716"/>
                    <a:gd name="connsiteY392" fmla="*/ 451971 h 556323"/>
                    <a:gd name="connsiteX393" fmla="*/ 2125279 w 3284716"/>
                    <a:gd name="connsiteY393" fmla="*/ 398728 h 556323"/>
                    <a:gd name="connsiteX394" fmla="*/ 2104936 w 3284716"/>
                    <a:gd name="connsiteY394" fmla="*/ 355782 h 556323"/>
                    <a:gd name="connsiteX395" fmla="*/ 2117305 w 3284716"/>
                    <a:gd name="connsiteY395" fmla="*/ 326209 h 556323"/>
                    <a:gd name="connsiteX396" fmla="*/ 2149264 w 3284716"/>
                    <a:gd name="connsiteY396" fmla="*/ 314091 h 556323"/>
                    <a:gd name="connsiteX397" fmla="*/ 2415894 w 3284716"/>
                    <a:gd name="connsiteY397" fmla="*/ 306809 h 556323"/>
                    <a:gd name="connsiteX398" fmla="*/ 2427447 w 3284716"/>
                    <a:gd name="connsiteY398" fmla="*/ 306809 h 556323"/>
                    <a:gd name="connsiteX399" fmla="*/ 2427447 w 3284716"/>
                    <a:gd name="connsiteY399" fmla="*/ 497179 h 556323"/>
                    <a:gd name="connsiteX400" fmla="*/ 2415894 w 3284716"/>
                    <a:gd name="connsiteY400" fmla="*/ 497179 h 556323"/>
                    <a:gd name="connsiteX401" fmla="*/ 2415894 w 3284716"/>
                    <a:gd name="connsiteY401" fmla="*/ 473822 h 556323"/>
                    <a:gd name="connsiteX402" fmla="*/ 2415392 w 3284716"/>
                    <a:gd name="connsiteY402" fmla="*/ 473822 h 556323"/>
                    <a:gd name="connsiteX403" fmla="*/ 2396807 w 3284716"/>
                    <a:gd name="connsiteY403" fmla="*/ 493161 h 556323"/>
                    <a:gd name="connsiteX404" fmla="*/ 2369055 w 3284716"/>
                    <a:gd name="connsiteY404" fmla="*/ 500318 h 556323"/>
                    <a:gd name="connsiteX405" fmla="*/ 2330315 w 3284716"/>
                    <a:gd name="connsiteY405" fmla="*/ 482989 h 556323"/>
                    <a:gd name="connsiteX406" fmla="*/ 2315309 w 3284716"/>
                    <a:gd name="connsiteY406" fmla="*/ 435146 h 556323"/>
                    <a:gd name="connsiteX407" fmla="*/ 2331697 w 3284716"/>
                    <a:gd name="connsiteY407" fmla="*/ 384728 h 556323"/>
                    <a:gd name="connsiteX408" fmla="*/ 2374203 w 3284716"/>
                    <a:gd name="connsiteY408" fmla="*/ 365452 h 556323"/>
                    <a:gd name="connsiteX409" fmla="*/ 2415392 w 3284716"/>
                    <a:gd name="connsiteY409" fmla="*/ 389186 h 556323"/>
                    <a:gd name="connsiteX410" fmla="*/ 2415894 w 3284716"/>
                    <a:gd name="connsiteY410" fmla="*/ 389186 h 556323"/>
                    <a:gd name="connsiteX411" fmla="*/ 1305428 w 3284716"/>
                    <a:gd name="connsiteY411" fmla="*/ 306808 h 556323"/>
                    <a:gd name="connsiteX412" fmla="*/ 1316981 w 3284716"/>
                    <a:gd name="connsiteY412" fmla="*/ 306808 h 556323"/>
                    <a:gd name="connsiteX413" fmla="*/ 1316981 w 3284716"/>
                    <a:gd name="connsiteY413" fmla="*/ 497178 h 556323"/>
                    <a:gd name="connsiteX414" fmla="*/ 1305428 w 3284716"/>
                    <a:gd name="connsiteY414" fmla="*/ 497178 h 556323"/>
                    <a:gd name="connsiteX415" fmla="*/ 210052 w 3284716"/>
                    <a:gd name="connsiteY415" fmla="*/ 306808 h 556323"/>
                    <a:gd name="connsiteX416" fmla="*/ 221605 w 3284716"/>
                    <a:gd name="connsiteY416" fmla="*/ 306808 h 556323"/>
                    <a:gd name="connsiteX417" fmla="*/ 221605 w 3284716"/>
                    <a:gd name="connsiteY417" fmla="*/ 391696 h 556323"/>
                    <a:gd name="connsiteX418" fmla="*/ 222107 w 3284716"/>
                    <a:gd name="connsiteY418" fmla="*/ 391696 h 556323"/>
                    <a:gd name="connsiteX419" fmla="*/ 266309 w 3284716"/>
                    <a:gd name="connsiteY419" fmla="*/ 365451 h 556323"/>
                    <a:gd name="connsiteX420" fmla="*/ 298079 w 3284716"/>
                    <a:gd name="connsiteY420" fmla="*/ 378888 h 556323"/>
                    <a:gd name="connsiteX421" fmla="*/ 309004 w 3284716"/>
                    <a:gd name="connsiteY421" fmla="*/ 417439 h 556323"/>
                    <a:gd name="connsiteX422" fmla="*/ 309004 w 3284716"/>
                    <a:gd name="connsiteY422" fmla="*/ 497178 h 556323"/>
                    <a:gd name="connsiteX423" fmla="*/ 297451 w 3284716"/>
                    <a:gd name="connsiteY423" fmla="*/ 497178 h 556323"/>
                    <a:gd name="connsiteX424" fmla="*/ 297451 w 3284716"/>
                    <a:gd name="connsiteY424" fmla="*/ 420076 h 556323"/>
                    <a:gd name="connsiteX425" fmla="*/ 289163 w 3284716"/>
                    <a:gd name="connsiteY425" fmla="*/ 386610 h 556323"/>
                    <a:gd name="connsiteX426" fmla="*/ 263295 w 3284716"/>
                    <a:gd name="connsiteY426" fmla="*/ 375999 h 556323"/>
                    <a:gd name="connsiteX427" fmla="*/ 234162 w 3284716"/>
                    <a:gd name="connsiteY427" fmla="*/ 388933 h 556323"/>
                    <a:gd name="connsiteX428" fmla="*/ 221605 w 3284716"/>
                    <a:gd name="connsiteY428" fmla="*/ 425978 h 556323"/>
                    <a:gd name="connsiteX429" fmla="*/ 221605 w 3284716"/>
                    <a:gd name="connsiteY429" fmla="*/ 497178 h 556323"/>
                    <a:gd name="connsiteX430" fmla="*/ 210052 w 3284716"/>
                    <a:gd name="connsiteY430" fmla="*/ 497178 h 556323"/>
                    <a:gd name="connsiteX431" fmla="*/ 1934729 w 3284716"/>
                    <a:gd name="connsiteY431" fmla="*/ 123187 h 556323"/>
                    <a:gd name="connsiteX432" fmla="*/ 1899317 w 3284716"/>
                    <a:gd name="connsiteY432" fmla="*/ 128335 h 556323"/>
                    <a:gd name="connsiteX433" fmla="*/ 1870937 w 3284716"/>
                    <a:gd name="connsiteY433" fmla="*/ 137691 h 556323"/>
                    <a:gd name="connsiteX434" fmla="*/ 1862775 w 3284716"/>
                    <a:gd name="connsiteY434" fmla="*/ 158724 h 556323"/>
                    <a:gd name="connsiteX435" fmla="*/ 1870372 w 3284716"/>
                    <a:gd name="connsiteY435" fmla="*/ 177560 h 556323"/>
                    <a:gd name="connsiteX436" fmla="*/ 1891532 w 3284716"/>
                    <a:gd name="connsiteY436" fmla="*/ 184969 h 556323"/>
                    <a:gd name="connsiteX437" fmla="*/ 1922423 w 3284716"/>
                    <a:gd name="connsiteY437" fmla="*/ 171219 h 556323"/>
                    <a:gd name="connsiteX438" fmla="*/ 1934729 w 3284716"/>
                    <a:gd name="connsiteY438" fmla="*/ 135744 h 556323"/>
                    <a:gd name="connsiteX439" fmla="*/ 398051 w 3284716"/>
                    <a:gd name="connsiteY439" fmla="*/ 113644 h 556323"/>
                    <a:gd name="connsiteX440" fmla="*/ 375322 w 3284716"/>
                    <a:gd name="connsiteY440" fmla="*/ 123439 h 556323"/>
                    <a:gd name="connsiteX441" fmla="*/ 366908 w 3284716"/>
                    <a:gd name="connsiteY441" fmla="*/ 150186 h 556323"/>
                    <a:gd name="connsiteX442" fmla="*/ 375008 w 3284716"/>
                    <a:gd name="connsiteY442" fmla="*/ 175929 h 556323"/>
                    <a:gd name="connsiteX443" fmla="*/ 397297 w 3284716"/>
                    <a:gd name="connsiteY443" fmla="*/ 185472 h 556323"/>
                    <a:gd name="connsiteX444" fmla="*/ 419838 w 3284716"/>
                    <a:gd name="connsiteY444" fmla="*/ 175740 h 556323"/>
                    <a:gd name="connsiteX445" fmla="*/ 427937 w 3284716"/>
                    <a:gd name="connsiteY445" fmla="*/ 149433 h 556323"/>
                    <a:gd name="connsiteX446" fmla="*/ 419901 w 3284716"/>
                    <a:gd name="connsiteY446" fmla="*/ 122686 h 556323"/>
                    <a:gd name="connsiteX447" fmla="*/ 398051 w 3284716"/>
                    <a:gd name="connsiteY447" fmla="*/ 113644 h 556323"/>
                    <a:gd name="connsiteX448" fmla="*/ 398302 w 3284716"/>
                    <a:gd name="connsiteY448" fmla="*/ 103347 h 556323"/>
                    <a:gd name="connsiteX449" fmla="*/ 428188 w 3284716"/>
                    <a:gd name="connsiteY449" fmla="*/ 115653 h 556323"/>
                    <a:gd name="connsiteX450" fmla="*/ 439239 w 3284716"/>
                    <a:gd name="connsiteY450" fmla="*/ 149684 h 556323"/>
                    <a:gd name="connsiteX451" fmla="*/ 427749 w 3284716"/>
                    <a:gd name="connsiteY451" fmla="*/ 182396 h 556323"/>
                    <a:gd name="connsiteX452" fmla="*/ 397046 w 3284716"/>
                    <a:gd name="connsiteY452" fmla="*/ 195518 h 556323"/>
                    <a:gd name="connsiteX453" fmla="*/ 366594 w 3284716"/>
                    <a:gd name="connsiteY453" fmla="*/ 182835 h 556323"/>
                    <a:gd name="connsiteX454" fmla="*/ 355356 w 3284716"/>
                    <a:gd name="connsiteY454" fmla="*/ 149935 h 556323"/>
                    <a:gd name="connsiteX455" fmla="*/ 367411 w 3284716"/>
                    <a:gd name="connsiteY455" fmla="*/ 115528 h 556323"/>
                    <a:gd name="connsiteX456" fmla="*/ 398302 w 3284716"/>
                    <a:gd name="connsiteY456" fmla="*/ 103347 h 556323"/>
                    <a:gd name="connsiteX457" fmla="*/ 2811871 w 3284716"/>
                    <a:gd name="connsiteY457" fmla="*/ 71200 h 556323"/>
                    <a:gd name="connsiteX458" fmla="*/ 2777087 w 3284716"/>
                    <a:gd name="connsiteY458" fmla="*/ 86269 h 556323"/>
                    <a:gd name="connsiteX459" fmla="*/ 2764781 w 3284716"/>
                    <a:gd name="connsiteY459" fmla="*/ 121681 h 556323"/>
                    <a:gd name="connsiteX460" fmla="*/ 2764781 w 3284716"/>
                    <a:gd name="connsiteY460" fmla="*/ 137880 h 556323"/>
                    <a:gd name="connsiteX461" fmla="*/ 2776961 w 3284716"/>
                    <a:gd name="connsiteY461" fmla="*/ 171094 h 556323"/>
                    <a:gd name="connsiteX462" fmla="*/ 2808983 w 3284716"/>
                    <a:gd name="connsiteY462" fmla="*/ 184970 h 556323"/>
                    <a:gd name="connsiteX463" fmla="*/ 2841004 w 3284716"/>
                    <a:gd name="connsiteY463" fmla="*/ 168080 h 556323"/>
                    <a:gd name="connsiteX464" fmla="*/ 2853310 w 3284716"/>
                    <a:gd name="connsiteY464" fmla="*/ 123690 h 556323"/>
                    <a:gd name="connsiteX465" fmla="*/ 2842009 w 3284716"/>
                    <a:gd name="connsiteY465" fmla="*/ 85390 h 556323"/>
                    <a:gd name="connsiteX466" fmla="*/ 2811871 w 3284716"/>
                    <a:gd name="connsiteY466" fmla="*/ 71200 h 556323"/>
                    <a:gd name="connsiteX467" fmla="*/ 3224817 w 3284716"/>
                    <a:gd name="connsiteY467" fmla="*/ 71199 h 556323"/>
                    <a:gd name="connsiteX468" fmla="*/ 3188589 w 3284716"/>
                    <a:gd name="connsiteY468" fmla="*/ 86519 h 556323"/>
                    <a:gd name="connsiteX469" fmla="*/ 3175091 w 3284716"/>
                    <a:gd name="connsiteY469" fmla="*/ 129089 h 556323"/>
                    <a:gd name="connsiteX470" fmla="*/ 3188275 w 3284716"/>
                    <a:gd name="connsiteY470" fmla="*/ 169649 h 556323"/>
                    <a:gd name="connsiteX471" fmla="*/ 3224315 w 3284716"/>
                    <a:gd name="connsiteY471" fmla="*/ 184969 h 556323"/>
                    <a:gd name="connsiteX472" fmla="*/ 3260103 w 3284716"/>
                    <a:gd name="connsiteY472" fmla="*/ 169900 h 556323"/>
                    <a:gd name="connsiteX473" fmla="*/ 3272661 w 3284716"/>
                    <a:gd name="connsiteY473" fmla="*/ 128084 h 556323"/>
                    <a:gd name="connsiteX474" fmla="*/ 3260167 w 3284716"/>
                    <a:gd name="connsiteY474" fmla="*/ 85891 h 556323"/>
                    <a:gd name="connsiteX475" fmla="*/ 3224817 w 3284716"/>
                    <a:gd name="connsiteY475" fmla="*/ 71199 h 556323"/>
                    <a:gd name="connsiteX476" fmla="*/ 2943946 w 3284716"/>
                    <a:gd name="connsiteY476" fmla="*/ 71199 h 556323"/>
                    <a:gd name="connsiteX477" fmla="*/ 2913996 w 3284716"/>
                    <a:gd name="connsiteY477" fmla="*/ 83317 h 556323"/>
                    <a:gd name="connsiteX478" fmla="*/ 2899367 w 3284716"/>
                    <a:gd name="connsiteY478" fmla="*/ 118038 h 556323"/>
                    <a:gd name="connsiteX479" fmla="*/ 2981994 w 3284716"/>
                    <a:gd name="connsiteY479" fmla="*/ 118038 h 556323"/>
                    <a:gd name="connsiteX480" fmla="*/ 2971321 w 3284716"/>
                    <a:gd name="connsiteY480" fmla="*/ 83506 h 556323"/>
                    <a:gd name="connsiteX481" fmla="*/ 2943946 w 3284716"/>
                    <a:gd name="connsiteY481" fmla="*/ 71199 h 556323"/>
                    <a:gd name="connsiteX482" fmla="*/ 1467570 w 3284716"/>
                    <a:gd name="connsiteY482" fmla="*/ 71199 h 556323"/>
                    <a:gd name="connsiteX483" fmla="*/ 1437621 w 3284716"/>
                    <a:gd name="connsiteY483" fmla="*/ 83317 h 556323"/>
                    <a:gd name="connsiteX484" fmla="*/ 1422992 w 3284716"/>
                    <a:gd name="connsiteY484" fmla="*/ 118038 h 556323"/>
                    <a:gd name="connsiteX485" fmla="*/ 1505619 w 3284716"/>
                    <a:gd name="connsiteY485" fmla="*/ 118038 h 556323"/>
                    <a:gd name="connsiteX486" fmla="*/ 1494945 w 3284716"/>
                    <a:gd name="connsiteY486" fmla="*/ 83506 h 556323"/>
                    <a:gd name="connsiteX487" fmla="*/ 1467570 w 3284716"/>
                    <a:gd name="connsiteY487" fmla="*/ 71199 h 556323"/>
                    <a:gd name="connsiteX488" fmla="*/ 1115145 w 3284716"/>
                    <a:gd name="connsiteY488" fmla="*/ 71199 h 556323"/>
                    <a:gd name="connsiteX489" fmla="*/ 1085196 w 3284716"/>
                    <a:gd name="connsiteY489" fmla="*/ 83317 h 556323"/>
                    <a:gd name="connsiteX490" fmla="*/ 1070567 w 3284716"/>
                    <a:gd name="connsiteY490" fmla="*/ 118038 h 556323"/>
                    <a:gd name="connsiteX491" fmla="*/ 1153194 w 3284716"/>
                    <a:gd name="connsiteY491" fmla="*/ 118038 h 556323"/>
                    <a:gd name="connsiteX492" fmla="*/ 1142520 w 3284716"/>
                    <a:gd name="connsiteY492" fmla="*/ 83506 h 556323"/>
                    <a:gd name="connsiteX493" fmla="*/ 1115145 w 3284716"/>
                    <a:gd name="connsiteY493" fmla="*/ 71199 h 556323"/>
                    <a:gd name="connsiteX494" fmla="*/ 576868 w 3284716"/>
                    <a:gd name="connsiteY494" fmla="*/ 71199 h 556323"/>
                    <a:gd name="connsiteX495" fmla="*/ 540640 w 3284716"/>
                    <a:gd name="connsiteY495" fmla="*/ 86519 h 556323"/>
                    <a:gd name="connsiteX496" fmla="*/ 527140 w 3284716"/>
                    <a:gd name="connsiteY496" fmla="*/ 129089 h 556323"/>
                    <a:gd name="connsiteX497" fmla="*/ 540326 w 3284716"/>
                    <a:gd name="connsiteY497" fmla="*/ 169649 h 556323"/>
                    <a:gd name="connsiteX498" fmla="*/ 576365 w 3284716"/>
                    <a:gd name="connsiteY498" fmla="*/ 184969 h 556323"/>
                    <a:gd name="connsiteX499" fmla="*/ 612154 w 3284716"/>
                    <a:gd name="connsiteY499" fmla="*/ 169900 h 556323"/>
                    <a:gd name="connsiteX500" fmla="*/ 624711 w 3284716"/>
                    <a:gd name="connsiteY500" fmla="*/ 128084 h 556323"/>
                    <a:gd name="connsiteX501" fmla="*/ 612217 w 3284716"/>
                    <a:gd name="connsiteY501" fmla="*/ 85891 h 556323"/>
                    <a:gd name="connsiteX502" fmla="*/ 576868 w 3284716"/>
                    <a:gd name="connsiteY502" fmla="*/ 71199 h 556323"/>
                    <a:gd name="connsiteX503" fmla="*/ 2534153 w 3284716"/>
                    <a:gd name="connsiteY503" fmla="*/ 63792 h 556323"/>
                    <a:gd name="connsiteX504" fmla="*/ 2545706 w 3284716"/>
                    <a:gd name="connsiteY504" fmla="*/ 63792 h 556323"/>
                    <a:gd name="connsiteX505" fmla="*/ 2545706 w 3284716"/>
                    <a:gd name="connsiteY505" fmla="*/ 192379 h 556323"/>
                    <a:gd name="connsiteX506" fmla="*/ 2534153 w 3284716"/>
                    <a:gd name="connsiteY506" fmla="*/ 192379 h 556323"/>
                    <a:gd name="connsiteX507" fmla="*/ 2346754 w 3284716"/>
                    <a:gd name="connsiteY507" fmla="*/ 63792 h 556323"/>
                    <a:gd name="connsiteX508" fmla="*/ 2359562 w 3284716"/>
                    <a:gd name="connsiteY508" fmla="*/ 63792 h 556323"/>
                    <a:gd name="connsiteX509" fmla="*/ 2389449 w 3284716"/>
                    <a:gd name="connsiteY509" fmla="*/ 166385 h 556323"/>
                    <a:gd name="connsiteX510" fmla="*/ 2391207 w 3284716"/>
                    <a:gd name="connsiteY510" fmla="*/ 177185 h 556323"/>
                    <a:gd name="connsiteX511" fmla="*/ 2392212 w 3284716"/>
                    <a:gd name="connsiteY511" fmla="*/ 177185 h 556323"/>
                    <a:gd name="connsiteX512" fmla="*/ 2394598 w 3284716"/>
                    <a:gd name="connsiteY512" fmla="*/ 166385 h 556323"/>
                    <a:gd name="connsiteX513" fmla="*/ 2427247 w 3284716"/>
                    <a:gd name="connsiteY513" fmla="*/ 63792 h 556323"/>
                    <a:gd name="connsiteX514" fmla="*/ 2435158 w 3284716"/>
                    <a:gd name="connsiteY514" fmla="*/ 63792 h 556323"/>
                    <a:gd name="connsiteX515" fmla="*/ 2464291 w 3284716"/>
                    <a:gd name="connsiteY515" fmla="*/ 166385 h 556323"/>
                    <a:gd name="connsiteX516" fmla="*/ 2466049 w 3284716"/>
                    <a:gd name="connsiteY516" fmla="*/ 177185 h 556323"/>
                    <a:gd name="connsiteX517" fmla="*/ 2467054 w 3284716"/>
                    <a:gd name="connsiteY517" fmla="*/ 177185 h 556323"/>
                    <a:gd name="connsiteX518" fmla="*/ 2469188 w 3284716"/>
                    <a:gd name="connsiteY518" fmla="*/ 166385 h 556323"/>
                    <a:gd name="connsiteX519" fmla="*/ 2499703 w 3284716"/>
                    <a:gd name="connsiteY519" fmla="*/ 63792 h 556323"/>
                    <a:gd name="connsiteX520" fmla="*/ 2511632 w 3284716"/>
                    <a:gd name="connsiteY520" fmla="*/ 63792 h 556323"/>
                    <a:gd name="connsiteX521" fmla="*/ 2471700 w 3284716"/>
                    <a:gd name="connsiteY521" fmla="*/ 192379 h 556323"/>
                    <a:gd name="connsiteX522" fmla="*/ 2460900 w 3284716"/>
                    <a:gd name="connsiteY522" fmla="*/ 192379 h 556323"/>
                    <a:gd name="connsiteX523" fmla="*/ 2432898 w 3284716"/>
                    <a:gd name="connsiteY523" fmla="*/ 95436 h 556323"/>
                    <a:gd name="connsiteX524" fmla="*/ 2430888 w 3284716"/>
                    <a:gd name="connsiteY524" fmla="*/ 84637 h 556323"/>
                    <a:gd name="connsiteX525" fmla="*/ 2430260 w 3284716"/>
                    <a:gd name="connsiteY525" fmla="*/ 84637 h 556323"/>
                    <a:gd name="connsiteX526" fmla="*/ 2427749 w 3284716"/>
                    <a:gd name="connsiteY526" fmla="*/ 95185 h 556323"/>
                    <a:gd name="connsiteX527" fmla="*/ 2396356 w 3284716"/>
                    <a:gd name="connsiteY527" fmla="*/ 192379 h 556323"/>
                    <a:gd name="connsiteX528" fmla="*/ 2385556 w 3284716"/>
                    <a:gd name="connsiteY528" fmla="*/ 192379 h 556323"/>
                    <a:gd name="connsiteX529" fmla="*/ 2115053 w 3284716"/>
                    <a:gd name="connsiteY529" fmla="*/ 63792 h 556323"/>
                    <a:gd name="connsiteX530" fmla="*/ 2126606 w 3284716"/>
                    <a:gd name="connsiteY530" fmla="*/ 63792 h 556323"/>
                    <a:gd name="connsiteX531" fmla="*/ 2126606 w 3284716"/>
                    <a:gd name="connsiteY531" fmla="*/ 192379 h 556323"/>
                    <a:gd name="connsiteX532" fmla="*/ 2115053 w 3284716"/>
                    <a:gd name="connsiteY532" fmla="*/ 192379 h 556323"/>
                    <a:gd name="connsiteX533" fmla="*/ 1819995 w 3284716"/>
                    <a:gd name="connsiteY533" fmla="*/ 61280 h 556323"/>
                    <a:gd name="connsiteX534" fmla="*/ 1832804 w 3284716"/>
                    <a:gd name="connsiteY534" fmla="*/ 63540 h 556323"/>
                    <a:gd name="connsiteX535" fmla="*/ 1832804 w 3284716"/>
                    <a:gd name="connsiteY535" fmla="*/ 75847 h 556323"/>
                    <a:gd name="connsiteX536" fmla="*/ 1819242 w 3284716"/>
                    <a:gd name="connsiteY536" fmla="*/ 71703 h 556323"/>
                    <a:gd name="connsiteX537" fmla="*/ 1793750 w 3284716"/>
                    <a:gd name="connsiteY537" fmla="*/ 87399 h 556323"/>
                    <a:gd name="connsiteX538" fmla="*/ 1783453 w 3284716"/>
                    <a:gd name="connsiteY538" fmla="*/ 131978 h 556323"/>
                    <a:gd name="connsiteX539" fmla="*/ 1783453 w 3284716"/>
                    <a:gd name="connsiteY539" fmla="*/ 192379 h 556323"/>
                    <a:gd name="connsiteX540" fmla="*/ 1772152 w 3284716"/>
                    <a:gd name="connsiteY540" fmla="*/ 192379 h 556323"/>
                    <a:gd name="connsiteX541" fmla="*/ 1772152 w 3284716"/>
                    <a:gd name="connsiteY541" fmla="*/ 63792 h 556323"/>
                    <a:gd name="connsiteX542" fmla="*/ 1783453 w 3284716"/>
                    <a:gd name="connsiteY542" fmla="*/ 63792 h 556323"/>
                    <a:gd name="connsiteX543" fmla="*/ 1783453 w 3284716"/>
                    <a:gd name="connsiteY543" fmla="*/ 92297 h 556323"/>
                    <a:gd name="connsiteX544" fmla="*/ 1783956 w 3284716"/>
                    <a:gd name="connsiteY544" fmla="*/ 92297 h 556323"/>
                    <a:gd name="connsiteX545" fmla="*/ 1797894 w 3284716"/>
                    <a:gd name="connsiteY545" fmla="*/ 69442 h 556323"/>
                    <a:gd name="connsiteX546" fmla="*/ 1819995 w 3284716"/>
                    <a:gd name="connsiteY546" fmla="*/ 61280 h 556323"/>
                    <a:gd name="connsiteX547" fmla="*/ 1248495 w 3284716"/>
                    <a:gd name="connsiteY547" fmla="*/ 61280 h 556323"/>
                    <a:gd name="connsiteX548" fmla="*/ 1261304 w 3284716"/>
                    <a:gd name="connsiteY548" fmla="*/ 63540 h 556323"/>
                    <a:gd name="connsiteX549" fmla="*/ 1261304 w 3284716"/>
                    <a:gd name="connsiteY549" fmla="*/ 75847 h 556323"/>
                    <a:gd name="connsiteX550" fmla="*/ 1247742 w 3284716"/>
                    <a:gd name="connsiteY550" fmla="*/ 71703 h 556323"/>
                    <a:gd name="connsiteX551" fmla="*/ 1222250 w 3284716"/>
                    <a:gd name="connsiteY551" fmla="*/ 87399 h 556323"/>
                    <a:gd name="connsiteX552" fmla="*/ 1211953 w 3284716"/>
                    <a:gd name="connsiteY552" fmla="*/ 131978 h 556323"/>
                    <a:gd name="connsiteX553" fmla="*/ 1211953 w 3284716"/>
                    <a:gd name="connsiteY553" fmla="*/ 192379 h 556323"/>
                    <a:gd name="connsiteX554" fmla="*/ 1200652 w 3284716"/>
                    <a:gd name="connsiteY554" fmla="*/ 192379 h 556323"/>
                    <a:gd name="connsiteX555" fmla="*/ 1200652 w 3284716"/>
                    <a:gd name="connsiteY555" fmla="*/ 63792 h 556323"/>
                    <a:gd name="connsiteX556" fmla="*/ 1211953 w 3284716"/>
                    <a:gd name="connsiteY556" fmla="*/ 63792 h 556323"/>
                    <a:gd name="connsiteX557" fmla="*/ 1211953 w 3284716"/>
                    <a:gd name="connsiteY557" fmla="*/ 92297 h 556323"/>
                    <a:gd name="connsiteX558" fmla="*/ 1212456 w 3284716"/>
                    <a:gd name="connsiteY558" fmla="*/ 92297 h 556323"/>
                    <a:gd name="connsiteX559" fmla="*/ 1226394 w 3284716"/>
                    <a:gd name="connsiteY559" fmla="*/ 69442 h 556323"/>
                    <a:gd name="connsiteX560" fmla="*/ 1248495 w 3284716"/>
                    <a:gd name="connsiteY560" fmla="*/ 61280 h 556323"/>
                    <a:gd name="connsiteX561" fmla="*/ 1342383 w 3284716"/>
                    <a:gd name="connsiteY561" fmla="*/ 60652 h 556323"/>
                    <a:gd name="connsiteX562" fmla="*/ 1374278 w 3284716"/>
                    <a:gd name="connsiteY562" fmla="*/ 74528 h 556323"/>
                    <a:gd name="connsiteX563" fmla="*/ 1385329 w 3284716"/>
                    <a:gd name="connsiteY563" fmla="*/ 114147 h 556323"/>
                    <a:gd name="connsiteX564" fmla="*/ 1385329 w 3284716"/>
                    <a:gd name="connsiteY564" fmla="*/ 192379 h 556323"/>
                    <a:gd name="connsiteX565" fmla="*/ 1373776 w 3284716"/>
                    <a:gd name="connsiteY565" fmla="*/ 192379 h 556323"/>
                    <a:gd name="connsiteX566" fmla="*/ 1373776 w 3284716"/>
                    <a:gd name="connsiteY566" fmla="*/ 117537 h 556323"/>
                    <a:gd name="connsiteX567" fmla="*/ 1340374 w 3284716"/>
                    <a:gd name="connsiteY567" fmla="*/ 71200 h 556323"/>
                    <a:gd name="connsiteX568" fmla="*/ 1309859 w 3284716"/>
                    <a:gd name="connsiteY568" fmla="*/ 84825 h 556323"/>
                    <a:gd name="connsiteX569" fmla="*/ 1297930 w 3284716"/>
                    <a:gd name="connsiteY569" fmla="*/ 118542 h 556323"/>
                    <a:gd name="connsiteX570" fmla="*/ 1297930 w 3284716"/>
                    <a:gd name="connsiteY570" fmla="*/ 192379 h 556323"/>
                    <a:gd name="connsiteX571" fmla="*/ 1286377 w 3284716"/>
                    <a:gd name="connsiteY571" fmla="*/ 192379 h 556323"/>
                    <a:gd name="connsiteX572" fmla="*/ 1286377 w 3284716"/>
                    <a:gd name="connsiteY572" fmla="*/ 63792 h 556323"/>
                    <a:gd name="connsiteX573" fmla="*/ 1297930 w 3284716"/>
                    <a:gd name="connsiteY573" fmla="*/ 63792 h 556323"/>
                    <a:gd name="connsiteX574" fmla="*/ 1297930 w 3284716"/>
                    <a:gd name="connsiteY574" fmla="*/ 87148 h 556323"/>
                    <a:gd name="connsiteX575" fmla="*/ 1298432 w 3284716"/>
                    <a:gd name="connsiteY575" fmla="*/ 87148 h 556323"/>
                    <a:gd name="connsiteX576" fmla="*/ 1342383 w 3284716"/>
                    <a:gd name="connsiteY576" fmla="*/ 60652 h 556323"/>
                    <a:gd name="connsiteX577" fmla="*/ 913758 w 3284716"/>
                    <a:gd name="connsiteY577" fmla="*/ 60652 h 556323"/>
                    <a:gd name="connsiteX578" fmla="*/ 945653 w 3284716"/>
                    <a:gd name="connsiteY578" fmla="*/ 74528 h 556323"/>
                    <a:gd name="connsiteX579" fmla="*/ 956704 w 3284716"/>
                    <a:gd name="connsiteY579" fmla="*/ 114147 h 556323"/>
                    <a:gd name="connsiteX580" fmla="*/ 956704 w 3284716"/>
                    <a:gd name="connsiteY580" fmla="*/ 192379 h 556323"/>
                    <a:gd name="connsiteX581" fmla="*/ 945151 w 3284716"/>
                    <a:gd name="connsiteY581" fmla="*/ 192379 h 556323"/>
                    <a:gd name="connsiteX582" fmla="*/ 945151 w 3284716"/>
                    <a:gd name="connsiteY582" fmla="*/ 117537 h 556323"/>
                    <a:gd name="connsiteX583" fmla="*/ 911749 w 3284716"/>
                    <a:gd name="connsiteY583" fmla="*/ 71200 h 556323"/>
                    <a:gd name="connsiteX584" fmla="*/ 881234 w 3284716"/>
                    <a:gd name="connsiteY584" fmla="*/ 84825 h 556323"/>
                    <a:gd name="connsiteX585" fmla="*/ 869304 w 3284716"/>
                    <a:gd name="connsiteY585" fmla="*/ 118542 h 556323"/>
                    <a:gd name="connsiteX586" fmla="*/ 869304 w 3284716"/>
                    <a:gd name="connsiteY586" fmla="*/ 192379 h 556323"/>
                    <a:gd name="connsiteX587" fmla="*/ 857752 w 3284716"/>
                    <a:gd name="connsiteY587" fmla="*/ 192379 h 556323"/>
                    <a:gd name="connsiteX588" fmla="*/ 857752 w 3284716"/>
                    <a:gd name="connsiteY588" fmla="*/ 63792 h 556323"/>
                    <a:gd name="connsiteX589" fmla="*/ 869304 w 3284716"/>
                    <a:gd name="connsiteY589" fmla="*/ 63792 h 556323"/>
                    <a:gd name="connsiteX590" fmla="*/ 869304 w 3284716"/>
                    <a:gd name="connsiteY590" fmla="*/ 87148 h 556323"/>
                    <a:gd name="connsiteX591" fmla="*/ 869807 w 3284716"/>
                    <a:gd name="connsiteY591" fmla="*/ 87148 h 556323"/>
                    <a:gd name="connsiteX592" fmla="*/ 913758 w 3284716"/>
                    <a:gd name="connsiteY592" fmla="*/ 60652 h 556323"/>
                    <a:gd name="connsiteX593" fmla="*/ 3225320 w 3284716"/>
                    <a:gd name="connsiteY593" fmla="*/ 60651 h 556323"/>
                    <a:gd name="connsiteX594" fmla="*/ 3268769 w 3284716"/>
                    <a:gd name="connsiteY594" fmla="*/ 78608 h 556323"/>
                    <a:gd name="connsiteX595" fmla="*/ 3284716 w 3284716"/>
                    <a:gd name="connsiteY595" fmla="*/ 128335 h 556323"/>
                    <a:gd name="connsiteX596" fmla="*/ 3268455 w 3284716"/>
                    <a:gd name="connsiteY596" fmla="*/ 176932 h 556323"/>
                    <a:gd name="connsiteX597" fmla="*/ 3223939 w 3284716"/>
                    <a:gd name="connsiteY597" fmla="*/ 195517 h 556323"/>
                    <a:gd name="connsiteX598" fmla="*/ 3179423 w 3284716"/>
                    <a:gd name="connsiteY598" fmla="*/ 176995 h 556323"/>
                    <a:gd name="connsiteX599" fmla="*/ 3163035 w 3284716"/>
                    <a:gd name="connsiteY599" fmla="*/ 128838 h 556323"/>
                    <a:gd name="connsiteX600" fmla="*/ 3180176 w 3284716"/>
                    <a:gd name="connsiteY600" fmla="*/ 78734 h 556323"/>
                    <a:gd name="connsiteX601" fmla="*/ 3225320 w 3284716"/>
                    <a:gd name="connsiteY601" fmla="*/ 60651 h 556323"/>
                    <a:gd name="connsiteX602" fmla="*/ 2944448 w 3284716"/>
                    <a:gd name="connsiteY602" fmla="*/ 60651 h 556323"/>
                    <a:gd name="connsiteX603" fmla="*/ 2981241 w 3284716"/>
                    <a:gd name="connsiteY603" fmla="*/ 77478 h 556323"/>
                    <a:gd name="connsiteX604" fmla="*/ 2994049 w 3284716"/>
                    <a:gd name="connsiteY604" fmla="*/ 123438 h 556323"/>
                    <a:gd name="connsiteX605" fmla="*/ 2994049 w 3284716"/>
                    <a:gd name="connsiteY605" fmla="*/ 128587 h 556323"/>
                    <a:gd name="connsiteX606" fmla="*/ 2898865 w 3284716"/>
                    <a:gd name="connsiteY606" fmla="*/ 128587 h 556323"/>
                    <a:gd name="connsiteX607" fmla="*/ 2911108 w 3284716"/>
                    <a:gd name="connsiteY607" fmla="*/ 170026 h 556323"/>
                    <a:gd name="connsiteX608" fmla="*/ 2944699 w 3284716"/>
                    <a:gd name="connsiteY608" fmla="*/ 184969 h 556323"/>
                    <a:gd name="connsiteX609" fmla="*/ 2986892 w 3284716"/>
                    <a:gd name="connsiteY609" fmla="*/ 169021 h 556323"/>
                    <a:gd name="connsiteX610" fmla="*/ 2986892 w 3284716"/>
                    <a:gd name="connsiteY610" fmla="*/ 181327 h 556323"/>
                    <a:gd name="connsiteX611" fmla="*/ 2942313 w 3284716"/>
                    <a:gd name="connsiteY611" fmla="*/ 195517 h 556323"/>
                    <a:gd name="connsiteX612" fmla="*/ 2902129 w 3284716"/>
                    <a:gd name="connsiteY612" fmla="*/ 177686 h 556323"/>
                    <a:gd name="connsiteX613" fmla="*/ 2886809 w 3284716"/>
                    <a:gd name="connsiteY613" fmla="*/ 127331 h 556323"/>
                    <a:gd name="connsiteX614" fmla="*/ 2902820 w 3284716"/>
                    <a:gd name="connsiteY614" fmla="*/ 79927 h 556323"/>
                    <a:gd name="connsiteX615" fmla="*/ 2944448 w 3284716"/>
                    <a:gd name="connsiteY615" fmla="*/ 60651 h 556323"/>
                    <a:gd name="connsiteX616" fmla="*/ 2227454 w 3284716"/>
                    <a:gd name="connsiteY616" fmla="*/ 60651 h 556323"/>
                    <a:gd name="connsiteX617" fmla="*/ 2255959 w 3284716"/>
                    <a:gd name="connsiteY617" fmla="*/ 66679 h 556323"/>
                    <a:gd name="connsiteX618" fmla="*/ 2255959 w 3284716"/>
                    <a:gd name="connsiteY618" fmla="*/ 79738 h 556323"/>
                    <a:gd name="connsiteX619" fmla="*/ 2225696 w 3284716"/>
                    <a:gd name="connsiteY619" fmla="*/ 71199 h 556323"/>
                    <a:gd name="connsiteX620" fmla="*/ 2189029 w 3284716"/>
                    <a:gd name="connsiteY620" fmla="*/ 87461 h 556323"/>
                    <a:gd name="connsiteX621" fmla="*/ 2174964 w 3284716"/>
                    <a:gd name="connsiteY621" fmla="*/ 129591 h 556323"/>
                    <a:gd name="connsiteX622" fmla="*/ 2187836 w 3284716"/>
                    <a:gd name="connsiteY622" fmla="*/ 169775 h 556323"/>
                    <a:gd name="connsiteX623" fmla="*/ 2221803 w 3284716"/>
                    <a:gd name="connsiteY623" fmla="*/ 184969 h 556323"/>
                    <a:gd name="connsiteX624" fmla="*/ 2255457 w 3284716"/>
                    <a:gd name="connsiteY624" fmla="*/ 174672 h 556323"/>
                    <a:gd name="connsiteX625" fmla="*/ 2255457 w 3284716"/>
                    <a:gd name="connsiteY625" fmla="*/ 186727 h 556323"/>
                    <a:gd name="connsiteX626" fmla="*/ 2221301 w 3284716"/>
                    <a:gd name="connsiteY626" fmla="*/ 195517 h 556323"/>
                    <a:gd name="connsiteX627" fmla="*/ 2178983 w 3284716"/>
                    <a:gd name="connsiteY627" fmla="*/ 177497 h 556323"/>
                    <a:gd name="connsiteX628" fmla="*/ 2162909 w 3284716"/>
                    <a:gd name="connsiteY628" fmla="*/ 130345 h 556323"/>
                    <a:gd name="connsiteX629" fmla="*/ 2180992 w 3284716"/>
                    <a:gd name="connsiteY629" fmla="*/ 80178 h 556323"/>
                    <a:gd name="connsiteX630" fmla="*/ 2227454 w 3284716"/>
                    <a:gd name="connsiteY630" fmla="*/ 60651 h 556323"/>
                    <a:gd name="connsiteX631" fmla="*/ 1904717 w 3284716"/>
                    <a:gd name="connsiteY631" fmla="*/ 60651 h 556323"/>
                    <a:gd name="connsiteX632" fmla="*/ 1935420 w 3284716"/>
                    <a:gd name="connsiteY632" fmla="*/ 72957 h 556323"/>
                    <a:gd name="connsiteX633" fmla="*/ 1946282 w 3284716"/>
                    <a:gd name="connsiteY633" fmla="*/ 108746 h 556323"/>
                    <a:gd name="connsiteX634" fmla="*/ 1946282 w 3284716"/>
                    <a:gd name="connsiteY634" fmla="*/ 192378 h 556323"/>
                    <a:gd name="connsiteX635" fmla="*/ 1934729 w 3284716"/>
                    <a:gd name="connsiteY635" fmla="*/ 192378 h 556323"/>
                    <a:gd name="connsiteX636" fmla="*/ 1934729 w 3284716"/>
                    <a:gd name="connsiteY636" fmla="*/ 166635 h 556323"/>
                    <a:gd name="connsiteX637" fmla="*/ 1934227 w 3284716"/>
                    <a:gd name="connsiteY637" fmla="*/ 166635 h 556323"/>
                    <a:gd name="connsiteX638" fmla="*/ 1916332 w 3284716"/>
                    <a:gd name="connsiteY638" fmla="*/ 187669 h 556323"/>
                    <a:gd name="connsiteX639" fmla="*/ 1890276 w 3284716"/>
                    <a:gd name="connsiteY639" fmla="*/ 195517 h 556323"/>
                    <a:gd name="connsiteX640" fmla="*/ 1861268 w 3284716"/>
                    <a:gd name="connsiteY640" fmla="*/ 185220 h 556323"/>
                    <a:gd name="connsiteX641" fmla="*/ 1850595 w 3284716"/>
                    <a:gd name="connsiteY641" fmla="*/ 159227 h 556323"/>
                    <a:gd name="connsiteX642" fmla="*/ 1895173 w 3284716"/>
                    <a:gd name="connsiteY642" fmla="*/ 118541 h 556323"/>
                    <a:gd name="connsiteX643" fmla="*/ 1934729 w 3284716"/>
                    <a:gd name="connsiteY643" fmla="*/ 112639 h 556323"/>
                    <a:gd name="connsiteX644" fmla="*/ 1903587 w 3284716"/>
                    <a:gd name="connsiteY644" fmla="*/ 71199 h 556323"/>
                    <a:gd name="connsiteX645" fmla="*/ 1862273 w 3284716"/>
                    <a:gd name="connsiteY645" fmla="*/ 88277 h 556323"/>
                    <a:gd name="connsiteX646" fmla="*/ 1862273 w 3284716"/>
                    <a:gd name="connsiteY646" fmla="*/ 74339 h 556323"/>
                    <a:gd name="connsiteX647" fmla="*/ 1881674 w 3284716"/>
                    <a:gd name="connsiteY647" fmla="*/ 64670 h 556323"/>
                    <a:gd name="connsiteX648" fmla="*/ 1904717 w 3284716"/>
                    <a:gd name="connsiteY648" fmla="*/ 60651 h 556323"/>
                    <a:gd name="connsiteX649" fmla="*/ 1468073 w 3284716"/>
                    <a:gd name="connsiteY649" fmla="*/ 60651 h 556323"/>
                    <a:gd name="connsiteX650" fmla="*/ 1504866 w 3284716"/>
                    <a:gd name="connsiteY650" fmla="*/ 77478 h 556323"/>
                    <a:gd name="connsiteX651" fmla="*/ 1517674 w 3284716"/>
                    <a:gd name="connsiteY651" fmla="*/ 123438 h 556323"/>
                    <a:gd name="connsiteX652" fmla="*/ 1517674 w 3284716"/>
                    <a:gd name="connsiteY652" fmla="*/ 128587 h 556323"/>
                    <a:gd name="connsiteX653" fmla="*/ 1422489 w 3284716"/>
                    <a:gd name="connsiteY653" fmla="*/ 128587 h 556323"/>
                    <a:gd name="connsiteX654" fmla="*/ 1434733 w 3284716"/>
                    <a:gd name="connsiteY654" fmla="*/ 170026 h 556323"/>
                    <a:gd name="connsiteX655" fmla="*/ 1468324 w 3284716"/>
                    <a:gd name="connsiteY655" fmla="*/ 184969 h 556323"/>
                    <a:gd name="connsiteX656" fmla="*/ 1510517 w 3284716"/>
                    <a:gd name="connsiteY656" fmla="*/ 169021 h 556323"/>
                    <a:gd name="connsiteX657" fmla="*/ 1510517 w 3284716"/>
                    <a:gd name="connsiteY657" fmla="*/ 181327 h 556323"/>
                    <a:gd name="connsiteX658" fmla="*/ 1465938 w 3284716"/>
                    <a:gd name="connsiteY658" fmla="*/ 195517 h 556323"/>
                    <a:gd name="connsiteX659" fmla="*/ 1425754 w 3284716"/>
                    <a:gd name="connsiteY659" fmla="*/ 177686 h 556323"/>
                    <a:gd name="connsiteX660" fmla="*/ 1410434 w 3284716"/>
                    <a:gd name="connsiteY660" fmla="*/ 127331 h 556323"/>
                    <a:gd name="connsiteX661" fmla="*/ 1426445 w 3284716"/>
                    <a:gd name="connsiteY661" fmla="*/ 79927 h 556323"/>
                    <a:gd name="connsiteX662" fmla="*/ 1468073 w 3284716"/>
                    <a:gd name="connsiteY662" fmla="*/ 60651 h 556323"/>
                    <a:gd name="connsiteX663" fmla="*/ 1115648 w 3284716"/>
                    <a:gd name="connsiteY663" fmla="*/ 60651 h 556323"/>
                    <a:gd name="connsiteX664" fmla="*/ 1152441 w 3284716"/>
                    <a:gd name="connsiteY664" fmla="*/ 77478 h 556323"/>
                    <a:gd name="connsiteX665" fmla="*/ 1165249 w 3284716"/>
                    <a:gd name="connsiteY665" fmla="*/ 123438 h 556323"/>
                    <a:gd name="connsiteX666" fmla="*/ 1165249 w 3284716"/>
                    <a:gd name="connsiteY666" fmla="*/ 128587 h 556323"/>
                    <a:gd name="connsiteX667" fmla="*/ 1070064 w 3284716"/>
                    <a:gd name="connsiteY667" fmla="*/ 128587 h 556323"/>
                    <a:gd name="connsiteX668" fmla="*/ 1082308 w 3284716"/>
                    <a:gd name="connsiteY668" fmla="*/ 170026 h 556323"/>
                    <a:gd name="connsiteX669" fmla="*/ 1115899 w 3284716"/>
                    <a:gd name="connsiteY669" fmla="*/ 184969 h 556323"/>
                    <a:gd name="connsiteX670" fmla="*/ 1158092 w 3284716"/>
                    <a:gd name="connsiteY670" fmla="*/ 169021 h 556323"/>
                    <a:gd name="connsiteX671" fmla="*/ 1158092 w 3284716"/>
                    <a:gd name="connsiteY671" fmla="*/ 181327 h 556323"/>
                    <a:gd name="connsiteX672" fmla="*/ 1113513 w 3284716"/>
                    <a:gd name="connsiteY672" fmla="*/ 195517 h 556323"/>
                    <a:gd name="connsiteX673" fmla="*/ 1073329 w 3284716"/>
                    <a:gd name="connsiteY673" fmla="*/ 177686 h 556323"/>
                    <a:gd name="connsiteX674" fmla="*/ 1058009 w 3284716"/>
                    <a:gd name="connsiteY674" fmla="*/ 127331 h 556323"/>
                    <a:gd name="connsiteX675" fmla="*/ 1074020 w 3284716"/>
                    <a:gd name="connsiteY675" fmla="*/ 79927 h 556323"/>
                    <a:gd name="connsiteX676" fmla="*/ 1115648 w 3284716"/>
                    <a:gd name="connsiteY676" fmla="*/ 60651 h 556323"/>
                    <a:gd name="connsiteX677" fmla="*/ 577370 w 3284716"/>
                    <a:gd name="connsiteY677" fmla="*/ 60651 h 556323"/>
                    <a:gd name="connsiteX678" fmla="*/ 620818 w 3284716"/>
                    <a:gd name="connsiteY678" fmla="*/ 78608 h 556323"/>
                    <a:gd name="connsiteX679" fmla="*/ 636766 w 3284716"/>
                    <a:gd name="connsiteY679" fmla="*/ 128335 h 556323"/>
                    <a:gd name="connsiteX680" fmla="*/ 620504 w 3284716"/>
                    <a:gd name="connsiteY680" fmla="*/ 176932 h 556323"/>
                    <a:gd name="connsiteX681" fmla="*/ 575989 w 3284716"/>
                    <a:gd name="connsiteY681" fmla="*/ 195517 h 556323"/>
                    <a:gd name="connsiteX682" fmla="*/ 531473 w 3284716"/>
                    <a:gd name="connsiteY682" fmla="*/ 176995 h 556323"/>
                    <a:gd name="connsiteX683" fmla="*/ 515085 w 3284716"/>
                    <a:gd name="connsiteY683" fmla="*/ 128838 h 556323"/>
                    <a:gd name="connsiteX684" fmla="*/ 532226 w 3284716"/>
                    <a:gd name="connsiteY684" fmla="*/ 78734 h 556323"/>
                    <a:gd name="connsiteX685" fmla="*/ 577370 w 3284716"/>
                    <a:gd name="connsiteY685" fmla="*/ 60651 h 556323"/>
                    <a:gd name="connsiteX686" fmla="*/ 3113080 w 3284716"/>
                    <a:gd name="connsiteY686" fmla="*/ 26495 h 556323"/>
                    <a:gd name="connsiteX687" fmla="*/ 3113080 w 3284716"/>
                    <a:gd name="connsiteY687" fmla="*/ 63791 h 556323"/>
                    <a:gd name="connsiteX688" fmla="*/ 3146985 w 3284716"/>
                    <a:gd name="connsiteY688" fmla="*/ 63791 h 556323"/>
                    <a:gd name="connsiteX689" fmla="*/ 3146985 w 3284716"/>
                    <a:gd name="connsiteY689" fmla="*/ 74339 h 556323"/>
                    <a:gd name="connsiteX690" fmla="*/ 3113080 w 3284716"/>
                    <a:gd name="connsiteY690" fmla="*/ 74339 h 556323"/>
                    <a:gd name="connsiteX691" fmla="*/ 3113080 w 3284716"/>
                    <a:gd name="connsiteY691" fmla="*/ 159227 h 556323"/>
                    <a:gd name="connsiteX692" fmla="*/ 3117287 w 3284716"/>
                    <a:gd name="connsiteY692" fmla="*/ 178502 h 556323"/>
                    <a:gd name="connsiteX693" fmla="*/ 3131540 w 3284716"/>
                    <a:gd name="connsiteY693" fmla="*/ 184467 h 556323"/>
                    <a:gd name="connsiteX694" fmla="*/ 3146985 w 3284716"/>
                    <a:gd name="connsiteY694" fmla="*/ 179821 h 556323"/>
                    <a:gd name="connsiteX695" fmla="*/ 3146985 w 3284716"/>
                    <a:gd name="connsiteY695" fmla="*/ 190620 h 556323"/>
                    <a:gd name="connsiteX696" fmla="*/ 3130033 w 3284716"/>
                    <a:gd name="connsiteY696" fmla="*/ 194889 h 556323"/>
                    <a:gd name="connsiteX697" fmla="*/ 3101528 w 3284716"/>
                    <a:gd name="connsiteY697" fmla="*/ 160733 h 556323"/>
                    <a:gd name="connsiteX698" fmla="*/ 3101528 w 3284716"/>
                    <a:gd name="connsiteY698" fmla="*/ 74339 h 556323"/>
                    <a:gd name="connsiteX699" fmla="*/ 3078422 w 3284716"/>
                    <a:gd name="connsiteY699" fmla="*/ 74339 h 556323"/>
                    <a:gd name="connsiteX700" fmla="*/ 3078422 w 3284716"/>
                    <a:gd name="connsiteY700" fmla="*/ 63791 h 556323"/>
                    <a:gd name="connsiteX701" fmla="*/ 3101528 w 3284716"/>
                    <a:gd name="connsiteY701" fmla="*/ 63791 h 556323"/>
                    <a:gd name="connsiteX702" fmla="*/ 3101528 w 3284716"/>
                    <a:gd name="connsiteY702" fmla="*/ 30388 h 556323"/>
                    <a:gd name="connsiteX703" fmla="*/ 3107304 w 3284716"/>
                    <a:gd name="connsiteY703" fmla="*/ 28379 h 556323"/>
                    <a:gd name="connsiteX704" fmla="*/ 3113080 w 3284716"/>
                    <a:gd name="connsiteY704" fmla="*/ 26495 h 556323"/>
                    <a:gd name="connsiteX705" fmla="*/ 1712905 w 3284716"/>
                    <a:gd name="connsiteY705" fmla="*/ 26495 h 556323"/>
                    <a:gd name="connsiteX706" fmla="*/ 1712905 w 3284716"/>
                    <a:gd name="connsiteY706" fmla="*/ 63791 h 556323"/>
                    <a:gd name="connsiteX707" fmla="*/ 1746810 w 3284716"/>
                    <a:gd name="connsiteY707" fmla="*/ 63791 h 556323"/>
                    <a:gd name="connsiteX708" fmla="*/ 1746810 w 3284716"/>
                    <a:gd name="connsiteY708" fmla="*/ 74339 h 556323"/>
                    <a:gd name="connsiteX709" fmla="*/ 1712905 w 3284716"/>
                    <a:gd name="connsiteY709" fmla="*/ 74339 h 556323"/>
                    <a:gd name="connsiteX710" fmla="*/ 1712905 w 3284716"/>
                    <a:gd name="connsiteY710" fmla="*/ 159227 h 556323"/>
                    <a:gd name="connsiteX711" fmla="*/ 1717112 w 3284716"/>
                    <a:gd name="connsiteY711" fmla="*/ 178502 h 556323"/>
                    <a:gd name="connsiteX712" fmla="*/ 1731365 w 3284716"/>
                    <a:gd name="connsiteY712" fmla="*/ 184467 h 556323"/>
                    <a:gd name="connsiteX713" fmla="*/ 1746810 w 3284716"/>
                    <a:gd name="connsiteY713" fmla="*/ 179821 h 556323"/>
                    <a:gd name="connsiteX714" fmla="*/ 1746810 w 3284716"/>
                    <a:gd name="connsiteY714" fmla="*/ 190620 h 556323"/>
                    <a:gd name="connsiteX715" fmla="*/ 1729858 w 3284716"/>
                    <a:gd name="connsiteY715" fmla="*/ 194889 h 556323"/>
                    <a:gd name="connsiteX716" fmla="*/ 1701352 w 3284716"/>
                    <a:gd name="connsiteY716" fmla="*/ 160733 h 556323"/>
                    <a:gd name="connsiteX717" fmla="*/ 1701352 w 3284716"/>
                    <a:gd name="connsiteY717" fmla="*/ 74339 h 556323"/>
                    <a:gd name="connsiteX718" fmla="*/ 1678247 w 3284716"/>
                    <a:gd name="connsiteY718" fmla="*/ 74339 h 556323"/>
                    <a:gd name="connsiteX719" fmla="*/ 1678247 w 3284716"/>
                    <a:gd name="connsiteY719" fmla="*/ 63791 h 556323"/>
                    <a:gd name="connsiteX720" fmla="*/ 1701352 w 3284716"/>
                    <a:gd name="connsiteY720" fmla="*/ 63791 h 556323"/>
                    <a:gd name="connsiteX721" fmla="*/ 1701352 w 3284716"/>
                    <a:gd name="connsiteY721" fmla="*/ 30388 h 556323"/>
                    <a:gd name="connsiteX722" fmla="*/ 1707129 w 3284716"/>
                    <a:gd name="connsiteY722" fmla="*/ 28379 h 556323"/>
                    <a:gd name="connsiteX723" fmla="*/ 1712905 w 3284716"/>
                    <a:gd name="connsiteY723" fmla="*/ 26495 h 556323"/>
                    <a:gd name="connsiteX724" fmla="*/ 1570030 w 3284716"/>
                    <a:gd name="connsiteY724" fmla="*/ 26495 h 556323"/>
                    <a:gd name="connsiteX725" fmla="*/ 1570030 w 3284716"/>
                    <a:gd name="connsiteY725" fmla="*/ 63791 h 556323"/>
                    <a:gd name="connsiteX726" fmla="*/ 1603935 w 3284716"/>
                    <a:gd name="connsiteY726" fmla="*/ 63791 h 556323"/>
                    <a:gd name="connsiteX727" fmla="*/ 1603935 w 3284716"/>
                    <a:gd name="connsiteY727" fmla="*/ 74339 h 556323"/>
                    <a:gd name="connsiteX728" fmla="*/ 1570030 w 3284716"/>
                    <a:gd name="connsiteY728" fmla="*/ 74339 h 556323"/>
                    <a:gd name="connsiteX729" fmla="*/ 1570030 w 3284716"/>
                    <a:gd name="connsiteY729" fmla="*/ 159227 h 556323"/>
                    <a:gd name="connsiteX730" fmla="*/ 1574237 w 3284716"/>
                    <a:gd name="connsiteY730" fmla="*/ 178502 h 556323"/>
                    <a:gd name="connsiteX731" fmla="*/ 1588490 w 3284716"/>
                    <a:gd name="connsiteY731" fmla="*/ 184467 h 556323"/>
                    <a:gd name="connsiteX732" fmla="*/ 1603935 w 3284716"/>
                    <a:gd name="connsiteY732" fmla="*/ 179821 h 556323"/>
                    <a:gd name="connsiteX733" fmla="*/ 1603935 w 3284716"/>
                    <a:gd name="connsiteY733" fmla="*/ 190620 h 556323"/>
                    <a:gd name="connsiteX734" fmla="*/ 1586983 w 3284716"/>
                    <a:gd name="connsiteY734" fmla="*/ 194889 h 556323"/>
                    <a:gd name="connsiteX735" fmla="*/ 1558477 w 3284716"/>
                    <a:gd name="connsiteY735" fmla="*/ 160733 h 556323"/>
                    <a:gd name="connsiteX736" fmla="*/ 1558477 w 3284716"/>
                    <a:gd name="connsiteY736" fmla="*/ 74339 h 556323"/>
                    <a:gd name="connsiteX737" fmla="*/ 1535372 w 3284716"/>
                    <a:gd name="connsiteY737" fmla="*/ 74339 h 556323"/>
                    <a:gd name="connsiteX738" fmla="*/ 1535372 w 3284716"/>
                    <a:gd name="connsiteY738" fmla="*/ 63791 h 556323"/>
                    <a:gd name="connsiteX739" fmla="*/ 1558477 w 3284716"/>
                    <a:gd name="connsiteY739" fmla="*/ 63791 h 556323"/>
                    <a:gd name="connsiteX740" fmla="*/ 1558477 w 3284716"/>
                    <a:gd name="connsiteY740" fmla="*/ 30388 h 556323"/>
                    <a:gd name="connsiteX741" fmla="*/ 1564254 w 3284716"/>
                    <a:gd name="connsiteY741" fmla="*/ 28379 h 556323"/>
                    <a:gd name="connsiteX742" fmla="*/ 1570030 w 3284716"/>
                    <a:gd name="connsiteY742" fmla="*/ 26495 h 556323"/>
                    <a:gd name="connsiteX743" fmla="*/ 1008055 w 3284716"/>
                    <a:gd name="connsiteY743" fmla="*/ 26495 h 556323"/>
                    <a:gd name="connsiteX744" fmla="*/ 1008055 w 3284716"/>
                    <a:gd name="connsiteY744" fmla="*/ 63791 h 556323"/>
                    <a:gd name="connsiteX745" fmla="*/ 1041960 w 3284716"/>
                    <a:gd name="connsiteY745" fmla="*/ 63791 h 556323"/>
                    <a:gd name="connsiteX746" fmla="*/ 1041960 w 3284716"/>
                    <a:gd name="connsiteY746" fmla="*/ 74339 h 556323"/>
                    <a:gd name="connsiteX747" fmla="*/ 1008055 w 3284716"/>
                    <a:gd name="connsiteY747" fmla="*/ 74339 h 556323"/>
                    <a:gd name="connsiteX748" fmla="*/ 1008055 w 3284716"/>
                    <a:gd name="connsiteY748" fmla="*/ 159227 h 556323"/>
                    <a:gd name="connsiteX749" fmla="*/ 1012262 w 3284716"/>
                    <a:gd name="connsiteY749" fmla="*/ 178502 h 556323"/>
                    <a:gd name="connsiteX750" fmla="*/ 1026515 w 3284716"/>
                    <a:gd name="connsiteY750" fmla="*/ 184467 h 556323"/>
                    <a:gd name="connsiteX751" fmla="*/ 1041960 w 3284716"/>
                    <a:gd name="connsiteY751" fmla="*/ 179821 h 556323"/>
                    <a:gd name="connsiteX752" fmla="*/ 1041960 w 3284716"/>
                    <a:gd name="connsiteY752" fmla="*/ 190620 h 556323"/>
                    <a:gd name="connsiteX753" fmla="*/ 1025008 w 3284716"/>
                    <a:gd name="connsiteY753" fmla="*/ 194889 h 556323"/>
                    <a:gd name="connsiteX754" fmla="*/ 996502 w 3284716"/>
                    <a:gd name="connsiteY754" fmla="*/ 160733 h 556323"/>
                    <a:gd name="connsiteX755" fmla="*/ 996502 w 3284716"/>
                    <a:gd name="connsiteY755" fmla="*/ 74339 h 556323"/>
                    <a:gd name="connsiteX756" fmla="*/ 973397 w 3284716"/>
                    <a:gd name="connsiteY756" fmla="*/ 74339 h 556323"/>
                    <a:gd name="connsiteX757" fmla="*/ 973397 w 3284716"/>
                    <a:gd name="connsiteY757" fmla="*/ 63791 h 556323"/>
                    <a:gd name="connsiteX758" fmla="*/ 996502 w 3284716"/>
                    <a:gd name="connsiteY758" fmla="*/ 63791 h 556323"/>
                    <a:gd name="connsiteX759" fmla="*/ 996502 w 3284716"/>
                    <a:gd name="connsiteY759" fmla="*/ 30388 h 556323"/>
                    <a:gd name="connsiteX760" fmla="*/ 1002279 w 3284716"/>
                    <a:gd name="connsiteY760" fmla="*/ 28379 h 556323"/>
                    <a:gd name="connsiteX761" fmla="*/ 1008055 w 3284716"/>
                    <a:gd name="connsiteY761" fmla="*/ 26495 h 556323"/>
                    <a:gd name="connsiteX762" fmla="*/ 180942 w 3284716"/>
                    <a:gd name="connsiteY762" fmla="*/ 19840 h 556323"/>
                    <a:gd name="connsiteX763" fmla="*/ 148670 w 3284716"/>
                    <a:gd name="connsiteY763" fmla="*/ 41062 h 556323"/>
                    <a:gd name="connsiteX764" fmla="*/ 137117 w 3284716"/>
                    <a:gd name="connsiteY764" fmla="*/ 104728 h 556323"/>
                    <a:gd name="connsiteX765" fmla="*/ 148167 w 3284716"/>
                    <a:gd name="connsiteY765" fmla="*/ 164187 h 556323"/>
                    <a:gd name="connsiteX766" fmla="*/ 179561 w 3284716"/>
                    <a:gd name="connsiteY766" fmla="*/ 184969 h 556323"/>
                    <a:gd name="connsiteX767" fmla="*/ 210640 w 3284716"/>
                    <a:gd name="connsiteY767" fmla="*/ 163810 h 556323"/>
                    <a:gd name="connsiteX768" fmla="*/ 221753 w 3284716"/>
                    <a:gd name="connsiteY768" fmla="*/ 103346 h 556323"/>
                    <a:gd name="connsiteX769" fmla="*/ 180942 w 3284716"/>
                    <a:gd name="connsiteY769" fmla="*/ 19840 h 556323"/>
                    <a:gd name="connsiteX770" fmla="*/ 299601 w 3284716"/>
                    <a:gd name="connsiteY770" fmla="*/ 19086 h 556323"/>
                    <a:gd name="connsiteX771" fmla="*/ 276809 w 3284716"/>
                    <a:gd name="connsiteY771" fmla="*/ 28693 h 556323"/>
                    <a:gd name="connsiteX772" fmla="*/ 268459 w 3284716"/>
                    <a:gd name="connsiteY772" fmla="*/ 55503 h 556323"/>
                    <a:gd name="connsiteX773" fmla="*/ 276558 w 3284716"/>
                    <a:gd name="connsiteY773" fmla="*/ 81245 h 556323"/>
                    <a:gd name="connsiteX774" fmla="*/ 298847 w 3284716"/>
                    <a:gd name="connsiteY774" fmla="*/ 90789 h 556323"/>
                    <a:gd name="connsiteX775" fmla="*/ 321262 w 3284716"/>
                    <a:gd name="connsiteY775" fmla="*/ 80994 h 556323"/>
                    <a:gd name="connsiteX776" fmla="*/ 329362 w 3284716"/>
                    <a:gd name="connsiteY776" fmla="*/ 54749 h 556323"/>
                    <a:gd name="connsiteX777" fmla="*/ 321325 w 3284716"/>
                    <a:gd name="connsiteY777" fmla="*/ 28065 h 556323"/>
                    <a:gd name="connsiteX778" fmla="*/ 299601 w 3284716"/>
                    <a:gd name="connsiteY778" fmla="*/ 19086 h 556323"/>
                    <a:gd name="connsiteX779" fmla="*/ 394786 w 3284716"/>
                    <a:gd name="connsiteY779" fmla="*/ 12556 h 556323"/>
                    <a:gd name="connsiteX780" fmla="*/ 406841 w 3284716"/>
                    <a:gd name="connsiteY780" fmla="*/ 12556 h 556323"/>
                    <a:gd name="connsiteX781" fmla="*/ 298847 w 3284716"/>
                    <a:gd name="connsiteY781" fmla="*/ 196522 h 556323"/>
                    <a:gd name="connsiteX782" fmla="*/ 286416 w 3284716"/>
                    <a:gd name="connsiteY782" fmla="*/ 196522 h 556323"/>
                    <a:gd name="connsiteX783" fmla="*/ 2539803 w 3284716"/>
                    <a:gd name="connsiteY783" fmla="*/ 12306 h 556323"/>
                    <a:gd name="connsiteX784" fmla="*/ 2546646 w 3284716"/>
                    <a:gd name="connsiteY784" fmla="*/ 14818 h 556323"/>
                    <a:gd name="connsiteX785" fmla="*/ 2549597 w 3284716"/>
                    <a:gd name="connsiteY785" fmla="*/ 21599 h 556323"/>
                    <a:gd name="connsiteX786" fmla="*/ 2546709 w 3284716"/>
                    <a:gd name="connsiteY786" fmla="*/ 28505 h 556323"/>
                    <a:gd name="connsiteX787" fmla="*/ 2539803 w 3284716"/>
                    <a:gd name="connsiteY787" fmla="*/ 31393 h 556323"/>
                    <a:gd name="connsiteX788" fmla="*/ 2533147 w 3284716"/>
                    <a:gd name="connsiteY788" fmla="*/ 28631 h 556323"/>
                    <a:gd name="connsiteX789" fmla="*/ 2530259 w 3284716"/>
                    <a:gd name="connsiteY789" fmla="*/ 21599 h 556323"/>
                    <a:gd name="connsiteX790" fmla="*/ 2533210 w 3284716"/>
                    <a:gd name="connsiteY790" fmla="*/ 14881 h 556323"/>
                    <a:gd name="connsiteX791" fmla="*/ 2539803 w 3284716"/>
                    <a:gd name="connsiteY791" fmla="*/ 12306 h 556323"/>
                    <a:gd name="connsiteX792" fmla="*/ 2120703 w 3284716"/>
                    <a:gd name="connsiteY792" fmla="*/ 12306 h 556323"/>
                    <a:gd name="connsiteX793" fmla="*/ 2127546 w 3284716"/>
                    <a:gd name="connsiteY793" fmla="*/ 14818 h 556323"/>
                    <a:gd name="connsiteX794" fmla="*/ 2130497 w 3284716"/>
                    <a:gd name="connsiteY794" fmla="*/ 21599 h 556323"/>
                    <a:gd name="connsiteX795" fmla="*/ 2127609 w 3284716"/>
                    <a:gd name="connsiteY795" fmla="*/ 28505 h 556323"/>
                    <a:gd name="connsiteX796" fmla="*/ 2120703 w 3284716"/>
                    <a:gd name="connsiteY796" fmla="*/ 31393 h 556323"/>
                    <a:gd name="connsiteX797" fmla="*/ 2114047 w 3284716"/>
                    <a:gd name="connsiteY797" fmla="*/ 28631 h 556323"/>
                    <a:gd name="connsiteX798" fmla="*/ 2111159 w 3284716"/>
                    <a:gd name="connsiteY798" fmla="*/ 21599 h 556323"/>
                    <a:gd name="connsiteX799" fmla="*/ 2114110 w 3284716"/>
                    <a:gd name="connsiteY799" fmla="*/ 14881 h 556323"/>
                    <a:gd name="connsiteX800" fmla="*/ 2120703 w 3284716"/>
                    <a:gd name="connsiteY800" fmla="*/ 12306 h 556323"/>
                    <a:gd name="connsiteX801" fmla="*/ 803113 w 3284716"/>
                    <a:gd name="connsiteY801" fmla="*/ 12306 h 556323"/>
                    <a:gd name="connsiteX802" fmla="*/ 815545 w 3284716"/>
                    <a:gd name="connsiteY802" fmla="*/ 12306 h 556323"/>
                    <a:gd name="connsiteX803" fmla="*/ 815545 w 3284716"/>
                    <a:gd name="connsiteY803" fmla="*/ 192379 h 556323"/>
                    <a:gd name="connsiteX804" fmla="*/ 803113 w 3284716"/>
                    <a:gd name="connsiteY804" fmla="*/ 192379 h 556323"/>
                    <a:gd name="connsiteX805" fmla="*/ 10799 w 3284716"/>
                    <a:gd name="connsiteY805" fmla="*/ 12305 h 556323"/>
                    <a:gd name="connsiteX806" fmla="*/ 85766 w 3284716"/>
                    <a:gd name="connsiteY806" fmla="*/ 12305 h 556323"/>
                    <a:gd name="connsiteX807" fmla="*/ 85766 w 3284716"/>
                    <a:gd name="connsiteY807" fmla="*/ 22853 h 556323"/>
                    <a:gd name="connsiteX808" fmla="*/ 21096 w 3284716"/>
                    <a:gd name="connsiteY808" fmla="*/ 22853 h 556323"/>
                    <a:gd name="connsiteX809" fmla="*/ 16952 w 3284716"/>
                    <a:gd name="connsiteY809" fmla="*/ 86896 h 556323"/>
                    <a:gd name="connsiteX810" fmla="*/ 35537 w 3284716"/>
                    <a:gd name="connsiteY810" fmla="*/ 85891 h 556323"/>
                    <a:gd name="connsiteX811" fmla="*/ 78734 w 3284716"/>
                    <a:gd name="connsiteY811" fmla="*/ 99893 h 556323"/>
                    <a:gd name="connsiteX812" fmla="*/ 93426 w 3284716"/>
                    <a:gd name="connsiteY812" fmla="*/ 138884 h 556323"/>
                    <a:gd name="connsiteX813" fmla="*/ 77855 w 3284716"/>
                    <a:gd name="connsiteY813" fmla="*/ 179821 h 556323"/>
                    <a:gd name="connsiteX814" fmla="*/ 33402 w 3284716"/>
                    <a:gd name="connsiteY814" fmla="*/ 195517 h 556323"/>
                    <a:gd name="connsiteX815" fmla="*/ 0 w 3284716"/>
                    <a:gd name="connsiteY815" fmla="*/ 188736 h 556323"/>
                    <a:gd name="connsiteX816" fmla="*/ 0 w 3284716"/>
                    <a:gd name="connsiteY816" fmla="*/ 175426 h 556323"/>
                    <a:gd name="connsiteX817" fmla="*/ 34407 w 3284716"/>
                    <a:gd name="connsiteY817" fmla="*/ 184969 h 556323"/>
                    <a:gd name="connsiteX818" fmla="*/ 68940 w 3284716"/>
                    <a:gd name="connsiteY818" fmla="*/ 172789 h 556323"/>
                    <a:gd name="connsiteX819" fmla="*/ 81371 w 3284716"/>
                    <a:gd name="connsiteY819" fmla="*/ 140390 h 556323"/>
                    <a:gd name="connsiteX820" fmla="*/ 31267 w 3284716"/>
                    <a:gd name="connsiteY820" fmla="*/ 96440 h 556323"/>
                    <a:gd name="connsiteX821" fmla="*/ 5399 w 3284716"/>
                    <a:gd name="connsiteY821" fmla="*/ 97947 h 556323"/>
                    <a:gd name="connsiteX822" fmla="*/ 181947 w 3284716"/>
                    <a:gd name="connsiteY822" fmla="*/ 9291 h 556323"/>
                    <a:gd name="connsiteX823" fmla="*/ 233934 w 3284716"/>
                    <a:gd name="connsiteY823" fmla="*/ 101588 h 556323"/>
                    <a:gd name="connsiteX824" fmla="*/ 219242 w 3284716"/>
                    <a:gd name="connsiteY824" fmla="*/ 171533 h 556323"/>
                    <a:gd name="connsiteX825" fmla="*/ 178054 w 3284716"/>
                    <a:gd name="connsiteY825" fmla="*/ 195517 h 556323"/>
                    <a:gd name="connsiteX826" fmla="*/ 139126 w 3284716"/>
                    <a:gd name="connsiteY826" fmla="*/ 172663 h 556323"/>
                    <a:gd name="connsiteX827" fmla="*/ 125062 w 3284716"/>
                    <a:gd name="connsiteY827" fmla="*/ 106234 h 556323"/>
                    <a:gd name="connsiteX828" fmla="*/ 139817 w 3284716"/>
                    <a:gd name="connsiteY828" fmla="*/ 33716 h 556323"/>
                    <a:gd name="connsiteX829" fmla="*/ 181947 w 3284716"/>
                    <a:gd name="connsiteY829" fmla="*/ 9291 h 556323"/>
                    <a:gd name="connsiteX830" fmla="*/ 299852 w 3284716"/>
                    <a:gd name="connsiteY830" fmla="*/ 8789 h 556323"/>
                    <a:gd name="connsiteX831" fmla="*/ 329739 w 3284716"/>
                    <a:gd name="connsiteY831" fmla="*/ 20970 h 556323"/>
                    <a:gd name="connsiteX832" fmla="*/ 340789 w 3284716"/>
                    <a:gd name="connsiteY832" fmla="*/ 55000 h 556323"/>
                    <a:gd name="connsiteX833" fmla="*/ 329299 w 3284716"/>
                    <a:gd name="connsiteY833" fmla="*/ 87712 h 556323"/>
                    <a:gd name="connsiteX834" fmla="*/ 298596 w 3284716"/>
                    <a:gd name="connsiteY834" fmla="*/ 100835 h 556323"/>
                    <a:gd name="connsiteX835" fmla="*/ 268082 w 3284716"/>
                    <a:gd name="connsiteY835" fmla="*/ 88152 h 556323"/>
                    <a:gd name="connsiteX836" fmla="*/ 256906 w 3284716"/>
                    <a:gd name="connsiteY836" fmla="*/ 55251 h 556323"/>
                    <a:gd name="connsiteX837" fmla="*/ 268773 w 3284716"/>
                    <a:gd name="connsiteY837" fmla="*/ 21033 h 556323"/>
                    <a:gd name="connsiteX838" fmla="*/ 299852 w 3284716"/>
                    <a:gd name="connsiteY838" fmla="*/ 8789 h 556323"/>
                    <a:gd name="connsiteX839" fmla="*/ 2753228 w 3284716"/>
                    <a:gd name="connsiteY839" fmla="*/ 2009 h 556323"/>
                    <a:gd name="connsiteX840" fmla="*/ 2764781 w 3284716"/>
                    <a:gd name="connsiteY840" fmla="*/ 2009 h 556323"/>
                    <a:gd name="connsiteX841" fmla="*/ 2764781 w 3284716"/>
                    <a:gd name="connsiteY841" fmla="*/ 90288 h 556323"/>
                    <a:gd name="connsiteX842" fmla="*/ 2765283 w 3284716"/>
                    <a:gd name="connsiteY842" fmla="*/ 90288 h 556323"/>
                    <a:gd name="connsiteX843" fmla="*/ 2785061 w 3284716"/>
                    <a:gd name="connsiteY843" fmla="*/ 68375 h 556323"/>
                    <a:gd name="connsiteX844" fmla="*/ 2813378 w 3284716"/>
                    <a:gd name="connsiteY844" fmla="*/ 60652 h 556323"/>
                    <a:gd name="connsiteX845" fmla="*/ 2851615 w 3284716"/>
                    <a:gd name="connsiteY845" fmla="*/ 77542 h 556323"/>
                    <a:gd name="connsiteX846" fmla="*/ 2865365 w 3284716"/>
                    <a:gd name="connsiteY846" fmla="*/ 123439 h 556323"/>
                    <a:gd name="connsiteX847" fmla="*/ 2849417 w 3284716"/>
                    <a:gd name="connsiteY847" fmla="*/ 175615 h 556323"/>
                    <a:gd name="connsiteX848" fmla="*/ 2807978 w 3284716"/>
                    <a:gd name="connsiteY848" fmla="*/ 195518 h 556323"/>
                    <a:gd name="connsiteX849" fmla="*/ 2765283 w 3284716"/>
                    <a:gd name="connsiteY849" fmla="*/ 169525 h 556323"/>
                    <a:gd name="connsiteX850" fmla="*/ 2764781 w 3284716"/>
                    <a:gd name="connsiteY850" fmla="*/ 169525 h 556323"/>
                    <a:gd name="connsiteX851" fmla="*/ 2764781 w 3284716"/>
                    <a:gd name="connsiteY851" fmla="*/ 192379 h 556323"/>
                    <a:gd name="connsiteX852" fmla="*/ 2753228 w 3284716"/>
                    <a:gd name="connsiteY852" fmla="*/ 192379 h 556323"/>
                    <a:gd name="connsiteX853" fmla="*/ 2648453 w 3284716"/>
                    <a:gd name="connsiteY853" fmla="*/ 2008 h 556323"/>
                    <a:gd name="connsiteX854" fmla="*/ 2660006 w 3284716"/>
                    <a:gd name="connsiteY854" fmla="*/ 2008 h 556323"/>
                    <a:gd name="connsiteX855" fmla="*/ 2660006 w 3284716"/>
                    <a:gd name="connsiteY855" fmla="*/ 192378 h 556323"/>
                    <a:gd name="connsiteX856" fmla="*/ 2648453 w 3284716"/>
                    <a:gd name="connsiteY856" fmla="*/ 192378 h 556323"/>
                    <a:gd name="connsiteX857" fmla="*/ 2591303 w 3284716"/>
                    <a:gd name="connsiteY857" fmla="*/ 2008 h 556323"/>
                    <a:gd name="connsiteX858" fmla="*/ 2602856 w 3284716"/>
                    <a:gd name="connsiteY858" fmla="*/ 2008 h 556323"/>
                    <a:gd name="connsiteX859" fmla="*/ 2602856 w 3284716"/>
                    <a:gd name="connsiteY859" fmla="*/ 192378 h 556323"/>
                    <a:gd name="connsiteX860" fmla="*/ 2591303 w 3284716"/>
                    <a:gd name="connsiteY860" fmla="*/ 192378 h 556323"/>
                    <a:gd name="connsiteX861" fmla="*/ 2024398 w 3284716"/>
                    <a:gd name="connsiteY861" fmla="*/ 0 h 556323"/>
                    <a:gd name="connsiteX862" fmla="*/ 2037960 w 3284716"/>
                    <a:gd name="connsiteY862" fmla="*/ 2386 h 556323"/>
                    <a:gd name="connsiteX863" fmla="*/ 2037960 w 3284716"/>
                    <a:gd name="connsiteY863" fmla="*/ 14190 h 556323"/>
                    <a:gd name="connsiteX864" fmla="*/ 2023896 w 3284716"/>
                    <a:gd name="connsiteY864" fmla="*/ 10548 h 556323"/>
                    <a:gd name="connsiteX865" fmla="*/ 2000162 w 3284716"/>
                    <a:gd name="connsiteY865" fmla="*/ 42444 h 556323"/>
                    <a:gd name="connsiteX866" fmla="*/ 2000162 w 3284716"/>
                    <a:gd name="connsiteY866" fmla="*/ 63792 h 556323"/>
                    <a:gd name="connsiteX867" fmla="*/ 2032179 w 3284716"/>
                    <a:gd name="connsiteY867" fmla="*/ 63792 h 556323"/>
                    <a:gd name="connsiteX868" fmla="*/ 2034193 w 3284716"/>
                    <a:gd name="connsiteY868" fmla="*/ 63792 h 556323"/>
                    <a:gd name="connsiteX869" fmla="*/ 2055284 w 3284716"/>
                    <a:gd name="connsiteY869" fmla="*/ 63792 h 556323"/>
                    <a:gd name="connsiteX870" fmla="*/ 2055284 w 3284716"/>
                    <a:gd name="connsiteY870" fmla="*/ 41439 h 556323"/>
                    <a:gd name="connsiteX871" fmla="*/ 2065519 w 3284716"/>
                    <a:gd name="connsiteY871" fmla="*/ 10548 h 556323"/>
                    <a:gd name="connsiteX872" fmla="*/ 2091073 w 3284716"/>
                    <a:gd name="connsiteY872" fmla="*/ 0 h 556323"/>
                    <a:gd name="connsiteX873" fmla="*/ 2104635 w 3284716"/>
                    <a:gd name="connsiteY873" fmla="*/ 2386 h 556323"/>
                    <a:gd name="connsiteX874" fmla="*/ 2104635 w 3284716"/>
                    <a:gd name="connsiteY874" fmla="*/ 14190 h 556323"/>
                    <a:gd name="connsiteX875" fmla="*/ 2090571 w 3284716"/>
                    <a:gd name="connsiteY875" fmla="*/ 10548 h 556323"/>
                    <a:gd name="connsiteX876" fmla="*/ 2066837 w 3284716"/>
                    <a:gd name="connsiteY876" fmla="*/ 42444 h 556323"/>
                    <a:gd name="connsiteX877" fmla="*/ 2066837 w 3284716"/>
                    <a:gd name="connsiteY877" fmla="*/ 63792 h 556323"/>
                    <a:gd name="connsiteX878" fmla="*/ 2100868 w 3284716"/>
                    <a:gd name="connsiteY878" fmla="*/ 63792 h 556323"/>
                    <a:gd name="connsiteX879" fmla="*/ 2100868 w 3284716"/>
                    <a:gd name="connsiteY879" fmla="*/ 74340 h 556323"/>
                    <a:gd name="connsiteX880" fmla="*/ 2066837 w 3284716"/>
                    <a:gd name="connsiteY880" fmla="*/ 74340 h 556323"/>
                    <a:gd name="connsiteX881" fmla="*/ 2066837 w 3284716"/>
                    <a:gd name="connsiteY881" fmla="*/ 192379 h 556323"/>
                    <a:gd name="connsiteX882" fmla="*/ 2055284 w 3284716"/>
                    <a:gd name="connsiteY882" fmla="*/ 192379 h 556323"/>
                    <a:gd name="connsiteX883" fmla="*/ 2055284 w 3284716"/>
                    <a:gd name="connsiteY883" fmla="*/ 74340 h 556323"/>
                    <a:gd name="connsiteX884" fmla="*/ 2034193 w 3284716"/>
                    <a:gd name="connsiteY884" fmla="*/ 74340 h 556323"/>
                    <a:gd name="connsiteX885" fmla="*/ 2032179 w 3284716"/>
                    <a:gd name="connsiteY885" fmla="*/ 74340 h 556323"/>
                    <a:gd name="connsiteX886" fmla="*/ 2000162 w 3284716"/>
                    <a:gd name="connsiteY886" fmla="*/ 74340 h 556323"/>
                    <a:gd name="connsiteX887" fmla="*/ 2000162 w 3284716"/>
                    <a:gd name="connsiteY887" fmla="*/ 192379 h 556323"/>
                    <a:gd name="connsiteX888" fmla="*/ 1988609 w 3284716"/>
                    <a:gd name="connsiteY888" fmla="*/ 192379 h 556323"/>
                    <a:gd name="connsiteX889" fmla="*/ 1988609 w 3284716"/>
                    <a:gd name="connsiteY889" fmla="*/ 74340 h 556323"/>
                    <a:gd name="connsiteX890" fmla="*/ 1965504 w 3284716"/>
                    <a:gd name="connsiteY890" fmla="*/ 74340 h 556323"/>
                    <a:gd name="connsiteX891" fmla="*/ 1965504 w 3284716"/>
                    <a:gd name="connsiteY891" fmla="*/ 63792 h 556323"/>
                    <a:gd name="connsiteX892" fmla="*/ 1988609 w 3284716"/>
                    <a:gd name="connsiteY892" fmla="*/ 63792 h 556323"/>
                    <a:gd name="connsiteX893" fmla="*/ 1988609 w 3284716"/>
                    <a:gd name="connsiteY893" fmla="*/ 41439 h 556323"/>
                    <a:gd name="connsiteX894" fmla="*/ 1998844 w 3284716"/>
                    <a:gd name="connsiteY894" fmla="*/ 10548 h 556323"/>
                    <a:gd name="connsiteX895" fmla="*/ 2024398 w 3284716"/>
                    <a:gd name="connsiteY895" fmla="*/ 0 h 556323"/>
                    <a:gd name="connsiteX896" fmla="*/ 700422 w 3284716"/>
                    <a:gd name="connsiteY896" fmla="*/ 0 h 556323"/>
                    <a:gd name="connsiteX897" fmla="*/ 713984 w 3284716"/>
                    <a:gd name="connsiteY897" fmla="*/ 2386 h 556323"/>
                    <a:gd name="connsiteX898" fmla="*/ 713984 w 3284716"/>
                    <a:gd name="connsiteY898" fmla="*/ 14190 h 556323"/>
                    <a:gd name="connsiteX899" fmla="*/ 699920 w 3284716"/>
                    <a:gd name="connsiteY899" fmla="*/ 10548 h 556323"/>
                    <a:gd name="connsiteX900" fmla="*/ 676186 w 3284716"/>
                    <a:gd name="connsiteY900" fmla="*/ 42444 h 556323"/>
                    <a:gd name="connsiteX901" fmla="*/ 676186 w 3284716"/>
                    <a:gd name="connsiteY901" fmla="*/ 63792 h 556323"/>
                    <a:gd name="connsiteX902" fmla="*/ 710217 w 3284716"/>
                    <a:gd name="connsiteY902" fmla="*/ 63792 h 556323"/>
                    <a:gd name="connsiteX903" fmla="*/ 710217 w 3284716"/>
                    <a:gd name="connsiteY903" fmla="*/ 74340 h 556323"/>
                    <a:gd name="connsiteX904" fmla="*/ 676186 w 3284716"/>
                    <a:gd name="connsiteY904" fmla="*/ 74340 h 556323"/>
                    <a:gd name="connsiteX905" fmla="*/ 676186 w 3284716"/>
                    <a:gd name="connsiteY905" fmla="*/ 192379 h 556323"/>
                    <a:gd name="connsiteX906" fmla="*/ 664633 w 3284716"/>
                    <a:gd name="connsiteY906" fmla="*/ 192379 h 556323"/>
                    <a:gd name="connsiteX907" fmla="*/ 664633 w 3284716"/>
                    <a:gd name="connsiteY907" fmla="*/ 74340 h 556323"/>
                    <a:gd name="connsiteX908" fmla="*/ 641528 w 3284716"/>
                    <a:gd name="connsiteY908" fmla="*/ 74340 h 556323"/>
                    <a:gd name="connsiteX909" fmla="*/ 641528 w 3284716"/>
                    <a:gd name="connsiteY909" fmla="*/ 63792 h 556323"/>
                    <a:gd name="connsiteX910" fmla="*/ 664633 w 3284716"/>
                    <a:gd name="connsiteY910" fmla="*/ 63792 h 556323"/>
                    <a:gd name="connsiteX911" fmla="*/ 664633 w 3284716"/>
                    <a:gd name="connsiteY911" fmla="*/ 41439 h 556323"/>
                    <a:gd name="connsiteX912" fmla="*/ 674868 w 3284716"/>
                    <a:gd name="connsiteY912" fmla="*/ 10548 h 556323"/>
                    <a:gd name="connsiteX913" fmla="*/ 700422 w 3284716"/>
                    <a:gd name="connsiteY913" fmla="*/ 0 h 556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</a:cxnLst>
                  <a:rect l="l" t="t" r="r" b="b"/>
                  <a:pathLst>
                    <a:path w="3284716" h="556323">
                      <a:moveTo>
                        <a:pt x="1496579" y="427987"/>
                      </a:moveTo>
                      <a:lnTo>
                        <a:pt x="1461167" y="433135"/>
                      </a:lnTo>
                      <a:cubicBezTo>
                        <a:pt x="1447689" y="435061"/>
                        <a:pt x="1438229" y="438179"/>
                        <a:pt x="1432787" y="442491"/>
                      </a:cubicBezTo>
                      <a:cubicBezTo>
                        <a:pt x="1427346" y="446802"/>
                        <a:pt x="1424625" y="453813"/>
                        <a:pt x="1424625" y="463524"/>
                      </a:cubicBezTo>
                      <a:cubicBezTo>
                        <a:pt x="1424625" y="471142"/>
                        <a:pt x="1427158" y="477421"/>
                        <a:pt x="1432222" y="482360"/>
                      </a:cubicBezTo>
                      <a:cubicBezTo>
                        <a:pt x="1437287" y="487299"/>
                        <a:pt x="1444340" y="489769"/>
                        <a:pt x="1453382" y="489769"/>
                      </a:cubicBezTo>
                      <a:cubicBezTo>
                        <a:pt x="1465772" y="489769"/>
                        <a:pt x="1476069" y="485186"/>
                        <a:pt x="1484273" y="476019"/>
                      </a:cubicBezTo>
                      <a:cubicBezTo>
                        <a:pt x="1492477" y="466852"/>
                        <a:pt x="1496579" y="455027"/>
                        <a:pt x="1496579" y="440544"/>
                      </a:cubicBezTo>
                      <a:close/>
                      <a:moveTo>
                        <a:pt x="972704" y="427987"/>
                      </a:moveTo>
                      <a:lnTo>
                        <a:pt x="937292" y="433135"/>
                      </a:lnTo>
                      <a:cubicBezTo>
                        <a:pt x="923814" y="435061"/>
                        <a:pt x="914354" y="438179"/>
                        <a:pt x="908912" y="442491"/>
                      </a:cubicBezTo>
                      <a:cubicBezTo>
                        <a:pt x="903471" y="446802"/>
                        <a:pt x="900750" y="453813"/>
                        <a:pt x="900750" y="463524"/>
                      </a:cubicBezTo>
                      <a:cubicBezTo>
                        <a:pt x="900750" y="471142"/>
                        <a:pt x="903283" y="477421"/>
                        <a:pt x="908347" y="482360"/>
                      </a:cubicBezTo>
                      <a:cubicBezTo>
                        <a:pt x="913412" y="487299"/>
                        <a:pt x="920465" y="489769"/>
                        <a:pt x="929507" y="489769"/>
                      </a:cubicBezTo>
                      <a:cubicBezTo>
                        <a:pt x="941897" y="489769"/>
                        <a:pt x="952194" y="485186"/>
                        <a:pt x="960398" y="476019"/>
                      </a:cubicBezTo>
                      <a:cubicBezTo>
                        <a:pt x="968602" y="466852"/>
                        <a:pt x="972704" y="455027"/>
                        <a:pt x="972704" y="440544"/>
                      </a:cubicBezTo>
                      <a:close/>
                      <a:moveTo>
                        <a:pt x="2133316" y="406890"/>
                      </a:moveTo>
                      <a:cubicBezTo>
                        <a:pt x="2108285" y="417774"/>
                        <a:pt x="2095769" y="432507"/>
                        <a:pt x="2095769" y="451092"/>
                      </a:cubicBezTo>
                      <a:cubicBezTo>
                        <a:pt x="2095769" y="462394"/>
                        <a:pt x="2099767" y="471666"/>
                        <a:pt x="2107762" y="478907"/>
                      </a:cubicBezTo>
                      <a:cubicBezTo>
                        <a:pt x="2115756" y="486148"/>
                        <a:pt x="2126744" y="489769"/>
                        <a:pt x="2140725" y="489769"/>
                      </a:cubicBezTo>
                      <a:cubicBezTo>
                        <a:pt x="2159896" y="489769"/>
                        <a:pt x="2177057" y="481774"/>
                        <a:pt x="2192210" y="465785"/>
                      </a:cubicBezTo>
                      <a:cubicBezTo>
                        <a:pt x="2164416" y="438912"/>
                        <a:pt x="2144785" y="419280"/>
                        <a:pt x="2133316" y="406890"/>
                      </a:cubicBezTo>
                      <a:close/>
                      <a:moveTo>
                        <a:pt x="2373952" y="376000"/>
                      </a:moveTo>
                      <a:cubicBezTo>
                        <a:pt x="2360474" y="376000"/>
                        <a:pt x="2349340" y="381170"/>
                        <a:pt x="2340550" y="391509"/>
                      </a:cubicBezTo>
                      <a:cubicBezTo>
                        <a:pt x="2331760" y="401848"/>
                        <a:pt x="2327364" y="416058"/>
                        <a:pt x="2327364" y="434141"/>
                      </a:cubicBezTo>
                      <a:cubicBezTo>
                        <a:pt x="2327364" y="451889"/>
                        <a:pt x="2331320" y="465597"/>
                        <a:pt x="2339231" y="475266"/>
                      </a:cubicBezTo>
                      <a:cubicBezTo>
                        <a:pt x="2347142" y="484936"/>
                        <a:pt x="2357335" y="489770"/>
                        <a:pt x="2369808" y="489770"/>
                      </a:cubicBezTo>
                      <a:cubicBezTo>
                        <a:pt x="2384459" y="489770"/>
                        <a:pt x="2395802" y="485229"/>
                        <a:pt x="2403839" y="476145"/>
                      </a:cubicBezTo>
                      <a:cubicBezTo>
                        <a:pt x="2411876" y="467062"/>
                        <a:pt x="2415894" y="455991"/>
                        <a:pt x="2415894" y="442931"/>
                      </a:cubicBezTo>
                      <a:lnTo>
                        <a:pt x="2415894" y="418947"/>
                      </a:lnTo>
                      <a:cubicBezTo>
                        <a:pt x="2415894" y="406975"/>
                        <a:pt x="2412106" y="396825"/>
                        <a:pt x="2404529" y="388495"/>
                      </a:cubicBezTo>
                      <a:cubicBezTo>
                        <a:pt x="2396953" y="380165"/>
                        <a:pt x="2386761" y="376000"/>
                        <a:pt x="2373952" y="376000"/>
                      </a:cubicBezTo>
                      <a:close/>
                      <a:moveTo>
                        <a:pt x="2934421" y="375999"/>
                      </a:moveTo>
                      <a:cubicBezTo>
                        <a:pt x="2922365" y="375999"/>
                        <a:pt x="2912382" y="380039"/>
                        <a:pt x="2904471" y="388117"/>
                      </a:cubicBezTo>
                      <a:cubicBezTo>
                        <a:pt x="2896560" y="396196"/>
                        <a:pt x="2891684" y="407769"/>
                        <a:pt x="2889842" y="422838"/>
                      </a:cubicBezTo>
                      <a:lnTo>
                        <a:pt x="2972469" y="422838"/>
                      </a:lnTo>
                      <a:cubicBezTo>
                        <a:pt x="2971967" y="408021"/>
                        <a:pt x="2968409" y="396510"/>
                        <a:pt x="2961796" y="388306"/>
                      </a:cubicBezTo>
                      <a:cubicBezTo>
                        <a:pt x="2955182" y="380101"/>
                        <a:pt x="2946057" y="375999"/>
                        <a:pt x="2934421" y="375999"/>
                      </a:cubicBezTo>
                      <a:close/>
                      <a:moveTo>
                        <a:pt x="2515320" y="375999"/>
                      </a:moveTo>
                      <a:cubicBezTo>
                        <a:pt x="2503265" y="375999"/>
                        <a:pt x="2493282" y="380039"/>
                        <a:pt x="2485371" y="388117"/>
                      </a:cubicBezTo>
                      <a:cubicBezTo>
                        <a:pt x="2477460" y="396196"/>
                        <a:pt x="2472583" y="407769"/>
                        <a:pt x="2470742" y="422838"/>
                      </a:cubicBezTo>
                      <a:lnTo>
                        <a:pt x="2553369" y="422838"/>
                      </a:lnTo>
                      <a:cubicBezTo>
                        <a:pt x="2552867" y="408021"/>
                        <a:pt x="2549309" y="396510"/>
                        <a:pt x="2542695" y="388306"/>
                      </a:cubicBezTo>
                      <a:cubicBezTo>
                        <a:pt x="2536082" y="380101"/>
                        <a:pt x="2526957" y="375999"/>
                        <a:pt x="2515320" y="375999"/>
                      </a:cubicBezTo>
                      <a:close/>
                      <a:moveTo>
                        <a:pt x="1839045" y="375999"/>
                      </a:moveTo>
                      <a:cubicBezTo>
                        <a:pt x="1826990" y="375999"/>
                        <a:pt x="1817007" y="380039"/>
                        <a:pt x="1809096" y="388117"/>
                      </a:cubicBezTo>
                      <a:cubicBezTo>
                        <a:pt x="1801185" y="396196"/>
                        <a:pt x="1796308" y="407769"/>
                        <a:pt x="1794467" y="422838"/>
                      </a:cubicBezTo>
                      <a:lnTo>
                        <a:pt x="1877094" y="422838"/>
                      </a:lnTo>
                      <a:cubicBezTo>
                        <a:pt x="1876592" y="408021"/>
                        <a:pt x="1873034" y="396510"/>
                        <a:pt x="1866420" y="388306"/>
                      </a:cubicBezTo>
                      <a:cubicBezTo>
                        <a:pt x="1859807" y="380101"/>
                        <a:pt x="1850682" y="375999"/>
                        <a:pt x="1839045" y="375999"/>
                      </a:cubicBezTo>
                      <a:close/>
                      <a:moveTo>
                        <a:pt x="1221196" y="375999"/>
                      </a:moveTo>
                      <a:cubicBezTo>
                        <a:pt x="1206211" y="375999"/>
                        <a:pt x="1194616" y="381022"/>
                        <a:pt x="1186412" y="391068"/>
                      </a:cubicBezTo>
                      <a:cubicBezTo>
                        <a:pt x="1178208" y="401114"/>
                        <a:pt x="1174106" y="412918"/>
                        <a:pt x="1174106" y="426480"/>
                      </a:cubicBezTo>
                      <a:lnTo>
                        <a:pt x="1174106" y="442679"/>
                      </a:lnTo>
                      <a:cubicBezTo>
                        <a:pt x="1174106" y="455571"/>
                        <a:pt x="1178166" y="466643"/>
                        <a:pt x="1186286" y="475893"/>
                      </a:cubicBezTo>
                      <a:cubicBezTo>
                        <a:pt x="1194407" y="485144"/>
                        <a:pt x="1205080" y="489769"/>
                        <a:pt x="1218308" y="489769"/>
                      </a:cubicBezTo>
                      <a:cubicBezTo>
                        <a:pt x="1231451" y="489769"/>
                        <a:pt x="1242125" y="484139"/>
                        <a:pt x="1250329" y="472879"/>
                      </a:cubicBezTo>
                      <a:cubicBezTo>
                        <a:pt x="1258533" y="461620"/>
                        <a:pt x="1262635" y="446823"/>
                        <a:pt x="1262635" y="428489"/>
                      </a:cubicBezTo>
                      <a:cubicBezTo>
                        <a:pt x="1262635" y="412416"/>
                        <a:pt x="1258868" y="399649"/>
                        <a:pt x="1251333" y="390189"/>
                      </a:cubicBezTo>
                      <a:cubicBezTo>
                        <a:pt x="1243799" y="380729"/>
                        <a:pt x="1233753" y="375999"/>
                        <a:pt x="1221196" y="375999"/>
                      </a:cubicBezTo>
                      <a:close/>
                      <a:moveTo>
                        <a:pt x="1078321" y="375999"/>
                      </a:moveTo>
                      <a:cubicBezTo>
                        <a:pt x="1063336" y="375999"/>
                        <a:pt x="1051741" y="381022"/>
                        <a:pt x="1043537" y="391068"/>
                      </a:cubicBezTo>
                      <a:cubicBezTo>
                        <a:pt x="1035333" y="401114"/>
                        <a:pt x="1031231" y="412918"/>
                        <a:pt x="1031231" y="426480"/>
                      </a:cubicBezTo>
                      <a:lnTo>
                        <a:pt x="1031231" y="442679"/>
                      </a:lnTo>
                      <a:cubicBezTo>
                        <a:pt x="1031231" y="455571"/>
                        <a:pt x="1035291" y="466643"/>
                        <a:pt x="1043411" y="475893"/>
                      </a:cubicBezTo>
                      <a:cubicBezTo>
                        <a:pt x="1051532" y="485144"/>
                        <a:pt x="1062205" y="489769"/>
                        <a:pt x="1075433" y="489769"/>
                      </a:cubicBezTo>
                      <a:cubicBezTo>
                        <a:pt x="1088576" y="489769"/>
                        <a:pt x="1099250" y="484139"/>
                        <a:pt x="1107454" y="472879"/>
                      </a:cubicBezTo>
                      <a:cubicBezTo>
                        <a:pt x="1115658" y="461620"/>
                        <a:pt x="1119760" y="446823"/>
                        <a:pt x="1119760" y="428489"/>
                      </a:cubicBezTo>
                      <a:cubicBezTo>
                        <a:pt x="1119760" y="412416"/>
                        <a:pt x="1115993" y="399649"/>
                        <a:pt x="1108458" y="390189"/>
                      </a:cubicBezTo>
                      <a:cubicBezTo>
                        <a:pt x="1100924" y="380729"/>
                        <a:pt x="1090878" y="375999"/>
                        <a:pt x="1078321" y="375999"/>
                      </a:cubicBezTo>
                      <a:close/>
                      <a:moveTo>
                        <a:pt x="743670" y="375999"/>
                      </a:moveTo>
                      <a:cubicBezTo>
                        <a:pt x="731615" y="375999"/>
                        <a:pt x="721632" y="380039"/>
                        <a:pt x="713721" y="388117"/>
                      </a:cubicBezTo>
                      <a:cubicBezTo>
                        <a:pt x="705810" y="396196"/>
                        <a:pt x="700933" y="407769"/>
                        <a:pt x="699092" y="422838"/>
                      </a:cubicBezTo>
                      <a:lnTo>
                        <a:pt x="781719" y="422838"/>
                      </a:lnTo>
                      <a:cubicBezTo>
                        <a:pt x="781217" y="408021"/>
                        <a:pt x="777659" y="396510"/>
                        <a:pt x="771045" y="388306"/>
                      </a:cubicBezTo>
                      <a:cubicBezTo>
                        <a:pt x="764432" y="380101"/>
                        <a:pt x="755307" y="375999"/>
                        <a:pt x="743670" y="375999"/>
                      </a:cubicBezTo>
                      <a:close/>
                      <a:moveTo>
                        <a:pt x="395893" y="375999"/>
                      </a:moveTo>
                      <a:cubicBezTo>
                        <a:pt x="380740" y="375999"/>
                        <a:pt x="368664" y="381106"/>
                        <a:pt x="359665" y="391319"/>
                      </a:cubicBezTo>
                      <a:cubicBezTo>
                        <a:pt x="350665" y="401533"/>
                        <a:pt x="346165" y="415723"/>
                        <a:pt x="346165" y="433889"/>
                      </a:cubicBezTo>
                      <a:cubicBezTo>
                        <a:pt x="346165" y="450716"/>
                        <a:pt x="350561" y="464236"/>
                        <a:pt x="359351" y="474449"/>
                      </a:cubicBezTo>
                      <a:cubicBezTo>
                        <a:pt x="368141" y="484663"/>
                        <a:pt x="380154" y="489769"/>
                        <a:pt x="395390" y="489769"/>
                      </a:cubicBezTo>
                      <a:cubicBezTo>
                        <a:pt x="410878" y="489769"/>
                        <a:pt x="422807" y="484746"/>
                        <a:pt x="431179" y="474700"/>
                      </a:cubicBezTo>
                      <a:cubicBezTo>
                        <a:pt x="439550" y="464654"/>
                        <a:pt x="443736" y="450716"/>
                        <a:pt x="443736" y="432884"/>
                      </a:cubicBezTo>
                      <a:cubicBezTo>
                        <a:pt x="443736" y="414550"/>
                        <a:pt x="439571" y="400486"/>
                        <a:pt x="431242" y="390691"/>
                      </a:cubicBezTo>
                      <a:cubicBezTo>
                        <a:pt x="422912" y="380897"/>
                        <a:pt x="411129" y="375999"/>
                        <a:pt x="395893" y="375999"/>
                      </a:cubicBezTo>
                      <a:close/>
                      <a:moveTo>
                        <a:pt x="2715128" y="368592"/>
                      </a:moveTo>
                      <a:lnTo>
                        <a:pt x="2726681" y="368592"/>
                      </a:lnTo>
                      <a:lnTo>
                        <a:pt x="2726681" y="497179"/>
                      </a:lnTo>
                      <a:lnTo>
                        <a:pt x="2715128" y="497179"/>
                      </a:lnTo>
                      <a:close/>
                      <a:moveTo>
                        <a:pt x="2582744" y="368592"/>
                      </a:moveTo>
                      <a:lnTo>
                        <a:pt x="2595678" y="368592"/>
                      </a:lnTo>
                      <a:lnTo>
                        <a:pt x="2633978" y="470934"/>
                      </a:lnTo>
                      <a:cubicBezTo>
                        <a:pt x="2635820" y="475873"/>
                        <a:pt x="2637118" y="480352"/>
                        <a:pt x="2637871" y="484370"/>
                      </a:cubicBezTo>
                      <a:lnTo>
                        <a:pt x="2638373" y="484370"/>
                      </a:lnTo>
                      <a:cubicBezTo>
                        <a:pt x="2639462" y="479096"/>
                        <a:pt x="2640676" y="474785"/>
                        <a:pt x="2642015" y="471436"/>
                      </a:cubicBezTo>
                      <a:lnTo>
                        <a:pt x="2681571" y="368592"/>
                      </a:lnTo>
                      <a:lnTo>
                        <a:pt x="2694128" y="368592"/>
                      </a:lnTo>
                      <a:lnTo>
                        <a:pt x="2643020" y="497179"/>
                      </a:lnTo>
                      <a:lnTo>
                        <a:pt x="2632471" y="497179"/>
                      </a:lnTo>
                      <a:close/>
                      <a:moveTo>
                        <a:pt x="1362578" y="368592"/>
                      </a:moveTo>
                      <a:lnTo>
                        <a:pt x="1374131" y="368592"/>
                      </a:lnTo>
                      <a:lnTo>
                        <a:pt x="1374131" y="497179"/>
                      </a:lnTo>
                      <a:lnTo>
                        <a:pt x="1362578" y="497179"/>
                      </a:lnTo>
                      <a:close/>
                      <a:moveTo>
                        <a:pt x="1599558" y="365452"/>
                      </a:moveTo>
                      <a:cubicBezTo>
                        <a:pt x="1613455" y="365452"/>
                        <a:pt x="1624086" y="370077"/>
                        <a:pt x="1631453" y="379328"/>
                      </a:cubicBezTo>
                      <a:cubicBezTo>
                        <a:pt x="1638820" y="388579"/>
                        <a:pt x="1642504" y="401785"/>
                        <a:pt x="1642504" y="418947"/>
                      </a:cubicBezTo>
                      <a:lnTo>
                        <a:pt x="1642504" y="497179"/>
                      </a:lnTo>
                      <a:lnTo>
                        <a:pt x="1630951" y="497179"/>
                      </a:lnTo>
                      <a:lnTo>
                        <a:pt x="1630951" y="422337"/>
                      </a:lnTo>
                      <a:cubicBezTo>
                        <a:pt x="1630951" y="391446"/>
                        <a:pt x="1619817" y="376000"/>
                        <a:pt x="1597549" y="376000"/>
                      </a:cubicBezTo>
                      <a:cubicBezTo>
                        <a:pt x="1585159" y="376000"/>
                        <a:pt x="1574987" y="380542"/>
                        <a:pt x="1567034" y="389625"/>
                      </a:cubicBezTo>
                      <a:cubicBezTo>
                        <a:pt x="1559081" y="398708"/>
                        <a:pt x="1555105" y="409947"/>
                        <a:pt x="1555105" y="423342"/>
                      </a:cubicBezTo>
                      <a:lnTo>
                        <a:pt x="1555105" y="497179"/>
                      </a:lnTo>
                      <a:lnTo>
                        <a:pt x="1543552" y="497179"/>
                      </a:lnTo>
                      <a:lnTo>
                        <a:pt x="1543552" y="368592"/>
                      </a:lnTo>
                      <a:lnTo>
                        <a:pt x="1555105" y="368592"/>
                      </a:lnTo>
                      <a:lnTo>
                        <a:pt x="1555105" y="391948"/>
                      </a:lnTo>
                      <a:lnTo>
                        <a:pt x="1555607" y="391948"/>
                      </a:lnTo>
                      <a:cubicBezTo>
                        <a:pt x="1564983" y="374284"/>
                        <a:pt x="1579633" y="365452"/>
                        <a:pt x="1599558" y="365452"/>
                      </a:cubicBezTo>
                      <a:close/>
                      <a:moveTo>
                        <a:pt x="537637" y="365452"/>
                      </a:moveTo>
                      <a:cubicBezTo>
                        <a:pt x="547014" y="365452"/>
                        <a:pt x="555029" y="368152"/>
                        <a:pt x="561685" y="373552"/>
                      </a:cubicBezTo>
                      <a:cubicBezTo>
                        <a:pt x="568340" y="378951"/>
                        <a:pt x="572840" y="386046"/>
                        <a:pt x="575184" y="394836"/>
                      </a:cubicBezTo>
                      <a:cubicBezTo>
                        <a:pt x="579202" y="385544"/>
                        <a:pt x="584958" y="378323"/>
                        <a:pt x="592450" y="373175"/>
                      </a:cubicBezTo>
                      <a:cubicBezTo>
                        <a:pt x="599943" y="368026"/>
                        <a:pt x="608084" y="365452"/>
                        <a:pt x="616874" y="365452"/>
                      </a:cubicBezTo>
                      <a:cubicBezTo>
                        <a:pt x="645003" y="365452"/>
                        <a:pt x="659067" y="382865"/>
                        <a:pt x="659067" y="417691"/>
                      </a:cubicBezTo>
                      <a:lnTo>
                        <a:pt x="659067" y="497179"/>
                      </a:lnTo>
                      <a:lnTo>
                        <a:pt x="647514" y="497179"/>
                      </a:lnTo>
                      <a:lnTo>
                        <a:pt x="647514" y="419826"/>
                      </a:lnTo>
                      <a:cubicBezTo>
                        <a:pt x="647514" y="403668"/>
                        <a:pt x="644982" y="392325"/>
                        <a:pt x="639917" y="385795"/>
                      </a:cubicBezTo>
                      <a:cubicBezTo>
                        <a:pt x="634852" y="379265"/>
                        <a:pt x="626837" y="376000"/>
                        <a:pt x="615870" y="376000"/>
                      </a:cubicBezTo>
                      <a:cubicBezTo>
                        <a:pt x="605740" y="376000"/>
                        <a:pt x="596992" y="380354"/>
                        <a:pt x="589625" y="389060"/>
                      </a:cubicBezTo>
                      <a:cubicBezTo>
                        <a:pt x="582258" y="397766"/>
                        <a:pt x="578574" y="408691"/>
                        <a:pt x="578574" y="421835"/>
                      </a:cubicBezTo>
                      <a:lnTo>
                        <a:pt x="578574" y="497179"/>
                      </a:lnTo>
                      <a:lnTo>
                        <a:pt x="567022" y="497179"/>
                      </a:lnTo>
                      <a:lnTo>
                        <a:pt x="567022" y="418947"/>
                      </a:lnTo>
                      <a:cubicBezTo>
                        <a:pt x="567022" y="390316"/>
                        <a:pt x="556139" y="376000"/>
                        <a:pt x="534372" y="376000"/>
                      </a:cubicBezTo>
                      <a:cubicBezTo>
                        <a:pt x="523908" y="376000"/>
                        <a:pt x="515202" y="380374"/>
                        <a:pt x="508253" y="389123"/>
                      </a:cubicBezTo>
                      <a:cubicBezTo>
                        <a:pt x="501305" y="397871"/>
                        <a:pt x="497831" y="409194"/>
                        <a:pt x="497831" y="423090"/>
                      </a:cubicBezTo>
                      <a:lnTo>
                        <a:pt x="497831" y="497179"/>
                      </a:lnTo>
                      <a:lnTo>
                        <a:pt x="486278" y="497179"/>
                      </a:lnTo>
                      <a:lnTo>
                        <a:pt x="486278" y="368592"/>
                      </a:lnTo>
                      <a:lnTo>
                        <a:pt x="497831" y="368592"/>
                      </a:lnTo>
                      <a:lnTo>
                        <a:pt x="497831" y="389939"/>
                      </a:lnTo>
                      <a:lnTo>
                        <a:pt x="498333" y="389939"/>
                      </a:lnTo>
                      <a:cubicBezTo>
                        <a:pt x="507290" y="373614"/>
                        <a:pt x="520392" y="365452"/>
                        <a:pt x="537637" y="365452"/>
                      </a:cubicBezTo>
                      <a:close/>
                      <a:moveTo>
                        <a:pt x="3055339" y="365451"/>
                      </a:moveTo>
                      <a:cubicBezTo>
                        <a:pt x="3066389" y="365451"/>
                        <a:pt x="3075849" y="367711"/>
                        <a:pt x="3083718" y="372232"/>
                      </a:cubicBezTo>
                      <a:lnTo>
                        <a:pt x="3083718" y="385292"/>
                      </a:lnTo>
                      <a:cubicBezTo>
                        <a:pt x="3074175" y="379097"/>
                        <a:pt x="3064296" y="375999"/>
                        <a:pt x="3054083" y="375999"/>
                      </a:cubicBezTo>
                      <a:cubicBezTo>
                        <a:pt x="3045627" y="375999"/>
                        <a:pt x="3038805" y="378197"/>
                        <a:pt x="3033614" y="382592"/>
                      </a:cubicBezTo>
                      <a:cubicBezTo>
                        <a:pt x="3028424" y="386987"/>
                        <a:pt x="3025829" y="392701"/>
                        <a:pt x="3025829" y="399733"/>
                      </a:cubicBezTo>
                      <a:cubicBezTo>
                        <a:pt x="3025829" y="405844"/>
                        <a:pt x="3027461" y="410804"/>
                        <a:pt x="3030726" y="414613"/>
                      </a:cubicBezTo>
                      <a:cubicBezTo>
                        <a:pt x="3033991" y="418422"/>
                        <a:pt x="3041191" y="422797"/>
                        <a:pt x="3052325" y="427736"/>
                      </a:cubicBezTo>
                      <a:cubicBezTo>
                        <a:pt x="3065719" y="433763"/>
                        <a:pt x="3074928" y="439351"/>
                        <a:pt x="3079951" y="444500"/>
                      </a:cubicBezTo>
                      <a:cubicBezTo>
                        <a:pt x="3084974" y="449648"/>
                        <a:pt x="3087486" y="456492"/>
                        <a:pt x="3087486" y="465031"/>
                      </a:cubicBezTo>
                      <a:cubicBezTo>
                        <a:pt x="3087486" y="475244"/>
                        <a:pt x="3083656" y="483679"/>
                        <a:pt x="3075996" y="490334"/>
                      </a:cubicBezTo>
                      <a:cubicBezTo>
                        <a:pt x="3068336" y="496990"/>
                        <a:pt x="3057766" y="500317"/>
                        <a:pt x="3044288" y="500317"/>
                      </a:cubicBezTo>
                      <a:cubicBezTo>
                        <a:pt x="3031898" y="500317"/>
                        <a:pt x="3021559" y="497387"/>
                        <a:pt x="3013272" y="491527"/>
                      </a:cubicBezTo>
                      <a:lnTo>
                        <a:pt x="3013272" y="477589"/>
                      </a:lnTo>
                      <a:cubicBezTo>
                        <a:pt x="3017624" y="481356"/>
                        <a:pt x="3022899" y="484328"/>
                        <a:pt x="3029094" y="486504"/>
                      </a:cubicBezTo>
                      <a:cubicBezTo>
                        <a:pt x="3035289" y="488681"/>
                        <a:pt x="3040647" y="489769"/>
                        <a:pt x="3045167" y="489769"/>
                      </a:cubicBezTo>
                      <a:cubicBezTo>
                        <a:pt x="3065342" y="489769"/>
                        <a:pt x="3075431" y="481523"/>
                        <a:pt x="3075431" y="465031"/>
                      </a:cubicBezTo>
                      <a:cubicBezTo>
                        <a:pt x="3075431" y="459338"/>
                        <a:pt x="3073212" y="454483"/>
                        <a:pt x="3068775" y="450465"/>
                      </a:cubicBezTo>
                      <a:cubicBezTo>
                        <a:pt x="3064338" y="446446"/>
                        <a:pt x="3057139" y="442302"/>
                        <a:pt x="3047176" y="438033"/>
                      </a:cubicBezTo>
                      <a:cubicBezTo>
                        <a:pt x="3034870" y="432675"/>
                        <a:pt x="3026226" y="427129"/>
                        <a:pt x="3021245" y="421394"/>
                      </a:cubicBezTo>
                      <a:cubicBezTo>
                        <a:pt x="3016264" y="415660"/>
                        <a:pt x="3013774" y="408690"/>
                        <a:pt x="3013774" y="400486"/>
                      </a:cubicBezTo>
                      <a:cubicBezTo>
                        <a:pt x="3013774" y="390022"/>
                        <a:pt x="3017771" y="381566"/>
                        <a:pt x="3025766" y="375120"/>
                      </a:cubicBezTo>
                      <a:cubicBezTo>
                        <a:pt x="3033761" y="368674"/>
                        <a:pt x="3043618" y="365451"/>
                        <a:pt x="3055339" y="365451"/>
                      </a:cubicBezTo>
                      <a:close/>
                      <a:moveTo>
                        <a:pt x="2934923" y="365451"/>
                      </a:moveTo>
                      <a:cubicBezTo>
                        <a:pt x="2950913" y="365451"/>
                        <a:pt x="2963177" y="371060"/>
                        <a:pt x="2971716" y="382278"/>
                      </a:cubicBezTo>
                      <a:cubicBezTo>
                        <a:pt x="2980255" y="393496"/>
                        <a:pt x="2984524" y="408816"/>
                        <a:pt x="2984524" y="428238"/>
                      </a:cubicBezTo>
                      <a:lnTo>
                        <a:pt x="2984524" y="433387"/>
                      </a:lnTo>
                      <a:lnTo>
                        <a:pt x="2889340" y="433387"/>
                      </a:lnTo>
                      <a:cubicBezTo>
                        <a:pt x="2889340" y="451051"/>
                        <a:pt x="2893421" y="464864"/>
                        <a:pt x="2901583" y="474826"/>
                      </a:cubicBezTo>
                      <a:cubicBezTo>
                        <a:pt x="2909745" y="484788"/>
                        <a:pt x="2920942" y="489769"/>
                        <a:pt x="2935174" y="489769"/>
                      </a:cubicBezTo>
                      <a:cubicBezTo>
                        <a:pt x="2949573" y="489769"/>
                        <a:pt x="2963637" y="484453"/>
                        <a:pt x="2977367" y="473821"/>
                      </a:cubicBezTo>
                      <a:lnTo>
                        <a:pt x="2977367" y="486127"/>
                      </a:lnTo>
                      <a:cubicBezTo>
                        <a:pt x="2964056" y="495587"/>
                        <a:pt x="2949196" y="500317"/>
                        <a:pt x="2932788" y="500317"/>
                      </a:cubicBezTo>
                      <a:cubicBezTo>
                        <a:pt x="2916212" y="500317"/>
                        <a:pt x="2902818" y="494373"/>
                        <a:pt x="2892604" y="482486"/>
                      </a:cubicBezTo>
                      <a:cubicBezTo>
                        <a:pt x="2882391" y="470598"/>
                        <a:pt x="2877284" y="453813"/>
                        <a:pt x="2877284" y="432131"/>
                      </a:cubicBezTo>
                      <a:cubicBezTo>
                        <a:pt x="2877284" y="413378"/>
                        <a:pt x="2882621" y="397577"/>
                        <a:pt x="2893295" y="384727"/>
                      </a:cubicBezTo>
                      <a:cubicBezTo>
                        <a:pt x="2903969" y="371876"/>
                        <a:pt x="2917845" y="365451"/>
                        <a:pt x="2934923" y="365451"/>
                      </a:cubicBezTo>
                      <a:close/>
                      <a:moveTo>
                        <a:pt x="2827530" y="365451"/>
                      </a:moveTo>
                      <a:cubicBezTo>
                        <a:pt x="2837325" y="365451"/>
                        <a:pt x="2846827" y="367460"/>
                        <a:pt x="2856036" y="371479"/>
                      </a:cubicBezTo>
                      <a:lnTo>
                        <a:pt x="2856036" y="384538"/>
                      </a:lnTo>
                      <a:cubicBezTo>
                        <a:pt x="2846827" y="378846"/>
                        <a:pt x="2836739" y="375999"/>
                        <a:pt x="2825772" y="375999"/>
                      </a:cubicBezTo>
                      <a:cubicBezTo>
                        <a:pt x="2810703" y="375999"/>
                        <a:pt x="2798481" y="381420"/>
                        <a:pt x="2789105" y="392261"/>
                      </a:cubicBezTo>
                      <a:cubicBezTo>
                        <a:pt x="2779729" y="403102"/>
                        <a:pt x="2775040" y="417146"/>
                        <a:pt x="2775040" y="434391"/>
                      </a:cubicBezTo>
                      <a:cubicBezTo>
                        <a:pt x="2775040" y="451051"/>
                        <a:pt x="2779331" y="464445"/>
                        <a:pt x="2787912" y="474575"/>
                      </a:cubicBezTo>
                      <a:cubicBezTo>
                        <a:pt x="2796493" y="484704"/>
                        <a:pt x="2807815" y="489769"/>
                        <a:pt x="2821880" y="489769"/>
                      </a:cubicBezTo>
                      <a:cubicBezTo>
                        <a:pt x="2834772" y="489769"/>
                        <a:pt x="2845990" y="486337"/>
                        <a:pt x="2855533" y="479472"/>
                      </a:cubicBezTo>
                      <a:lnTo>
                        <a:pt x="2855533" y="491527"/>
                      </a:lnTo>
                      <a:cubicBezTo>
                        <a:pt x="2845990" y="497387"/>
                        <a:pt x="2834604" y="500317"/>
                        <a:pt x="2821377" y="500317"/>
                      </a:cubicBezTo>
                      <a:cubicBezTo>
                        <a:pt x="2803881" y="500317"/>
                        <a:pt x="2789775" y="494311"/>
                        <a:pt x="2779059" y="482297"/>
                      </a:cubicBezTo>
                      <a:cubicBezTo>
                        <a:pt x="2768343" y="470284"/>
                        <a:pt x="2762985" y="454567"/>
                        <a:pt x="2762985" y="435145"/>
                      </a:cubicBezTo>
                      <a:cubicBezTo>
                        <a:pt x="2762985" y="414718"/>
                        <a:pt x="2769013" y="397996"/>
                        <a:pt x="2781068" y="384978"/>
                      </a:cubicBezTo>
                      <a:cubicBezTo>
                        <a:pt x="2793123" y="371960"/>
                        <a:pt x="2808611" y="365451"/>
                        <a:pt x="2827530" y="365451"/>
                      </a:cubicBezTo>
                      <a:close/>
                      <a:moveTo>
                        <a:pt x="2515823" y="365451"/>
                      </a:moveTo>
                      <a:cubicBezTo>
                        <a:pt x="2531812" y="365451"/>
                        <a:pt x="2544077" y="371060"/>
                        <a:pt x="2552616" y="382278"/>
                      </a:cubicBezTo>
                      <a:cubicBezTo>
                        <a:pt x="2561155" y="393496"/>
                        <a:pt x="2565424" y="408816"/>
                        <a:pt x="2565424" y="428238"/>
                      </a:cubicBezTo>
                      <a:lnTo>
                        <a:pt x="2565424" y="433387"/>
                      </a:lnTo>
                      <a:lnTo>
                        <a:pt x="2470239" y="433387"/>
                      </a:lnTo>
                      <a:cubicBezTo>
                        <a:pt x="2470239" y="451051"/>
                        <a:pt x="2474321" y="464864"/>
                        <a:pt x="2482483" y="474826"/>
                      </a:cubicBezTo>
                      <a:cubicBezTo>
                        <a:pt x="2490645" y="484788"/>
                        <a:pt x="2501842" y="489769"/>
                        <a:pt x="2516074" y="489769"/>
                      </a:cubicBezTo>
                      <a:cubicBezTo>
                        <a:pt x="2530473" y="489769"/>
                        <a:pt x="2544537" y="484453"/>
                        <a:pt x="2558267" y="473821"/>
                      </a:cubicBezTo>
                      <a:lnTo>
                        <a:pt x="2558267" y="486127"/>
                      </a:lnTo>
                      <a:cubicBezTo>
                        <a:pt x="2544956" y="495587"/>
                        <a:pt x="2530096" y="500317"/>
                        <a:pt x="2513688" y="500317"/>
                      </a:cubicBezTo>
                      <a:cubicBezTo>
                        <a:pt x="2497112" y="500317"/>
                        <a:pt x="2483718" y="494373"/>
                        <a:pt x="2473504" y="482486"/>
                      </a:cubicBezTo>
                      <a:cubicBezTo>
                        <a:pt x="2463291" y="470598"/>
                        <a:pt x="2458184" y="453813"/>
                        <a:pt x="2458184" y="432131"/>
                      </a:cubicBezTo>
                      <a:cubicBezTo>
                        <a:pt x="2458184" y="413378"/>
                        <a:pt x="2463521" y="397577"/>
                        <a:pt x="2474195" y="384727"/>
                      </a:cubicBezTo>
                      <a:cubicBezTo>
                        <a:pt x="2484869" y="371876"/>
                        <a:pt x="2498745" y="365451"/>
                        <a:pt x="2515823" y="365451"/>
                      </a:cubicBezTo>
                      <a:close/>
                      <a:moveTo>
                        <a:pt x="1959964" y="365451"/>
                      </a:moveTo>
                      <a:cubicBezTo>
                        <a:pt x="1971014" y="365451"/>
                        <a:pt x="1980474" y="367711"/>
                        <a:pt x="1988343" y="372232"/>
                      </a:cubicBezTo>
                      <a:lnTo>
                        <a:pt x="1988343" y="385292"/>
                      </a:lnTo>
                      <a:cubicBezTo>
                        <a:pt x="1978800" y="379097"/>
                        <a:pt x="1968921" y="375999"/>
                        <a:pt x="1958708" y="375999"/>
                      </a:cubicBezTo>
                      <a:cubicBezTo>
                        <a:pt x="1950253" y="375999"/>
                        <a:pt x="1943430" y="378197"/>
                        <a:pt x="1938239" y="382592"/>
                      </a:cubicBezTo>
                      <a:cubicBezTo>
                        <a:pt x="1933049" y="386987"/>
                        <a:pt x="1930454" y="392701"/>
                        <a:pt x="1930454" y="399733"/>
                      </a:cubicBezTo>
                      <a:cubicBezTo>
                        <a:pt x="1930454" y="405844"/>
                        <a:pt x="1932086" y="410804"/>
                        <a:pt x="1935351" y="414613"/>
                      </a:cubicBezTo>
                      <a:cubicBezTo>
                        <a:pt x="1938616" y="418422"/>
                        <a:pt x="1945815" y="422797"/>
                        <a:pt x="1956950" y="427736"/>
                      </a:cubicBezTo>
                      <a:cubicBezTo>
                        <a:pt x="1970344" y="433763"/>
                        <a:pt x="1979553" y="439351"/>
                        <a:pt x="1984576" y="444500"/>
                      </a:cubicBezTo>
                      <a:cubicBezTo>
                        <a:pt x="1989599" y="449648"/>
                        <a:pt x="1992110" y="456492"/>
                        <a:pt x="1992110" y="465031"/>
                      </a:cubicBezTo>
                      <a:cubicBezTo>
                        <a:pt x="1992110" y="475244"/>
                        <a:pt x="1988280" y="483679"/>
                        <a:pt x="1980620" y="490334"/>
                      </a:cubicBezTo>
                      <a:cubicBezTo>
                        <a:pt x="1972960" y="496990"/>
                        <a:pt x="1962391" y="500317"/>
                        <a:pt x="1948913" y="500317"/>
                      </a:cubicBezTo>
                      <a:cubicBezTo>
                        <a:pt x="1936523" y="500317"/>
                        <a:pt x="1926184" y="497387"/>
                        <a:pt x="1917896" y="491527"/>
                      </a:cubicBezTo>
                      <a:lnTo>
                        <a:pt x="1917896" y="477589"/>
                      </a:lnTo>
                      <a:cubicBezTo>
                        <a:pt x="1922250" y="481356"/>
                        <a:pt x="1927524" y="484328"/>
                        <a:pt x="1933719" y="486504"/>
                      </a:cubicBezTo>
                      <a:cubicBezTo>
                        <a:pt x="1939914" y="488681"/>
                        <a:pt x="1945271" y="489769"/>
                        <a:pt x="1949792" y="489769"/>
                      </a:cubicBezTo>
                      <a:cubicBezTo>
                        <a:pt x="1969968" y="489769"/>
                        <a:pt x="1980055" y="481523"/>
                        <a:pt x="1980055" y="465031"/>
                      </a:cubicBezTo>
                      <a:cubicBezTo>
                        <a:pt x="1980055" y="459338"/>
                        <a:pt x="1977837" y="454483"/>
                        <a:pt x="1973400" y="450465"/>
                      </a:cubicBezTo>
                      <a:cubicBezTo>
                        <a:pt x="1968963" y="446446"/>
                        <a:pt x="1961763" y="442302"/>
                        <a:pt x="1951801" y="438033"/>
                      </a:cubicBezTo>
                      <a:cubicBezTo>
                        <a:pt x="1939495" y="432675"/>
                        <a:pt x="1930851" y="427129"/>
                        <a:pt x="1925870" y="421394"/>
                      </a:cubicBezTo>
                      <a:cubicBezTo>
                        <a:pt x="1920889" y="415660"/>
                        <a:pt x="1918399" y="408690"/>
                        <a:pt x="1918399" y="400486"/>
                      </a:cubicBezTo>
                      <a:cubicBezTo>
                        <a:pt x="1918399" y="390022"/>
                        <a:pt x="1922396" y="381566"/>
                        <a:pt x="1930391" y="375120"/>
                      </a:cubicBezTo>
                      <a:cubicBezTo>
                        <a:pt x="1938386" y="368674"/>
                        <a:pt x="1948243" y="365451"/>
                        <a:pt x="1959964" y="365451"/>
                      </a:cubicBezTo>
                      <a:close/>
                      <a:moveTo>
                        <a:pt x="1839548" y="365451"/>
                      </a:moveTo>
                      <a:cubicBezTo>
                        <a:pt x="1855537" y="365451"/>
                        <a:pt x="1867802" y="371060"/>
                        <a:pt x="1876341" y="382278"/>
                      </a:cubicBezTo>
                      <a:cubicBezTo>
                        <a:pt x="1884880" y="393496"/>
                        <a:pt x="1889149" y="408816"/>
                        <a:pt x="1889149" y="428238"/>
                      </a:cubicBezTo>
                      <a:lnTo>
                        <a:pt x="1889149" y="433387"/>
                      </a:lnTo>
                      <a:lnTo>
                        <a:pt x="1793964" y="433387"/>
                      </a:lnTo>
                      <a:cubicBezTo>
                        <a:pt x="1793964" y="451051"/>
                        <a:pt x="1798046" y="464864"/>
                        <a:pt x="1806208" y="474826"/>
                      </a:cubicBezTo>
                      <a:cubicBezTo>
                        <a:pt x="1814370" y="484788"/>
                        <a:pt x="1825567" y="489769"/>
                        <a:pt x="1839799" y="489769"/>
                      </a:cubicBezTo>
                      <a:cubicBezTo>
                        <a:pt x="1854198" y="489769"/>
                        <a:pt x="1868262" y="484453"/>
                        <a:pt x="1881992" y="473821"/>
                      </a:cubicBezTo>
                      <a:lnTo>
                        <a:pt x="1881992" y="486127"/>
                      </a:lnTo>
                      <a:cubicBezTo>
                        <a:pt x="1868681" y="495587"/>
                        <a:pt x="1853821" y="500317"/>
                        <a:pt x="1837413" y="500317"/>
                      </a:cubicBezTo>
                      <a:cubicBezTo>
                        <a:pt x="1820837" y="500317"/>
                        <a:pt x="1807443" y="494373"/>
                        <a:pt x="1797229" y="482486"/>
                      </a:cubicBezTo>
                      <a:cubicBezTo>
                        <a:pt x="1787016" y="470598"/>
                        <a:pt x="1781909" y="453813"/>
                        <a:pt x="1781909" y="432131"/>
                      </a:cubicBezTo>
                      <a:cubicBezTo>
                        <a:pt x="1781909" y="413378"/>
                        <a:pt x="1787246" y="397577"/>
                        <a:pt x="1797920" y="384727"/>
                      </a:cubicBezTo>
                      <a:cubicBezTo>
                        <a:pt x="1808594" y="371876"/>
                        <a:pt x="1822470" y="365451"/>
                        <a:pt x="1839548" y="365451"/>
                      </a:cubicBezTo>
                      <a:close/>
                      <a:moveTo>
                        <a:pt x="1732154" y="365451"/>
                      </a:moveTo>
                      <a:cubicBezTo>
                        <a:pt x="1741949" y="365451"/>
                        <a:pt x="1751451" y="367460"/>
                        <a:pt x="1760659" y="371479"/>
                      </a:cubicBezTo>
                      <a:lnTo>
                        <a:pt x="1760659" y="384538"/>
                      </a:lnTo>
                      <a:cubicBezTo>
                        <a:pt x="1751451" y="378846"/>
                        <a:pt x="1741363" y="375999"/>
                        <a:pt x="1730396" y="375999"/>
                      </a:cubicBezTo>
                      <a:cubicBezTo>
                        <a:pt x="1715327" y="375999"/>
                        <a:pt x="1703105" y="381420"/>
                        <a:pt x="1693729" y="392261"/>
                      </a:cubicBezTo>
                      <a:cubicBezTo>
                        <a:pt x="1684353" y="403102"/>
                        <a:pt x="1679664" y="417146"/>
                        <a:pt x="1679664" y="434391"/>
                      </a:cubicBezTo>
                      <a:cubicBezTo>
                        <a:pt x="1679664" y="451051"/>
                        <a:pt x="1683955" y="464445"/>
                        <a:pt x="1692536" y="474575"/>
                      </a:cubicBezTo>
                      <a:cubicBezTo>
                        <a:pt x="1701117" y="484704"/>
                        <a:pt x="1712439" y="489769"/>
                        <a:pt x="1726503" y="489769"/>
                      </a:cubicBezTo>
                      <a:cubicBezTo>
                        <a:pt x="1739396" y="489769"/>
                        <a:pt x="1750614" y="486337"/>
                        <a:pt x="1760157" y="479472"/>
                      </a:cubicBezTo>
                      <a:lnTo>
                        <a:pt x="1760157" y="491527"/>
                      </a:lnTo>
                      <a:cubicBezTo>
                        <a:pt x="1750614" y="497387"/>
                        <a:pt x="1739228" y="500317"/>
                        <a:pt x="1726001" y="500317"/>
                      </a:cubicBezTo>
                      <a:cubicBezTo>
                        <a:pt x="1708505" y="500317"/>
                        <a:pt x="1694398" y="494311"/>
                        <a:pt x="1683683" y="482297"/>
                      </a:cubicBezTo>
                      <a:cubicBezTo>
                        <a:pt x="1672967" y="470284"/>
                        <a:pt x="1667609" y="454567"/>
                        <a:pt x="1667609" y="435145"/>
                      </a:cubicBezTo>
                      <a:cubicBezTo>
                        <a:pt x="1667609" y="414718"/>
                        <a:pt x="1673637" y="397996"/>
                        <a:pt x="1685692" y="384978"/>
                      </a:cubicBezTo>
                      <a:cubicBezTo>
                        <a:pt x="1697747" y="371960"/>
                        <a:pt x="1713234" y="365451"/>
                        <a:pt x="1732154" y="365451"/>
                      </a:cubicBezTo>
                      <a:close/>
                      <a:moveTo>
                        <a:pt x="1466567" y="365451"/>
                      </a:moveTo>
                      <a:cubicBezTo>
                        <a:pt x="1479794" y="365451"/>
                        <a:pt x="1490028" y="369553"/>
                        <a:pt x="1497270" y="377757"/>
                      </a:cubicBezTo>
                      <a:cubicBezTo>
                        <a:pt x="1504511" y="385962"/>
                        <a:pt x="1508132" y="397891"/>
                        <a:pt x="1508132" y="413546"/>
                      </a:cubicBezTo>
                      <a:lnTo>
                        <a:pt x="1508132" y="497178"/>
                      </a:lnTo>
                      <a:lnTo>
                        <a:pt x="1496579" y="497178"/>
                      </a:lnTo>
                      <a:lnTo>
                        <a:pt x="1496579" y="471435"/>
                      </a:lnTo>
                      <a:lnTo>
                        <a:pt x="1496077" y="471435"/>
                      </a:lnTo>
                      <a:cubicBezTo>
                        <a:pt x="1491975" y="480226"/>
                        <a:pt x="1486010" y="487237"/>
                        <a:pt x="1478182" y="492469"/>
                      </a:cubicBezTo>
                      <a:cubicBezTo>
                        <a:pt x="1470355" y="497701"/>
                        <a:pt x="1461669" y="500317"/>
                        <a:pt x="1452126" y="500317"/>
                      </a:cubicBezTo>
                      <a:cubicBezTo>
                        <a:pt x="1439903" y="500317"/>
                        <a:pt x="1430234" y="496885"/>
                        <a:pt x="1423118" y="490020"/>
                      </a:cubicBezTo>
                      <a:cubicBezTo>
                        <a:pt x="1416002" y="483156"/>
                        <a:pt x="1412445" y="474491"/>
                        <a:pt x="1412445" y="464027"/>
                      </a:cubicBezTo>
                      <a:cubicBezTo>
                        <a:pt x="1412445" y="441591"/>
                        <a:pt x="1427304" y="428029"/>
                        <a:pt x="1457023" y="423341"/>
                      </a:cubicBezTo>
                      <a:lnTo>
                        <a:pt x="1496579" y="417439"/>
                      </a:lnTo>
                      <a:cubicBezTo>
                        <a:pt x="1496579" y="389812"/>
                        <a:pt x="1486198" y="375999"/>
                        <a:pt x="1465437" y="375999"/>
                      </a:cubicBezTo>
                      <a:cubicBezTo>
                        <a:pt x="1451289" y="375999"/>
                        <a:pt x="1437517" y="381692"/>
                        <a:pt x="1424123" y="393077"/>
                      </a:cubicBezTo>
                      <a:lnTo>
                        <a:pt x="1424123" y="379139"/>
                      </a:lnTo>
                      <a:cubicBezTo>
                        <a:pt x="1428895" y="375371"/>
                        <a:pt x="1435362" y="372148"/>
                        <a:pt x="1443524" y="369469"/>
                      </a:cubicBezTo>
                      <a:cubicBezTo>
                        <a:pt x="1451686" y="366791"/>
                        <a:pt x="1459367" y="365451"/>
                        <a:pt x="1466567" y="365451"/>
                      </a:cubicBezTo>
                      <a:close/>
                      <a:moveTo>
                        <a:pt x="1222703" y="365451"/>
                      </a:moveTo>
                      <a:cubicBezTo>
                        <a:pt x="1239027" y="365451"/>
                        <a:pt x="1251773" y="371081"/>
                        <a:pt x="1260940" y="382341"/>
                      </a:cubicBezTo>
                      <a:cubicBezTo>
                        <a:pt x="1270107" y="393601"/>
                        <a:pt x="1274690" y="408900"/>
                        <a:pt x="1274690" y="428238"/>
                      </a:cubicBezTo>
                      <a:cubicBezTo>
                        <a:pt x="1274690" y="449753"/>
                        <a:pt x="1269437" y="467145"/>
                        <a:pt x="1258931" y="480414"/>
                      </a:cubicBezTo>
                      <a:cubicBezTo>
                        <a:pt x="1248424" y="493683"/>
                        <a:pt x="1234548" y="500317"/>
                        <a:pt x="1217303" y="500317"/>
                      </a:cubicBezTo>
                      <a:cubicBezTo>
                        <a:pt x="1198048" y="500317"/>
                        <a:pt x="1183817" y="491653"/>
                        <a:pt x="1174608" y="474324"/>
                      </a:cubicBezTo>
                      <a:lnTo>
                        <a:pt x="1174106" y="474324"/>
                      </a:lnTo>
                      <a:lnTo>
                        <a:pt x="1174106" y="556323"/>
                      </a:lnTo>
                      <a:lnTo>
                        <a:pt x="1162553" y="556323"/>
                      </a:lnTo>
                      <a:lnTo>
                        <a:pt x="1162553" y="368591"/>
                      </a:lnTo>
                      <a:lnTo>
                        <a:pt x="1174106" y="368591"/>
                      </a:lnTo>
                      <a:lnTo>
                        <a:pt x="1174106" y="395087"/>
                      </a:lnTo>
                      <a:lnTo>
                        <a:pt x="1174608" y="395087"/>
                      </a:lnTo>
                      <a:cubicBezTo>
                        <a:pt x="1179212" y="385627"/>
                        <a:pt x="1185805" y="378322"/>
                        <a:pt x="1194386" y="373174"/>
                      </a:cubicBezTo>
                      <a:cubicBezTo>
                        <a:pt x="1202967" y="368025"/>
                        <a:pt x="1212406" y="365451"/>
                        <a:pt x="1222703" y="365451"/>
                      </a:cubicBezTo>
                      <a:close/>
                      <a:moveTo>
                        <a:pt x="1079828" y="365451"/>
                      </a:moveTo>
                      <a:cubicBezTo>
                        <a:pt x="1096152" y="365451"/>
                        <a:pt x="1108898" y="371081"/>
                        <a:pt x="1118065" y="382341"/>
                      </a:cubicBezTo>
                      <a:cubicBezTo>
                        <a:pt x="1127232" y="393601"/>
                        <a:pt x="1131815" y="408900"/>
                        <a:pt x="1131815" y="428238"/>
                      </a:cubicBezTo>
                      <a:cubicBezTo>
                        <a:pt x="1131815" y="449753"/>
                        <a:pt x="1126562" y="467145"/>
                        <a:pt x="1116056" y="480414"/>
                      </a:cubicBezTo>
                      <a:cubicBezTo>
                        <a:pt x="1105549" y="493683"/>
                        <a:pt x="1091673" y="500317"/>
                        <a:pt x="1074428" y="500317"/>
                      </a:cubicBezTo>
                      <a:cubicBezTo>
                        <a:pt x="1055173" y="500317"/>
                        <a:pt x="1040942" y="491653"/>
                        <a:pt x="1031733" y="474324"/>
                      </a:cubicBezTo>
                      <a:lnTo>
                        <a:pt x="1031231" y="474324"/>
                      </a:lnTo>
                      <a:lnTo>
                        <a:pt x="1031231" y="556323"/>
                      </a:lnTo>
                      <a:lnTo>
                        <a:pt x="1019678" y="556323"/>
                      </a:lnTo>
                      <a:lnTo>
                        <a:pt x="1019678" y="368591"/>
                      </a:lnTo>
                      <a:lnTo>
                        <a:pt x="1031231" y="368591"/>
                      </a:lnTo>
                      <a:lnTo>
                        <a:pt x="1031231" y="395087"/>
                      </a:lnTo>
                      <a:lnTo>
                        <a:pt x="1031733" y="395087"/>
                      </a:lnTo>
                      <a:cubicBezTo>
                        <a:pt x="1036337" y="385627"/>
                        <a:pt x="1042930" y="378322"/>
                        <a:pt x="1051511" y="373174"/>
                      </a:cubicBezTo>
                      <a:cubicBezTo>
                        <a:pt x="1060092" y="368025"/>
                        <a:pt x="1069531" y="365451"/>
                        <a:pt x="1079828" y="365451"/>
                      </a:cubicBezTo>
                      <a:close/>
                      <a:moveTo>
                        <a:pt x="942692" y="365451"/>
                      </a:moveTo>
                      <a:cubicBezTo>
                        <a:pt x="955919" y="365451"/>
                        <a:pt x="966153" y="369553"/>
                        <a:pt x="973395" y="377757"/>
                      </a:cubicBezTo>
                      <a:cubicBezTo>
                        <a:pt x="980636" y="385962"/>
                        <a:pt x="984257" y="397891"/>
                        <a:pt x="984257" y="413546"/>
                      </a:cubicBezTo>
                      <a:lnTo>
                        <a:pt x="984257" y="497178"/>
                      </a:lnTo>
                      <a:lnTo>
                        <a:pt x="972704" y="497178"/>
                      </a:lnTo>
                      <a:lnTo>
                        <a:pt x="972704" y="471435"/>
                      </a:lnTo>
                      <a:lnTo>
                        <a:pt x="972202" y="471435"/>
                      </a:lnTo>
                      <a:cubicBezTo>
                        <a:pt x="968100" y="480226"/>
                        <a:pt x="962135" y="487237"/>
                        <a:pt x="954307" y="492469"/>
                      </a:cubicBezTo>
                      <a:cubicBezTo>
                        <a:pt x="946480" y="497701"/>
                        <a:pt x="937794" y="500317"/>
                        <a:pt x="928251" y="500317"/>
                      </a:cubicBezTo>
                      <a:cubicBezTo>
                        <a:pt x="916028" y="500317"/>
                        <a:pt x="906359" y="496885"/>
                        <a:pt x="899243" y="490020"/>
                      </a:cubicBezTo>
                      <a:cubicBezTo>
                        <a:pt x="892127" y="483156"/>
                        <a:pt x="888570" y="474491"/>
                        <a:pt x="888570" y="464027"/>
                      </a:cubicBezTo>
                      <a:cubicBezTo>
                        <a:pt x="888570" y="441591"/>
                        <a:pt x="903429" y="428029"/>
                        <a:pt x="933148" y="423341"/>
                      </a:cubicBezTo>
                      <a:lnTo>
                        <a:pt x="972704" y="417439"/>
                      </a:lnTo>
                      <a:cubicBezTo>
                        <a:pt x="972704" y="389812"/>
                        <a:pt x="962323" y="375999"/>
                        <a:pt x="941562" y="375999"/>
                      </a:cubicBezTo>
                      <a:cubicBezTo>
                        <a:pt x="927414" y="375999"/>
                        <a:pt x="913642" y="381692"/>
                        <a:pt x="900248" y="393077"/>
                      </a:cubicBezTo>
                      <a:lnTo>
                        <a:pt x="900248" y="379139"/>
                      </a:lnTo>
                      <a:cubicBezTo>
                        <a:pt x="905020" y="375371"/>
                        <a:pt x="911487" y="372148"/>
                        <a:pt x="919649" y="369469"/>
                      </a:cubicBezTo>
                      <a:cubicBezTo>
                        <a:pt x="927811" y="366791"/>
                        <a:pt x="935492" y="365451"/>
                        <a:pt x="942692" y="365451"/>
                      </a:cubicBezTo>
                      <a:close/>
                      <a:moveTo>
                        <a:pt x="744173" y="365451"/>
                      </a:moveTo>
                      <a:cubicBezTo>
                        <a:pt x="760162" y="365451"/>
                        <a:pt x="772427" y="371060"/>
                        <a:pt x="780966" y="382278"/>
                      </a:cubicBezTo>
                      <a:cubicBezTo>
                        <a:pt x="789505" y="393496"/>
                        <a:pt x="793774" y="408816"/>
                        <a:pt x="793774" y="428238"/>
                      </a:cubicBezTo>
                      <a:lnTo>
                        <a:pt x="793774" y="433387"/>
                      </a:lnTo>
                      <a:lnTo>
                        <a:pt x="698589" y="433387"/>
                      </a:lnTo>
                      <a:cubicBezTo>
                        <a:pt x="698589" y="451051"/>
                        <a:pt x="702670" y="464864"/>
                        <a:pt x="710833" y="474826"/>
                      </a:cubicBezTo>
                      <a:cubicBezTo>
                        <a:pt x="718995" y="484788"/>
                        <a:pt x="730192" y="489769"/>
                        <a:pt x="744424" y="489769"/>
                      </a:cubicBezTo>
                      <a:cubicBezTo>
                        <a:pt x="758823" y="489769"/>
                        <a:pt x="772887" y="484453"/>
                        <a:pt x="786616" y="473821"/>
                      </a:cubicBezTo>
                      <a:lnTo>
                        <a:pt x="786616" y="486127"/>
                      </a:lnTo>
                      <a:cubicBezTo>
                        <a:pt x="773306" y="495587"/>
                        <a:pt x="758446" y="500317"/>
                        <a:pt x="742038" y="500317"/>
                      </a:cubicBezTo>
                      <a:cubicBezTo>
                        <a:pt x="725462" y="500317"/>
                        <a:pt x="712068" y="494373"/>
                        <a:pt x="701854" y="482486"/>
                      </a:cubicBezTo>
                      <a:cubicBezTo>
                        <a:pt x="691641" y="470598"/>
                        <a:pt x="686534" y="453813"/>
                        <a:pt x="686534" y="432131"/>
                      </a:cubicBezTo>
                      <a:cubicBezTo>
                        <a:pt x="686534" y="413378"/>
                        <a:pt x="691871" y="397577"/>
                        <a:pt x="702545" y="384727"/>
                      </a:cubicBezTo>
                      <a:cubicBezTo>
                        <a:pt x="713219" y="371876"/>
                        <a:pt x="727095" y="365451"/>
                        <a:pt x="744173" y="365451"/>
                      </a:cubicBezTo>
                      <a:close/>
                      <a:moveTo>
                        <a:pt x="396395" y="365451"/>
                      </a:moveTo>
                      <a:cubicBezTo>
                        <a:pt x="414729" y="365451"/>
                        <a:pt x="429212" y="371437"/>
                        <a:pt x="439843" y="383408"/>
                      </a:cubicBezTo>
                      <a:cubicBezTo>
                        <a:pt x="450475" y="395380"/>
                        <a:pt x="455791" y="411955"/>
                        <a:pt x="455791" y="433135"/>
                      </a:cubicBezTo>
                      <a:cubicBezTo>
                        <a:pt x="455791" y="453143"/>
                        <a:pt x="450371" y="469343"/>
                        <a:pt x="439529" y="481732"/>
                      </a:cubicBezTo>
                      <a:cubicBezTo>
                        <a:pt x="428688" y="494122"/>
                        <a:pt x="413850" y="500317"/>
                        <a:pt x="395014" y="500317"/>
                      </a:cubicBezTo>
                      <a:cubicBezTo>
                        <a:pt x="376261" y="500317"/>
                        <a:pt x="361423" y="494143"/>
                        <a:pt x="350498" y="481795"/>
                      </a:cubicBezTo>
                      <a:cubicBezTo>
                        <a:pt x="339573" y="469447"/>
                        <a:pt x="334110" y="453395"/>
                        <a:pt x="334110" y="433638"/>
                      </a:cubicBezTo>
                      <a:cubicBezTo>
                        <a:pt x="334110" y="412290"/>
                        <a:pt x="339824" y="395589"/>
                        <a:pt x="351251" y="383534"/>
                      </a:cubicBezTo>
                      <a:cubicBezTo>
                        <a:pt x="362678" y="371479"/>
                        <a:pt x="377726" y="365451"/>
                        <a:pt x="396395" y="365451"/>
                      </a:cubicBezTo>
                      <a:close/>
                      <a:moveTo>
                        <a:pt x="2148134" y="324640"/>
                      </a:moveTo>
                      <a:cubicBezTo>
                        <a:pt x="2138674" y="324640"/>
                        <a:pt x="2131139" y="327674"/>
                        <a:pt x="2125530" y="333744"/>
                      </a:cubicBezTo>
                      <a:cubicBezTo>
                        <a:pt x="2119921" y="339813"/>
                        <a:pt x="2117117" y="347243"/>
                        <a:pt x="2117117" y="356033"/>
                      </a:cubicBezTo>
                      <a:cubicBezTo>
                        <a:pt x="2117117" y="366749"/>
                        <a:pt x="2123605" y="379348"/>
                        <a:pt x="2136581" y="393831"/>
                      </a:cubicBezTo>
                      <a:cubicBezTo>
                        <a:pt x="2151147" y="387385"/>
                        <a:pt x="2161298" y="380939"/>
                        <a:pt x="2167032" y="374492"/>
                      </a:cubicBezTo>
                      <a:cubicBezTo>
                        <a:pt x="2172767" y="368046"/>
                        <a:pt x="2175634" y="360512"/>
                        <a:pt x="2175634" y="351889"/>
                      </a:cubicBezTo>
                      <a:cubicBezTo>
                        <a:pt x="2175634" y="343601"/>
                        <a:pt x="2172997" y="336988"/>
                        <a:pt x="2167723" y="332049"/>
                      </a:cubicBezTo>
                      <a:cubicBezTo>
                        <a:pt x="2162449" y="327109"/>
                        <a:pt x="2155919" y="324640"/>
                        <a:pt x="2148134" y="324640"/>
                      </a:cubicBezTo>
                      <a:close/>
                      <a:moveTo>
                        <a:pt x="2720778" y="317106"/>
                      </a:moveTo>
                      <a:cubicBezTo>
                        <a:pt x="2723373" y="317106"/>
                        <a:pt x="2725654" y="317943"/>
                        <a:pt x="2727621" y="319618"/>
                      </a:cubicBezTo>
                      <a:cubicBezTo>
                        <a:pt x="2729589" y="321292"/>
                        <a:pt x="2730572" y="323552"/>
                        <a:pt x="2730572" y="326399"/>
                      </a:cubicBezTo>
                      <a:cubicBezTo>
                        <a:pt x="2730572" y="329078"/>
                        <a:pt x="2729610" y="331380"/>
                        <a:pt x="2727684" y="333305"/>
                      </a:cubicBezTo>
                      <a:cubicBezTo>
                        <a:pt x="2725759" y="335231"/>
                        <a:pt x="2723457" y="336193"/>
                        <a:pt x="2720778" y="336193"/>
                      </a:cubicBezTo>
                      <a:cubicBezTo>
                        <a:pt x="2718266" y="336193"/>
                        <a:pt x="2716048" y="335273"/>
                        <a:pt x="2714122" y="333431"/>
                      </a:cubicBezTo>
                      <a:cubicBezTo>
                        <a:pt x="2712197" y="331589"/>
                        <a:pt x="2711234" y="329245"/>
                        <a:pt x="2711234" y="326399"/>
                      </a:cubicBezTo>
                      <a:cubicBezTo>
                        <a:pt x="2711234" y="323636"/>
                        <a:pt x="2712218" y="321397"/>
                        <a:pt x="2714185" y="319681"/>
                      </a:cubicBezTo>
                      <a:cubicBezTo>
                        <a:pt x="2716152" y="317964"/>
                        <a:pt x="2718350" y="317106"/>
                        <a:pt x="2720778" y="317106"/>
                      </a:cubicBezTo>
                      <a:close/>
                      <a:moveTo>
                        <a:pt x="1368228" y="317106"/>
                      </a:moveTo>
                      <a:cubicBezTo>
                        <a:pt x="1370823" y="317106"/>
                        <a:pt x="1373104" y="317943"/>
                        <a:pt x="1375071" y="319618"/>
                      </a:cubicBezTo>
                      <a:cubicBezTo>
                        <a:pt x="1377039" y="321292"/>
                        <a:pt x="1378022" y="323552"/>
                        <a:pt x="1378022" y="326399"/>
                      </a:cubicBezTo>
                      <a:cubicBezTo>
                        <a:pt x="1378022" y="329078"/>
                        <a:pt x="1377060" y="331380"/>
                        <a:pt x="1375134" y="333305"/>
                      </a:cubicBezTo>
                      <a:cubicBezTo>
                        <a:pt x="1373209" y="335231"/>
                        <a:pt x="1370907" y="336193"/>
                        <a:pt x="1368228" y="336193"/>
                      </a:cubicBezTo>
                      <a:cubicBezTo>
                        <a:pt x="1365716" y="336193"/>
                        <a:pt x="1363498" y="335273"/>
                        <a:pt x="1361572" y="333431"/>
                      </a:cubicBezTo>
                      <a:cubicBezTo>
                        <a:pt x="1359647" y="331589"/>
                        <a:pt x="1358684" y="329245"/>
                        <a:pt x="1358684" y="326399"/>
                      </a:cubicBezTo>
                      <a:cubicBezTo>
                        <a:pt x="1358684" y="323636"/>
                        <a:pt x="1359668" y="321397"/>
                        <a:pt x="1361635" y="319681"/>
                      </a:cubicBezTo>
                      <a:cubicBezTo>
                        <a:pt x="1363602" y="317964"/>
                        <a:pt x="1365800" y="317106"/>
                        <a:pt x="1368228" y="317106"/>
                      </a:cubicBezTo>
                      <a:close/>
                      <a:moveTo>
                        <a:pt x="2149264" y="314091"/>
                      </a:moveTo>
                      <a:cubicBezTo>
                        <a:pt x="2161235" y="314091"/>
                        <a:pt x="2170653" y="317503"/>
                        <a:pt x="2177518" y="324326"/>
                      </a:cubicBezTo>
                      <a:cubicBezTo>
                        <a:pt x="2184382" y="331149"/>
                        <a:pt x="2187815" y="339834"/>
                        <a:pt x="2187815" y="350382"/>
                      </a:cubicBezTo>
                      <a:cubicBezTo>
                        <a:pt x="2187815" y="361851"/>
                        <a:pt x="2184341" y="371625"/>
                        <a:pt x="2177392" y="379704"/>
                      </a:cubicBezTo>
                      <a:cubicBezTo>
                        <a:pt x="2170444" y="387782"/>
                        <a:pt x="2159519" y="395212"/>
                        <a:pt x="2144617" y="401993"/>
                      </a:cubicBezTo>
                      <a:cubicBezTo>
                        <a:pt x="2157175" y="415304"/>
                        <a:pt x="2175592" y="433470"/>
                        <a:pt x="2199870" y="456492"/>
                      </a:cubicBezTo>
                      <a:cubicBezTo>
                        <a:pt x="2210334" y="440921"/>
                        <a:pt x="2215901" y="422755"/>
                        <a:pt x="2216571" y="401993"/>
                      </a:cubicBezTo>
                      <a:lnTo>
                        <a:pt x="2228626" y="401993"/>
                      </a:lnTo>
                      <a:cubicBezTo>
                        <a:pt x="2228040" y="424345"/>
                        <a:pt x="2221092" y="445190"/>
                        <a:pt x="2207781" y="464529"/>
                      </a:cubicBezTo>
                      <a:cubicBezTo>
                        <a:pt x="2222096" y="478593"/>
                        <a:pt x="2233524" y="489560"/>
                        <a:pt x="2242063" y="497429"/>
                      </a:cubicBezTo>
                      <a:lnTo>
                        <a:pt x="2224106" y="497178"/>
                      </a:lnTo>
                      <a:lnTo>
                        <a:pt x="2199870" y="473570"/>
                      </a:lnTo>
                      <a:cubicBezTo>
                        <a:pt x="2183043" y="491402"/>
                        <a:pt x="2162993" y="500317"/>
                        <a:pt x="2139720" y="500317"/>
                      </a:cubicBezTo>
                      <a:cubicBezTo>
                        <a:pt x="2122056" y="500317"/>
                        <a:pt x="2108285" y="495776"/>
                        <a:pt x="2098406" y="486693"/>
                      </a:cubicBezTo>
                      <a:cubicBezTo>
                        <a:pt x="2088528" y="477609"/>
                        <a:pt x="2083589" y="466036"/>
                        <a:pt x="2083589" y="451971"/>
                      </a:cubicBezTo>
                      <a:cubicBezTo>
                        <a:pt x="2083589" y="428866"/>
                        <a:pt x="2097485" y="411118"/>
                        <a:pt x="2125279" y="398728"/>
                      </a:cubicBezTo>
                      <a:cubicBezTo>
                        <a:pt x="2111717" y="383073"/>
                        <a:pt x="2104936" y="368758"/>
                        <a:pt x="2104936" y="355782"/>
                      </a:cubicBezTo>
                      <a:cubicBezTo>
                        <a:pt x="2104936" y="344145"/>
                        <a:pt x="2109059" y="334288"/>
                        <a:pt x="2117305" y="326209"/>
                      </a:cubicBezTo>
                      <a:cubicBezTo>
                        <a:pt x="2125551" y="318131"/>
                        <a:pt x="2136204" y="314091"/>
                        <a:pt x="2149264" y="314091"/>
                      </a:cubicBezTo>
                      <a:close/>
                      <a:moveTo>
                        <a:pt x="2415894" y="306809"/>
                      </a:moveTo>
                      <a:lnTo>
                        <a:pt x="2427447" y="306809"/>
                      </a:lnTo>
                      <a:lnTo>
                        <a:pt x="2427447" y="497179"/>
                      </a:lnTo>
                      <a:lnTo>
                        <a:pt x="2415894" y="497179"/>
                      </a:lnTo>
                      <a:lnTo>
                        <a:pt x="2415894" y="473822"/>
                      </a:lnTo>
                      <a:lnTo>
                        <a:pt x="2415392" y="473822"/>
                      </a:lnTo>
                      <a:cubicBezTo>
                        <a:pt x="2411206" y="481943"/>
                        <a:pt x="2405011" y="488389"/>
                        <a:pt x="2396807" y="493161"/>
                      </a:cubicBezTo>
                      <a:cubicBezTo>
                        <a:pt x="2388603" y="497932"/>
                        <a:pt x="2379352" y="500318"/>
                        <a:pt x="2369055" y="500318"/>
                      </a:cubicBezTo>
                      <a:cubicBezTo>
                        <a:pt x="2353233" y="500318"/>
                        <a:pt x="2340319" y="494542"/>
                        <a:pt x="2330315" y="482989"/>
                      </a:cubicBezTo>
                      <a:cubicBezTo>
                        <a:pt x="2320311" y="471436"/>
                        <a:pt x="2315309" y="455488"/>
                        <a:pt x="2315309" y="435146"/>
                      </a:cubicBezTo>
                      <a:cubicBezTo>
                        <a:pt x="2315309" y="414384"/>
                        <a:pt x="2320772" y="397578"/>
                        <a:pt x="2331697" y="384728"/>
                      </a:cubicBezTo>
                      <a:cubicBezTo>
                        <a:pt x="2342622" y="371877"/>
                        <a:pt x="2356791" y="365452"/>
                        <a:pt x="2374203" y="365452"/>
                      </a:cubicBezTo>
                      <a:cubicBezTo>
                        <a:pt x="2393458" y="365452"/>
                        <a:pt x="2407187" y="373363"/>
                        <a:pt x="2415392" y="389186"/>
                      </a:cubicBezTo>
                      <a:lnTo>
                        <a:pt x="2415894" y="389186"/>
                      </a:lnTo>
                      <a:close/>
                      <a:moveTo>
                        <a:pt x="1305428" y="306808"/>
                      </a:moveTo>
                      <a:lnTo>
                        <a:pt x="1316981" y="306808"/>
                      </a:lnTo>
                      <a:lnTo>
                        <a:pt x="1316981" y="497178"/>
                      </a:lnTo>
                      <a:lnTo>
                        <a:pt x="1305428" y="497178"/>
                      </a:lnTo>
                      <a:close/>
                      <a:moveTo>
                        <a:pt x="210052" y="306808"/>
                      </a:moveTo>
                      <a:lnTo>
                        <a:pt x="221605" y="306808"/>
                      </a:lnTo>
                      <a:lnTo>
                        <a:pt x="221605" y="391696"/>
                      </a:lnTo>
                      <a:lnTo>
                        <a:pt x="222107" y="391696"/>
                      </a:lnTo>
                      <a:cubicBezTo>
                        <a:pt x="232236" y="374199"/>
                        <a:pt x="246970" y="365451"/>
                        <a:pt x="266309" y="365451"/>
                      </a:cubicBezTo>
                      <a:cubicBezTo>
                        <a:pt x="280206" y="365451"/>
                        <a:pt x="290796" y="369930"/>
                        <a:pt x="298079" y="378888"/>
                      </a:cubicBezTo>
                      <a:cubicBezTo>
                        <a:pt x="305362" y="387845"/>
                        <a:pt x="309004" y="400695"/>
                        <a:pt x="309004" y="417439"/>
                      </a:cubicBezTo>
                      <a:lnTo>
                        <a:pt x="309004" y="497178"/>
                      </a:lnTo>
                      <a:lnTo>
                        <a:pt x="297451" y="497178"/>
                      </a:lnTo>
                      <a:lnTo>
                        <a:pt x="297451" y="420076"/>
                      </a:lnTo>
                      <a:cubicBezTo>
                        <a:pt x="297451" y="404839"/>
                        <a:pt x="294688" y="393684"/>
                        <a:pt x="289163" y="386610"/>
                      </a:cubicBezTo>
                      <a:cubicBezTo>
                        <a:pt x="283638" y="379536"/>
                        <a:pt x="275015" y="375999"/>
                        <a:pt x="263295" y="375999"/>
                      </a:cubicBezTo>
                      <a:cubicBezTo>
                        <a:pt x="252244" y="375999"/>
                        <a:pt x="242533" y="380311"/>
                        <a:pt x="234162" y="388933"/>
                      </a:cubicBezTo>
                      <a:cubicBezTo>
                        <a:pt x="225790" y="397556"/>
                        <a:pt x="221605" y="409904"/>
                        <a:pt x="221605" y="425978"/>
                      </a:cubicBezTo>
                      <a:lnTo>
                        <a:pt x="221605" y="497178"/>
                      </a:lnTo>
                      <a:lnTo>
                        <a:pt x="210052" y="497178"/>
                      </a:lnTo>
                      <a:close/>
                      <a:moveTo>
                        <a:pt x="1934729" y="123187"/>
                      </a:moveTo>
                      <a:lnTo>
                        <a:pt x="1899317" y="128335"/>
                      </a:lnTo>
                      <a:cubicBezTo>
                        <a:pt x="1885839" y="130261"/>
                        <a:pt x="1876379" y="133379"/>
                        <a:pt x="1870937" y="137691"/>
                      </a:cubicBezTo>
                      <a:cubicBezTo>
                        <a:pt x="1865496" y="142002"/>
                        <a:pt x="1862775" y="149013"/>
                        <a:pt x="1862775" y="158724"/>
                      </a:cubicBezTo>
                      <a:cubicBezTo>
                        <a:pt x="1862775" y="166342"/>
                        <a:pt x="1865308" y="172621"/>
                        <a:pt x="1870372" y="177560"/>
                      </a:cubicBezTo>
                      <a:cubicBezTo>
                        <a:pt x="1875437" y="182500"/>
                        <a:pt x="1882490" y="184969"/>
                        <a:pt x="1891532" y="184969"/>
                      </a:cubicBezTo>
                      <a:cubicBezTo>
                        <a:pt x="1903922" y="184969"/>
                        <a:pt x="1914219" y="180386"/>
                        <a:pt x="1922423" y="171219"/>
                      </a:cubicBezTo>
                      <a:cubicBezTo>
                        <a:pt x="1930627" y="162052"/>
                        <a:pt x="1934729" y="150227"/>
                        <a:pt x="1934729" y="135744"/>
                      </a:cubicBezTo>
                      <a:close/>
                      <a:moveTo>
                        <a:pt x="398051" y="113644"/>
                      </a:moveTo>
                      <a:cubicBezTo>
                        <a:pt x="388507" y="113644"/>
                        <a:pt x="380931" y="116909"/>
                        <a:pt x="375322" y="123439"/>
                      </a:cubicBezTo>
                      <a:cubicBezTo>
                        <a:pt x="369713" y="129969"/>
                        <a:pt x="366908" y="138885"/>
                        <a:pt x="366908" y="150186"/>
                      </a:cubicBezTo>
                      <a:cubicBezTo>
                        <a:pt x="366908" y="160986"/>
                        <a:pt x="369608" y="169566"/>
                        <a:pt x="375008" y="175929"/>
                      </a:cubicBezTo>
                      <a:cubicBezTo>
                        <a:pt x="380408" y="182291"/>
                        <a:pt x="387837" y="185472"/>
                        <a:pt x="397297" y="185472"/>
                      </a:cubicBezTo>
                      <a:cubicBezTo>
                        <a:pt x="406925" y="185472"/>
                        <a:pt x="414438" y="182228"/>
                        <a:pt x="419838" y="175740"/>
                      </a:cubicBezTo>
                      <a:cubicBezTo>
                        <a:pt x="425237" y="169252"/>
                        <a:pt x="427937" y="160483"/>
                        <a:pt x="427937" y="149433"/>
                      </a:cubicBezTo>
                      <a:cubicBezTo>
                        <a:pt x="427937" y="137629"/>
                        <a:pt x="425258" y="128713"/>
                        <a:pt x="419901" y="122686"/>
                      </a:cubicBezTo>
                      <a:cubicBezTo>
                        <a:pt x="414543" y="116658"/>
                        <a:pt x="407259" y="113644"/>
                        <a:pt x="398051" y="113644"/>
                      </a:cubicBezTo>
                      <a:close/>
                      <a:moveTo>
                        <a:pt x="398302" y="103347"/>
                      </a:moveTo>
                      <a:cubicBezTo>
                        <a:pt x="410859" y="103347"/>
                        <a:pt x="420821" y="107449"/>
                        <a:pt x="428188" y="115653"/>
                      </a:cubicBezTo>
                      <a:cubicBezTo>
                        <a:pt x="435555" y="123858"/>
                        <a:pt x="439239" y="135201"/>
                        <a:pt x="439239" y="149684"/>
                      </a:cubicBezTo>
                      <a:cubicBezTo>
                        <a:pt x="439239" y="162744"/>
                        <a:pt x="435409" y="173648"/>
                        <a:pt x="427749" y="182396"/>
                      </a:cubicBezTo>
                      <a:cubicBezTo>
                        <a:pt x="420089" y="191144"/>
                        <a:pt x="409855" y="195518"/>
                        <a:pt x="397046" y="195518"/>
                      </a:cubicBezTo>
                      <a:cubicBezTo>
                        <a:pt x="384238" y="195518"/>
                        <a:pt x="374087" y="191291"/>
                        <a:pt x="366594" y="182835"/>
                      </a:cubicBezTo>
                      <a:cubicBezTo>
                        <a:pt x="359102" y="174380"/>
                        <a:pt x="355356" y="163413"/>
                        <a:pt x="355356" y="149935"/>
                      </a:cubicBezTo>
                      <a:cubicBezTo>
                        <a:pt x="355356" y="135117"/>
                        <a:pt x="359374" y="123648"/>
                        <a:pt x="367411" y="115528"/>
                      </a:cubicBezTo>
                      <a:cubicBezTo>
                        <a:pt x="375447" y="107407"/>
                        <a:pt x="385744" y="103347"/>
                        <a:pt x="398302" y="103347"/>
                      </a:cubicBezTo>
                      <a:close/>
                      <a:moveTo>
                        <a:pt x="2811871" y="71200"/>
                      </a:moveTo>
                      <a:cubicBezTo>
                        <a:pt x="2796886" y="71200"/>
                        <a:pt x="2785291" y="76223"/>
                        <a:pt x="2777087" y="86269"/>
                      </a:cubicBezTo>
                      <a:cubicBezTo>
                        <a:pt x="2768883" y="96315"/>
                        <a:pt x="2764781" y="108119"/>
                        <a:pt x="2764781" y="121681"/>
                      </a:cubicBezTo>
                      <a:lnTo>
                        <a:pt x="2764781" y="137880"/>
                      </a:lnTo>
                      <a:cubicBezTo>
                        <a:pt x="2764781" y="150772"/>
                        <a:pt x="2768841" y="161844"/>
                        <a:pt x="2776961" y="171094"/>
                      </a:cubicBezTo>
                      <a:cubicBezTo>
                        <a:pt x="2785082" y="180345"/>
                        <a:pt x="2795756" y="184970"/>
                        <a:pt x="2808983" y="184970"/>
                      </a:cubicBezTo>
                      <a:cubicBezTo>
                        <a:pt x="2822126" y="184970"/>
                        <a:pt x="2832800" y="179340"/>
                        <a:pt x="2841004" y="168080"/>
                      </a:cubicBezTo>
                      <a:cubicBezTo>
                        <a:pt x="2849208" y="156821"/>
                        <a:pt x="2853310" y="142024"/>
                        <a:pt x="2853310" y="123690"/>
                      </a:cubicBezTo>
                      <a:cubicBezTo>
                        <a:pt x="2853310" y="107617"/>
                        <a:pt x="2849543" y="94850"/>
                        <a:pt x="2842009" y="85390"/>
                      </a:cubicBezTo>
                      <a:cubicBezTo>
                        <a:pt x="2834474" y="75930"/>
                        <a:pt x="2824428" y="71200"/>
                        <a:pt x="2811871" y="71200"/>
                      </a:cubicBezTo>
                      <a:close/>
                      <a:moveTo>
                        <a:pt x="3224817" y="71199"/>
                      </a:moveTo>
                      <a:cubicBezTo>
                        <a:pt x="3209665" y="71199"/>
                        <a:pt x="3197589" y="76306"/>
                        <a:pt x="3188589" y="86519"/>
                      </a:cubicBezTo>
                      <a:cubicBezTo>
                        <a:pt x="3179590" y="96733"/>
                        <a:pt x="3175091" y="110923"/>
                        <a:pt x="3175091" y="129089"/>
                      </a:cubicBezTo>
                      <a:cubicBezTo>
                        <a:pt x="3175091" y="145916"/>
                        <a:pt x="3179485" y="159436"/>
                        <a:pt x="3188275" y="169649"/>
                      </a:cubicBezTo>
                      <a:cubicBezTo>
                        <a:pt x="3197065" y="179862"/>
                        <a:pt x="3209079" y="184969"/>
                        <a:pt x="3224315" y="184969"/>
                      </a:cubicBezTo>
                      <a:cubicBezTo>
                        <a:pt x="3239803" y="184969"/>
                        <a:pt x="3251732" y="179946"/>
                        <a:pt x="3260103" y="169900"/>
                      </a:cubicBezTo>
                      <a:cubicBezTo>
                        <a:pt x="3268475" y="159854"/>
                        <a:pt x="3272661" y="145916"/>
                        <a:pt x="3272661" y="128084"/>
                      </a:cubicBezTo>
                      <a:cubicBezTo>
                        <a:pt x="3272661" y="109750"/>
                        <a:pt x="3268496" y="95686"/>
                        <a:pt x="3260167" y="85891"/>
                      </a:cubicBezTo>
                      <a:cubicBezTo>
                        <a:pt x="3251837" y="76097"/>
                        <a:pt x="3240054" y="71199"/>
                        <a:pt x="3224817" y="71199"/>
                      </a:cubicBezTo>
                      <a:close/>
                      <a:moveTo>
                        <a:pt x="2943946" y="71199"/>
                      </a:moveTo>
                      <a:cubicBezTo>
                        <a:pt x="2931890" y="71199"/>
                        <a:pt x="2921907" y="75239"/>
                        <a:pt x="2913996" y="83317"/>
                      </a:cubicBezTo>
                      <a:cubicBezTo>
                        <a:pt x="2906085" y="91396"/>
                        <a:pt x="2901209" y="102969"/>
                        <a:pt x="2899367" y="118038"/>
                      </a:cubicBezTo>
                      <a:lnTo>
                        <a:pt x="2981994" y="118038"/>
                      </a:lnTo>
                      <a:cubicBezTo>
                        <a:pt x="2981492" y="103221"/>
                        <a:pt x="2977934" y="91710"/>
                        <a:pt x="2971321" y="83506"/>
                      </a:cubicBezTo>
                      <a:cubicBezTo>
                        <a:pt x="2964707" y="75301"/>
                        <a:pt x="2955582" y="71199"/>
                        <a:pt x="2943946" y="71199"/>
                      </a:cubicBezTo>
                      <a:close/>
                      <a:moveTo>
                        <a:pt x="1467570" y="71199"/>
                      </a:moveTo>
                      <a:cubicBezTo>
                        <a:pt x="1455515" y="71199"/>
                        <a:pt x="1445532" y="75239"/>
                        <a:pt x="1437621" y="83317"/>
                      </a:cubicBezTo>
                      <a:cubicBezTo>
                        <a:pt x="1429710" y="91396"/>
                        <a:pt x="1424833" y="102969"/>
                        <a:pt x="1422992" y="118038"/>
                      </a:cubicBezTo>
                      <a:lnTo>
                        <a:pt x="1505619" y="118038"/>
                      </a:lnTo>
                      <a:cubicBezTo>
                        <a:pt x="1505117" y="103221"/>
                        <a:pt x="1501559" y="91710"/>
                        <a:pt x="1494945" y="83506"/>
                      </a:cubicBezTo>
                      <a:cubicBezTo>
                        <a:pt x="1488332" y="75301"/>
                        <a:pt x="1479207" y="71199"/>
                        <a:pt x="1467570" y="71199"/>
                      </a:cubicBezTo>
                      <a:close/>
                      <a:moveTo>
                        <a:pt x="1115145" y="71199"/>
                      </a:moveTo>
                      <a:cubicBezTo>
                        <a:pt x="1103090" y="71199"/>
                        <a:pt x="1093107" y="75239"/>
                        <a:pt x="1085196" y="83317"/>
                      </a:cubicBezTo>
                      <a:cubicBezTo>
                        <a:pt x="1077285" y="91396"/>
                        <a:pt x="1072408" y="102969"/>
                        <a:pt x="1070567" y="118038"/>
                      </a:cubicBezTo>
                      <a:lnTo>
                        <a:pt x="1153194" y="118038"/>
                      </a:lnTo>
                      <a:cubicBezTo>
                        <a:pt x="1152692" y="103221"/>
                        <a:pt x="1149134" y="91710"/>
                        <a:pt x="1142520" y="83506"/>
                      </a:cubicBezTo>
                      <a:cubicBezTo>
                        <a:pt x="1135907" y="75301"/>
                        <a:pt x="1126782" y="71199"/>
                        <a:pt x="1115145" y="71199"/>
                      </a:cubicBezTo>
                      <a:close/>
                      <a:moveTo>
                        <a:pt x="576868" y="71199"/>
                      </a:moveTo>
                      <a:cubicBezTo>
                        <a:pt x="561715" y="71199"/>
                        <a:pt x="549639" y="76306"/>
                        <a:pt x="540640" y="86519"/>
                      </a:cubicBezTo>
                      <a:cubicBezTo>
                        <a:pt x="531640" y="96733"/>
                        <a:pt x="527140" y="110923"/>
                        <a:pt x="527140" y="129089"/>
                      </a:cubicBezTo>
                      <a:cubicBezTo>
                        <a:pt x="527140" y="145916"/>
                        <a:pt x="531536" y="159436"/>
                        <a:pt x="540326" y="169649"/>
                      </a:cubicBezTo>
                      <a:cubicBezTo>
                        <a:pt x="549116" y="179862"/>
                        <a:pt x="561129" y="184969"/>
                        <a:pt x="576365" y="184969"/>
                      </a:cubicBezTo>
                      <a:cubicBezTo>
                        <a:pt x="591853" y="184969"/>
                        <a:pt x="603782" y="179946"/>
                        <a:pt x="612154" y="169900"/>
                      </a:cubicBezTo>
                      <a:cubicBezTo>
                        <a:pt x="620525" y="159854"/>
                        <a:pt x="624711" y="145916"/>
                        <a:pt x="624711" y="128084"/>
                      </a:cubicBezTo>
                      <a:cubicBezTo>
                        <a:pt x="624711" y="109750"/>
                        <a:pt x="620546" y="95686"/>
                        <a:pt x="612217" y="85891"/>
                      </a:cubicBezTo>
                      <a:cubicBezTo>
                        <a:pt x="603887" y="76097"/>
                        <a:pt x="592104" y="71199"/>
                        <a:pt x="576868" y="71199"/>
                      </a:cubicBezTo>
                      <a:close/>
                      <a:moveTo>
                        <a:pt x="2534153" y="63792"/>
                      </a:moveTo>
                      <a:lnTo>
                        <a:pt x="2545706" y="63792"/>
                      </a:lnTo>
                      <a:lnTo>
                        <a:pt x="2545706" y="192379"/>
                      </a:lnTo>
                      <a:lnTo>
                        <a:pt x="2534153" y="192379"/>
                      </a:lnTo>
                      <a:close/>
                      <a:moveTo>
                        <a:pt x="2346754" y="63792"/>
                      </a:moveTo>
                      <a:lnTo>
                        <a:pt x="2359562" y="63792"/>
                      </a:lnTo>
                      <a:lnTo>
                        <a:pt x="2389449" y="166385"/>
                      </a:lnTo>
                      <a:cubicBezTo>
                        <a:pt x="2390202" y="169064"/>
                        <a:pt x="2390788" y="172664"/>
                        <a:pt x="2391207" y="177185"/>
                      </a:cubicBezTo>
                      <a:lnTo>
                        <a:pt x="2392212" y="177185"/>
                      </a:lnTo>
                      <a:cubicBezTo>
                        <a:pt x="2392379" y="174757"/>
                        <a:pt x="2393174" y="171157"/>
                        <a:pt x="2394598" y="166385"/>
                      </a:cubicBezTo>
                      <a:lnTo>
                        <a:pt x="2427247" y="63792"/>
                      </a:lnTo>
                      <a:lnTo>
                        <a:pt x="2435158" y="63792"/>
                      </a:lnTo>
                      <a:lnTo>
                        <a:pt x="2464291" y="166385"/>
                      </a:lnTo>
                      <a:cubicBezTo>
                        <a:pt x="2464961" y="168813"/>
                        <a:pt x="2465547" y="172413"/>
                        <a:pt x="2466049" y="177185"/>
                      </a:cubicBezTo>
                      <a:lnTo>
                        <a:pt x="2467054" y="177185"/>
                      </a:lnTo>
                      <a:cubicBezTo>
                        <a:pt x="2467054" y="174757"/>
                        <a:pt x="2467765" y="171157"/>
                        <a:pt x="2469188" y="166385"/>
                      </a:cubicBezTo>
                      <a:lnTo>
                        <a:pt x="2499703" y="63792"/>
                      </a:lnTo>
                      <a:lnTo>
                        <a:pt x="2511632" y="63792"/>
                      </a:lnTo>
                      <a:lnTo>
                        <a:pt x="2471700" y="192379"/>
                      </a:lnTo>
                      <a:lnTo>
                        <a:pt x="2460900" y="192379"/>
                      </a:lnTo>
                      <a:lnTo>
                        <a:pt x="2432898" y="95436"/>
                      </a:lnTo>
                      <a:cubicBezTo>
                        <a:pt x="2432144" y="92757"/>
                        <a:pt x="2431474" y="89157"/>
                        <a:pt x="2430888" y="84637"/>
                      </a:cubicBezTo>
                      <a:lnTo>
                        <a:pt x="2430260" y="84637"/>
                      </a:lnTo>
                      <a:cubicBezTo>
                        <a:pt x="2430093" y="86562"/>
                        <a:pt x="2429256" y="90078"/>
                        <a:pt x="2427749" y="95185"/>
                      </a:cubicBezTo>
                      <a:lnTo>
                        <a:pt x="2396356" y="192379"/>
                      </a:lnTo>
                      <a:lnTo>
                        <a:pt x="2385556" y="192379"/>
                      </a:lnTo>
                      <a:close/>
                      <a:moveTo>
                        <a:pt x="2115053" y="63792"/>
                      </a:moveTo>
                      <a:lnTo>
                        <a:pt x="2126606" y="63792"/>
                      </a:lnTo>
                      <a:lnTo>
                        <a:pt x="2126606" y="192379"/>
                      </a:lnTo>
                      <a:lnTo>
                        <a:pt x="2115053" y="192379"/>
                      </a:lnTo>
                      <a:close/>
                      <a:moveTo>
                        <a:pt x="1819995" y="61280"/>
                      </a:moveTo>
                      <a:cubicBezTo>
                        <a:pt x="1824767" y="61280"/>
                        <a:pt x="1829037" y="62033"/>
                        <a:pt x="1832804" y="63540"/>
                      </a:cubicBezTo>
                      <a:lnTo>
                        <a:pt x="1832804" y="75847"/>
                      </a:lnTo>
                      <a:cubicBezTo>
                        <a:pt x="1828953" y="73084"/>
                        <a:pt x="1824432" y="71703"/>
                        <a:pt x="1819242" y="71703"/>
                      </a:cubicBezTo>
                      <a:cubicBezTo>
                        <a:pt x="1809112" y="71703"/>
                        <a:pt x="1800615" y="76935"/>
                        <a:pt x="1793750" y="87399"/>
                      </a:cubicBezTo>
                      <a:cubicBezTo>
                        <a:pt x="1786886" y="97864"/>
                        <a:pt x="1783453" y="112723"/>
                        <a:pt x="1783453" y="131978"/>
                      </a:cubicBezTo>
                      <a:lnTo>
                        <a:pt x="1783453" y="192379"/>
                      </a:lnTo>
                      <a:lnTo>
                        <a:pt x="1772152" y="192379"/>
                      </a:lnTo>
                      <a:lnTo>
                        <a:pt x="1772152" y="63792"/>
                      </a:lnTo>
                      <a:lnTo>
                        <a:pt x="1783453" y="63792"/>
                      </a:lnTo>
                      <a:lnTo>
                        <a:pt x="1783453" y="92297"/>
                      </a:lnTo>
                      <a:lnTo>
                        <a:pt x="1783956" y="92297"/>
                      </a:lnTo>
                      <a:cubicBezTo>
                        <a:pt x="1786886" y="82502"/>
                        <a:pt x="1791532" y="74884"/>
                        <a:pt x="1797894" y="69442"/>
                      </a:cubicBezTo>
                      <a:cubicBezTo>
                        <a:pt x="1804257" y="64001"/>
                        <a:pt x="1811624" y="61280"/>
                        <a:pt x="1819995" y="61280"/>
                      </a:cubicBezTo>
                      <a:close/>
                      <a:moveTo>
                        <a:pt x="1248495" y="61280"/>
                      </a:moveTo>
                      <a:cubicBezTo>
                        <a:pt x="1253267" y="61280"/>
                        <a:pt x="1257537" y="62033"/>
                        <a:pt x="1261304" y="63540"/>
                      </a:cubicBezTo>
                      <a:lnTo>
                        <a:pt x="1261304" y="75847"/>
                      </a:lnTo>
                      <a:cubicBezTo>
                        <a:pt x="1257453" y="73084"/>
                        <a:pt x="1252932" y="71703"/>
                        <a:pt x="1247742" y="71703"/>
                      </a:cubicBezTo>
                      <a:cubicBezTo>
                        <a:pt x="1237612" y="71703"/>
                        <a:pt x="1229115" y="76935"/>
                        <a:pt x="1222250" y="87399"/>
                      </a:cubicBezTo>
                      <a:cubicBezTo>
                        <a:pt x="1215386" y="97864"/>
                        <a:pt x="1211953" y="112723"/>
                        <a:pt x="1211953" y="131978"/>
                      </a:cubicBezTo>
                      <a:lnTo>
                        <a:pt x="1211953" y="192379"/>
                      </a:lnTo>
                      <a:lnTo>
                        <a:pt x="1200652" y="192379"/>
                      </a:lnTo>
                      <a:lnTo>
                        <a:pt x="1200652" y="63792"/>
                      </a:lnTo>
                      <a:lnTo>
                        <a:pt x="1211953" y="63792"/>
                      </a:lnTo>
                      <a:lnTo>
                        <a:pt x="1211953" y="92297"/>
                      </a:lnTo>
                      <a:lnTo>
                        <a:pt x="1212456" y="92297"/>
                      </a:lnTo>
                      <a:cubicBezTo>
                        <a:pt x="1215386" y="82502"/>
                        <a:pt x="1220032" y="74884"/>
                        <a:pt x="1226394" y="69442"/>
                      </a:cubicBezTo>
                      <a:cubicBezTo>
                        <a:pt x="1232757" y="64001"/>
                        <a:pt x="1240124" y="61280"/>
                        <a:pt x="1248495" y="61280"/>
                      </a:cubicBezTo>
                      <a:close/>
                      <a:moveTo>
                        <a:pt x="1342383" y="60652"/>
                      </a:moveTo>
                      <a:cubicBezTo>
                        <a:pt x="1356280" y="60652"/>
                        <a:pt x="1366911" y="65277"/>
                        <a:pt x="1374278" y="74528"/>
                      </a:cubicBezTo>
                      <a:cubicBezTo>
                        <a:pt x="1381645" y="83779"/>
                        <a:pt x="1385329" y="96985"/>
                        <a:pt x="1385329" y="114147"/>
                      </a:cubicBezTo>
                      <a:lnTo>
                        <a:pt x="1385329" y="192379"/>
                      </a:lnTo>
                      <a:lnTo>
                        <a:pt x="1373776" y="192379"/>
                      </a:lnTo>
                      <a:lnTo>
                        <a:pt x="1373776" y="117537"/>
                      </a:lnTo>
                      <a:cubicBezTo>
                        <a:pt x="1373776" y="86646"/>
                        <a:pt x="1362642" y="71200"/>
                        <a:pt x="1340374" y="71200"/>
                      </a:cubicBezTo>
                      <a:cubicBezTo>
                        <a:pt x="1327984" y="71200"/>
                        <a:pt x="1317812" y="75742"/>
                        <a:pt x="1309859" y="84825"/>
                      </a:cubicBezTo>
                      <a:cubicBezTo>
                        <a:pt x="1301906" y="93908"/>
                        <a:pt x="1297930" y="105147"/>
                        <a:pt x="1297930" y="118542"/>
                      </a:cubicBezTo>
                      <a:lnTo>
                        <a:pt x="1297930" y="192379"/>
                      </a:lnTo>
                      <a:lnTo>
                        <a:pt x="1286377" y="192379"/>
                      </a:lnTo>
                      <a:lnTo>
                        <a:pt x="1286377" y="63792"/>
                      </a:lnTo>
                      <a:lnTo>
                        <a:pt x="1297930" y="63792"/>
                      </a:lnTo>
                      <a:lnTo>
                        <a:pt x="1297930" y="87148"/>
                      </a:lnTo>
                      <a:lnTo>
                        <a:pt x="1298432" y="87148"/>
                      </a:lnTo>
                      <a:cubicBezTo>
                        <a:pt x="1307808" y="69484"/>
                        <a:pt x="1322458" y="60652"/>
                        <a:pt x="1342383" y="60652"/>
                      </a:cubicBezTo>
                      <a:close/>
                      <a:moveTo>
                        <a:pt x="913758" y="60652"/>
                      </a:moveTo>
                      <a:cubicBezTo>
                        <a:pt x="927655" y="60652"/>
                        <a:pt x="938286" y="65277"/>
                        <a:pt x="945653" y="74528"/>
                      </a:cubicBezTo>
                      <a:cubicBezTo>
                        <a:pt x="953020" y="83779"/>
                        <a:pt x="956704" y="96985"/>
                        <a:pt x="956704" y="114147"/>
                      </a:cubicBezTo>
                      <a:lnTo>
                        <a:pt x="956704" y="192379"/>
                      </a:lnTo>
                      <a:lnTo>
                        <a:pt x="945151" y="192379"/>
                      </a:lnTo>
                      <a:lnTo>
                        <a:pt x="945151" y="117537"/>
                      </a:lnTo>
                      <a:cubicBezTo>
                        <a:pt x="945151" y="86646"/>
                        <a:pt x="934017" y="71200"/>
                        <a:pt x="911749" y="71200"/>
                      </a:cubicBezTo>
                      <a:cubicBezTo>
                        <a:pt x="899359" y="71200"/>
                        <a:pt x="889187" y="75742"/>
                        <a:pt x="881234" y="84825"/>
                      </a:cubicBezTo>
                      <a:cubicBezTo>
                        <a:pt x="873281" y="93908"/>
                        <a:pt x="869304" y="105147"/>
                        <a:pt x="869304" y="118542"/>
                      </a:cubicBezTo>
                      <a:lnTo>
                        <a:pt x="869304" y="192379"/>
                      </a:lnTo>
                      <a:lnTo>
                        <a:pt x="857752" y="192379"/>
                      </a:lnTo>
                      <a:lnTo>
                        <a:pt x="857752" y="63792"/>
                      </a:lnTo>
                      <a:lnTo>
                        <a:pt x="869304" y="63792"/>
                      </a:lnTo>
                      <a:lnTo>
                        <a:pt x="869304" y="87148"/>
                      </a:lnTo>
                      <a:lnTo>
                        <a:pt x="869807" y="87148"/>
                      </a:lnTo>
                      <a:cubicBezTo>
                        <a:pt x="879183" y="69484"/>
                        <a:pt x="893833" y="60652"/>
                        <a:pt x="913758" y="60652"/>
                      </a:cubicBezTo>
                      <a:close/>
                      <a:moveTo>
                        <a:pt x="3225320" y="60651"/>
                      </a:moveTo>
                      <a:cubicBezTo>
                        <a:pt x="3243653" y="60651"/>
                        <a:pt x="3258137" y="66637"/>
                        <a:pt x="3268769" y="78608"/>
                      </a:cubicBezTo>
                      <a:cubicBezTo>
                        <a:pt x="3279400" y="90580"/>
                        <a:pt x="3284716" y="107155"/>
                        <a:pt x="3284716" y="128335"/>
                      </a:cubicBezTo>
                      <a:cubicBezTo>
                        <a:pt x="3284716" y="148343"/>
                        <a:pt x="3279295" y="164542"/>
                        <a:pt x="3268455" y="176932"/>
                      </a:cubicBezTo>
                      <a:cubicBezTo>
                        <a:pt x="3257613" y="189322"/>
                        <a:pt x="3242775" y="195517"/>
                        <a:pt x="3223939" y="195517"/>
                      </a:cubicBezTo>
                      <a:cubicBezTo>
                        <a:pt x="3205186" y="195517"/>
                        <a:pt x="3190347" y="189343"/>
                        <a:pt x="3179423" y="176995"/>
                      </a:cubicBezTo>
                      <a:cubicBezTo>
                        <a:pt x="3168497" y="164647"/>
                        <a:pt x="3163035" y="148595"/>
                        <a:pt x="3163035" y="128838"/>
                      </a:cubicBezTo>
                      <a:cubicBezTo>
                        <a:pt x="3163035" y="107490"/>
                        <a:pt x="3168749" y="90789"/>
                        <a:pt x="3180176" y="78734"/>
                      </a:cubicBezTo>
                      <a:cubicBezTo>
                        <a:pt x="3191603" y="66679"/>
                        <a:pt x="3206651" y="60651"/>
                        <a:pt x="3225320" y="60651"/>
                      </a:cubicBezTo>
                      <a:close/>
                      <a:moveTo>
                        <a:pt x="2944448" y="60651"/>
                      </a:moveTo>
                      <a:cubicBezTo>
                        <a:pt x="2960438" y="60651"/>
                        <a:pt x="2972702" y="66260"/>
                        <a:pt x="2981241" y="77478"/>
                      </a:cubicBezTo>
                      <a:cubicBezTo>
                        <a:pt x="2989780" y="88696"/>
                        <a:pt x="2994049" y="104016"/>
                        <a:pt x="2994049" y="123438"/>
                      </a:cubicBezTo>
                      <a:lnTo>
                        <a:pt x="2994049" y="128587"/>
                      </a:lnTo>
                      <a:lnTo>
                        <a:pt x="2898865" y="128587"/>
                      </a:lnTo>
                      <a:cubicBezTo>
                        <a:pt x="2898865" y="146251"/>
                        <a:pt x="2902946" y="160064"/>
                        <a:pt x="2911108" y="170026"/>
                      </a:cubicBezTo>
                      <a:cubicBezTo>
                        <a:pt x="2919270" y="179988"/>
                        <a:pt x="2930467" y="184969"/>
                        <a:pt x="2944699" y="184969"/>
                      </a:cubicBezTo>
                      <a:cubicBezTo>
                        <a:pt x="2959098" y="184969"/>
                        <a:pt x="2973162" y="179653"/>
                        <a:pt x="2986892" y="169021"/>
                      </a:cubicBezTo>
                      <a:lnTo>
                        <a:pt x="2986892" y="181327"/>
                      </a:lnTo>
                      <a:cubicBezTo>
                        <a:pt x="2973581" y="190787"/>
                        <a:pt x="2958721" y="195517"/>
                        <a:pt x="2942313" y="195517"/>
                      </a:cubicBezTo>
                      <a:cubicBezTo>
                        <a:pt x="2925737" y="195517"/>
                        <a:pt x="2912343" y="189573"/>
                        <a:pt x="2902129" y="177686"/>
                      </a:cubicBezTo>
                      <a:cubicBezTo>
                        <a:pt x="2891916" y="165798"/>
                        <a:pt x="2886809" y="149013"/>
                        <a:pt x="2886809" y="127331"/>
                      </a:cubicBezTo>
                      <a:cubicBezTo>
                        <a:pt x="2886809" y="108578"/>
                        <a:pt x="2892146" y="92777"/>
                        <a:pt x="2902820" y="79927"/>
                      </a:cubicBezTo>
                      <a:cubicBezTo>
                        <a:pt x="2913494" y="67076"/>
                        <a:pt x="2927370" y="60651"/>
                        <a:pt x="2944448" y="60651"/>
                      </a:cubicBezTo>
                      <a:close/>
                      <a:moveTo>
                        <a:pt x="2227454" y="60651"/>
                      </a:moveTo>
                      <a:cubicBezTo>
                        <a:pt x="2237249" y="60651"/>
                        <a:pt x="2246751" y="62660"/>
                        <a:pt x="2255959" y="66679"/>
                      </a:cubicBezTo>
                      <a:lnTo>
                        <a:pt x="2255959" y="79738"/>
                      </a:lnTo>
                      <a:cubicBezTo>
                        <a:pt x="2246751" y="74046"/>
                        <a:pt x="2236663" y="71199"/>
                        <a:pt x="2225696" y="71199"/>
                      </a:cubicBezTo>
                      <a:cubicBezTo>
                        <a:pt x="2210627" y="71199"/>
                        <a:pt x="2198405" y="76620"/>
                        <a:pt x="2189029" y="87461"/>
                      </a:cubicBezTo>
                      <a:cubicBezTo>
                        <a:pt x="2179652" y="98302"/>
                        <a:pt x="2174964" y="112346"/>
                        <a:pt x="2174964" y="129591"/>
                      </a:cubicBezTo>
                      <a:cubicBezTo>
                        <a:pt x="2174964" y="146251"/>
                        <a:pt x="2179255" y="159645"/>
                        <a:pt x="2187836" y="169775"/>
                      </a:cubicBezTo>
                      <a:cubicBezTo>
                        <a:pt x="2196416" y="179904"/>
                        <a:pt x="2207739" y="184969"/>
                        <a:pt x="2221803" y="184969"/>
                      </a:cubicBezTo>
                      <a:cubicBezTo>
                        <a:pt x="2234696" y="184969"/>
                        <a:pt x="2245914" y="181537"/>
                        <a:pt x="2255457" y="174672"/>
                      </a:cubicBezTo>
                      <a:lnTo>
                        <a:pt x="2255457" y="186727"/>
                      </a:lnTo>
                      <a:cubicBezTo>
                        <a:pt x="2245914" y="192587"/>
                        <a:pt x="2234528" y="195517"/>
                        <a:pt x="2221301" y="195517"/>
                      </a:cubicBezTo>
                      <a:cubicBezTo>
                        <a:pt x="2203805" y="195517"/>
                        <a:pt x="2189698" y="189511"/>
                        <a:pt x="2178983" y="177497"/>
                      </a:cubicBezTo>
                      <a:cubicBezTo>
                        <a:pt x="2168267" y="165484"/>
                        <a:pt x="2162909" y="149767"/>
                        <a:pt x="2162909" y="130345"/>
                      </a:cubicBezTo>
                      <a:cubicBezTo>
                        <a:pt x="2162909" y="109918"/>
                        <a:pt x="2168937" y="93196"/>
                        <a:pt x="2180992" y="80178"/>
                      </a:cubicBezTo>
                      <a:cubicBezTo>
                        <a:pt x="2193047" y="67160"/>
                        <a:pt x="2208534" y="60651"/>
                        <a:pt x="2227454" y="60651"/>
                      </a:cubicBezTo>
                      <a:close/>
                      <a:moveTo>
                        <a:pt x="1904717" y="60651"/>
                      </a:moveTo>
                      <a:cubicBezTo>
                        <a:pt x="1917944" y="60651"/>
                        <a:pt x="1928178" y="64753"/>
                        <a:pt x="1935420" y="72957"/>
                      </a:cubicBezTo>
                      <a:cubicBezTo>
                        <a:pt x="1942661" y="81162"/>
                        <a:pt x="1946282" y="93091"/>
                        <a:pt x="1946282" y="108746"/>
                      </a:cubicBezTo>
                      <a:lnTo>
                        <a:pt x="1946282" y="192378"/>
                      </a:lnTo>
                      <a:lnTo>
                        <a:pt x="1934729" y="192378"/>
                      </a:lnTo>
                      <a:lnTo>
                        <a:pt x="1934729" y="166635"/>
                      </a:lnTo>
                      <a:lnTo>
                        <a:pt x="1934227" y="166635"/>
                      </a:lnTo>
                      <a:cubicBezTo>
                        <a:pt x="1930125" y="175426"/>
                        <a:pt x="1924160" y="182437"/>
                        <a:pt x="1916332" y="187669"/>
                      </a:cubicBezTo>
                      <a:cubicBezTo>
                        <a:pt x="1908505" y="192901"/>
                        <a:pt x="1899819" y="195517"/>
                        <a:pt x="1890276" y="195517"/>
                      </a:cubicBezTo>
                      <a:cubicBezTo>
                        <a:pt x="1878053" y="195517"/>
                        <a:pt x="1868384" y="192085"/>
                        <a:pt x="1861268" y="185220"/>
                      </a:cubicBezTo>
                      <a:cubicBezTo>
                        <a:pt x="1854152" y="178356"/>
                        <a:pt x="1850595" y="169691"/>
                        <a:pt x="1850595" y="159227"/>
                      </a:cubicBezTo>
                      <a:cubicBezTo>
                        <a:pt x="1850595" y="136791"/>
                        <a:pt x="1865454" y="123229"/>
                        <a:pt x="1895173" y="118541"/>
                      </a:cubicBezTo>
                      <a:lnTo>
                        <a:pt x="1934729" y="112639"/>
                      </a:lnTo>
                      <a:cubicBezTo>
                        <a:pt x="1934729" y="85012"/>
                        <a:pt x="1924348" y="71199"/>
                        <a:pt x="1903587" y="71199"/>
                      </a:cubicBezTo>
                      <a:cubicBezTo>
                        <a:pt x="1889439" y="71199"/>
                        <a:pt x="1875667" y="76892"/>
                        <a:pt x="1862273" y="88277"/>
                      </a:cubicBezTo>
                      <a:lnTo>
                        <a:pt x="1862273" y="74339"/>
                      </a:lnTo>
                      <a:cubicBezTo>
                        <a:pt x="1867045" y="70571"/>
                        <a:pt x="1873512" y="67348"/>
                        <a:pt x="1881674" y="64670"/>
                      </a:cubicBezTo>
                      <a:cubicBezTo>
                        <a:pt x="1889836" y="61991"/>
                        <a:pt x="1897517" y="60651"/>
                        <a:pt x="1904717" y="60651"/>
                      </a:cubicBezTo>
                      <a:close/>
                      <a:moveTo>
                        <a:pt x="1468073" y="60651"/>
                      </a:moveTo>
                      <a:cubicBezTo>
                        <a:pt x="1484062" y="60651"/>
                        <a:pt x="1496327" y="66260"/>
                        <a:pt x="1504866" y="77478"/>
                      </a:cubicBezTo>
                      <a:cubicBezTo>
                        <a:pt x="1513405" y="88696"/>
                        <a:pt x="1517674" y="104016"/>
                        <a:pt x="1517674" y="123438"/>
                      </a:cubicBezTo>
                      <a:lnTo>
                        <a:pt x="1517674" y="128587"/>
                      </a:lnTo>
                      <a:lnTo>
                        <a:pt x="1422489" y="128587"/>
                      </a:lnTo>
                      <a:cubicBezTo>
                        <a:pt x="1422489" y="146251"/>
                        <a:pt x="1426571" y="160064"/>
                        <a:pt x="1434733" y="170026"/>
                      </a:cubicBezTo>
                      <a:cubicBezTo>
                        <a:pt x="1442895" y="179988"/>
                        <a:pt x="1454092" y="184969"/>
                        <a:pt x="1468324" y="184969"/>
                      </a:cubicBezTo>
                      <a:cubicBezTo>
                        <a:pt x="1482723" y="184969"/>
                        <a:pt x="1496787" y="179653"/>
                        <a:pt x="1510517" y="169021"/>
                      </a:cubicBezTo>
                      <a:lnTo>
                        <a:pt x="1510517" y="181327"/>
                      </a:lnTo>
                      <a:cubicBezTo>
                        <a:pt x="1497206" y="190787"/>
                        <a:pt x="1482346" y="195517"/>
                        <a:pt x="1465938" y="195517"/>
                      </a:cubicBezTo>
                      <a:cubicBezTo>
                        <a:pt x="1449362" y="195517"/>
                        <a:pt x="1435968" y="189573"/>
                        <a:pt x="1425754" y="177686"/>
                      </a:cubicBezTo>
                      <a:cubicBezTo>
                        <a:pt x="1415541" y="165798"/>
                        <a:pt x="1410434" y="149013"/>
                        <a:pt x="1410434" y="127331"/>
                      </a:cubicBezTo>
                      <a:cubicBezTo>
                        <a:pt x="1410434" y="108578"/>
                        <a:pt x="1415771" y="92777"/>
                        <a:pt x="1426445" y="79927"/>
                      </a:cubicBezTo>
                      <a:cubicBezTo>
                        <a:pt x="1437119" y="67076"/>
                        <a:pt x="1450995" y="60651"/>
                        <a:pt x="1468073" y="60651"/>
                      </a:cubicBezTo>
                      <a:close/>
                      <a:moveTo>
                        <a:pt x="1115648" y="60651"/>
                      </a:moveTo>
                      <a:cubicBezTo>
                        <a:pt x="1131637" y="60651"/>
                        <a:pt x="1143902" y="66260"/>
                        <a:pt x="1152441" y="77478"/>
                      </a:cubicBezTo>
                      <a:cubicBezTo>
                        <a:pt x="1160980" y="88696"/>
                        <a:pt x="1165249" y="104016"/>
                        <a:pt x="1165249" y="123438"/>
                      </a:cubicBezTo>
                      <a:lnTo>
                        <a:pt x="1165249" y="128587"/>
                      </a:lnTo>
                      <a:lnTo>
                        <a:pt x="1070064" y="128587"/>
                      </a:lnTo>
                      <a:cubicBezTo>
                        <a:pt x="1070064" y="146251"/>
                        <a:pt x="1074146" y="160064"/>
                        <a:pt x="1082308" y="170026"/>
                      </a:cubicBezTo>
                      <a:cubicBezTo>
                        <a:pt x="1090470" y="179988"/>
                        <a:pt x="1101667" y="184969"/>
                        <a:pt x="1115899" y="184969"/>
                      </a:cubicBezTo>
                      <a:cubicBezTo>
                        <a:pt x="1130298" y="184969"/>
                        <a:pt x="1144362" y="179653"/>
                        <a:pt x="1158092" y="169021"/>
                      </a:cubicBezTo>
                      <a:lnTo>
                        <a:pt x="1158092" y="181327"/>
                      </a:lnTo>
                      <a:cubicBezTo>
                        <a:pt x="1144781" y="190787"/>
                        <a:pt x="1129921" y="195517"/>
                        <a:pt x="1113513" y="195517"/>
                      </a:cubicBezTo>
                      <a:cubicBezTo>
                        <a:pt x="1096937" y="195517"/>
                        <a:pt x="1083543" y="189573"/>
                        <a:pt x="1073329" y="177686"/>
                      </a:cubicBezTo>
                      <a:cubicBezTo>
                        <a:pt x="1063116" y="165798"/>
                        <a:pt x="1058009" y="149013"/>
                        <a:pt x="1058009" y="127331"/>
                      </a:cubicBezTo>
                      <a:cubicBezTo>
                        <a:pt x="1058009" y="108578"/>
                        <a:pt x="1063346" y="92777"/>
                        <a:pt x="1074020" y="79927"/>
                      </a:cubicBezTo>
                      <a:cubicBezTo>
                        <a:pt x="1084694" y="67076"/>
                        <a:pt x="1098570" y="60651"/>
                        <a:pt x="1115648" y="60651"/>
                      </a:cubicBezTo>
                      <a:close/>
                      <a:moveTo>
                        <a:pt x="577370" y="60651"/>
                      </a:moveTo>
                      <a:cubicBezTo>
                        <a:pt x="595704" y="60651"/>
                        <a:pt x="610187" y="66637"/>
                        <a:pt x="620818" y="78608"/>
                      </a:cubicBezTo>
                      <a:cubicBezTo>
                        <a:pt x="631450" y="90580"/>
                        <a:pt x="636766" y="107155"/>
                        <a:pt x="636766" y="128335"/>
                      </a:cubicBezTo>
                      <a:cubicBezTo>
                        <a:pt x="636766" y="148343"/>
                        <a:pt x="631346" y="164542"/>
                        <a:pt x="620504" y="176932"/>
                      </a:cubicBezTo>
                      <a:cubicBezTo>
                        <a:pt x="609663" y="189322"/>
                        <a:pt x="594825" y="195517"/>
                        <a:pt x="575989" y="195517"/>
                      </a:cubicBezTo>
                      <a:cubicBezTo>
                        <a:pt x="557236" y="195517"/>
                        <a:pt x="542398" y="189343"/>
                        <a:pt x="531473" y="176995"/>
                      </a:cubicBezTo>
                      <a:cubicBezTo>
                        <a:pt x="520548" y="164647"/>
                        <a:pt x="515085" y="148595"/>
                        <a:pt x="515085" y="128838"/>
                      </a:cubicBezTo>
                      <a:cubicBezTo>
                        <a:pt x="515085" y="107490"/>
                        <a:pt x="520799" y="90789"/>
                        <a:pt x="532226" y="78734"/>
                      </a:cubicBezTo>
                      <a:cubicBezTo>
                        <a:pt x="543653" y="66679"/>
                        <a:pt x="558701" y="60651"/>
                        <a:pt x="577370" y="60651"/>
                      </a:cubicBezTo>
                      <a:close/>
                      <a:moveTo>
                        <a:pt x="3113080" y="26495"/>
                      </a:moveTo>
                      <a:lnTo>
                        <a:pt x="3113080" y="63791"/>
                      </a:lnTo>
                      <a:lnTo>
                        <a:pt x="3146985" y="63791"/>
                      </a:lnTo>
                      <a:lnTo>
                        <a:pt x="3146985" y="74339"/>
                      </a:lnTo>
                      <a:lnTo>
                        <a:pt x="3113080" y="74339"/>
                      </a:lnTo>
                      <a:lnTo>
                        <a:pt x="3113080" y="159227"/>
                      </a:lnTo>
                      <a:cubicBezTo>
                        <a:pt x="3113080" y="168100"/>
                        <a:pt x="3114483" y="174526"/>
                        <a:pt x="3117287" y="178502"/>
                      </a:cubicBezTo>
                      <a:cubicBezTo>
                        <a:pt x="3120092" y="182479"/>
                        <a:pt x="3124842" y="184467"/>
                        <a:pt x="3131540" y="184467"/>
                      </a:cubicBezTo>
                      <a:cubicBezTo>
                        <a:pt x="3136312" y="184467"/>
                        <a:pt x="3141460" y="182918"/>
                        <a:pt x="3146985" y="179821"/>
                      </a:cubicBezTo>
                      <a:lnTo>
                        <a:pt x="3146985" y="190620"/>
                      </a:lnTo>
                      <a:cubicBezTo>
                        <a:pt x="3140958" y="193466"/>
                        <a:pt x="3135307" y="194889"/>
                        <a:pt x="3130033" y="194889"/>
                      </a:cubicBezTo>
                      <a:cubicBezTo>
                        <a:pt x="3111029" y="194889"/>
                        <a:pt x="3101528" y="183504"/>
                        <a:pt x="3101528" y="160733"/>
                      </a:cubicBezTo>
                      <a:lnTo>
                        <a:pt x="3101528" y="74339"/>
                      </a:lnTo>
                      <a:lnTo>
                        <a:pt x="3078422" y="74339"/>
                      </a:lnTo>
                      <a:lnTo>
                        <a:pt x="3078422" y="63791"/>
                      </a:lnTo>
                      <a:lnTo>
                        <a:pt x="3101528" y="63791"/>
                      </a:lnTo>
                      <a:lnTo>
                        <a:pt x="3101528" y="30388"/>
                      </a:lnTo>
                      <a:cubicBezTo>
                        <a:pt x="3103369" y="29718"/>
                        <a:pt x="3105295" y="29048"/>
                        <a:pt x="3107304" y="28379"/>
                      </a:cubicBezTo>
                      <a:cubicBezTo>
                        <a:pt x="3109313" y="27793"/>
                        <a:pt x="3111239" y="27165"/>
                        <a:pt x="3113080" y="26495"/>
                      </a:cubicBezTo>
                      <a:close/>
                      <a:moveTo>
                        <a:pt x="1712905" y="26495"/>
                      </a:moveTo>
                      <a:lnTo>
                        <a:pt x="1712905" y="63791"/>
                      </a:lnTo>
                      <a:lnTo>
                        <a:pt x="1746810" y="63791"/>
                      </a:lnTo>
                      <a:lnTo>
                        <a:pt x="1746810" y="74339"/>
                      </a:lnTo>
                      <a:lnTo>
                        <a:pt x="1712905" y="74339"/>
                      </a:lnTo>
                      <a:lnTo>
                        <a:pt x="1712905" y="159227"/>
                      </a:lnTo>
                      <a:cubicBezTo>
                        <a:pt x="1712905" y="168100"/>
                        <a:pt x="1714307" y="174526"/>
                        <a:pt x="1717112" y="178502"/>
                      </a:cubicBezTo>
                      <a:cubicBezTo>
                        <a:pt x="1719916" y="182479"/>
                        <a:pt x="1724667" y="184467"/>
                        <a:pt x="1731365" y="184467"/>
                      </a:cubicBezTo>
                      <a:cubicBezTo>
                        <a:pt x="1736136" y="184467"/>
                        <a:pt x="1741285" y="182918"/>
                        <a:pt x="1746810" y="179821"/>
                      </a:cubicBezTo>
                      <a:lnTo>
                        <a:pt x="1746810" y="190620"/>
                      </a:lnTo>
                      <a:cubicBezTo>
                        <a:pt x="1740783" y="193466"/>
                        <a:pt x="1735132" y="194889"/>
                        <a:pt x="1729858" y="194889"/>
                      </a:cubicBezTo>
                      <a:cubicBezTo>
                        <a:pt x="1710854" y="194889"/>
                        <a:pt x="1701352" y="183504"/>
                        <a:pt x="1701352" y="160733"/>
                      </a:cubicBezTo>
                      <a:lnTo>
                        <a:pt x="1701352" y="74339"/>
                      </a:lnTo>
                      <a:lnTo>
                        <a:pt x="1678247" y="74339"/>
                      </a:lnTo>
                      <a:lnTo>
                        <a:pt x="1678247" y="63791"/>
                      </a:lnTo>
                      <a:lnTo>
                        <a:pt x="1701352" y="63791"/>
                      </a:lnTo>
                      <a:lnTo>
                        <a:pt x="1701352" y="30388"/>
                      </a:lnTo>
                      <a:cubicBezTo>
                        <a:pt x="1703194" y="29718"/>
                        <a:pt x="1705120" y="29048"/>
                        <a:pt x="1707129" y="28379"/>
                      </a:cubicBezTo>
                      <a:cubicBezTo>
                        <a:pt x="1709138" y="27793"/>
                        <a:pt x="1711064" y="27165"/>
                        <a:pt x="1712905" y="26495"/>
                      </a:cubicBezTo>
                      <a:close/>
                      <a:moveTo>
                        <a:pt x="1570030" y="26495"/>
                      </a:moveTo>
                      <a:lnTo>
                        <a:pt x="1570030" y="63791"/>
                      </a:lnTo>
                      <a:lnTo>
                        <a:pt x="1603935" y="63791"/>
                      </a:lnTo>
                      <a:lnTo>
                        <a:pt x="1603935" y="74339"/>
                      </a:lnTo>
                      <a:lnTo>
                        <a:pt x="1570030" y="74339"/>
                      </a:lnTo>
                      <a:lnTo>
                        <a:pt x="1570030" y="159227"/>
                      </a:lnTo>
                      <a:cubicBezTo>
                        <a:pt x="1570030" y="168100"/>
                        <a:pt x="1571432" y="174526"/>
                        <a:pt x="1574237" y="178502"/>
                      </a:cubicBezTo>
                      <a:cubicBezTo>
                        <a:pt x="1577041" y="182479"/>
                        <a:pt x="1581792" y="184467"/>
                        <a:pt x="1588490" y="184467"/>
                      </a:cubicBezTo>
                      <a:cubicBezTo>
                        <a:pt x="1593261" y="184467"/>
                        <a:pt x="1598410" y="182918"/>
                        <a:pt x="1603935" y="179821"/>
                      </a:cubicBezTo>
                      <a:lnTo>
                        <a:pt x="1603935" y="190620"/>
                      </a:lnTo>
                      <a:cubicBezTo>
                        <a:pt x="1597908" y="193466"/>
                        <a:pt x="1592257" y="194889"/>
                        <a:pt x="1586983" y="194889"/>
                      </a:cubicBezTo>
                      <a:cubicBezTo>
                        <a:pt x="1567979" y="194889"/>
                        <a:pt x="1558477" y="183504"/>
                        <a:pt x="1558477" y="160733"/>
                      </a:cubicBezTo>
                      <a:lnTo>
                        <a:pt x="1558477" y="74339"/>
                      </a:lnTo>
                      <a:lnTo>
                        <a:pt x="1535372" y="74339"/>
                      </a:lnTo>
                      <a:lnTo>
                        <a:pt x="1535372" y="63791"/>
                      </a:lnTo>
                      <a:lnTo>
                        <a:pt x="1558477" y="63791"/>
                      </a:lnTo>
                      <a:lnTo>
                        <a:pt x="1558477" y="30388"/>
                      </a:lnTo>
                      <a:cubicBezTo>
                        <a:pt x="1560319" y="29718"/>
                        <a:pt x="1562245" y="29048"/>
                        <a:pt x="1564254" y="28379"/>
                      </a:cubicBezTo>
                      <a:cubicBezTo>
                        <a:pt x="1566263" y="27793"/>
                        <a:pt x="1568189" y="27165"/>
                        <a:pt x="1570030" y="26495"/>
                      </a:cubicBezTo>
                      <a:close/>
                      <a:moveTo>
                        <a:pt x="1008055" y="26495"/>
                      </a:moveTo>
                      <a:lnTo>
                        <a:pt x="1008055" y="63791"/>
                      </a:lnTo>
                      <a:lnTo>
                        <a:pt x="1041960" y="63791"/>
                      </a:lnTo>
                      <a:lnTo>
                        <a:pt x="1041960" y="74339"/>
                      </a:lnTo>
                      <a:lnTo>
                        <a:pt x="1008055" y="74339"/>
                      </a:lnTo>
                      <a:lnTo>
                        <a:pt x="1008055" y="159227"/>
                      </a:lnTo>
                      <a:cubicBezTo>
                        <a:pt x="1008055" y="168100"/>
                        <a:pt x="1009457" y="174526"/>
                        <a:pt x="1012262" y="178502"/>
                      </a:cubicBezTo>
                      <a:cubicBezTo>
                        <a:pt x="1015066" y="182479"/>
                        <a:pt x="1019817" y="184467"/>
                        <a:pt x="1026515" y="184467"/>
                      </a:cubicBezTo>
                      <a:cubicBezTo>
                        <a:pt x="1031286" y="184467"/>
                        <a:pt x="1036435" y="182918"/>
                        <a:pt x="1041960" y="179821"/>
                      </a:cubicBezTo>
                      <a:lnTo>
                        <a:pt x="1041960" y="190620"/>
                      </a:lnTo>
                      <a:cubicBezTo>
                        <a:pt x="1035933" y="193466"/>
                        <a:pt x="1030282" y="194889"/>
                        <a:pt x="1025008" y="194889"/>
                      </a:cubicBezTo>
                      <a:cubicBezTo>
                        <a:pt x="1006004" y="194889"/>
                        <a:pt x="996502" y="183504"/>
                        <a:pt x="996502" y="160733"/>
                      </a:cubicBezTo>
                      <a:lnTo>
                        <a:pt x="996502" y="74339"/>
                      </a:lnTo>
                      <a:lnTo>
                        <a:pt x="973397" y="74339"/>
                      </a:lnTo>
                      <a:lnTo>
                        <a:pt x="973397" y="63791"/>
                      </a:lnTo>
                      <a:lnTo>
                        <a:pt x="996502" y="63791"/>
                      </a:lnTo>
                      <a:lnTo>
                        <a:pt x="996502" y="30388"/>
                      </a:lnTo>
                      <a:cubicBezTo>
                        <a:pt x="998344" y="29718"/>
                        <a:pt x="1000270" y="29048"/>
                        <a:pt x="1002279" y="28379"/>
                      </a:cubicBezTo>
                      <a:cubicBezTo>
                        <a:pt x="1004288" y="27793"/>
                        <a:pt x="1006214" y="27165"/>
                        <a:pt x="1008055" y="26495"/>
                      </a:cubicBezTo>
                      <a:close/>
                      <a:moveTo>
                        <a:pt x="180942" y="19840"/>
                      </a:moveTo>
                      <a:cubicBezTo>
                        <a:pt x="167129" y="19840"/>
                        <a:pt x="156371" y="26914"/>
                        <a:pt x="148670" y="41062"/>
                      </a:cubicBezTo>
                      <a:cubicBezTo>
                        <a:pt x="140968" y="55210"/>
                        <a:pt x="137117" y="76432"/>
                        <a:pt x="137117" y="104728"/>
                      </a:cubicBezTo>
                      <a:cubicBezTo>
                        <a:pt x="137117" y="130512"/>
                        <a:pt x="140800" y="150332"/>
                        <a:pt x="148167" y="164187"/>
                      </a:cubicBezTo>
                      <a:cubicBezTo>
                        <a:pt x="155534" y="178042"/>
                        <a:pt x="165999" y="184969"/>
                        <a:pt x="179561" y="184969"/>
                      </a:cubicBezTo>
                      <a:cubicBezTo>
                        <a:pt x="192872" y="184969"/>
                        <a:pt x="203231" y="177916"/>
                        <a:pt x="210640" y="163810"/>
                      </a:cubicBezTo>
                      <a:cubicBezTo>
                        <a:pt x="218049" y="149704"/>
                        <a:pt x="221753" y="129549"/>
                        <a:pt x="221753" y="103346"/>
                      </a:cubicBezTo>
                      <a:cubicBezTo>
                        <a:pt x="221753" y="47675"/>
                        <a:pt x="208150" y="19840"/>
                        <a:pt x="180942" y="19840"/>
                      </a:cubicBezTo>
                      <a:close/>
                      <a:moveTo>
                        <a:pt x="299601" y="19086"/>
                      </a:moveTo>
                      <a:cubicBezTo>
                        <a:pt x="289974" y="19086"/>
                        <a:pt x="282376" y="22288"/>
                        <a:pt x="276809" y="28693"/>
                      </a:cubicBezTo>
                      <a:cubicBezTo>
                        <a:pt x="271242" y="35097"/>
                        <a:pt x="268459" y="44034"/>
                        <a:pt x="268459" y="55503"/>
                      </a:cubicBezTo>
                      <a:cubicBezTo>
                        <a:pt x="268459" y="66302"/>
                        <a:pt x="271158" y="74883"/>
                        <a:pt x="276558" y="81245"/>
                      </a:cubicBezTo>
                      <a:cubicBezTo>
                        <a:pt x="281958" y="87608"/>
                        <a:pt x="289388" y="90789"/>
                        <a:pt x="298847" y="90789"/>
                      </a:cubicBezTo>
                      <a:cubicBezTo>
                        <a:pt x="308391" y="90789"/>
                        <a:pt x="315863" y="87524"/>
                        <a:pt x="321262" y="80994"/>
                      </a:cubicBezTo>
                      <a:cubicBezTo>
                        <a:pt x="326662" y="74464"/>
                        <a:pt x="329362" y="65716"/>
                        <a:pt x="329362" y="54749"/>
                      </a:cubicBezTo>
                      <a:cubicBezTo>
                        <a:pt x="329362" y="42945"/>
                        <a:pt x="326683" y="34050"/>
                        <a:pt x="321325" y="28065"/>
                      </a:cubicBezTo>
                      <a:cubicBezTo>
                        <a:pt x="315967" y="22079"/>
                        <a:pt x="308726" y="19086"/>
                        <a:pt x="299601" y="19086"/>
                      </a:cubicBezTo>
                      <a:close/>
                      <a:moveTo>
                        <a:pt x="394786" y="12556"/>
                      </a:moveTo>
                      <a:lnTo>
                        <a:pt x="406841" y="12556"/>
                      </a:lnTo>
                      <a:lnTo>
                        <a:pt x="298847" y="196522"/>
                      </a:lnTo>
                      <a:lnTo>
                        <a:pt x="286416" y="196522"/>
                      </a:lnTo>
                      <a:close/>
                      <a:moveTo>
                        <a:pt x="2539803" y="12306"/>
                      </a:moveTo>
                      <a:cubicBezTo>
                        <a:pt x="2542398" y="12306"/>
                        <a:pt x="2544679" y="13143"/>
                        <a:pt x="2546646" y="14818"/>
                      </a:cubicBezTo>
                      <a:cubicBezTo>
                        <a:pt x="2548614" y="16492"/>
                        <a:pt x="2549597" y="18752"/>
                        <a:pt x="2549597" y="21599"/>
                      </a:cubicBezTo>
                      <a:cubicBezTo>
                        <a:pt x="2549597" y="24278"/>
                        <a:pt x="2548635" y="26580"/>
                        <a:pt x="2546709" y="28505"/>
                      </a:cubicBezTo>
                      <a:cubicBezTo>
                        <a:pt x="2544784" y="30431"/>
                        <a:pt x="2542482" y="31393"/>
                        <a:pt x="2539803" y="31393"/>
                      </a:cubicBezTo>
                      <a:cubicBezTo>
                        <a:pt x="2537291" y="31393"/>
                        <a:pt x="2535073" y="30473"/>
                        <a:pt x="2533147" y="28631"/>
                      </a:cubicBezTo>
                      <a:cubicBezTo>
                        <a:pt x="2531222" y="26789"/>
                        <a:pt x="2530259" y="24445"/>
                        <a:pt x="2530259" y="21599"/>
                      </a:cubicBezTo>
                      <a:cubicBezTo>
                        <a:pt x="2530259" y="18836"/>
                        <a:pt x="2531243" y="16597"/>
                        <a:pt x="2533210" y="14881"/>
                      </a:cubicBezTo>
                      <a:cubicBezTo>
                        <a:pt x="2535177" y="13164"/>
                        <a:pt x="2537375" y="12306"/>
                        <a:pt x="2539803" y="12306"/>
                      </a:cubicBezTo>
                      <a:close/>
                      <a:moveTo>
                        <a:pt x="2120703" y="12306"/>
                      </a:moveTo>
                      <a:cubicBezTo>
                        <a:pt x="2123298" y="12306"/>
                        <a:pt x="2125579" y="13143"/>
                        <a:pt x="2127546" y="14818"/>
                      </a:cubicBezTo>
                      <a:cubicBezTo>
                        <a:pt x="2129514" y="16492"/>
                        <a:pt x="2130497" y="18752"/>
                        <a:pt x="2130497" y="21599"/>
                      </a:cubicBezTo>
                      <a:cubicBezTo>
                        <a:pt x="2130497" y="24278"/>
                        <a:pt x="2129535" y="26580"/>
                        <a:pt x="2127609" y="28505"/>
                      </a:cubicBezTo>
                      <a:cubicBezTo>
                        <a:pt x="2125684" y="30431"/>
                        <a:pt x="2123382" y="31393"/>
                        <a:pt x="2120703" y="31393"/>
                      </a:cubicBezTo>
                      <a:cubicBezTo>
                        <a:pt x="2118191" y="31393"/>
                        <a:pt x="2115973" y="30473"/>
                        <a:pt x="2114047" y="28631"/>
                      </a:cubicBezTo>
                      <a:cubicBezTo>
                        <a:pt x="2112122" y="26789"/>
                        <a:pt x="2111159" y="24445"/>
                        <a:pt x="2111159" y="21599"/>
                      </a:cubicBezTo>
                      <a:cubicBezTo>
                        <a:pt x="2111159" y="18836"/>
                        <a:pt x="2112143" y="16597"/>
                        <a:pt x="2114110" y="14881"/>
                      </a:cubicBezTo>
                      <a:cubicBezTo>
                        <a:pt x="2116077" y="13164"/>
                        <a:pt x="2118275" y="12306"/>
                        <a:pt x="2120703" y="12306"/>
                      </a:cubicBezTo>
                      <a:close/>
                      <a:moveTo>
                        <a:pt x="803113" y="12306"/>
                      </a:moveTo>
                      <a:lnTo>
                        <a:pt x="815545" y="12306"/>
                      </a:lnTo>
                      <a:lnTo>
                        <a:pt x="815545" y="192379"/>
                      </a:lnTo>
                      <a:lnTo>
                        <a:pt x="803113" y="192379"/>
                      </a:lnTo>
                      <a:close/>
                      <a:moveTo>
                        <a:pt x="10799" y="12305"/>
                      </a:moveTo>
                      <a:lnTo>
                        <a:pt x="85766" y="12305"/>
                      </a:lnTo>
                      <a:lnTo>
                        <a:pt x="85766" y="22853"/>
                      </a:lnTo>
                      <a:lnTo>
                        <a:pt x="21096" y="22853"/>
                      </a:lnTo>
                      <a:lnTo>
                        <a:pt x="16952" y="86896"/>
                      </a:lnTo>
                      <a:cubicBezTo>
                        <a:pt x="25575" y="86226"/>
                        <a:pt x="31770" y="85891"/>
                        <a:pt x="35537" y="85891"/>
                      </a:cubicBezTo>
                      <a:cubicBezTo>
                        <a:pt x="54540" y="85891"/>
                        <a:pt x="68940" y="90559"/>
                        <a:pt x="78734" y="99893"/>
                      </a:cubicBezTo>
                      <a:cubicBezTo>
                        <a:pt x="88529" y="109227"/>
                        <a:pt x="93426" y="122224"/>
                        <a:pt x="93426" y="138884"/>
                      </a:cubicBezTo>
                      <a:cubicBezTo>
                        <a:pt x="93426" y="155710"/>
                        <a:pt x="88236" y="169356"/>
                        <a:pt x="77855" y="179821"/>
                      </a:cubicBezTo>
                      <a:cubicBezTo>
                        <a:pt x="67475" y="190285"/>
                        <a:pt x="52657" y="195517"/>
                        <a:pt x="33402" y="195517"/>
                      </a:cubicBezTo>
                      <a:cubicBezTo>
                        <a:pt x="20761" y="195517"/>
                        <a:pt x="9627" y="193257"/>
                        <a:pt x="0" y="188736"/>
                      </a:cubicBezTo>
                      <a:lnTo>
                        <a:pt x="0" y="175426"/>
                      </a:lnTo>
                      <a:cubicBezTo>
                        <a:pt x="11552" y="181788"/>
                        <a:pt x="23021" y="184969"/>
                        <a:pt x="34407" y="184969"/>
                      </a:cubicBezTo>
                      <a:cubicBezTo>
                        <a:pt x="49141" y="184969"/>
                        <a:pt x="60652" y="180909"/>
                        <a:pt x="68940" y="172789"/>
                      </a:cubicBezTo>
                      <a:cubicBezTo>
                        <a:pt x="77227" y="164668"/>
                        <a:pt x="81371" y="153869"/>
                        <a:pt x="81371" y="140390"/>
                      </a:cubicBezTo>
                      <a:cubicBezTo>
                        <a:pt x="81371" y="111090"/>
                        <a:pt x="64670" y="96440"/>
                        <a:pt x="31267" y="96440"/>
                      </a:cubicBezTo>
                      <a:cubicBezTo>
                        <a:pt x="23733" y="96440"/>
                        <a:pt x="15110" y="96942"/>
                        <a:pt x="5399" y="97947"/>
                      </a:cubicBezTo>
                      <a:close/>
                      <a:moveTo>
                        <a:pt x="181947" y="9291"/>
                      </a:moveTo>
                      <a:cubicBezTo>
                        <a:pt x="216605" y="9291"/>
                        <a:pt x="233934" y="40057"/>
                        <a:pt x="233934" y="101588"/>
                      </a:cubicBezTo>
                      <a:cubicBezTo>
                        <a:pt x="233934" y="132228"/>
                        <a:pt x="229037" y="155543"/>
                        <a:pt x="219242" y="171533"/>
                      </a:cubicBezTo>
                      <a:cubicBezTo>
                        <a:pt x="209447" y="187522"/>
                        <a:pt x="195718" y="195517"/>
                        <a:pt x="178054" y="195517"/>
                      </a:cubicBezTo>
                      <a:cubicBezTo>
                        <a:pt x="161478" y="195517"/>
                        <a:pt x="148502" y="187899"/>
                        <a:pt x="139126" y="172663"/>
                      </a:cubicBezTo>
                      <a:cubicBezTo>
                        <a:pt x="129750" y="157427"/>
                        <a:pt x="125062" y="135284"/>
                        <a:pt x="125062" y="106234"/>
                      </a:cubicBezTo>
                      <a:cubicBezTo>
                        <a:pt x="125062" y="74171"/>
                        <a:pt x="129980" y="49998"/>
                        <a:pt x="139817" y="33716"/>
                      </a:cubicBezTo>
                      <a:cubicBezTo>
                        <a:pt x="149653" y="17433"/>
                        <a:pt x="163697" y="9291"/>
                        <a:pt x="181947" y="9291"/>
                      </a:cubicBezTo>
                      <a:close/>
                      <a:moveTo>
                        <a:pt x="299852" y="8789"/>
                      </a:moveTo>
                      <a:cubicBezTo>
                        <a:pt x="312409" y="8789"/>
                        <a:pt x="322372" y="12849"/>
                        <a:pt x="329739" y="20970"/>
                      </a:cubicBezTo>
                      <a:cubicBezTo>
                        <a:pt x="337106" y="29090"/>
                        <a:pt x="340789" y="40434"/>
                        <a:pt x="340789" y="55000"/>
                      </a:cubicBezTo>
                      <a:cubicBezTo>
                        <a:pt x="340789" y="68060"/>
                        <a:pt x="336959" y="78964"/>
                        <a:pt x="329299" y="87712"/>
                      </a:cubicBezTo>
                      <a:cubicBezTo>
                        <a:pt x="321639" y="96461"/>
                        <a:pt x="311405" y="100835"/>
                        <a:pt x="298596" y="100835"/>
                      </a:cubicBezTo>
                      <a:cubicBezTo>
                        <a:pt x="285704" y="100835"/>
                        <a:pt x="275533" y="96607"/>
                        <a:pt x="268082" y="88152"/>
                      </a:cubicBezTo>
                      <a:cubicBezTo>
                        <a:pt x="260631" y="79697"/>
                        <a:pt x="256906" y="68730"/>
                        <a:pt x="256906" y="55251"/>
                      </a:cubicBezTo>
                      <a:cubicBezTo>
                        <a:pt x="256906" y="40601"/>
                        <a:pt x="260861" y="29195"/>
                        <a:pt x="268773" y="21033"/>
                      </a:cubicBezTo>
                      <a:cubicBezTo>
                        <a:pt x="276684" y="12870"/>
                        <a:pt x="287044" y="8789"/>
                        <a:pt x="299852" y="8789"/>
                      </a:cubicBezTo>
                      <a:close/>
                      <a:moveTo>
                        <a:pt x="2753228" y="2009"/>
                      </a:moveTo>
                      <a:lnTo>
                        <a:pt x="2764781" y="2009"/>
                      </a:lnTo>
                      <a:lnTo>
                        <a:pt x="2764781" y="90288"/>
                      </a:lnTo>
                      <a:lnTo>
                        <a:pt x="2765283" y="90288"/>
                      </a:lnTo>
                      <a:cubicBezTo>
                        <a:pt x="2769887" y="80828"/>
                        <a:pt x="2776480" y="73523"/>
                        <a:pt x="2785061" y="68375"/>
                      </a:cubicBezTo>
                      <a:cubicBezTo>
                        <a:pt x="2793642" y="63226"/>
                        <a:pt x="2803081" y="60652"/>
                        <a:pt x="2813378" y="60652"/>
                      </a:cubicBezTo>
                      <a:cubicBezTo>
                        <a:pt x="2829702" y="60652"/>
                        <a:pt x="2842448" y="66282"/>
                        <a:pt x="2851615" y="77542"/>
                      </a:cubicBezTo>
                      <a:cubicBezTo>
                        <a:pt x="2860782" y="88802"/>
                        <a:pt x="2865365" y="104101"/>
                        <a:pt x="2865365" y="123439"/>
                      </a:cubicBezTo>
                      <a:cubicBezTo>
                        <a:pt x="2865365" y="144954"/>
                        <a:pt x="2860049" y="162346"/>
                        <a:pt x="2849417" y="175615"/>
                      </a:cubicBezTo>
                      <a:cubicBezTo>
                        <a:pt x="2838785" y="188884"/>
                        <a:pt x="2824972" y="195518"/>
                        <a:pt x="2807978" y="195518"/>
                      </a:cubicBezTo>
                      <a:cubicBezTo>
                        <a:pt x="2788723" y="195518"/>
                        <a:pt x="2774492" y="186854"/>
                        <a:pt x="2765283" y="169525"/>
                      </a:cubicBezTo>
                      <a:lnTo>
                        <a:pt x="2764781" y="169525"/>
                      </a:lnTo>
                      <a:lnTo>
                        <a:pt x="2764781" y="192379"/>
                      </a:lnTo>
                      <a:lnTo>
                        <a:pt x="2753228" y="192379"/>
                      </a:lnTo>
                      <a:close/>
                      <a:moveTo>
                        <a:pt x="2648453" y="2008"/>
                      </a:moveTo>
                      <a:lnTo>
                        <a:pt x="2660006" y="2008"/>
                      </a:lnTo>
                      <a:lnTo>
                        <a:pt x="2660006" y="192378"/>
                      </a:lnTo>
                      <a:lnTo>
                        <a:pt x="2648453" y="192378"/>
                      </a:lnTo>
                      <a:close/>
                      <a:moveTo>
                        <a:pt x="2591303" y="2008"/>
                      </a:moveTo>
                      <a:lnTo>
                        <a:pt x="2602856" y="2008"/>
                      </a:lnTo>
                      <a:lnTo>
                        <a:pt x="2602856" y="192378"/>
                      </a:lnTo>
                      <a:lnTo>
                        <a:pt x="2591303" y="192378"/>
                      </a:lnTo>
                      <a:close/>
                      <a:moveTo>
                        <a:pt x="2024398" y="0"/>
                      </a:moveTo>
                      <a:cubicBezTo>
                        <a:pt x="2029839" y="0"/>
                        <a:pt x="2034360" y="795"/>
                        <a:pt x="2037960" y="2386"/>
                      </a:cubicBezTo>
                      <a:lnTo>
                        <a:pt x="2037960" y="14190"/>
                      </a:lnTo>
                      <a:cubicBezTo>
                        <a:pt x="2034862" y="11762"/>
                        <a:pt x="2030174" y="10548"/>
                        <a:pt x="2023896" y="10548"/>
                      </a:cubicBezTo>
                      <a:cubicBezTo>
                        <a:pt x="2008073" y="10548"/>
                        <a:pt x="2000162" y="21180"/>
                        <a:pt x="2000162" y="42444"/>
                      </a:cubicBezTo>
                      <a:lnTo>
                        <a:pt x="2000162" y="63792"/>
                      </a:lnTo>
                      <a:lnTo>
                        <a:pt x="2032179" y="63792"/>
                      </a:lnTo>
                      <a:lnTo>
                        <a:pt x="2034193" y="63792"/>
                      </a:lnTo>
                      <a:lnTo>
                        <a:pt x="2055284" y="63792"/>
                      </a:lnTo>
                      <a:lnTo>
                        <a:pt x="2055284" y="41439"/>
                      </a:lnTo>
                      <a:cubicBezTo>
                        <a:pt x="2055284" y="27877"/>
                        <a:pt x="2058696" y="17580"/>
                        <a:pt x="2065519" y="10548"/>
                      </a:cubicBezTo>
                      <a:cubicBezTo>
                        <a:pt x="2072341" y="3516"/>
                        <a:pt x="2080860" y="0"/>
                        <a:pt x="2091073" y="0"/>
                      </a:cubicBezTo>
                      <a:cubicBezTo>
                        <a:pt x="2096514" y="0"/>
                        <a:pt x="2101035" y="795"/>
                        <a:pt x="2104635" y="2386"/>
                      </a:cubicBezTo>
                      <a:lnTo>
                        <a:pt x="2104635" y="14190"/>
                      </a:lnTo>
                      <a:cubicBezTo>
                        <a:pt x="2101537" y="11762"/>
                        <a:pt x="2096849" y="10548"/>
                        <a:pt x="2090571" y="10548"/>
                      </a:cubicBezTo>
                      <a:cubicBezTo>
                        <a:pt x="2074748" y="10548"/>
                        <a:pt x="2066837" y="21180"/>
                        <a:pt x="2066837" y="42444"/>
                      </a:cubicBezTo>
                      <a:lnTo>
                        <a:pt x="2066837" y="63792"/>
                      </a:lnTo>
                      <a:lnTo>
                        <a:pt x="2100868" y="63792"/>
                      </a:lnTo>
                      <a:lnTo>
                        <a:pt x="2100868" y="74340"/>
                      </a:lnTo>
                      <a:lnTo>
                        <a:pt x="2066837" y="74340"/>
                      </a:lnTo>
                      <a:lnTo>
                        <a:pt x="2066837" y="192379"/>
                      </a:lnTo>
                      <a:lnTo>
                        <a:pt x="2055284" y="192379"/>
                      </a:lnTo>
                      <a:lnTo>
                        <a:pt x="2055284" y="74340"/>
                      </a:lnTo>
                      <a:lnTo>
                        <a:pt x="2034193" y="74340"/>
                      </a:lnTo>
                      <a:lnTo>
                        <a:pt x="2032179" y="74340"/>
                      </a:lnTo>
                      <a:lnTo>
                        <a:pt x="2000162" y="74340"/>
                      </a:lnTo>
                      <a:lnTo>
                        <a:pt x="2000162" y="192379"/>
                      </a:lnTo>
                      <a:lnTo>
                        <a:pt x="1988609" y="192379"/>
                      </a:lnTo>
                      <a:lnTo>
                        <a:pt x="1988609" y="74340"/>
                      </a:lnTo>
                      <a:lnTo>
                        <a:pt x="1965504" y="74340"/>
                      </a:lnTo>
                      <a:lnTo>
                        <a:pt x="1965504" y="63792"/>
                      </a:lnTo>
                      <a:lnTo>
                        <a:pt x="1988609" y="63792"/>
                      </a:lnTo>
                      <a:lnTo>
                        <a:pt x="1988609" y="41439"/>
                      </a:lnTo>
                      <a:cubicBezTo>
                        <a:pt x="1988609" y="27877"/>
                        <a:pt x="1992021" y="17580"/>
                        <a:pt x="1998844" y="10548"/>
                      </a:cubicBezTo>
                      <a:cubicBezTo>
                        <a:pt x="2005666" y="3516"/>
                        <a:pt x="2014185" y="0"/>
                        <a:pt x="2024398" y="0"/>
                      </a:cubicBezTo>
                      <a:close/>
                      <a:moveTo>
                        <a:pt x="700422" y="0"/>
                      </a:moveTo>
                      <a:cubicBezTo>
                        <a:pt x="705863" y="0"/>
                        <a:pt x="710384" y="795"/>
                        <a:pt x="713984" y="2386"/>
                      </a:cubicBezTo>
                      <a:lnTo>
                        <a:pt x="713984" y="14190"/>
                      </a:lnTo>
                      <a:cubicBezTo>
                        <a:pt x="710886" y="11762"/>
                        <a:pt x="706198" y="10548"/>
                        <a:pt x="699920" y="10548"/>
                      </a:cubicBezTo>
                      <a:cubicBezTo>
                        <a:pt x="684097" y="10548"/>
                        <a:pt x="676186" y="21180"/>
                        <a:pt x="676186" y="42444"/>
                      </a:cubicBezTo>
                      <a:lnTo>
                        <a:pt x="676186" y="63792"/>
                      </a:lnTo>
                      <a:lnTo>
                        <a:pt x="710217" y="63792"/>
                      </a:lnTo>
                      <a:lnTo>
                        <a:pt x="710217" y="74340"/>
                      </a:lnTo>
                      <a:lnTo>
                        <a:pt x="676186" y="74340"/>
                      </a:lnTo>
                      <a:lnTo>
                        <a:pt x="676186" y="192379"/>
                      </a:lnTo>
                      <a:lnTo>
                        <a:pt x="664633" y="192379"/>
                      </a:lnTo>
                      <a:lnTo>
                        <a:pt x="664633" y="74340"/>
                      </a:lnTo>
                      <a:lnTo>
                        <a:pt x="641528" y="74340"/>
                      </a:lnTo>
                      <a:lnTo>
                        <a:pt x="641528" y="63792"/>
                      </a:lnTo>
                      <a:lnTo>
                        <a:pt x="664633" y="63792"/>
                      </a:lnTo>
                      <a:lnTo>
                        <a:pt x="664633" y="41439"/>
                      </a:lnTo>
                      <a:cubicBezTo>
                        <a:pt x="664633" y="27877"/>
                        <a:pt x="668045" y="17580"/>
                        <a:pt x="674868" y="10548"/>
                      </a:cubicBezTo>
                      <a:cubicBezTo>
                        <a:pt x="681691" y="3516"/>
                        <a:pt x="690209" y="0"/>
                        <a:pt x="700422" y="0"/>
                      </a:cubicBez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50% Интернет трафика</a:t>
                  </a:r>
                  <a:r>
                    <a:rPr kumimoji="0" lang="ru-RU" sz="1800" b="0" i="0" u="none" strike="noStrike" kern="0" cap="none" spc="0" normalizeH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 будут создаваться домашней техникой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015" name="clothes"/>
              <p:cNvGrpSpPr/>
              <p:nvPr/>
            </p:nvGrpSpPr>
            <p:grpSpPr>
              <a:xfrm>
                <a:off x="295411" y="2308332"/>
                <a:ext cx="3326549" cy="2131297"/>
                <a:chOff x="5547508" y="5949502"/>
                <a:chExt cx="3326549" cy="2131297"/>
              </a:xfrm>
            </p:grpSpPr>
            <p:grpSp>
              <p:nvGrpSpPr>
                <p:cNvPr id="1014" name="Group 1013"/>
                <p:cNvGrpSpPr/>
                <p:nvPr/>
              </p:nvGrpSpPr>
              <p:grpSpPr>
                <a:xfrm>
                  <a:off x="5547508" y="5949502"/>
                  <a:ext cx="3326549" cy="1403203"/>
                  <a:chOff x="5709782" y="6216202"/>
                  <a:chExt cx="3326549" cy="1403203"/>
                </a:xfrm>
              </p:grpSpPr>
              <p:grpSp>
                <p:nvGrpSpPr>
                  <p:cNvPr id="1012" name="Group 1011"/>
                  <p:cNvGrpSpPr>
                    <a:grpSpLocks noChangeAspect="1"/>
                  </p:cNvGrpSpPr>
                  <p:nvPr/>
                </p:nvGrpSpPr>
                <p:grpSpPr>
                  <a:xfrm>
                    <a:off x="5709782" y="7244125"/>
                    <a:ext cx="528818" cy="320040"/>
                    <a:chOff x="5502270" y="7093654"/>
                    <a:chExt cx="740668" cy="448251"/>
                  </a:xfrm>
                  <a:solidFill>
                    <a:srgbClr val="626262"/>
                  </a:solidFill>
                </p:grpSpPr>
                <p:sp>
                  <p:nvSpPr>
                    <p:cNvPr id="920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502270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60000"/>
                        <a:lumOff val="4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921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885061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60000"/>
                        <a:lumOff val="4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010" name="Group 1009"/>
                  <p:cNvGrpSpPr/>
                  <p:nvPr/>
                </p:nvGrpSpPr>
                <p:grpSpPr>
                  <a:xfrm>
                    <a:off x="6336319" y="6216202"/>
                    <a:ext cx="790151" cy="1403203"/>
                    <a:chOff x="6215400" y="6715704"/>
                    <a:chExt cx="465238" cy="826201"/>
                  </a:xfrm>
                </p:grpSpPr>
                <p:grpSp>
                  <p:nvGrpSpPr>
                    <p:cNvPr id="919" name="Group 918"/>
                    <p:cNvGrpSpPr/>
                    <p:nvPr/>
                  </p:nvGrpSpPr>
                  <p:grpSpPr>
                    <a:xfrm>
                      <a:off x="6215400" y="6715704"/>
                      <a:ext cx="465238" cy="271245"/>
                      <a:chOff x="1069911" y="239035"/>
                      <a:chExt cx="511773" cy="298376"/>
                    </a:xfrm>
                  </p:grpSpPr>
                  <p:sp>
                    <p:nvSpPr>
                      <p:cNvPr id="930" name="Freeform 3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225807" y="453712"/>
                        <a:ext cx="201259" cy="83699"/>
                      </a:xfrm>
                      <a:custGeom>
                        <a:avLst/>
                        <a:gdLst>
                          <a:gd name="T0" fmla="*/ 12 w 168"/>
                          <a:gd name="T1" fmla="*/ 22 h 70"/>
                          <a:gd name="T2" fmla="*/ 1 w 168"/>
                          <a:gd name="T3" fmla="*/ 41 h 70"/>
                          <a:gd name="T4" fmla="*/ 8 w 168"/>
                          <a:gd name="T5" fmla="*/ 61 h 70"/>
                          <a:gd name="T6" fmla="*/ 9 w 168"/>
                          <a:gd name="T7" fmla="*/ 61 h 70"/>
                          <a:gd name="T8" fmla="*/ 39 w 168"/>
                          <a:gd name="T9" fmla="*/ 64 h 70"/>
                          <a:gd name="T10" fmla="*/ 84 w 168"/>
                          <a:gd name="T11" fmla="*/ 50 h 70"/>
                          <a:gd name="T12" fmla="*/ 129 w 168"/>
                          <a:gd name="T13" fmla="*/ 64 h 70"/>
                          <a:gd name="T14" fmla="*/ 159 w 168"/>
                          <a:gd name="T15" fmla="*/ 61 h 70"/>
                          <a:gd name="T16" fmla="*/ 159 w 168"/>
                          <a:gd name="T17" fmla="*/ 61 h 70"/>
                          <a:gd name="T18" fmla="*/ 167 w 168"/>
                          <a:gd name="T19" fmla="*/ 41 h 70"/>
                          <a:gd name="T20" fmla="*/ 156 w 168"/>
                          <a:gd name="T21" fmla="*/ 22 h 70"/>
                          <a:gd name="T22" fmla="*/ 84 w 168"/>
                          <a:gd name="T23" fmla="*/ 0 h 70"/>
                          <a:gd name="T24" fmla="*/ 12 w 168"/>
                          <a:gd name="T25" fmla="*/ 22 h 7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</a:cxnLst>
                        <a:rect l="0" t="0" r="r" b="b"/>
                        <a:pathLst>
                          <a:path w="168" h="70">
                            <a:moveTo>
                              <a:pt x="12" y="22"/>
                            </a:moveTo>
                            <a:cubicBezTo>
                              <a:pt x="5" y="26"/>
                              <a:pt x="1" y="33"/>
                              <a:pt x="1" y="41"/>
                            </a:cubicBezTo>
                            <a:cubicBezTo>
                              <a:pt x="0" y="48"/>
                              <a:pt x="3" y="56"/>
                              <a:pt x="8" y="61"/>
                            </a:cubicBezTo>
                            <a:cubicBezTo>
                              <a:pt x="9" y="61"/>
                              <a:pt x="9" y="61"/>
                              <a:pt x="9" y="61"/>
                            </a:cubicBezTo>
                            <a:cubicBezTo>
                              <a:pt x="17" y="69"/>
                              <a:pt x="29" y="70"/>
                              <a:pt x="39" y="64"/>
                            </a:cubicBezTo>
                            <a:cubicBezTo>
                              <a:pt x="53" y="55"/>
                              <a:pt x="68" y="50"/>
                              <a:pt x="84" y="50"/>
                            </a:cubicBezTo>
                            <a:cubicBezTo>
                              <a:pt x="100" y="50"/>
                              <a:pt x="115" y="55"/>
                              <a:pt x="129" y="64"/>
                            </a:cubicBezTo>
                            <a:cubicBezTo>
                              <a:pt x="138" y="70"/>
                              <a:pt x="151" y="69"/>
                              <a:pt x="159" y="61"/>
                            </a:cubicBezTo>
                            <a:cubicBezTo>
                              <a:pt x="159" y="61"/>
                              <a:pt x="159" y="61"/>
                              <a:pt x="159" y="61"/>
                            </a:cubicBezTo>
                            <a:cubicBezTo>
                              <a:pt x="165" y="56"/>
                              <a:pt x="168" y="48"/>
                              <a:pt x="167" y="41"/>
                            </a:cubicBezTo>
                            <a:cubicBezTo>
                              <a:pt x="166" y="33"/>
                              <a:pt x="162" y="26"/>
                              <a:pt x="156" y="22"/>
                            </a:cubicBezTo>
                            <a:cubicBezTo>
                              <a:pt x="134" y="8"/>
                              <a:pt x="109" y="0"/>
                              <a:pt x="84" y="0"/>
                            </a:cubicBezTo>
                            <a:cubicBezTo>
                              <a:pt x="58" y="0"/>
                              <a:pt x="34" y="8"/>
                              <a:pt x="12" y="22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1" name="Freeform 3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147860" y="347012"/>
                        <a:ext cx="355878" cy="118839"/>
                      </a:xfrm>
                      <a:custGeom>
                        <a:avLst/>
                        <a:gdLst>
                          <a:gd name="T0" fmla="*/ 149 w 297"/>
                          <a:gd name="T1" fmla="*/ 0 h 99"/>
                          <a:gd name="T2" fmla="*/ 9 w 297"/>
                          <a:gd name="T3" fmla="*/ 53 h 99"/>
                          <a:gd name="T4" fmla="*/ 0 w 297"/>
                          <a:gd name="T5" fmla="*/ 71 h 99"/>
                          <a:gd name="T6" fmla="*/ 8 w 297"/>
                          <a:gd name="T7" fmla="*/ 90 h 99"/>
                          <a:gd name="T8" fmla="*/ 8 w 297"/>
                          <a:gd name="T9" fmla="*/ 90 h 99"/>
                          <a:gd name="T10" fmla="*/ 41 w 297"/>
                          <a:gd name="T11" fmla="*/ 91 h 99"/>
                          <a:gd name="T12" fmla="*/ 149 w 297"/>
                          <a:gd name="T13" fmla="*/ 49 h 99"/>
                          <a:gd name="T14" fmla="*/ 256 w 297"/>
                          <a:gd name="T15" fmla="*/ 91 h 99"/>
                          <a:gd name="T16" fmla="*/ 289 w 297"/>
                          <a:gd name="T17" fmla="*/ 90 h 99"/>
                          <a:gd name="T18" fmla="*/ 289 w 297"/>
                          <a:gd name="T19" fmla="*/ 90 h 99"/>
                          <a:gd name="T20" fmla="*/ 297 w 297"/>
                          <a:gd name="T21" fmla="*/ 71 h 99"/>
                          <a:gd name="T22" fmla="*/ 288 w 297"/>
                          <a:gd name="T23" fmla="*/ 53 h 99"/>
                          <a:gd name="T24" fmla="*/ 149 w 297"/>
                          <a:gd name="T25" fmla="*/ 0 h 9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</a:cxnLst>
                        <a:rect l="0" t="0" r="r" b="b"/>
                        <a:pathLst>
                          <a:path w="297" h="99">
                            <a:moveTo>
                              <a:pt x="149" y="0"/>
                            </a:moveTo>
                            <a:cubicBezTo>
                              <a:pt x="98" y="0"/>
                              <a:pt x="50" y="18"/>
                              <a:pt x="9" y="53"/>
                            </a:cubicBezTo>
                            <a:cubicBezTo>
                              <a:pt x="4" y="57"/>
                              <a:pt x="1" y="64"/>
                              <a:pt x="0" y="71"/>
                            </a:cubicBezTo>
                            <a:cubicBezTo>
                              <a:pt x="0" y="78"/>
                              <a:pt x="3" y="85"/>
                              <a:pt x="8" y="90"/>
                            </a:cubicBezTo>
                            <a:cubicBezTo>
                              <a:pt x="8" y="90"/>
                              <a:pt x="8" y="90"/>
                              <a:pt x="8" y="90"/>
                            </a:cubicBezTo>
                            <a:cubicBezTo>
                              <a:pt x="18" y="98"/>
                              <a:pt x="32" y="99"/>
                              <a:pt x="41" y="91"/>
                            </a:cubicBezTo>
                            <a:cubicBezTo>
                              <a:pt x="73" y="64"/>
                              <a:pt x="110" y="49"/>
                              <a:pt x="149" y="49"/>
                            </a:cubicBezTo>
                            <a:cubicBezTo>
                              <a:pt x="188" y="49"/>
                              <a:pt x="225" y="64"/>
                              <a:pt x="256" y="91"/>
                            </a:cubicBezTo>
                            <a:cubicBezTo>
                              <a:pt x="266" y="99"/>
                              <a:pt x="280" y="98"/>
                              <a:pt x="289" y="90"/>
                            </a:cubicBezTo>
                            <a:cubicBezTo>
                              <a:pt x="289" y="90"/>
                              <a:pt x="289" y="90"/>
                              <a:pt x="289" y="90"/>
                            </a:cubicBezTo>
                            <a:cubicBezTo>
                              <a:pt x="295" y="85"/>
                              <a:pt x="297" y="78"/>
                              <a:pt x="297" y="71"/>
                            </a:cubicBezTo>
                            <a:cubicBezTo>
                              <a:pt x="297" y="64"/>
                              <a:pt x="294" y="57"/>
                              <a:pt x="288" y="53"/>
                            </a:cubicBezTo>
                            <a:cubicBezTo>
                              <a:pt x="248" y="18"/>
                              <a:pt x="200" y="0"/>
                              <a:pt x="149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2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69911" y="239035"/>
                        <a:ext cx="511773" cy="154619"/>
                      </a:xfrm>
                      <a:custGeom>
                        <a:avLst/>
                        <a:gdLst>
                          <a:gd name="T0" fmla="*/ 214 w 427"/>
                          <a:gd name="T1" fmla="*/ 0 h 129"/>
                          <a:gd name="T2" fmla="*/ 8 w 427"/>
                          <a:gd name="T3" fmla="*/ 84 h 129"/>
                          <a:gd name="T4" fmla="*/ 0 w 427"/>
                          <a:gd name="T5" fmla="*/ 102 h 129"/>
                          <a:gd name="T6" fmla="*/ 8 w 427"/>
                          <a:gd name="T7" fmla="*/ 120 h 129"/>
                          <a:gd name="T8" fmla="*/ 9 w 427"/>
                          <a:gd name="T9" fmla="*/ 120 h 129"/>
                          <a:gd name="T10" fmla="*/ 43 w 427"/>
                          <a:gd name="T11" fmla="*/ 120 h 129"/>
                          <a:gd name="T12" fmla="*/ 214 w 427"/>
                          <a:gd name="T13" fmla="*/ 50 h 129"/>
                          <a:gd name="T14" fmla="*/ 385 w 427"/>
                          <a:gd name="T15" fmla="*/ 120 h 129"/>
                          <a:gd name="T16" fmla="*/ 419 w 427"/>
                          <a:gd name="T17" fmla="*/ 120 h 129"/>
                          <a:gd name="T18" fmla="*/ 419 w 427"/>
                          <a:gd name="T19" fmla="*/ 120 h 129"/>
                          <a:gd name="T20" fmla="*/ 427 w 427"/>
                          <a:gd name="T21" fmla="*/ 102 h 129"/>
                          <a:gd name="T22" fmla="*/ 419 w 427"/>
                          <a:gd name="T23" fmla="*/ 84 h 129"/>
                          <a:gd name="T24" fmla="*/ 214 w 427"/>
                          <a:gd name="T25" fmla="*/ 0 h 1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</a:cxnLst>
                        <a:rect l="0" t="0" r="r" b="b"/>
                        <a:pathLst>
                          <a:path w="427" h="129">
                            <a:moveTo>
                              <a:pt x="214" y="0"/>
                            </a:moveTo>
                            <a:cubicBezTo>
                              <a:pt x="131" y="0"/>
                              <a:pt x="55" y="40"/>
                              <a:pt x="8" y="84"/>
                            </a:cubicBezTo>
                            <a:cubicBezTo>
                              <a:pt x="3" y="88"/>
                              <a:pt x="0" y="95"/>
                              <a:pt x="0" y="102"/>
                            </a:cubicBezTo>
                            <a:cubicBezTo>
                              <a:pt x="1" y="109"/>
                              <a:pt x="3" y="115"/>
                              <a:pt x="8" y="120"/>
                            </a:cubicBezTo>
                            <a:cubicBezTo>
                              <a:pt x="9" y="120"/>
                              <a:pt x="9" y="120"/>
                              <a:pt x="9" y="120"/>
                            </a:cubicBezTo>
                            <a:cubicBezTo>
                              <a:pt x="18" y="129"/>
                              <a:pt x="33" y="129"/>
                              <a:pt x="43" y="120"/>
                            </a:cubicBezTo>
                            <a:cubicBezTo>
                              <a:pt x="78" y="87"/>
                              <a:pt x="141" y="50"/>
                              <a:pt x="214" y="50"/>
                            </a:cubicBezTo>
                            <a:cubicBezTo>
                              <a:pt x="286" y="50"/>
                              <a:pt x="349" y="87"/>
                              <a:pt x="385" y="120"/>
                            </a:cubicBezTo>
                            <a:cubicBezTo>
                              <a:pt x="395" y="129"/>
                              <a:pt x="409" y="129"/>
                              <a:pt x="419" y="120"/>
                            </a:cubicBezTo>
                            <a:cubicBezTo>
                              <a:pt x="419" y="120"/>
                              <a:pt x="419" y="120"/>
                              <a:pt x="419" y="120"/>
                            </a:cubicBezTo>
                            <a:cubicBezTo>
                              <a:pt x="424" y="115"/>
                              <a:pt x="427" y="109"/>
                              <a:pt x="427" y="102"/>
                            </a:cubicBezTo>
                            <a:cubicBezTo>
                              <a:pt x="427" y="95"/>
                              <a:pt x="424" y="88"/>
                              <a:pt x="419" y="84"/>
                            </a:cubicBezTo>
                            <a:cubicBezTo>
                              <a:pt x="372" y="40"/>
                              <a:pt x="297" y="0"/>
                              <a:pt x="214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922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267852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011" name="Group 1010"/>
                  <p:cNvGrpSpPr/>
                  <p:nvPr/>
                </p:nvGrpSpPr>
                <p:grpSpPr>
                  <a:xfrm>
                    <a:off x="7168023" y="7244125"/>
                    <a:ext cx="1868308" cy="315476"/>
                    <a:chOff x="6650643" y="7093654"/>
                    <a:chExt cx="2654629" cy="448251"/>
                  </a:xfrm>
                  <a:solidFill>
                    <a:srgbClr val="626262"/>
                  </a:solidFill>
                </p:grpSpPr>
                <p:sp>
                  <p:nvSpPr>
                    <p:cNvPr id="923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650643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60000"/>
                        <a:lumOff val="4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924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033434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60000"/>
                        <a:lumOff val="4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925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416224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60000"/>
                        <a:lumOff val="4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926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799015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60000"/>
                        <a:lumOff val="4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927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8181806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60000"/>
                        <a:lumOff val="4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928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8564597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60000"/>
                        <a:lumOff val="4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929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8947395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60000"/>
                        <a:lumOff val="4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1009" name="Freeform: Shape 1008"/>
                <p:cNvSpPr>
                  <a:spLocks noChangeAspect="1"/>
                </p:cNvSpPr>
                <p:nvPr/>
              </p:nvSpPr>
              <p:spPr>
                <a:xfrm>
                  <a:off x="5652097" y="7577879"/>
                  <a:ext cx="3117372" cy="502920"/>
                </a:xfrm>
                <a:custGeom>
                  <a:avLst/>
                  <a:gdLst>
                    <a:gd name="connsiteX0" fmla="*/ 2661419 w 2778398"/>
                    <a:gd name="connsiteY0" fmla="*/ 337729 h 448234"/>
                    <a:gd name="connsiteX1" fmla="*/ 2634798 w 2778398"/>
                    <a:gd name="connsiteY1" fmla="*/ 348500 h 448234"/>
                    <a:gd name="connsiteX2" fmla="*/ 2621794 w 2778398"/>
                    <a:gd name="connsiteY2" fmla="*/ 379364 h 448234"/>
                    <a:gd name="connsiteX3" fmla="*/ 2695241 w 2778398"/>
                    <a:gd name="connsiteY3" fmla="*/ 379364 h 448234"/>
                    <a:gd name="connsiteX4" fmla="*/ 2685753 w 2778398"/>
                    <a:gd name="connsiteY4" fmla="*/ 348668 h 448234"/>
                    <a:gd name="connsiteX5" fmla="*/ 2661419 w 2778398"/>
                    <a:gd name="connsiteY5" fmla="*/ 337729 h 448234"/>
                    <a:gd name="connsiteX6" fmla="*/ 2347094 w 2778398"/>
                    <a:gd name="connsiteY6" fmla="*/ 337729 h 448234"/>
                    <a:gd name="connsiteX7" fmla="*/ 2320473 w 2778398"/>
                    <a:gd name="connsiteY7" fmla="*/ 348500 h 448234"/>
                    <a:gd name="connsiteX8" fmla="*/ 2307469 w 2778398"/>
                    <a:gd name="connsiteY8" fmla="*/ 379364 h 448234"/>
                    <a:gd name="connsiteX9" fmla="*/ 2380915 w 2778398"/>
                    <a:gd name="connsiteY9" fmla="*/ 379364 h 448234"/>
                    <a:gd name="connsiteX10" fmla="*/ 2371428 w 2778398"/>
                    <a:gd name="connsiteY10" fmla="*/ 348668 h 448234"/>
                    <a:gd name="connsiteX11" fmla="*/ 2347094 w 2778398"/>
                    <a:gd name="connsiteY11" fmla="*/ 337729 h 448234"/>
                    <a:gd name="connsiteX12" fmla="*/ 1922599 w 2778398"/>
                    <a:gd name="connsiteY12" fmla="*/ 337729 h 448234"/>
                    <a:gd name="connsiteX13" fmla="*/ 1890397 w 2778398"/>
                    <a:gd name="connsiteY13" fmla="*/ 351347 h 448234"/>
                    <a:gd name="connsiteX14" fmla="*/ 1878397 w 2778398"/>
                    <a:gd name="connsiteY14" fmla="*/ 389186 h 448234"/>
                    <a:gd name="connsiteX15" fmla="*/ 1890117 w 2778398"/>
                    <a:gd name="connsiteY15" fmla="*/ 425240 h 448234"/>
                    <a:gd name="connsiteX16" fmla="*/ 1922153 w 2778398"/>
                    <a:gd name="connsiteY16" fmla="*/ 438858 h 448234"/>
                    <a:gd name="connsiteX17" fmla="*/ 1953965 w 2778398"/>
                    <a:gd name="connsiteY17" fmla="*/ 425463 h 448234"/>
                    <a:gd name="connsiteX18" fmla="*/ 1965127 w 2778398"/>
                    <a:gd name="connsiteY18" fmla="*/ 388293 h 448234"/>
                    <a:gd name="connsiteX19" fmla="*/ 1954021 w 2778398"/>
                    <a:gd name="connsiteY19" fmla="*/ 350789 h 448234"/>
                    <a:gd name="connsiteX20" fmla="*/ 1922599 w 2778398"/>
                    <a:gd name="connsiteY20" fmla="*/ 337729 h 448234"/>
                    <a:gd name="connsiteX21" fmla="*/ 1546994 w 2778398"/>
                    <a:gd name="connsiteY21" fmla="*/ 337729 h 448234"/>
                    <a:gd name="connsiteX22" fmla="*/ 1520373 w 2778398"/>
                    <a:gd name="connsiteY22" fmla="*/ 348500 h 448234"/>
                    <a:gd name="connsiteX23" fmla="*/ 1507369 w 2778398"/>
                    <a:gd name="connsiteY23" fmla="*/ 379364 h 448234"/>
                    <a:gd name="connsiteX24" fmla="*/ 1580815 w 2778398"/>
                    <a:gd name="connsiteY24" fmla="*/ 379364 h 448234"/>
                    <a:gd name="connsiteX25" fmla="*/ 1571328 w 2778398"/>
                    <a:gd name="connsiteY25" fmla="*/ 348668 h 448234"/>
                    <a:gd name="connsiteX26" fmla="*/ 1546994 w 2778398"/>
                    <a:gd name="connsiteY26" fmla="*/ 337729 h 448234"/>
                    <a:gd name="connsiteX27" fmla="*/ 1261244 w 2778398"/>
                    <a:gd name="connsiteY27" fmla="*/ 337729 h 448234"/>
                    <a:gd name="connsiteX28" fmla="*/ 1234623 w 2778398"/>
                    <a:gd name="connsiteY28" fmla="*/ 348500 h 448234"/>
                    <a:gd name="connsiteX29" fmla="*/ 1221619 w 2778398"/>
                    <a:gd name="connsiteY29" fmla="*/ 379364 h 448234"/>
                    <a:gd name="connsiteX30" fmla="*/ 1295065 w 2778398"/>
                    <a:gd name="connsiteY30" fmla="*/ 379364 h 448234"/>
                    <a:gd name="connsiteX31" fmla="*/ 1285578 w 2778398"/>
                    <a:gd name="connsiteY31" fmla="*/ 348668 h 448234"/>
                    <a:gd name="connsiteX32" fmla="*/ 1261244 w 2778398"/>
                    <a:gd name="connsiteY32" fmla="*/ 337729 h 448234"/>
                    <a:gd name="connsiteX33" fmla="*/ 893899 w 2778398"/>
                    <a:gd name="connsiteY33" fmla="*/ 337729 h 448234"/>
                    <a:gd name="connsiteX34" fmla="*/ 861697 w 2778398"/>
                    <a:gd name="connsiteY34" fmla="*/ 351347 h 448234"/>
                    <a:gd name="connsiteX35" fmla="*/ 849697 w 2778398"/>
                    <a:gd name="connsiteY35" fmla="*/ 389186 h 448234"/>
                    <a:gd name="connsiteX36" fmla="*/ 861417 w 2778398"/>
                    <a:gd name="connsiteY36" fmla="*/ 425240 h 448234"/>
                    <a:gd name="connsiteX37" fmla="*/ 893453 w 2778398"/>
                    <a:gd name="connsiteY37" fmla="*/ 438858 h 448234"/>
                    <a:gd name="connsiteX38" fmla="*/ 925265 w 2778398"/>
                    <a:gd name="connsiteY38" fmla="*/ 425463 h 448234"/>
                    <a:gd name="connsiteX39" fmla="*/ 936427 w 2778398"/>
                    <a:gd name="connsiteY39" fmla="*/ 388293 h 448234"/>
                    <a:gd name="connsiteX40" fmla="*/ 925321 w 2778398"/>
                    <a:gd name="connsiteY40" fmla="*/ 350789 h 448234"/>
                    <a:gd name="connsiteX41" fmla="*/ 893899 w 2778398"/>
                    <a:gd name="connsiteY41" fmla="*/ 337729 h 448234"/>
                    <a:gd name="connsiteX42" fmla="*/ 518294 w 2778398"/>
                    <a:gd name="connsiteY42" fmla="*/ 337729 h 448234"/>
                    <a:gd name="connsiteX43" fmla="*/ 491672 w 2778398"/>
                    <a:gd name="connsiteY43" fmla="*/ 348500 h 448234"/>
                    <a:gd name="connsiteX44" fmla="*/ 478669 w 2778398"/>
                    <a:gd name="connsiteY44" fmla="*/ 379364 h 448234"/>
                    <a:gd name="connsiteX45" fmla="*/ 552115 w 2778398"/>
                    <a:gd name="connsiteY45" fmla="*/ 379364 h 448234"/>
                    <a:gd name="connsiteX46" fmla="*/ 542627 w 2778398"/>
                    <a:gd name="connsiteY46" fmla="*/ 348668 h 448234"/>
                    <a:gd name="connsiteX47" fmla="*/ 518294 w 2778398"/>
                    <a:gd name="connsiteY47" fmla="*/ 337729 h 448234"/>
                    <a:gd name="connsiteX48" fmla="*/ 208099 w 2778398"/>
                    <a:gd name="connsiteY48" fmla="*/ 337729 h 448234"/>
                    <a:gd name="connsiteX49" fmla="*/ 175896 w 2778398"/>
                    <a:gd name="connsiteY49" fmla="*/ 351347 h 448234"/>
                    <a:gd name="connsiteX50" fmla="*/ 163897 w 2778398"/>
                    <a:gd name="connsiteY50" fmla="*/ 389186 h 448234"/>
                    <a:gd name="connsiteX51" fmla="*/ 175617 w 2778398"/>
                    <a:gd name="connsiteY51" fmla="*/ 425240 h 448234"/>
                    <a:gd name="connsiteX52" fmla="*/ 207653 w 2778398"/>
                    <a:gd name="connsiteY52" fmla="*/ 438858 h 448234"/>
                    <a:gd name="connsiteX53" fmla="*/ 239465 w 2778398"/>
                    <a:gd name="connsiteY53" fmla="*/ 425463 h 448234"/>
                    <a:gd name="connsiteX54" fmla="*/ 250627 w 2778398"/>
                    <a:gd name="connsiteY54" fmla="*/ 388293 h 448234"/>
                    <a:gd name="connsiteX55" fmla="*/ 239520 w 2778398"/>
                    <a:gd name="connsiteY55" fmla="*/ 350789 h 448234"/>
                    <a:gd name="connsiteX56" fmla="*/ 208099 w 2778398"/>
                    <a:gd name="connsiteY56" fmla="*/ 337729 h 448234"/>
                    <a:gd name="connsiteX57" fmla="*/ 1662634 w 2778398"/>
                    <a:gd name="connsiteY57" fmla="*/ 337728 h 448234"/>
                    <a:gd name="connsiteX58" fmla="*/ 1632942 w 2778398"/>
                    <a:gd name="connsiteY58" fmla="*/ 351513 h 448234"/>
                    <a:gd name="connsiteX59" fmla="*/ 1621222 w 2778398"/>
                    <a:gd name="connsiteY59" fmla="*/ 389408 h 448234"/>
                    <a:gd name="connsiteX60" fmla="*/ 1631770 w 2778398"/>
                    <a:gd name="connsiteY60" fmla="*/ 425964 h 448234"/>
                    <a:gd name="connsiteX61" fmla="*/ 1658950 w 2778398"/>
                    <a:gd name="connsiteY61" fmla="*/ 438857 h 448234"/>
                    <a:gd name="connsiteX62" fmla="*/ 1689200 w 2778398"/>
                    <a:gd name="connsiteY62" fmla="*/ 426746 h 448234"/>
                    <a:gd name="connsiteX63" fmla="*/ 1699915 w 2778398"/>
                    <a:gd name="connsiteY63" fmla="*/ 397222 h 448234"/>
                    <a:gd name="connsiteX64" fmla="*/ 1699915 w 2778398"/>
                    <a:gd name="connsiteY64" fmla="*/ 375902 h 448234"/>
                    <a:gd name="connsiteX65" fmla="*/ 1689813 w 2778398"/>
                    <a:gd name="connsiteY65" fmla="*/ 348834 h 448234"/>
                    <a:gd name="connsiteX66" fmla="*/ 1662634 w 2778398"/>
                    <a:gd name="connsiteY66" fmla="*/ 337728 h 448234"/>
                    <a:gd name="connsiteX67" fmla="*/ 2461394 w 2778398"/>
                    <a:gd name="connsiteY67" fmla="*/ 328910 h 448234"/>
                    <a:gd name="connsiteX68" fmla="*/ 2472780 w 2778398"/>
                    <a:gd name="connsiteY68" fmla="*/ 330919 h 448234"/>
                    <a:gd name="connsiteX69" fmla="*/ 2472780 w 2778398"/>
                    <a:gd name="connsiteY69" fmla="*/ 341858 h 448234"/>
                    <a:gd name="connsiteX70" fmla="*/ 2460725 w 2778398"/>
                    <a:gd name="connsiteY70" fmla="*/ 338174 h 448234"/>
                    <a:gd name="connsiteX71" fmla="*/ 2438065 w 2778398"/>
                    <a:gd name="connsiteY71" fmla="*/ 352127 h 448234"/>
                    <a:gd name="connsiteX72" fmla="*/ 2428912 w 2778398"/>
                    <a:gd name="connsiteY72" fmla="*/ 391752 h 448234"/>
                    <a:gd name="connsiteX73" fmla="*/ 2428912 w 2778398"/>
                    <a:gd name="connsiteY73" fmla="*/ 445442 h 448234"/>
                    <a:gd name="connsiteX74" fmla="*/ 2418867 w 2778398"/>
                    <a:gd name="connsiteY74" fmla="*/ 445442 h 448234"/>
                    <a:gd name="connsiteX75" fmla="*/ 2418867 w 2778398"/>
                    <a:gd name="connsiteY75" fmla="*/ 331142 h 448234"/>
                    <a:gd name="connsiteX76" fmla="*/ 2428912 w 2778398"/>
                    <a:gd name="connsiteY76" fmla="*/ 331142 h 448234"/>
                    <a:gd name="connsiteX77" fmla="*/ 2428912 w 2778398"/>
                    <a:gd name="connsiteY77" fmla="*/ 356480 h 448234"/>
                    <a:gd name="connsiteX78" fmla="*/ 2429359 w 2778398"/>
                    <a:gd name="connsiteY78" fmla="*/ 356480 h 448234"/>
                    <a:gd name="connsiteX79" fmla="*/ 2441749 w 2778398"/>
                    <a:gd name="connsiteY79" fmla="*/ 336165 h 448234"/>
                    <a:gd name="connsiteX80" fmla="*/ 2461394 w 2778398"/>
                    <a:gd name="connsiteY80" fmla="*/ 328910 h 448234"/>
                    <a:gd name="connsiteX81" fmla="*/ 2661866 w 2778398"/>
                    <a:gd name="connsiteY81" fmla="*/ 328353 h 448234"/>
                    <a:gd name="connsiteX82" fmla="*/ 2694571 w 2778398"/>
                    <a:gd name="connsiteY82" fmla="*/ 343310 h 448234"/>
                    <a:gd name="connsiteX83" fmla="*/ 2705956 w 2778398"/>
                    <a:gd name="connsiteY83" fmla="*/ 384163 h 448234"/>
                    <a:gd name="connsiteX84" fmla="*/ 2705956 w 2778398"/>
                    <a:gd name="connsiteY84" fmla="*/ 388740 h 448234"/>
                    <a:gd name="connsiteX85" fmla="*/ 2621347 w 2778398"/>
                    <a:gd name="connsiteY85" fmla="*/ 388740 h 448234"/>
                    <a:gd name="connsiteX86" fmla="*/ 2632230 w 2778398"/>
                    <a:gd name="connsiteY86" fmla="*/ 425575 h 448234"/>
                    <a:gd name="connsiteX87" fmla="*/ 2662089 w 2778398"/>
                    <a:gd name="connsiteY87" fmla="*/ 438858 h 448234"/>
                    <a:gd name="connsiteX88" fmla="*/ 2699594 w 2778398"/>
                    <a:gd name="connsiteY88" fmla="*/ 424682 h 448234"/>
                    <a:gd name="connsiteX89" fmla="*/ 2699594 w 2778398"/>
                    <a:gd name="connsiteY89" fmla="*/ 435621 h 448234"/>
                    <a:gd name="connsiteX90" fmla="*/ 2659968 w 2778398"/>
                    <a:gd name="connsiteY90" fmla="*/ 448234 h 448234"/>
                    <a:gd name="connsiteX91" fmla="*/ 2624250 w 2778398"/>
                    <a:gd name="connsiteY91" fmla="*/ 432384 h 448234"/>
                    <a:gd name="connsiteX92" fmla="*/ 2610632 w 2778398"/>
                    <a:gd name="connsiteY92" fmla="*/ 387624 h 448234"/>
                    <a:gd name="connsiteX93" fmla="*/ 2624863 w 2778398"/>
                    <a:gd name="connsiteY93" fmla="*/ 345487 h 448234"/>
                    <a:gd name="connsiteX94" fmla="*/ 2661866 w 2778398"/>
                    <a:gd name="connsiteY94" fmla="*/ 328353 h 448234"/>
                    <a:gd name="connsiteX95" fmla="*/ 2347541 w 2778398"/>
                    <a:gd name="connsiteY95" fmla="*/ 328353 h 448234"/>
                    <a:gd name="connsiteX96" fmla="*/ 2380246 w 2778398"/>
                    <a:gd name="connsiteY96" fmla="*/ 343310 h 448234"/>
                    <a:gd name="connsiteX97" fmla="*/ 2391631 w 2778398"/>
                    <a:gd name="connsiteY97" fmla="*/ 384163 h 448234"/>
                    <a:gd name="connsiteX98" fmla="*/ 2391631 w 2778398"/>
                    <a:gd name="connsiteY98" fmla="*/ 388740 h 448234"/>
                    <a:gd name="connsiteX99" fmla="*/ 2307022 w 2778398"/>
                    <a:gd name="connsiteY99" fmla="*/ 388740 h 448234"/>
                    <a:gd name="connsiteX100" fmla="*/ 2317905 w 2778398"/>
                    <a:gd name="connsiteY100" fmla="*/ 425575 h 448234"/>
                    <a:gd name="connsiteX101" fmla="*/ 2347764 w 2778398"/>
                    <a:gd name="connsiteY101" fmla="*/ 438858 h 448234"/>
                    <a:gd name="connsiteX102" fmla="*/ 2385269 w 2778398"/>
                    <a:gd name="connsiteY102" fmla="*/ 424682 h 448234"/>
                    <a:gd name="connsiteX103" fmla="*/ 2385269 w 2778398"/>
                    <a:gd name="connsiteY103" fmla="*/ 435621 h 448234"/>
                    <a:gd name="connsiteX104" fmla="*/ 2345643 w 2778398"/>
                    <a:gd name="connsiteY104" fmla="*/ 448234 h 448234"/>
                    <a:gd name="connsiteX105" fmla="*/ 2309924 w 2778398"/>
                    <a:gd name="connsiteY105" fmla="*/ 432384 h 448234"/>
                    <a:gd name="connsiteX106" fmla="*/ 2296307 w 2778398"/>
                    <a:gd name="connsiteY106" fmla="*/ 387624 h 448234"/>
                    <a:gd name="connsiteX107" fmla="*/ 2310538 w 2778398"/>
                    <a:gd name="connsiteY107" fmla="*/ 345487 h 448234"/>
                    <a:gd name="connsiteX108" fmla="*/ 2347541 w 2778398"/>
                    <a:gd name="connsiteY108" fmla="*/ 328353 h 448234"/>
                    <a:gd name="connsiteX109" fmla="*/ 1923046 w 2778398"/>
                    <a:gd name="connsiteY109" fmla="*/ 328353 h 448234"/>
                    <a:gd name="connsiteX110" fmla="*/ 1961667 w 2778398"/>
                    <a:gd name="connsiteY110" fmla="*/ 344315 h 448234"/>
                    <a:gd name="connsiteX111" fmla="*/ 1975842 w 2778398"/>
                    <a:gd name="connsiteY111" fmla="*/ 388516 h 448234"/>
                    <a:gd name="connsiteX112" fmla="*/ 1961388 w 2778398"/>
                    <a:gd name="connsiteY112" fmla="*/ 431714 h 448234"/>
                    <a:gd name="connsiteX113" fmla="*/ 1921818 w 2778398"/>
                    <a:gd name="connsiteY113" fmla="*/ 448234 h 448234"/>
                    <a:gd name="connsiteX114" fmla="*/ 1882248 w 2778398"/>
                    <a:gd name="connsiteY114" fmla="*/ 431770 h 448234"/>
                    <a:gd name="connsiteX115" fmla="*/ 1867682 w 2778398"/>
                    <a:gd name="connsiteY115" fmla="*/ 388963 h 448234"/>
                    <a:gd name="connsiteX116" fmla="*/ 1882918 w 2778398"/>
                    <a:gd name="connsiteY116" fmla="*/ 344426 h 448234"/>
                    <a:gd name="connsiteX117" fmla="*/ 1923046 w 2778398"/>
                    <a:gd name="connsiteY117" fmla="*/ 328353 h 448234"/>
                    <a:gd name="connsiteX118" fmla="*/ 1547441 w 2778398"/>
                    <a:gd name="connsiteY118" fmla="*/ 328353 h 448234"/>
                    <a:gd name="connsiteX119" fmla="*/ 1580146 w 2778398"/>
                    <a:gd name="connsiteY119" fmla="*/ 343310 h 448234"/>
                    <a:gd name="connsiteX120" fmla="*/ 1591531 w 2778398"/>
                    <a:gd name="connsiteY120" fmla="*/ 384163 h 448234"/>
                    <a:gd name="connsiteX121" fmla="*/ 1591531 w 2778398"/>
                    <a:gd name="connsiteY121" fmla="*/ 388740 h 448234"/>
                    <a:gd name="connsiteX122" fmla="*/ 1506922 w 2778398"/>
                    <a:gd name="connsiteY122" fmla="*/ 388740 h 448234"/>
                    <a:gd name="connsiteX123" fmla="*/ 1517805 w 2778398"/>
                    <a:gd name="connsiteY123" fmla="*/ 425575 h 448234"/>
                    <a:gd name="connsiteX124" fmla="*/ 1547664 w 2778398"/>
                    <a:gd name="connsiteY124" fmla="*/ 438858 h 448234"/>
                    <a:gd name="connsiteX125" fmla="*/ 1585169 w 2778398"/>
                    <a:gd name="connsiteY125" fmla="*/ 424682 h 448234"/>
                    <a:gd name="connsiteX126" fmla="*/ 1585169 w 2778398"/>
                    <a:gd name="connsiteY126" fmla="*/ 435621 h 448234"/>
                    <a:gd name="connsiteX127" fmla="*/ 1545543 w 2778398"/>
                    <a:gd name="connsiteY127" fmla="*/ 448234 h 448234"/>
                    <a:gd name="connsiteX128" fmla="*/ 1509824 w 2778398"/>
                    <a:gd name="connsiteY128" fmla="*/ 432384 h 448234"/>
                    <a:gd name="connsiteX129" fmla="*/ 1496207 w 2778398"/>
                    <a:gd name="connsiteY129" fmla="*/ 387624 h 448234"/>
                    <a:gd name="connsiteX130" fmla="*/ 1510438 w 2778398"/>
                    <a:gd name="connsiteY130" fmla="*/ 345487 h 448234"/>
                    <a:gd name="connsiteX131" fmla="*/ 1547441 w 2778398"/>
                    <a:gd name="connsiteY131" fmla="*/ 328353 h 448234"/>
                    <a:gd name="connsiteX132" fmla="*/ 1382130 w 2778398"/>
                    <a:gd name="connsiteY132" fmla="*/ 328353 h 448234"/>
                    <a:gd name="connsiteX133" fmla="*/ 1407468 w 2778398"/>
                    <a:gd name="connsiteY133" fmla="*/ 333711 h 448234"/>
                    <a:gd name="connsiteX134" fmla="*/ 1407468 w 2778398"/>
                    <a:gd name="connsiteY134" fmla="*/ 345319 h 448234"/>
                    <a:gd name="connsiteX135" fmla="*/ 1380567 w 2778398"/>
                    <a:gd name="connsiteY135" fmla="*/ 337729 h 448234"/>
                    <a:gd name="connsiteX136" fmla="*/ 1347974 w 2778398"/>
                    <a:gd name="connsiteY136" fmla="*/ 352184 h 448234"/>
                    <a:gd name="connsiteX137" fmla="*/ 1335472 w 2778398"/>
                    <a:gd name="connsiteY137" fmla="*/ 389633 h 448234"/>
                    <a:gd name="connsiteX138" fmla="*/ 1346913 w 2778398"/>
                    <a:gd name="connsiteY138" fmla="*/ 425351 h 448234"/>
                    <a:gd name="connsiteX139" fmla="*/ 1377107 w 2778398"/>
                    <a:gd name="connsiteY139" fmla="*/ 438858 h 448234"/>
                    <a:gd name="connsiteX140" fmla="*/ 1407021 w 2778398"/>
                    <a:gd name="connsiteY140" fmla="*/ 429705 h 448234"/>
                    <a:gd name="connsiteX141" fmla="*/ 1407021 w 2778398"/>
                    <a:gd name="connsiteY141" fmla="*/ 440420 h 448234"/>
                    <a:gd name="connsiteX142" fmla="*/ 1376660 w 2778398"/>
                    <a:gd name="connsiteY142" fmla="*/ 448234 h 448234"/>
                    <a:gd name="connsiteX143" fmla="*/ 1339044 w 2778398"/>
                    <a:gd name="connsiteY143" fmla="*/ 432216 h 448234"/>
                    <a:gd name="connsiteX144" fmla="*/ 1324757 w 2778398"/>
                    <a:gd name="connsiteY144" fmla="*/ 390302 h 448234"/>
                    <a:gd name="connsiteX145" fmla="*/ 1340830 w 2778398"/>
                    <a:gd name="connsiteY145" fmla="*/ 345710 h 448234"/>
                    <a:gd name="connsiteX146" fmla="*/ 1382130 w 2778398"/>
                    <a:gd name="connsiteY146" fmla="*/ 328353 h 448234"/>
                    <a:gd name="connsiteX147" fmla="*/ 1261691 w 2778398"/>
                    <a:gd name="connsiteY147" fmla="*/ 328353 h 448234"/>
                    <a:gd name="connsiteX148" fmla="*/ 1294396 w 2778398"/>
                    <a:gd name="connsiteY148" fmla="*/ 343310 h 448234"/>
                    <a:gd name="connsiteX149" fmla="*/ 1305781 w 2778398"/>
                    <a:gd name="connsiteY149" fmla="*/ 384163 h 448234"/>
                    <a:gd name="connsiteX150" fmla="*/ 1305781 w 2778398"/>
                    <a:gd name="connsiteY150" fmla="*/ 388740 h 448234"/>
                    <a:gd name="connsiteX151" fmla="*/ 1221172 w 2778398"/>
                    <a:gd name="connsiteY151" fmla="*/ 388740 h 448234"/>
                    <a:gd name="connsiteX152" fmla="*/ 1232055 w 2778398"/>
                    <a:gd name="connsiteY152" fmla="*/ 425575 h 448234"/>
                    <a:gd name="connsiteX153" fmla="*/ 1261914 w 2778398"/>
                    <a:gd name="connsiteY153" fmla="*/ 438858 h 448234"/>
                    <a:gd name="connsiteX154" fmla="*/ 1299419 w 2778398"/>
                    <a:gd name="connsiteY154" fmla="*/ 424682 h 448234"/>
                    <a:gd name="connsiteX155" fmla="*/ 1299419 w 2778398"/>
                    <a:gd name="connsiteY155" fmla="*/ 435621 h 448234"/>
                    <a:gd name="connsiteX156" fmla="*/ 1259793 w 2778398"/>
                    <a:gd name="connsiteY156" fmla="*/ 448234 h 448234"/>
                    <a:gd name="connsiteX157" fmla="*/ 1224074 w 2778398"/>
                    <a:gd name="connsiteY157" fmla="*/ 432384 h 448234"/>
                    <a:gd name="connsiteX158" fmla="*/ 1210457 w 2778398"/>
                    <a:gd name="connsiteY158" fmla="*/ 387624 h 448234"/>
                    <a:gd name="connsiteX159" fmla="*/ 1224688 w 2778398"/>
                    <a:gd name="connsiteY159" fmla="*/ 345487 h 448234"/>
                    <a:gd name="connsiteX160" fmla="*/ 1261691 w 2778398"/>
                    <a:gd name="connsiteY160" fmla="*/ 328353 h 448234"/>
                    <a:gd name="connsiteX161" fmla="*/ 894346 w 2778398"/>
                    <a:gd name="connsiteY161" fmla="*/ 328353 h 448234"/>
                    <a:gd name="connsiteX162" fmla="*/ 932967 w 2778398"/>
                    <a:gd name="connsiteY162" fmla="*/ 344315 h 448234"/>
                    <a:gd name="connsiteX163" fmla="*/ 947142 w 2778398"/>
                    <a:gd name="connsiteY163" fmla="*/ 388516 h 448234"/>
                    <a:gd name="connsiteX164" fmla="*/ 932688 w 2778398"/>
                    <a:gd name="connsiteY164" fmla="*/ 431714 h 448234"/>
                    <a:gd name="connsiteX165" fmla="*/ 893118 w 2778398"/>
                    <a:gd name="connsiteY165" fmla="*/ 448234 h 448234"/>
                    <a:gd name="connsiteX166" fmla="*/ 853548 w 2778398"/>
                    <a:gd name="connsiteY166" fmla="*/ 431770 h 448234"/>
                    <a:gd name="connsiteX167" fmla="*/ 838982 w 2778398"/>
                    <a:gd name="connsiteY167" fmla="*/ 388963 h 448234"/>
                    <a:gd name="connsiteX168" fmla="*/ 854218 w 2778398"/>
                    <a:gd name="connsiteY168" fmla="*/ 344426 h 448234"/>
                    <a:gd name="connsiteX169" fmla="*/ 894346 w 2778398"/>
                    <a:gd name="connsiteY169" fmla="*/ 328353 h 448234"/>
                    <a:gd name="connsiteX170" fmla="*/ 791580 w 2778398"/>
                    <a:gd name="connsiteY170" fmla="*/ 328353 h 448234"/>
                    <a:gd name="connsiteX171" fmla="*/ 816918 w 2778398"/>
                    <a:gd name="connsiteY171" fmla="*/ 333711 h 448234"/>
                    <a:gd name="connsiteX172" fmla="*/ 816918 w 2778398"/>
                    <a:gd name="connsiteY172" fmla="*/ 345319 h 448234"/>
                    <a:gd name="connsiteX173" fmla="*/ 790017 w 2778398"/>
                    <a:gd name="connsiteY173" fmla="*/ 337729 h 448234"/>
                    <a:gd name="connsiteX174" fmla="*/ 757424 w 2778398"/>
                    <a:gd name="connsiteY174" fmla="*/ 352184 h 448234"/>
                    <a:gd name="connsiteX175" fmla="*/ 744922 w 2778398"/>
                    <a:gd name="connsiteY175" fmla="*/ 389633 h 448234"/>
                    <a:gd name="connsiteX176" fmla="*/ 756363 w 2778398"/>
                    <a:gd name="connsiteY176" fmla="*/ 425351 h 448234"/>
                    <a:gd name="connsiteX177" fmla="*/ 786557 w 2778398"/>
                    <a:gd name="connsiteY177" fmla="*/ 438858 h 448234"/>
                    <a:gd name="connsiteX178" fmla="*/ 816471 w 2778398"/>
                    <a:gd name="connsiteY178" fmla="*/ 429705 h 448234"/>
                    <a:gd name="connsiteX179" fmla="*/ 816471 w 2778398"/>
                    <a:gd name="connsiteY179" fmla="*/ 440420 h 448234"/>
                    <a:gd name="connsiteX180" fmla="*/ 786110 w 2778398"/>
                    <a:gd name="connsiteY180" fmla="*/ 448234 h 448234"/>
                    <a:gd name="connsiteX181" fmla="*/ 748494 w 2778398"/>
                    <a:gd name="connsiteY181" fmla="*/ 432216 h 448234"/>
                    <a:gd name="connsiteX182" fmla="*/ 734206 w 2778398"/>
                    <a:gd name="connsiteY182" fmla="*/ 390302 h 448234"/>
                    <a:gd name="connsiteX183" fmla="*/ 750280 w 2778398"/>
                    <a:gd name="connsiteY183" fmla="*/ 345710 h 448234"/>
                    <a:gd name="connsiteX184" fmla="*/ 791580 w 2778398"/>
                    <a:gd name="connsiteY184" fmla="*/ 328353 h 448234"/>
                    <a:gd name="connsiteX185" fmla="*/ 621544 w 2778398"/>
                    <a:gd name="connsiteY185" fmla="*/ 328353 h 448234"/>
                    <a:gd name="connsiteX186" fmla="*/ 646770 w 2778398"/>
                    <a:gd name="connsiteY186" fmla="*/ 334380 h 448234"/>
                    <a:gd name="connsiteX187" fmla="*/ 646770 w 2778398"/>
                    <a:gd name="connsiteY187" fmla="*/ 345989 h 448234"/>
                    <a:gd name="connsiteX188" fmla="*/ 620427 w 2778398"/>
                    <a:gd name="connsiteY188" fmla="*/ 337729 h 448234"/>
                    <a:gd name="connsiteX189" fmla="*/ 602233 w 2778398"/>
                    <a:gd name="connsiteY189" fmla="*/ 343589 h 448234"/>
                    <a:gd name="connsiteX190" fmla="*/ 595313 w 2778398"/>
                    <a:gd name="connsiteY190" fmla="*/ 358825 h 448234"/>
                    <a:gd name="connsiteX191" fmla="*/ 599666 w 2778398"/>
                    <a:gd name="connsiteY191" fmla="*/ 372052 h 448234"/>
                    <a:gd name="connsiteX192" fmla="*/ 618865 w 2778398"/>
                    <a:gd name="connsiteY192" fmla="*/ 383717 h 448234"/>
                    <a:gd name="connsiteX193" fmla="*/ 643421 w 2778398"/>
                    <a:gd name="connsiteY193" fmla="*/ 398618 h 448234"/>
                    <a:gd name="connsiteX194" fmla="*/ 650119 w 2778398"/>
                    <a:gd name="connsiteY194" fmla="*/ 416868 h 448234"/>
                    <a:gd name="connsiteX195" fmla="*/ 639905 w 2778398"/>
                    <a:gd name="connsiteY195" fmla="*/ 439360 h 448234"/>
                    <a:gd name="connsiteX196" fmla="*/ 611721 w 2778398"/>
                    <a:gd name="connsiteY196" fmla="*/ 448234 h 448234"/>
                    <a:gd name="connsiteX197" fmla="*/ 584151 w 2778398"/>
                    <a:gd name="connsiteY197" fmla="*/ 440420 h 448234"/>
                    <a:gd name="connsiteX198" fmla="*/ 584151 w 2778398"/>
                    <a:gd name="connsiteY198" fmla="*/ 428030 h 448234"/>
                    <a:gd name="connsiteX199" fmla="*/ 598215 w 2778398"/>
                    <a:gd name="connsiteY199" fmla="*/ 435955 h 448234"/>
                    <a:gd name="connsiteX200" fmla="*/ 612502 w 2778398"/>
                    <a:gd name="connsiteY200" fmla="*/ 438858 h 448234"/>
                    <a:gd name="connsiteX201" fmla="*/ 639403 w 2778398"/>
                    <a:gd name="connsiteY201" fmla="*/ 416868 h 448234"/>
                    <a:gd name="connsiteX202" fmla="*/ 633487 w 2778398"/>
                    <a:gd name="connsiteY202" fmla="*/ 403920 h 448234"/>
                    <a:gd name="connsiteX203" fmla="*/ 614288 w 2778398"/>
                    <a:gd name="connsiteY203" fmla="*/ 392870 h 448234"/>
                    <a:gd name="connsiteX204" fmla="*/ 591238 w 2778398"/>
                    <a:gd name="connsiteY204" fmla="*/ 378080 h 448234"/>
                    <a:gd name="connsiteX205" fmla="*/ 584597 w 2778398"/>
                    <a:gd name="connsiteY205" fmla="*/ 359495 h 448234"/>
                    <a:gd name="connsiteX206" fmla="*/ 595257 w 2778398"/>
                    <a:gd name="connsiteY206" fmla="*/ 336948 h 448234"/>
                    <a:gd name="connsiteX207" fmla="*/ 621544 w 2778398"/>
                    <a:gd name="connsiteY207" fmla="*/ 328353 h 448234"/>
                    <a:gd name="connsiteX208" fmla="*/ 518741 w 2778398"/>
                    <a:gd name="connsiteY208" fmla="*/ 328353 h 448234"/>
                    <a:gd name="connsiteX209" fmla="*/ 551446 w 2778398"/>
                    <a:gd name="connsiteY209" fmla="*/ 343310 h 448234"/>
                    <a:gd name="connsiteX210" fmla="*/ 562831 w 2778398"/>
                    <a:gd name="connsiteY210" fmla="*/ 384163 h 448234"/>
                    <a:gd name="connsiteX211" fmla="*/ 562831 w 2778398"/>
                    <a:gd name="connsiteY211" fmla="*/ 388740 h 448234"/>
                    <a:gd name="connsiteX212" fmla="*/ 478222 w 2778398"/>
                    <a:gd name="connsiteY212" fmla="*/ 388740 h 448234"/>
                    <a:gd name="connsiteX213" fmla="*/ 489105 w 2778398"/>
                    <a:gd name="connsiteY213" fmla="*/ 425575 h 448234"/>
                    <a:gd name="connsiteX214" fmla="*/ 518964 w 2778398"/>
                    <a:gd name="connsiteY214" fmla="*/ 438858 h 448234"/>
                    <a:gd name="connsiteX215" fmla="*/ 556469 w 2778398"/>
                    <a:gd name="connsiteY215" fmla="*/ 424682 h 448234"/>
                    <a:gd name="connsiteX216" fmla="*/ 556469 w 2778398"/>
                    <a:gd name="connsiteY216" fmla="*/ 435621 h 448234"/>
                    <a:gd name="connsiteX217" fmla="*/ 516843 w 2778398"/>
                    <a:gd name="connsiteY217" fmla="*/ 448234 h 448234"/>
                    <a:gd name="connsiteX218" fmla="*/ 481124 w 2778398"/>
                    <a:gd name="connsiteY218" fmla="*/ 432384 h 448234"/>
                    <a:gd name="connsiteX219" fmla="*/ 467506 w 2778398"/>
                    <a:gd name="connsiteY219" fmla="*/ 387624 h 448234"/>
                    <a:gd name="connsiteX220" fmla="*/ 481738 w 2778398"/>
                    <a:gd name="connsiteY220" fmla="*/ 345487 h 448234"/>
                    <a:gd name="connsiteX221" fmla="*/ 518741 w 2778398"/>
                    <a:gd name="connsiteY221" fmla="*/ 328353 h 448234"/>
                    <a:gd name="connsiteX222" fmla="*/ 208546 w 2778398"/>
                    <a:gd name="connsiteY222" fmla="*/ 328353 h 448234"/>
                    <a:gd name="connsiteX223" fmla="*/ 247167 w 2778398"/>
                    <a:gd name="connsiteY223" fmla="*/ 344315 h 448234"/>
                    <a:gd name="connsiteX224" fmla="*/ 261342 w 2778398"/>
                    <a:gd name="connsiteY224" fmla="*/ 388516 h 448234"/>
                    <a:gd name="connsiteX225" fmla="*/ 246887 w 2778398"/>
                    <a:gd name="connsiteY225" fmla="*/ 431714 h 448234"/>
                    <a:gd name="connsiteX226" fmla="*/ 207318 w 2778398"/>
                    <a:gd name="connsiteY226" fmla="*/ 448234 h 448234"/>
                    <a:gd name="connsiteX227" fmla="*/ 167748 w 2778398"/>
                    <a:gd name="connsiteY227" fmla="*/ 431770 h 448234"/>
                    <a:gd name="connsiteX228" fmla="*/ 153182 w 2778398"/>
                    <a:gd name="connsiteY228" fmla="*/ 388963 h 448234"/>
                    <a:gd name="connsiteX229" fmla="*/ 168418 w 2778398"/>
                    <a:gd name="connsiteY229" fmla="*/ 344426 h 448234"/>
                    <a:gd name="connsiteX230" fmla="*/ 208546 w 2778398"/>
                    <a:gd name="connsiteY230" fmla="*/ 328353 h 448234"/>
                    <a:gd name="connsiteX231" fmla="*/ 58155 w 2778398"/>
                    <a:gd name="connsiteY231" fmla="*/ 328353 h 448234"/>
                    <a:gd name="connsiteX232" fmla="*/ 83493 w 2778398"/>
                    <a:gd name="connsiteY232" fmla="*/ 333711 h 448234"/>
                    <a:gd name="connsiteX233" fmla="*/ 83493 w 2778398"/>
                    <a:gd name="connsiteY233" fmla="*/ 345319 h 448234"/>
                    <a:gd name="connsiteX234" fmla="*/ 56592 w 2778398"/>
                    <a:gd name="connsiteY234" fmla="*/ 337729 h 448234"/>
                    <a:gd name="connsiteX235" fmla="*/ 23999 w 2778398"/>
                    <a:gd name="connsiteY235" fmla="*/ 352184 h 448234"/>
                    <a:gd name="connsiteX236" fmla="*/ 11497 w 2778398"/>
                    <a:gd name="connsiteY236" fmla="*/ 389633 h 448234"/>
                    <a:gd name="connsiteX237" fmla="*/ 22938 w 2778398"/>
                    <a:gd name="connsiteY237" fmla="*/ 425351 h 448234"/>
                    <a:gd name="connsiteX238" fmla="*/ 53132 w 2778398"/>
                    <a:gd name="connsiteY238" fmla="*/ 438858 h 448234"/>
                    <a:gd name="connsiteX239" fmla="*/ 83046 w 2778398"/>
                    <a:gd name="connsiteY239" fmla="*/ 429705 h 448234"/>
                    <a:gd name="connsiteX240" fmla="*/ 83046 w 2778398"/>
                    <a:gd name="connsiteY240" fmla="*/ 440420 h 448234"/>
                    <a:gd name="connsiteX241" fmla="*/ 52685 w 2778398"/>
                    <a:gd name="connsiteY241" fmla="*/ 448234 h 448234"/>
                    <a:gd name="connsiteX242" fmla="*/ 15069 w 2778398"/>
                    <a:gd name="connsiteY242" fmla="*/ 432216 h 448234"/>
                    <a:gd name="connsiteX243" fmla="*/ 782 w 2778398"/>
                    <a:gd name="connsiteY243" fmla="*/ 390302 h 448234"/>
                    <a:gd name="connsiteX244" fmla="*/ 16855 w 2778398"/>
                    <a:gd name="connsiteY244" fmla="*/ 345710 h 448234"/>
                    <a:gd name="connsiteX245" fmla="*/ 58155 w 2778398"/>
                    <a:gd name="connsiteY245" fmla="*/ 328353 h 448234"/>
                    <a:gd name="connsiteX246" fmla="*/ 2544850 w 2778398"/>
                    <a:gd name="connsiteY246" fmla="*/ 328352 h 448234"/>
                    <a:gd name="connsiteX247" fmla="*/ 2573201 w 2778398"/>
                    <a:gd name="connsiteY247" fmla="*/ 340686 h 448234"/>
                    <a:gd name="connsiteX248" fmla="*/ 2583024 w 2778398"/>
                    <a:gd name="connsiteY248" fmla="*/ 375902 h 448234"/>
                    <a:gd name="connsiteX249" fmla="*/ 2583024 w 2778398"/>
                    <a:gd name="connsiteY249" fmla="*/ 445442 h 448234"/>
                    <a:gd name="connsiteX250" fmla="*/ 2572755 w 2778398"/>
                    <a:gd name="connsiteY250" fmla="*/ 445442 h 448234"/>
                    <a:gd name="connsiteX251" fmla="*/ 2572755 w 2778398"/>
                    <a:gd name="connsiteY251" fmla="*/ 378916 h 448234"/>
                    <a:gd name="connsiteX252" fmla="*/ 2543064 w 2778398"/>
                    <a:gd name="connsiteY252" fmla="*/ 337728 h 448234"/>
                    <a:gd name="connsiteX253" fmla="*/ 2515940 w 2778398"/>
                    <a:gd name="connsiteY253" fmla="*/ 349839 h 448234"/>
                    <a:gd name="connsiteX254" fmla="*/ 2505336 w 2778398"/>
                    <a:gd name="connsiteY254" fmla="*/ 379809 h 448234"/>
                    <a:gd name="connsiteX255" fmla="*/ 2505336 w 2778398"/>
                    <a:gd name="connsiteY255" fmla="*/ 445442 h 448234"/>
                    <a:gd name="connsiteX256" fmla="*/ 2495067 w 2778398"/>
                    <a:gd name="connsiteY256" fmla="*/ 445442 h 448234"/>
                    <a:gd name="connsiteX257" fmla="*/ 2495067 w 2778398"/>
                    <a:gd name="connsiteY257" fmla="*/ 331142 h 448234"/>
                    <a:gd name="connsiteX258" fmla="*/ 2505336 w 2778398"/>
                    <a:gd name="connsiteY258" fmla="*/ 331142 h 448234"/>
                    <a:gd name="connsiteX259" fmla="*/ 2505336 w 2778398"/>
                    <a:gd name="connsiteY259" fmla="*/ 351904 h 448234"/>
                    <a:gd name="connsiteX260" fmla="*/ 2505782 w 2778398"/>
                    <a:gd name="connsiteY260" fmla="*/ 351904 h 448234"/>
                    <a:gd name="connsiteX261" fmla="*/ 2544850 w 2778398"/>
                    <a:gd name="connsiteY261" fmla="*/ 328352 h 448234"/>
                    <a:gd name="connsiteX262" fmla="*/ 2163850 w 2778398"/>
                    <a:gd name="connsiteY262" fmla="*/ 328352 h 448234"/>
                    <a:gd name="connsiteX263" fmla="*/ 2192201 w 2778398"/>
                    <a:gd name="connsiteY263" fmla="*/ 340686 h 448234"/>
                    <a:gd name="connsiteX264" fmla="*/ 2202024 w 2778398"/>
                    <a:gd name="connsiteY264" fmla="*/ 375902 h 448234"/>
                    <a:gd name="connsiteX265" fmla="*/ 2202024 w 2778398"/>
                    <a:gd name="connsiteY265" fmla="*/ 445442 h 448234"/>
                    <a:gd name="connsiteX266" fmla="*/ 2191755 w 2778398"/>
                    <a:gd name="connsiteY266" fmla="*/ 445442 h 448234"/>
                    <a:gd name="connsiteX267" fmla="*/ 2191755 w 2778398"/>
                    <a:gd name="connsiteY267" fmla="*/ 378916 h 448234"/>
                    <a:gd name="connsiteX268" fmla="*/ 2162064 w 2778398"/>
                    <a:gd name="connsiteY268" fmla="*/ 337728 h 448234"/>
                    <a:gd name="connsiteX269" fmla="*/ 2134940 w 2778398"/>
                    <a:gd name="connsiteY269" fmla="*/ 349839 h 448234"/>
                    <a:gd name="connsiteX270" fmla="*/ 2124336 w 2778398"/>
                    <a:gd name="connsiteY270" fmla="*/ 379809 h 448234"/>
                    <a:gd name="connsiteX271" fmla="*/ 2124336 w 2778398"/>
                    <a:gd name="connsiteY271" fmla="*/ 445442 h 448234"/>
                    <a:gd name="connsiteX272" fmla="*/ 2114067 w 2778398"/>
                    <a:gd name="connsiteY272" fmla="*/ 445442 h 448234"/>
                    <a:gd name="connsiteX273" fmla="*/ 2114067 w 2778398"/>
                    <a:gd name="connsiteY273" fmla="*/ 331142 h 448234"/>
                    <a:gd name="connsiteX274" fmla="*/ 2124336 w 2778398"/>
                    <a:gd name="connsiteY274" fmla="*/ 331142 h 448234"/>
                    <a:gd name="connsiteX275" fmla="*/ 2124336 w 2778398"/>
                    <a:gd name="connsiteY275" fmla="*/ 351904 h 448234"/>
                    <a:gd name="connsiteX276" fmla="*/ 2124782 w 2778398"/>
                    <a:gd name="connsiteY276" fmla="*/ 351904 h 448234"/>
                    <a:gd name="connsiteX277" fmla="*/ 2163850 w 2778398"/>
                    <a:gd name="connsiteY277" fmla="*/ 328352 h 448234"/>
                    <a:gd name="connsiteX278" fmla="*/ 1144675 w 2778398"/>
                    <a:gd name="connsiteY278" fmla="*/ 328352 h 448234"/>
                    <a:gd name="connsiteX279" fmla="*/ 1173026 w 2778398"/>
                    <a:gd name="connsiteY279" fmla="*/ 340686 h 448234"/>
                    <a:gd name="connsiteX280" fmla="*/ 1182849 w 2778398"/>
                    <a:gd name="connsiteY280" fmla="*/ 375902 h 448234"/>
                    <a:gd name="connsiteX281" fmla="*/ 1182849 w 2778398"/>
                    <a:gd name="connsiteY281" fmla="*/ 445442 h 448234"/>
                    <a:gd name="connsiteX282" fmla="*/ 1172580 w 2778398"/>
                    <a:gd name="connsiteY282" fmla="*/ 445442 h 448234"/>
                    <a:gd name="connsiteX283" fmla="*/ 1172580 w 2778398"/>
                    <a:gd name="connsiteY283" fmla="*/ 378916 h 448234"/>
                    <a:gd name="connsiteX284" fmla="*/ 1142889 w 2778398"/>
                    <a:gd name="connsiteY284" fmla="*/ 337728 h 448234"/>
                    <a:gd name="connsiteX285" fmla="*/ 1115765 w 2778398"/>
                    <a:gd name="connsiteY285" fmla="*/ 349839 h 448234"/>
                    <a:gd name="connsiteX286" fmla="*/ 1105161 w 2778398"/>
                    <a:gd name="connsiteY286" fmla="*/ 379809 h 448234"/>
                    <a:gd name="connsiteX287" fmla="*/ 1105161 w 2778398"/>
                    <a:gd name="connsiteY287" fmla="*/ 445442 h 448234"/>
                    <a:gd name="connsiteX288" fmla="*/ 1094892 w 2778398"/>
                    <a:gd name="connsiteY288" fmla="*/ 445442 h 448234"/>
                    <a:gd name="connsiteX289" fmla="*/ 1094892 w 2778398"/>
                    <a:gd name="connsiteY289" fmla="*/ 331142 h 448234"/>
                    <a:gd name="connsiteX290" fmla="*/ 1105161 w 2778398"/>
                    <a:gd name="connsiteY290" fmla="*/ 331142 h 448234"/>
                    <a:gd name="connsiteX291" fmla="*/ 1105161 w 2778398"/>
                    <a:gd name="connsiteY291" fmla="*/ 351904 h 448234"/>
                    <a:gd name="connsiteX292" fmla="*/ 1105607 w 2778398"/>
                    <a:gd name="connsiteY292" fmla="*/ 351904 h 448234"/>
                    <a:gd name="connsiteX293" fmla="*/ 1144675 w 2778398"/>
                    <a:gd name="connsiteY293" fmla="*/ 328352 h 448234"/>
                    <a:gd name="connsiteX294" fmla="*/ 1020850 w 2778398"/>
                    <a:gd name="connsiteY294" fmla="*/ 328352 h 448234"/>
                    <a:gd name="connsiteX295" fmla="*/ 1049201 w 2778398"/>
                    <a:gd name="connsiteY295" fmla="*/ 340686 h 448234"/>
                    <a:gd name="connsiteX296" fmla="*/ 1059024 w 2778398"/>
                    <a:gd name="connsiteY296" fmla="*/ 375902 h 448234"/>
                    <a:gd name="connsiteX297" fmla="*/ 1059024 w 2778398"/>
                    <a:gd name="connsiteY297" fmla="*/ 445442 h 448234"/>
                    <a:gd name="connsiteX298" fmla="*/ 1048755 w 2778398"/>
                    <a:gd name="connsiteY298" fmla="*/ 445442 h 448234"/>
                    <a:gd name="connsiteX299" fmla="*/ 1048755 w 2778398"/>
                    <a:gd name="connsiteY299" fmla="*/ 378916 h 448234"/>
                    <a:gd name="connsiteX300" fmla="*/ 1019064 w 2778398"/>
                    <a:gd name="connsiteY300" fmla="*/ 337728 h 448234"/>
                    <a:gd name="connsiteX301" fmla="*/ 991940 w 2778398"/>
                    <a:gd name="connsiteY301" fmla="*/ 349839 h 448234"/>
                    <a:gd name="connsiteX302" fmla="*/ 981336 w 2778398"/>
                    <a:gd name="connsiteY302" fmla="*/ 379809 h 448234"/>
                    <a:gd name="connsiteX303" fmla="*/ 981336 w 2778398"/>
                    <a:gd name="connsiteY303" fmla="*/ 445442 h 448234"/>
                    <a:gd name="connsiteX304" fmla="*/ 971067 w 2778398"/>
                    <a:gd name="connsiteY304" fmla="*/ 445442 h 448234"/>
                    <a:gd name="connsiteX305" fmla="*/ 971067 w 2778398"/>
                    <a:gd name="connsiteY305" fmla="*/ 331142 h 448234"/>
                    <a:gd name="connsiteX306" fmla="*/ 981336 w 2778398"/>
                    <a:gd name="connsiteY306" fmla="*/ 331142 h 448234"/>
                    <a:gd name="connsiteX307" fmla="*/ 981336 w 2778398"/>
                    <a:gd name="connsiteY307" fmla="*/ 351904 h 448234"/>
                    <a:gd name="connsiteX308" fmla="*/ 981782 w 2778398"/>
                    <a:gd name="connsiteY308" fmla="*/ 351904 h 448234"/>
                    <a:gd name="connsiteX309" fmla="*/ 1020850 w 2778398"/>
                    <a:gd name="connsiteY309" fmla="*/ 328352 h 448234"/>
                    <a:gd name="connsiteX310" fmla="*/ 2748260 w 2778398"/>
                    <a:gd name="connsiteY310" fmla="*/ 297991 h 448234"/>
                    <a:gd name="connsiteX311" fmla="*/ 2748260 w 2778398"/>
                    <a:gd name="connsiteY311" fmla="*/ 331142 h 448234"/>
                    <a:gd name="connsiteX312" fmla="*/ 2778398 w 2778398"/>
                    <a:gd name="connsiteY312" fmla="*/ 331142 h 448234"/>
                    <a:gd name="connsiteX313" fmla="*/ 2778398 w 2778398"/>
                    <a:gd name="connsiteY313" fmla="*/ 340518 h 448234"/>
                    <a:gd name="connsiteX314" fmla="*/ 2748260 w 2778398"/>
                    <a:gd name="connsiteY314" fmla="*/ 340518 h 448234"/>
                    <a:gd name="connsiteX315" fmla="*/ 2748260 w 2778398"/>
                    <a:gd name="connsiteY315" fmla="*/ 415974 h 448234"/>
                    <a:gd name="connsiteX316" fmla="*/ 2752000 w 2778398"/>
                    <a:gd name="connsiteY316" fmla="*/ 433108 h 448234"/>
                    <a:gd name="connsiteX317" fmla="*/ 2764668 w 2778398"/>
                    <a:gd name="connsiteY317" fmla="*/ 438410 h 448234"/>
                    <a:gd name="connsiteX318" fmla="*/ 2778398 w 2778398"/>
                    <a:gd name="connsiteY318" fmla="*/ 434280 h 448234"/>
                    <a:gd name="connsiteX319" fmla="*/ 2778398 w 2778398"/>
                    <a:gd name="connsiteY319" fmla="*/ 443880 h 448234"/>
                    <a:gd name="connsiteX320" fmla="*/ 2763329 w 2778398"/>
                    <a:gd name="connsiteY320" fmla="*/ 447675 h 448234"/>
                    <a:gd name="connsiteX321" fmla="*/ 2737991 w 2778398"/>
                    <a:gd name="connsiteY321" fmla="*/ 417314 h 448234"/>
                    <a:gd name="connsiteX322" fmla="*/ 2737991 w 2778398"/>
                    <a:gd name="connsiteY322" fmla="*/ 340518 h 448234"/>
                    <a:gd name="connsiteX323" fmla="*/ 2717453 w 2778398"/>
                    <a:gd name="connsiteY323" fmla="*/ 340518 h 448234"/>
                    <a:gd name="connsiteX324" fmla="*/ 2717453 w 2778398"/>
                    <a:gd name="connsiteY324" fmla="*/ 331142 h 448234"/>
                    <a:gd name="connsiteX325" fmla="*/ 2737991 w 2778398"/>
                    <a:gd name="connsiteY325" fmla="*/ 331142 h 448234"/>
                    <a:gd name="connsiteX326" fmla="*/ 2737991 w 2778398"/>
                    <a:gd name="connsiteY326" fmla="*/ 301451 h 448234"/>
                    <a:gd name="connsiteX327" fmla="*/ 2743126 w 2778398"/>
                    <a:gd name="connsiteY327" fmla="*/ 299665 h 448234"/>
                    <a:gd name="connsiteX328" fmla="*/ 2748260 w 2778398"/>
                    <a:gd name="connsiteY328" fmla="*/ 297991 h 448234"/>
                    <a:gd name="connsiteX329" fmla="*/ 2252960 w 2778398"/>
                    <a:gd name="connsiteY329" fmla="*/ 297991 h 448234"/>
                    <a:gd name="connsiteX330" fmla="*/ 2252960 w 2778398"/>
                    <a:gd name="connsiteY330" fmla="*/ 331142 h 448234"/>
                    <a:gd name="connsiteX331" fmla="*/ 2283098 w 2778398"/>
                    <a:gd name="connsiteY331" fmla="*/ 331142 h 448234"/>
                    <a:gd name="connsiteX332" fmla="*/ 2283098 w 2778398"/>
                    <a:gd name="connsiteY332" fmla="*/ 340518 h 448234"/>
                    <a:gd name="connsiteX333" fmla="*/ 2252960 w 2778398"/>
                    <a:gd name="connsiteY333" fmla="*/ 340518 h 448234"/>
                    <a:gd name="connsiteX334" fmla="*/ 2252960 w 2778398"/>
                    <a:gd name="connsiteY334" fmla="*/ 415974 h 448234"/>
                    <a:gd name="connsiteX335" fmla="*/ 2256700 w 2778398"/>
                    <a:gd name="connsiteY335" fmla="*/ 433108 h 448234"/>
                    <a:gd name="connsiteX336" fmla="*/ 2269369 w 2778398"/>
                    <a:gd name="connsiteY336" fmla="*/ 438410 h 448234"/>
                    <a:gd name="connsiteX337" fmla="*/ 2283098 w 2778398"/>
                    <a:gd name="connsiteY337" fmla="*/ 434280 h 448234"/>
                    <a:gd name="connsiteX338" fmla="*/ 2283098 w 2778398"/>
                    <a:gd name="connsiteY338" fmla="*/ 443880 h 448234"/>
                    <a:gd name="connsiteX339" fmla="*/ 2268029 w 2778398"/>
                    <a:gd name="connsiteY339" fmla="*/ 447675 h 448234"/>
                    <a:gd name="connsiteX340" fmla="*/ 2242691 w 2778398"/>
                    <a:gd name="connsiteY340" fmla="*/ 417314 h 448234"/>
                    <a:gd name="connsiteX341" fmla="*/ 2242691 w 2778398"/>
                    <a:gd name="connsiteY341" fmla="*/ 340518 h 448234"/>
                    <a:gd name="connsiteX342" fmla="*/ 2222153 w 2778398"/>
                    <a:gd name="connsiteY342" fmla="*/ 340518 h 448234"/>
                    <a:gd name="connsiteX343" fmla="*/ 2222153 w 2778398"/>
                    <a:gd name="connsiteY343" fmla="*/ 331142 h 448234"/>
                    <a:gd name="connsiteX344" fmla="*/ 2242691 w 2778398"/>
                    <a:gd name="connsiteY344" fmla="*/ 331142 h 448234"/>
                    <a:gd name="connsiteX345" fmla="*/ 2242691 w 2778398"/>
                    <a:gd name="connsiteY345" fmla="*/ 301451 h 448234"/>
                    <a:gd name="connsiteX346" fmla="*/ 2247826 w 2778398"/>
                    <a:gd name="connsiteY346" fmla="*/ 299665 h 448234"/>
                    <a:gd name="connsiteX347" fmla="*/ 2252960 w 2778398"/>
                    <a:gd name="connsiteY347" fmla="*/ 297991 h 448234"/>
                    <a:gd name="connsiteX348" fmla="*/ 1824335 w 2778398"/>
                    <a:gd name="connsiteY348" fmla="*/ 297991 h 448234"/>
                    <a:gd name="connsiteX349" fmla="*/ 1824335 w 2778398"/>
                    <a:gd name="connsiteY349" fmla="*/ 331142 h 448234"/>
                    <a:gd name="connsiteX350" fmla="*/ 1854473 w 2778398"/>
                    <a:gd name="connsiteY350" fmla="*/ 331142 h 448234"/>
                    <a:gd name="connsiteX351" fmla="*/ 1854473 w 2778398"/>
                    <a:gd name="connsiteY351" fmla="*/ 340518 h 448234"/>
                    <a:gd name="connsiteX352" fmla="*/ 1824335 w 2778398"/>
                    <a:gd name="connsiteY352" fmla="*/ 340518 h 448234"/>
                    <a:gd name="connsiteX353" fmla="*/ 1824335 w 2778398"/>
                    <a:gd name="connsiteY353" fmla="*/ 415974 h 448234"/>
                    <a:gd name="connsiteX354" fmla="*/ 1828075 w 2778398"/>
                    <a:gd name="connsiteY354" fmla="*/ 433108 h 448234"/>
                    <a:gd name="connsiteX355" fmla="*/ 1840744 w 2778398"/>
                    <a:gd name="connsiteY355" fmla="*/ 438410 h 448234"/>
                    <a:gd name="connsiteX356" fmla="*/ 1854473 w 2778398"/>
                    <a:gd name="connsiteY356" fmla="*/ 434280 h 448234"/>
                    <a:gd name="connsiteX357" fmla="*/ 1854473 w 2778398"/>
                    <a:gd name="connsiteY357" fmla="*/ 443880 h 448234"/>
                    <a:gd name="connsiteX358" fmla="*/ 1839404 w 2778398"/>
                    <a:gd name="connsiteY358" fmla="*/ 447675 h 448234"/>
                    <a:gd name="connsiteX359" fmla="*/ 1814066 w 2778398"/>
                    <a:gd name="connsiteY359" fmla="*/ 417314 h 448234"/>
                    <a:gd name="connsiteX360" fmla="*/ 1814066 w 2778398"/>
                    <a:gd name="connsiteY360" fmla="*/ 340518 h 448234"/>
                    <a:gd name="connsiteX361" fmla="*/ 1793528 w 2778398"/>
                    <a:gd name="connsiteY361" fmla="*/ 340518 h 448234"/>
                    <a:gd name="connsiteX362" fmla="*/ 1793528 w 2778398"/>
                    <a:gd name="connsiteY362" fmla="*/ 331142 h 448234"/>
                    <a:gd name="connsiteX363" fmla="*/ 1814066 w 2778398"/>
                    <a:gd name="connsiteY363" fmla="*/ 331142 h 448234"/>
                    <a:gd name="connsiteX364" fmla="*/ 1814066 w 2778398"/>
                    <a:gd name="connsiteY364" fmla="*/ 301451 h 448234"/>
                    <a:gd name="connsiteX365" fmla="*/ 1819201 w 2778398"/>
                    <a:gd name="connsiteY365" fmla="*/ 299665 h 448234"/>
                    <a:gd name="connsiteX366" fmla="*/ 1824335 w 2778398"/>
                    <a:gd name="connsiteY366" fmla="*/ 297991 h 448234"/>
                    <a:gd name="connsiteX367" fmla="*/ 1452860 w 2778398"/>
                    <a:gd name="connsiteY367" fmla="*/ 297991 h 448234"/>
                    <a:gd name="connsiteX368" fmla="*/ 1452860 w 2778398"/>
                    <a:gd name="connsiteY368" fmla="*/ 331142 h 448234"/>
                    <a:gd name="connsiteX369" fmla="*/ 1482998 w 2778398"/>
                    <a:gd name="connsiteY369" fmla="*/ 331142 h 448234"/>
                    <a:gd name="connsiteX370" fmla="*/ 1482998 w 2778398"/>
                    <a:gd name="connsiteY370" fmla="*/ 340518 h 448234"/>
                    <a:gd name="connsiteX371" fmla="*/ 1452860 w 2778398"/>
                    <a:gd name="connsiteY371" fmla="*/ 340518 h 448234"/>
                    <a:gd name="connsiteX372" fmla="*/ 1452860 w 2778398"/>
                    <a:gd name="connsiteY372" fmla="*/ 415974 h 448234"/>
                    <a:gd name="connsiteX373" fmla="*/ 1456600 w 2778398"/>
                    <a:gd name="connsiteY373" fmla="*/ 433108 h 448234"/>
                    <a:gd name="connsiteX374" fmla="*/ 1469269 w 2778398"/>
                    <a:gd name="connsiteY374" fmla="*/ 438410 h 448234"/>
                    <a:gd name="connsiteX375" fmla="*/ 1482998 w 2778398"/>
                    <a:gd name="connsiteY375" fmla="*/ 434280 h 448234"/>
                    <a:gd name="connsiteX376" fmla="*/ 1482998 w 2778398"/>
                    <a:gd name="connsiteY376" fmla="*/ 443880 h 448234"/>
                    <a:gd name="connsiteX377" fmla="*/ 1467929 w 2778398"/>
                    <a:gd name="connsiteY377" fmla="*/ 447675 h 448234"/>
                    <a:gd name="connsiteX378" fmla="*/ 1442591 w 2778398"/>
                    <a:gd name="connsiteY378" fmla="*/ 417314 h 448234"/>
                    <a:gd name="connsiteX379" fmla="*/ 1442591 w 2778398"/>
                    <a:gd name="connsiteY379" fmla="*/ 340518 h 448234"/>
                    <a:gd name="connsiteX380" fmla="*/ 1422053 w 2778398"/>
                    <a:gd name="connsiteY380" fmla="*/ 340518 h 448234"/>
                    <a:gd name="connsiteX381" fmla="*/ 1422053 w 2778398"/>
                    <a:gd name="connsiteY381" fmla="*/ 331142 h 448234"/>
                    <a:gd name="connsiteX382" fmla="*/ 1442591 w 2778398"/>
                    <a:gd name="connsiteY382" fmla="*/ 331142 h 448234"/>
                    <a:gd name="connsiteX383" fmla="*/ 1442591 w 2778398"/>
                    <a:gd name="connsiteY383" fmla="*/ 301451 h 448234"/>
                    <a:gd name="connsiteX384" fmla="*/ 1447726 w 2778398"/>
                    <a:gd name="connsiteY384" fmla="*/ 299665 h 448234"/>
                    <a:gd name="connsiteX385" fmla="*/ 1452860 w 2778398"/>
                    <a:gd name="connsiteY385" fmla="*/ 297991 h 448234"/>
                    <a:gd name="connsiteX386" fmla="*/ 300335 w 2778398"/>
                    <a:gd name="connsiteY386" fmla="*/ 297991 h 448234"/>
                    <a:gd name="connsiteX387" fmla="*/ 300335 w 2778398"/>
                    <a:gd name="connsiteY387" fmla="*/ 331142 h 448234"/>
                    <a:gd name="connsiteX388" fmla="*/ 330473 w 2778398"/>
                    <a:gd name="connsiteY388" fmla="*/ 331142 h 448234"/>
                    <a:gd name="connsiteX389" fmla="*/ 330473 w 2778398"/>
                    <a:gd name="connsiteY389" fmla="*/ 340518 h 448234"/>
                    <a:gd name="connsiteX390" fmla="*/ 300335 w 2778398"/>
                    <a:gd name="connsiteY390" fmla="*/ 340518 h 448234"/>
                    <a:gd name="connsiteX391" fmla="*/ 300335 w 2778398"/>
                    <a:gd name="connsiteY391" fmla="*/ 415974 h 448234"/>
                    <a:gd name="connsiteX392" fmla="*/ 304075 w 2778398"/>
                    <a:gd name="connsiteY392" fmla="*/ 433108 h 448234"/>
                    <a:gd name="connsiteX393" fmla="*/ 316744 w 2778398"/>
                    <a:gd name="connsiteY393" fmla="*/ 438410 h 448234"/>
                    <a:gd name="connsiteX394" fmla="*/ 330473 w 2778398"/>
                    <a:gd name="connsiteY394" fmla="*/ 434280 h 448234"/>
                    <a:gd name="connsiteX395" fmla="*/ 330473 w 2778398"/>
                    <a:gd name="connsiteY395" fmla="*/ 443880 h 448234"/>
                    <a:gd name="connsiteX396" fmla="*/ 315404 w 2778398"/>
                    <a:gd name="connsiteY396" fmla="*/ 447675 h 448234"/>
                    <a:gd name="connsiteX397" fmla="*/ 290066 w 2778398"/>
                    <a:gd name="connsiteY397" fmla="*/ 417314 h 448234"/>
                    <a:gd name="connsiteX398" fmla="*/ 290066 w 2778398"/>
                    <a:gd name="connsiteY398" fmla="*/ 340518 h 448234"/>
                    <a:gd name="connsiteX399" fmla="*/ 269528 w 2778398"/>
                    <a:gd name="connsiteY399" fmla="*/ 340518 h 448234"/>
                    <a:gd name="connsiteX400" fmla="*/ 269528 w 2778398"/>
                    <a:gd name="connsiteY400" fmla="*/ 331142 h 448234"/>
                    <a:gd name="connsiteX401" fmla="*/ 290066 w 2778398"/>
                    <a:gd name="connsiteY401" fmla="*/ 331142 h 448234"/>
                    <a:gd name="connsiteX402" fmla="*/ 290066 w 2778398"/>
                    <a:gd name="connsiteY402" fmla="*/ 301451 h 448234"/>
                    <a:gd name="connsiteX403" fmla="*/ 295201 w 2778398"/>
                    <a:gd name="connsiteY403" fmla="*/ 299665 h 448234"/>
                    <a:gd name="connsiteX404" fmla="*/ 300335 w 2778398"/>
                    <a:gd name="connsiteY404" fmla="*/ 297991 h 448234"/>
                    <a:gd name="connsiteX405" fmla="*/ 2068674 w 2778398"/>
                    <a:gd name="connsiteY405" fmla="*/ 285378 h 448234"/>
                    <a:gd name="connsiteX406" fmla="*/ 2079725 w 2778398"/>
                    <a:gd name="connsiteY406" fmla="*/ 285378 h 448234"/>
                    <a:gd name="connsiteX407" fmla="*/ 2079725 w 2778398"/>
                    <a:gd name="connsiteY407" fmla="*/ 445442 h 448234"/>
                    <a:gd name="connsiteX408" fmla="*/ 2068674 w 2778398"/>
                    <a:gd name="connsiteY408" fmla="*/ 445442 h 448234"/>
                    <a:gd name="connsiteX409" fmla="*/ 351942 w 2778398"/>
                    <a:gd name="connsiteY409" fmla="*/ 276226 h 448234"/>
                    <a:gd name="connsiteX410" fmla="*/ 362211 w 2778398"/>
                    <a:gd name="connsiteY410" fmla="*/ 276226 h 448234"/>
                    <a:gd name="connsiteX411" fmla="*/ 362211 w 2778398"/>
                    <a:gd name="connsiteY411" fmla="*/ 351682 h 448234"/>
                    <a:gd name="connsiteX412" fmla="*/ 362657 w 2778398"/>
                    <a:gd name="connsiteY412" fmla="*/ 351682 h 448234"/>
                    <a:gd name="connsiteX413" fmla="*/ 401948 w 2778398"/>
                    <a:gd name="connsiteY413" fmla="*/ 328353 h 448234"/>
                    <a:gd name="connsiteX414" fmla="*/ 430188 w 2778398"/>
                    <a:gd name="connsiteY414" fmla="*/ 340296 h 448234"/>
                    <a:gd name="connsiteX415" fmla="*/ 439899 w 2778398"/>
                    <a:gd name="connsiteY415" fmla="*/ 374564 h 448234"/>
                    <a:gd name="connsiteX416" fmla="*/ 439899 w 2778398"/>
                    <a:gd name="connsiteY416" fmla="*/ 445443 h 448234"/>
                    <a:gd name="connsiteX417" fmla="*/ 429630 w 2778398"/>
                    <a:gd name="connsiteY417" fmla="*/ 445443 h 448234"/>
                    <a:gd name="connsiteX418" fmla="*/ 429630 w 2778398"/>
                    <a:gd name="connsiteY418" fmla="*/ 376908 h 448234"/>
                    <a:gd name="connsiteX419" fmla="*/ 422263 w 2778398"/>
                    <a:gd name="connsiteY419" fmla="*/ 347161 h 448234"/>
                    <a:gd name="connsiteX420" fmla="*/ 399269 w 2778398"/>
                    <a:gd name="connsiteY420" fmla="*/ 337729 h 448234"/>
                    <a:gd name="connsiteX421" fmla="*/ 373373 w 2778398"/>
                    <a:gd name="connsiteY421" fmla="*/ 349226 h 448234"/>
                    <a:gd name="connsiteX422" fmla="*/ 362211 w 2778398"/>
                    <a:gd name="connsiteY422" fmla="*/ 382154 h 448234"/>
                    <a:gd name="connsiteX423" fmla="*/ 362211 w 2778398"/>
                    <a:gd name="connsiteY423" fmla="*/ 445443 h 448234"/>
                    <a:gd name="connsiteX424" fmla="*/ 351942 w 2778398"/>
                    <a:gd name="connsiteY424" fmla="*/ 445443 h 448234"/>
                    <a:gd name="connsiteX425" fmla="*/ 113817 w 2778398"/>
                    <a:gd name="connsiteY425" fmla="*/ 276226 h 448234"/>
                    <a:gd name="connsiteX426" fmla="*/ 124086 w 2778398"/>
                    <a:gd name="connsiteY426" fmla="*/ 276226 h 448234"/>
                    <a:gd name="connsiteX427" fmla="*/ 124086 w 2778398"/>
                    <a:gd name="connsiteY427" fmla="*/ 445443 h 448234"/>
                    <a:gd name="connsiteX428" fmla="*/ 113817 w 2778398"/>
                    <a:gd name="connsiteY428" fmla="*/ 445443 h 448234"/>
                    <a:gd name="connsiteX429" fmla="*/ 1699915 w 2778398"/>
                    <a:gd name="connsiteY429" fmla="*/ 276225 h 448234"/>
                    <a:gd name="connsiteX430" fmla="*/ 1710184 w 2778398"/>
                    <a:gd name="connsiteY430" fmla="*/ 276225 h 448234"/>
                    <a:gd name="connsiteX431" fmla="*/ 1710184 w 2778398"/>
                    <a:gd name="connsiteY431" fmla="*/ 445442 h 448234"/>
                    <a:gd name="connsiteX432" fmla="*/ 1699915 w 2778398"/>
                    <a:gd name="connsiteY432" fmla="*/ 445442 h 448234"/>
                    <a:gd name="connsiteX433" fmla="*/ 1699915 w 2778398"/>
                    <a:gd name="connsiteY433" fmla="*/ 424681 h 448234"/>
                    <a:gd name="connsiteX434" fmla="*/ 1699469 w 2778398"/>
                    <a:gd name="connsiteY434" fmla="*/ 424681 h 448234"/>
                    <a:gd name="connsiteX435" fmla="*/ 1682949 w 2778398"/>
                    <a:gd name="connsiteY435" fmla="*/ 441870 h 448234"/>
                    <a:gd name="connsiteX436" fmla="*/ 1658280 w 2778398"/>
                    <a:gd name="connsiteY436" fmla="*/ 448233 h 448234"/>
                    <a:gd name="connsiteX437" fmla="*/ 1623845 w 2778398"/>
                    <a:gd name="connsiteY437" fmla="*/ 432829 h 448234"/>
                    <a:gd name="connsiteX438" fmla="*/ 1610507 w 2778398"/>
                    <a:gd name="connsiteY438" fmla="*/ 390301 h 448234"/>
                    <a:gd name="connsiteX439" fmla="*/ 1625073 w 2778398"/>
                    <a:gd name="connsiteY439" fmla="*/ 345486 h 448234"/>
                    <a:gd name="connsiteX440" fmla="*/ 1662857 w 2778398"/>
                    <a:gd name="connsiteY440" fmla="*/ 328352 h 448234"/>
                    <a:gd name="connsiteX441" fmla="*/ 1699469 w 2778398"/>
                    <a:gd name="connsiteY441" fmla="*/ 349448 h 448234"/>
                    <a:gd name="connsiteX442" fmla="*/ 1699915 w 2778398"/>
                    <a:gd name="connsiteY442" fmla="*/ 349448 h 448234"/>
                    <a:gd name="connsiteX443" fmla="*/ 2372879 w 2778398"/>
                    <a:gd name="connsiteY443" fmla="*/ 107715 h 448234"/>
                    <a:gd name="connsiteX444" fmla="*/ 2341402 w 2778398"/>
                    <a:gd name="connsiteY444" fmla="*/ 112291 h 448234"/>
                    <a:gd name="connsiteX445" fmla="*/ 2316175 w 2778398"/>
                    <a:gd name="connsiteY445" fmla="*/ 120607 h 448234"/>
                    <a:gd name="connsiteX446" fmla="*/ 2308920 w 2778398"/>
                    <a:gd name="connsiteY446" fmla="*/ 139304 h 448234"/>
                    <a:gd name="connsiteX447" fmla="*/ 2315673 w 2778398"/>
                    <a:gd name="connsiteY447" fmla="*/ 156047 h 448234"/>
                    <a:gd name="connsiteX448" fmla="*/ 2334481 w 2778398"/>
                    <a:gd name="connsiteY448" fmla="*/ 162633 h 448234"/>
                    <a:gd name="connsiteX449" fmla="*/ 2361940 w 2778398"/>
                    <a:gd name="connsiteY449" fmla="*/ 150410 h 448234"/>
                    <a:gd name="connsiteX450" fmla="*/ 2372879 w 2778398"/>
                    <a:gd name="connsiteY450" fmla="*/ 118877 h 448234"/>
                    <a:gd name="connsiteX451" fmla="*/ 2232794 w 2778398"/>
                    <a:gd name="connsiteY451" fmla="*/ 61504 h 448234"/>
                    <a:gd name="connsiteX452" fmla="*/ 2206173 w 2778398"/>
                    <a:gd name="connsiteY452" fmla="*/ 72275 h 448234"/>
                    <a:gd name="connsiteX453" fmla="*/ 2193169 w 2778398"/>
                    <a:gd name="connsiteY453" fmla="*/ 103139 h 448234"/>
                    <a:gd name="connsiteX454" fmla="*/ 2266615 w 2778398"/>
                    <a:gd name="connsiteY454" fmla="*/ 103139 h 448234"/>
                    <a:gd name="connsiteX455" fmla="*/ 2257128 w 2778398"/>
                    <a:gd name="connsiteY455" fmla="*/ 72443 h 448234"/>
                    <a:gd name="connsiteX456" fmla="*/ 2232794 w 2778398"/>
                    <a:gd name="connsiteY456" fmla="*/ 61504 h 448234"/>
                    <a:gd name="connsiteX457" fmla="*/ 1899419 w 2778398"/>
                    <a:gd name="connsiteY457" fmla="*/ 61504 h 448234"/>
                    <a:gd name="connsiteX458" fmla="*/ 1872798 w 2778398"/>
                    <a:gd name="connsiteY458" fmla="*/ 72275 h 448234"/>
                    <a:gd name="connsiteX459" fmla="*/ 1859794 w 2778398"/>
                    <a:gd name="connsiteY459" fmla="*/ 103139 h 448234"/>
                    <a:gd name="connsiteX460" fmla="*/ 1933240 w 2778398"/>
                    <a:gd name="connsiteY460" fmla="*/ 103139 h 448234"/>
                    <a:gd name="connsiteX461" fmla="*/ 1923753 w 2778398"/>
                    <a:gd name="connsiteY461" fmla="*/ 72443 h 448234"/>
                    <a:gd name="connsiteX462" fmla="*/ 1899419 w 2778398"/>
                    <a:gd name="connsiteY462" fmla="*/ 61504 h 448234"/>
                    <a:gd name="connsiteX463" fmla="*/ 1223144 w 2778398"/>
                    <a:gd name="connsiteY463" fmla="*/ 61504 h 448234"/>
                    <a:gd name="connsiteX464" fmla="*/ 1196523 w 2778398"/>
                    <a:gd name="connsiteY464" fmla="*/ 72275 h 448234"/>
                    <a:gd name="connsiteX465" fmla="*/ 1183519 w 2778398"/>
                    <a:gd name="connsiteY465" fmla="*/ 103139 h 448234"/>
                    <a:gd name="connsiteX466" fmla="*/ 1256965 w 2778398"/>
                    <a:gd name="connsiteY466" fmla="*/ 103139 h 448234"/>
                    <a:gd name="connsiteX467" fmla="*/ 1247478 w 2778398"/>
                    <a:gd name="connsiteY467" fmla="*/ 72443 h 448234"/>
                    <a:gd name="connsiteX468" fmla="*/ 1223144 w 2778398"/>
                    <a:gd name="connsiteY468" fmla="*/ 61504 h 448234"/>
                    <a:gd name="connsiteX469" fmla="*/ 931999 w 2778398"/>
                    <a:gd name="connsiteY469" fmla="*/ 61504 h 448234"/>
                    <a:gd name="connsiteX470" fmla="*/ 899797 w 2778398"/>
                    <a:gd name="connsiteY470" fmla="*/ 75122 h 448234"/>
                    <a:gd name="connsiteX471" fmla="*/ 887797 w 2778398"/>
                    <a:gd name="connsiteY471" fmla="*/ 112961 h 448234"/>
                    <a:gd name="connsiteX472" fmla="*/ 899517 w 2778398"/>
                    <a:gd name="connsiteY472" fmla="*/ 149015 h 448234"/>
                    <a:gd name="connsiteX473" fmla="*/ 931553 w 2778398"/>
                    <a:gd name="connsiteY473" fmla="*/ 162633 h 448234"/>
                    <a:gd name="connsiteX474" fmla="*/ 963365 w 2778398"/>
                    <a:gd name="connsiteY474" fmla="*/ 149238 h 448234"/>
                    <a:gd name="connsiteX475" fmla="*/ 974527 w 2778398"/>
                    <a:gd name="connsiteY475" fmla="*/ 112068 h 448234"/>
                    <a:gd name="connsiteX476" fmla="*/ 963421 w 2778398"/>
                    <a:gd name="connsiteY476" fmla="*/ 74564 h 448234"/>
                    <a:gd name="connsiteX477" fmla="*/ 931999 w 2778398"/>
                    <a:gd name="connsiteY477" fmla="*/ 61504 h 448234"/>
                    <a:gd name="connsiteX478" fmla="*/ 813569 w 2778398"/>
                    <a:gd name="connsiteY478" fmla="*/ 61504 h 448234"/>
                    <a:gd name="connsiteX479" fmla="*/ 786948 w 2778398"/>
                    <a:gd name="connsiteY479" fmla="*/ 72275 h 448234"/>
                    <a:gd name="connsiteX480" fmla="*/ 773944 w 2778398"/>
                    <a:gd name="connsiteY480" fmla="*/ 103139 h 448234"/>
                    <a:gd name="connsiteX481" fmla="*/ 847390 w 2778398"/>
                    <a:gd name="connsiteY481" fmla="*/ 103139 h 448234"/>
                    <a:gd name="connsiteX482" fmla="*/ 837903 w 2778398"/>
                    <a:gd name="connsiteY482" fmla="*/ 72443 h 448234"/>
                    <a:gd name="connsiteX483" fmla="*/ 813569 w 2778398"/>
                    <a:gd name="connsiteY483" fmla="*/ 61504 h 448234"/>
                    <a:gd name="connsiteX484" fmla="*/ 2710830 w 2778398"/>
                    <a:gd name="connsiteY484" fmla="*/ 61503 h 448234"/>
                    <a:gd name="connsiteX485" fmla="*/ 2680469 w 2778398"/>
                    <a:gd name="connsiteY485" fmla="*/ 75679 h 448234"/>
                    <a:gd name="connsiteX486" fmla="*/ 2668972 w 2778398"/>
                    <a:gd name="connsiteY486" fmla="*/ 113183 h 448234"/>
                    <a:gd name="connsiteX487" fmla="*/ 2679521 w 2778398"/>
                    <a:gd name="connsiteY487" fmla="*/ 149628 h 448234"/>
                    <a:gd name="connsiteX488" fmla="*/ 2707370 w 2778398"/>
                    <a:gd name="connsiteY488" fmla="*/ 162632 h 448234"/>
                    <a:gd name="connsiteX489" fmla="*/ 2736726 w 2778398"/>
                    <a:gd name="connsiteY489" fmla="*/ 150688 h 448234"/>
                    <a:gd name="connsiteX490" fmla="*/ 2747665 w 2778398"/>
                    <a:gd name="connsiteY490" fmla="*/ 121443 h 448234"/>
                    <a:gd name="connsiteX491" fmla="*/ 2747665 w 2778398"/>
                    <a:gd name="connsiteY491" fmla="*/ 98784 h 448234"/>
                    <a:gd name="connsiteX492" fmla="*/ 2737452 w 2778398"/>
                    <a:gd name="connsiteY492" fmla="*/ 72553 h 448234"/>
                    <a:gd name="connsiteX493" fmla="*/ 2710830 w 2778398"/>
                    <a:gd name="connsiteY493" fmla="*/ 61503 h 448234"/>
                    <a:gd name="connsiteX494" fmla="*/ 1785194 w 2778398"/>
                    <a:gd name="connsiteY494" fmla="*/ 61503 h 448234"/>
                    <a:gd name="connsiteX495" fmla="*/ 1754275 w 2778398"/>
                    <a:gd name="connsiteY495" fmla="*/ 74897 h 448234"/>
                    <a:gd name="connsiteX496" fmla="*/ 1743336 w 2778398"/>
                    <a:gd name="connsiteY496" fmla="*/ 106375 h 448234"/>
                    <a:gd name="connsiteX497" fmla="*/ 1743336 w 2778398"/>
                    <a:gd name="connsiteY497" fmla="*/ 120774 h 448234"/>
                    <a:gd name="connsiteX498" fmla="*/ 1754163 w 2778398"/>
                    <a:gd name="connsiteY498" fmla="*/ 150297 h 448234"/>
                    <a:gd name="connsiteX499" fmla="*/ 1782626 w 2778398"/>
                    <a:gd name="connsiteY499" fmla="*/ 162632 h 448234"/>
                    <a:gd name="connsiteX500" fmla="*/ 1811090 w 2778398"/>
                    <a:gd name="connsiteY500" fmla="*/ 147619 h 448234"/>
                    <a:gd name="connsiteX501" fmla="*/ 1822029 w 2778398"/>
                    <a:gd name="connsiteY501" fmla="*/ 108161 h 448234"/>
                    <a:gd name="connsiteX502" fmla="*/ 1811983 w 2778398"/>
                    <a:gd name="connsiteY502" fmla="*/ 74116 h 448234"/>
                    <a:gd name="connsiteX503" fmla="*/ 1785194 w 2778398"/>
                    <a:gd name="connsiteY503" fmla="*/ 61503 h 448234"/>
                    <a:gd name="connsiteX504" fmla="*/ 1061294 w 2778398"/>
                    <a:gd name="connsiteY504" fmla="*/ 61503 h 448234"/>
                    <a:gd name="connsiteX505" fmla="*/ 1030375 w 2778398"/>
                    <a:gd name="connsiteY505" fmla="*/ 74897 h 448234"/>
                    <a:gd name="connsiteX506" fmla="*/ 1019436 w 2778398"/>
                    <a:gd name="connsiteY506" fmla="*/ 106375 h 448234"/>
                    <a:gd name="connsiteX507" fmla="*/ 1019436 w 2778398"/>
                    <a:gd name="connsiteY507" fmla="*/ 120774 h 448234"/>
                    <a:gd name="connsiteX508" fmla="*/ 1030263 w 2778398"/>
                    <a:gd name="connsiteY508" fmla="*/ 150297 h 448234"/>
                    <a:gd name="connsiteX509" fmla="*/ 1058726 w 2778398"/>
                    <a:gd name="connsiteY509" fmla="*/ 162632 h 448234"/>
                    <a:gd name="connsiteX510" fmla="*/ 1087190 w 2778398"/>
                    <a:gd name="connsiteY510" fmla="*/ 147619 h 448234"/>
                    <a:gd name="connsiteX511" fmla="*/ 1098129 w 2778398"/>
                    <a:gd name="connsiteY511" fmla="*/ 108161 h 448234"/>
                    <a:gd name="connsiteX512" fmla="*/ 1088083 w 2778398"/>
                    <a:gd name="connsiteY512" fmla="*/ 74116 h 448234"/>
                    <a:gd name="connsiteX513" fmla="*/ 1061294 w 2778398"/>
                    <a:gd name="connsiteY513" fmla="*/ 61503 h 448234"/>
                    <a:gd name="connsiteX514" fmla="*/ 699344 w 2778398"/>
                    <a:gd name="connsiteY514" fmla="*/ 61503 h 448234"/>
                    <a:gd name="connsiteX515" fmla="*/ 668425 w 2778398"/>
                    <a:gd name="connsiteY515" fmla="*/ 74897 h 448234"/>
                    <a:gd name="connsiteX516" fmla="*/ 657486 w 2778398"/>
                    <a:gd name="connsiteY516" fmla="*/ 106375 h 448234"/>
                    <a:gd name="connsiteX517" fmla="*/ 657486 w 2778398"/>
                    <a:gd name="connsiteY517" fmla="*/ 120774 h 448234"/>
                    <a:gd name="connsiteX518" fmla="*/ 668313 w 2778398"/>
                    <a:gd name="connsiteY518" fmla="*/ 150297 h 448234"/>
                    <a:gd name="connsiteX519" fmla="*/ 696776 w 2778398"/>
                    <a:gd name="connsiteY519" fmla="*/ 162632 h 448234"/>
                    <a:gd name="connsiteX520" fmla="*/ 725240 w 2778398"/>
                    <a:gd name="connsiteY520" fmla="*/ 147619 h 448234"/>
                    <a:gd name="connsiteX521" fmla="*/ 736179 w 2778398"/>
                    <a:gd name="connsiteY521" fmla="*/ 108161 h 448234"/>
                    <a:gd name="connsiteX522" fmla="*/ 726133 w 2778398"/>
                    <a:gd name="connsiteY522" fmla="*/ 74116 h 448234"/>
                    <a:gd name="connsiteX523" fmla="*/ 699344 w 2778398"/>
                    <a:gd name="connsiteY523" fmla="*/ 61503 h 448234"/>
                    <a:gd name="connsiteX524" fmla="*/ 2495067 w 2778398"/>
                    <a:gd name="connsiteY524" fmla="*/ 54917 h 448234"/>
                    <a:gd name="connsiteX525" fmla="*/ 2505336 w 2778398"/>
                    <a:gd name="connsiteY525" fmla="*/ 54917 h 448234"/>
                    <a:gd name="connsiteX526" fmla="*/ 2505336 w 2778398"/>
                    <a:gd name="connsiteY526" fmla="*/ 169217 h 448234"/>
                    <a:gd name="connsiteX527" fmla="*/ 2495067 w 2778398"/>
                    <a:gd name="connsiteY527" fmla="*/ 169217 h 448234"/>
                    <a:gd name="connsiteX528" fmla="*/ 2023691 w 2778398"/>
                    <a:gd name="connsiteY528" fmla="*/ 54917 h 448234"/>
                    <a:gd name="connsiteX529" fmla="*/ 2035076 w 2778398"/>
                    <a:gd name="connsiteY529" fmla="*/ 54917 h 448234"/>
                    <a:gd name="connsiteX530" fmla="*/ 2061642 w 2778398"/>
                    <a:gd name="connsiteY530" fmla="*/ 146112 h 448234"/>
                    <a:gd name="connsiteX531" fmla="*/ 2063205 w 2778398"/>
                    <a:gd name="connsiteY531" fmla="*/ 155711 h 448234"/>
                    <a:gd name="connsiteX532" fmla="*/ 2064098 w 2778398"/>
                    <a:gd name="connsiteY532" fmla="*/ 155711 h 448234"/>
                    <a:gd name="connsiteX533" fmla="*/ 2066218 w 2778398"/>
                    <a:gd name="connsiteY533" fmla="*/ 146112 h 448234"/>
                    <a:gd name="connsiteX534" fmla="*/ 2095240 w 2778398"/>
                    <a:gd name="connsiteY534" fmla="*/ 54917 h 448234"/>
                    <a:gd name="connsiteX535" fmla="*/ 2102272 w 2778398"/>
                    <a:gd name="connsiteY535" fmla="*/ 54917 h 448234"/>
                    <a:gd name="connsiteX536" fmla="*/ 2128168 w 2778398"/>
                    <a:gd name="connsiteY536" fmla="*/ 146112 h 448234"/>
                    <a:gd name="connsiteX537" fmla="*/ 2129731 w 2778398"/>
                    <a:gd name="connsiteY537" fmla="*/ 155711 h 448234"/>
                    <a:gd name="connsiteX538" fmla="*/ 2130624 w 2778398"/>
                    <a:gd name="connsiteY538" fmla="*/ 155711 h 448234"/>
                    <a:gd name="connsiteX539" fmla="*/ 2132521 w 2778398"/>
                    <a:gd name="connsiteY539" fmla="*/ 146112 h 448234"/>
                    <a:gd name="connsiteX540" fmla="*/ 2159645 w 2778398"/>
                    <a:gd name="connsiteY540" fmla="*/ 54917 h 448234"/>
                    <a:gd name="connsiteX541" fmla="*/ 2170249 w 2778398"/>
                    <a:gd name="connsiteY541" fmla="*/ 54917 h 448234"/>
                    <a:gd name="connsiteX542" fmla="*/ 2134754 w 2778398"/>
                    <a:gd name="connsiteY542" fmla="*/ 169217 h 448234"/>
                    <a:gd name="connsiteX543" fmla="*/ 2125154 w 2778398"/>
                    <a:gd name="connsiteY543" fmla="*/ 169217 h 448234"/>
                    <a:gd name="connsiteX544" fmla="*/ 2100263 w 2778398"/>
                    <a:gd name="connsiteY544" fmla="*/ 83046 h 448234"/>
                    <a:gd name="connsiteX545" fmla="*/ 2098477 w 2778398"/>
                    <a:gd name="connsiteY545" fmla="*/ 73446 h 448234"/>
                    <a:gd name="connsiteX546" fmla="*/ 2097919 w 2778398"/>
                    <a:gd name="connsiteY546" fmla="*/ 73446 h 448234"/>
                    <a:gd name="connsiteX547" fmla="*/ 2095686 w 2778398"/>
                    <a:gd name="connsiteY547" fmla="*/ 82823 h 448234"/>
                    <a:gd name="connsiteX548" fmla="*/ 2067781 w 2778398"/>
                    <a:gd name="connsiteY548" fmla="*/ 169217 h 448234"/>
                    <a:gd name="connsiteX549" fmla="*/ 2058182 w 2778398"/>
                    <a:gd name="connsiteY549" fmla="*/ 169217 h 448234"/>
                    <a:gd name="connsiteX550" fmla="*/ 1523517 w 2778398"/>
                    <a:gd name="connsiteY550" fmla="*/ 54917 h 448234"/>
                    <a:gd name="connsiteX551" fmla="*/ 1533786 w 2778398"/>
                    <a:gd name="connsiteY551" fmla="*/ 54917 h 448234"/>
                    <a:gd name="connsiteX552" fmla="*/ 1533786 w 2778398"/>
                    <a:gd name="connsiteY552" fmla="*/ 169217 h 448234"/>
                    <a:gd name="connsiteX553" fmla="*/ 1523517 w 2778398"/>
                    <a:gd name="connsiteY553" fmla="*/ 169217 h 448234"/>
                    <a:gd name="connsiteX554" fmla="*/ 1356941 w 2778398"/>
                    <a:gd name="connsiteY554" fmla="*/ 54917 h 448234"/>
                    <a:gd name="connsiteX555" fmla="*/ 1368326 w 2778398"/>
                    <a:gd name="connsiteY555" fmla="*/ 54917 h 448234"/>
                    <a:gd name="connsiteX556" fmla="*/ 1394892 w 2778398"/>
                    <a:gd name="connsiteY556" fmla="*/ 146112 h 448234"/>
                    <a:gd name="connsiteX557" fmla="*/ 1396455 w 2778398"/>
                    <a:gd name="connsiteY557" fmla="*/ 155711 h 448234"/>
                    <a:gd name="connsiteX558" fmla="*/ 1397348 w 2778398"/>
                    <a:gd name="connsiteY558" fmla="*/ 155711 h 448234"/>
                    <a:gd name="connsiteX559" fmla="*/ 1399468 w 2778398"/>
                    <a:gd name="connsiteY559" fmla="*/ 146112 h 448234"/>
                    <a:gd name="connsiteX560" fmla="*/ 1428490 w 2778398"/>
                    <a:gd name="connsiteY560" fmla="*/ 54917 h 448234"/>
                    <a:gd name="connsiteX561" fmla="*/ 1435522 w 2778398"/>
                    <a:gd name="connsiteY561" fmla="*/ 54917 h 448234"/>
                    <a:gd name="connsiteX562" fmla="*/ 1461418 w 2778398"/>
                    <a:gd name="connsiteY562" fmla="*/ 146112 h 448234"/>
                    <a:gd name="connsiteX563" fmla="*/ 1462981 w 2778398"/>
                    <a:gd name="connsiteY563" fmla="*/ 155711 h 448234"/>
                    <a:gd name="connsiteX564" fmla="*/ 1463874 w 2778398"/>
                    <a:gd name="connsiteY564" fmla="*/ 155711 h 448234"/>
                    <a:gd name="connsiteX565" fmla="*/ 1465771 w 2778398"/>
                    <a:gd name="connsiteY565" fmla="*/ 146112 h 448234"/>
                    <a:gd name="connsiteX566" fmla="*/ 1492895 w 2778398"/>
                    <a:gd name="connsiteY566" fmla="*/ 54917 h 448234"/>
                    <a:gd name="connsiteX567" fmla="*/ 1503499 w 2778398"/>
                    <a:gd name="connsiteY567" fmla="*/ 54917 h 448234"/>
                    <a:gd name="connsiteX568" fmla="*/ 1468004 w 2778398"/>
                    <a:gd name="connsiteY568" fmla="*/ 169217 h 448234"/>
                    <a:gd name="connsiteX569" fmla="*/ 1458404 w 2778398"/>
                    <a:gd name="connsiteY569" fmla="*/ 169217 h 448234"/>
                    <a:gd name="connsiteX570" fmla="*/ 1433513 w 2778398"/>
                    <a:gd name="connsiteY570" fmla="*/ 83046 h 448234"/>
                    <a:gd name="connsiteX571" fmla="*/ 1431727 w 2778398"/>
                    <a:gd name="connsiteY571" fmla="*/ 73446 h 448234"/>
                    <a:gd name="connsiteX572" fmla="*/ 1431169 w 2778398"/>
                    <a:gd name="connsiteY572" fmla="*/ 73446 h 448234"/>
                    <a:gd name="connsiteX573" fmla="*/ 1428936 w 2778398"/>
                    <a:gd name="connsiteY573" fmla="*/ 82823 h 448234"/>
                    <a:gd name="connsiteX574" fmla="*/ 1401031 w 2778398"/>
                    <a:gd name="connsiteY574" fmla="*/ 169217 h 448234"/>
                    <a:gd name="connsiteX575" fmla="*/ 1391432 w 2778398"/>
                    <a:gd name="connsiteY575" fmla="*/ 169217 h 448234"/>
                    <a:gd name="connsiteX576" fmla="*/ 151917 w 2778398"/>
                    <a:gd name="connsiteY576" fmla="*/ 54917 h 448234"/>
                    <a:gd name="connsiteX577" fmla="*/ 162186 w 2778398"/>
                    <a:gd name="connsiteY577" fmla="*/ 54917 h 448234"/>
                    <a:gd name="connsiteX578" fmla="*/ 162186 w 2778398"/>
                    <a:gd name="connsiteY578" fmla="*/ 169217 h 448234"/>
                    <a:gd name="connsiteX579" fmla="*/ 151917 w 2778398"/>
                    <a:gd name="connsiteY579" fmla="*/ 169217 h 448234"/>
                    <a:gd name="connsiteX580" fmla="*/ 2461394 w 2778398"/>
                    <a:gd name="connsiteY580" fmla="*/ 52685 h 448234"/>
                    <a:gd name="connsiteX581" fmla="*/ 2472780 w 2778398"/>
                    <a:gd name="connsiteY581" fmla="*/ 54694 h 448234"/>
                    <a:gd name="connsiteX582" fmla="*/ 2472780 w 2778398"/>
                    <a:gd name="connsiteY582" fmla="*/ 65633 h 448234"/>
                    <a:gd name="connsiteX583" fmla="*/ 2460725 w 2778398"/>
                    <a:gd name="connsiteY583" fmla="*/ 61949 h 448234"/>
                    <a:gd name="connsiteX584" fmla="*/ 2438065 w 2778398"/>
                    <a:gd name="connsiteY584" fmla="*/ 75902 h 448234"/>
                    <a:gd name="connsiteX585" fmla="*/ 2428912 w 2778398"/>
                    <a:gd name="connsiteY585" fmla="*/ 115527 h 448234"/>
                    <a:gd name="connsiteX586" fmla="*/ 2428912 w 2778398"/>
                    <a:gd name="connsiteY586" fmla="*/ 169217 h 448234"/>
                    <a:gd name="connsiteX587" fmla="*/ 2418867 w 2778398"/>
                    <a:gd name="connsiteY587" fmla="*/ 169217 h 448234"/>
                    <a:gd name="connsiteX588" fmla="*/ 2418867 w 2778398"/>
                    <a:gd name="connsiteY588" fmla="*/ 54917 h 448234"/>
                    <a:gd name="connsiteX589" fmla="*/ 2428912 w 2778398"/>
                    <a:gd name="connsiteY589" fmla="*/ 54917 h 448234"/>
                    <a:gd name="connsiteX590" fmla="*/ 2428912 w 2778398"/>
                    <a:gd name="connsiteY590" fmla="*/ 80255 h 448234"/>
                    <a:gd name="connsiteX591" fmla="*/ 2429359 w 2778398"/>
                    <a:gd name="connsiteY591" fmla="*/ 80255 h 448234"/>
                    <a:gd name="connsiteX592" fmla="*/ 2441749 w 2778398"/>
                    <a:gd name="connsiteY592" fmla="*/ 59940 h 448234"/>
                    <a:gd name="connsiteX593" fmla="*/ 2461394 w 2778398"/>
                    <a:gd name="connsiteY593" fmla="*/ 52685 h 448234"/>
                    <a:gd name="connsiteX594" fmla="*/ 2346201 w 2778398"/>
                    <a:gd name="connsiteY594" fmla="*/ 52128 h 448234"/>
                    <a:gd name="connsiteX595" fmla="*/ 2373493 w 2778398"/>
                    <a:gd name="connsiteY595" fmla="*/ 63067 h 448234"/>
                    <a:gd name="connsiteX596" fmla="*/ 2383148 w 2778398"/>
                    <a:gd name="connsiteY596" fmla="*/ 94879 h 448234"/>
                    <a:gd name="connsiteX597" fmla="*/ 2383148 w 2778398"/>
                    <a:gd name="connsiteY597" fmla="*/ 169218 h 448234"/>
                    <a:gd name="connsiteX598" fmla="*/ 2372879 w 2778398"/>
                    <a:gd name="connsiteY598" fmla="*/ 169218 h 448234"/>
                    <a:gd name="connsiteX599" fmla="*/ 2372879 w 2778398"/>
                    <a:gd name="connsiteY599" fmla="*/ 146336 h 448234"/>
                    <a:gd name="connsiteX600" fmla="*/ 2372432 w 2778398"/>
                    <a:gd name="connsiteY600" fmla="*/ 146336 h 448234"/>
                    <a:gd name="connsiteX601" fmla="*/ 2356526 w 2778398"/>
                    <a:gd name="connsiteY601" fmla="*/ 165032 h 448234"/>
                    <a:gd name="connsiteX602" fmla="*/ 2333365 w 2778398"/>
                    <a:gd name="connsiteY602" fmla="*/ 172009 h 448234"/>
                    <a:gd name="connsiteX603" fmla="*/ 2307580 w 2778398"/>
                    <a:gd name="connsiteY603" fmla="*/ 162856 h 448234"/>
                    <a:gd name="connsiteX604" fmla="*/ 2298093 w 2778398"/>
                    <a:gd name="connsiteY604" fmla="*/ 139750 h 448234"/>
                    <a:gd name="connsiteX605" fmla="*/ 2337718 w 2778398"/>
                    <a:gd name="connsiteY605" fmla="*/ 103585 h 448234"/>
                    <a:gd name="connsiteX606" fmla="*/ 2372879 w 2778398"/>
                    <a:gd name="connsiteY606" fmla="*/ 98339 h 448234"/>
                    <a:gd name="connsiteX607" fmla="*/ 2345197 w 2778398"/>
                    <a:gd name="connsiteY607" fmla="*/ 61504 h 448234"/>
                    <a:gd name="connsiteX608" fmla="*/ 2308473 w 2778398"/>
                    <a:gd name="connsiteY608" fmla="*/ 76684 h 448234"/>
                    <a:gd name="connsiteX609" fmla="*/ 2308473 w 2778398"/>
                    <a:gd name="connsiteY609" fmla="*/ 64294 h 448234"/>
                    <a:gd name="connsiteX610" fmla="*/ 2325719 w 2778398"/>
                    <a:gd name="connsiteY610" fmla="*/ 55700 h 448234"/>
                    <a:gd name="connsiteX611" fmla="*/ 2346201 w 2778398"/>
                    <a:gd name="connsiteY611" fmla="*/ 52128 h 448234"/>
                    <a:gd name="connsiteX612" fmla="*/ 2233241 w 2778398"/>
                    <a:gd name="connsiteY612" fmla="*/ 52128 h 448234"/>
                    <a:gd name="connsiteX613" fmla="*/ 2265946 w 2778398"/>
                    <a:gd name="connsiteY613" fmla="*/ 67085 h 448234"/>
                    <a:gd name="connsiteX614" fmla="*/ 2277331 w 2778398"/>
                    <a:gd name="connsiteY614" fmla="*/ 107938 h 448234"/>
                    <a:gd name="connsiteX615" fmla="*/ 2277331 w 2778398"/>
                    <a:gd name="connsiteY615" fmla="*/ 112515 h 448234"/>
                    <a:gd name="connsiteX616" fmla="*/ 2192722 w 2778398"/>
                    <a:gd name="connsiteY616" fmla="*/ 112515 h 448234"/>
                    <a:gd name="connsiteX617" fmla="*/ 2203605 w 2778398"/>
                    <a:gd name="connsiteY617" fmla="*/ 149350 h 448234"/>
                    <a:gd name="connsiteX618" fmla="*/ 2233464 w 2778398"/>
                    <a:gd name="connsiteY618" fmla="*/ 162633 h 448234"/>
                    <a:gd name="connsiteX619" fmla="*/ 2270969 w 2778398"/>
                    <a:gd name="connsiteY619" fmla="*/ 148457 h 448234"/>
                    <a:gd name="connsiteX620" fmla="*/ 2270969 w 2778398"/>
                    <a:gd name="connsiteY620" fmla="*/ 159396 h 448234"/>
                    <a:gd name="connsiteX621" fmla="*/ 2231343 w 2778398"/>
                    <a:gd name="connsiteY621" fmla="*/ 172009 h 448234"/>
                    <a:gd name="connsiteX622" fmla="*/ 2195624 w 2778398"/>
                    <a:gd name="connsiteY622" fmla="*/ 156159 h 448234"/>
                    <a:gd name="connsiteX623" fmla="*/ 2182007 w 2778398"/>
                    <a:gd name="connsiteY623" fmla="*/ 111399 h 448234"/>
                    <a:gd name="connsiteX624" fmla="*/ 2196238 w 2778398"/>
                    <a:gd name="connsiteY624" fmla="*/ 69262 h 448234"/>
                    <a:gd name="connsiteX625" fmla="*/ 2233241 w 2778398"/>
                    <a:gd name="connsiteY625" fmla="*/ 52128 h 448234"/>
                    <a:gd name="connsiteX626" fmla="*/ 1899866 w 2778398"/>
                    <a:gd name="connsiteY626" fmla="*/ 52128 h 448234"/>
                    <a:gd name="connsiteX627" fmla="*/ 1932571 w 2778398"/>
                    <a:gd name="connsiteY627" fmla="*/ 67085 h 448234"/>
                    <a:gd name="connsiteX628" fmla="*/ 1943956 w 2778398"/>
                    <a:gd name="connsiteY628" fmla="*/ 107938 h 448234"/>
                    <a:gd name="connsiteX629" fmla="*/ 1943956 w 2778398"/>
                    <a:gd name="connsiteY629" fmla="*/ 112515 h 448234"/>
                    <a:gd name="connsiteX630" fmla="*/ 1859347 w 2778398"/>
                    <a:gd name="connsiteY630" fmla="*/ 112515 h 448234"/>
                    <a:gd name="connsiteX631" fmla="*/ 1870230 w 2778398"/>
                    <a:gd name="connsiteY631" fmla="*/ 149350 h 448234"/>
                    <a:gd name="connsiteX632" fmla="*/ 1900089 w 2778398"/>
                    <a:gd name="connsiteY632" fmla="*/ 162633 h 448234"/>
                    <a:gd name="connsiteX633" fmla="*/ 1937594 w 2778398"/>
                    <a:gd name="connsiteY633" fmla="*/ 148457 h 448234"/>
                    <a:gd name="connsiteX634" fmla="*/ 1937594 w 2778398"/>
                    <a:gd name="connsiteY634" fmla="*/ 159396 h 448234"/>
                    <a:gd name="connsiteX635" fmla="*/ 1897968 w 2778398"/>
                    <a:gd name="connsiteY635" fmla="*/ 172009 h 448234"/>
                    <a:gd name="connsiteX636" fmla="*/ 1862249 w 2778398"/>
                    <a:gd name="connsiteY636" fmla="*/ 156159 h 448234"/>
                    <a:gd name="connsiteX637" fmla="*/ 1848632 w 2778398"/>
                    <a:gd name="connsiteY637" fmla="*/ 111399 h 448234"/>
                    <a:gd name="connsiteX638" fmla="*/ 1862863 w 2778398"/>
                    <a:gd name="connsiteY638" fmla="*/ 69262 h 448234"/>
                    <a:gd name="connsiteX639" fmla="*/ 1899866 w 2778398"/>
                    <a:gd name="connsiteY639" fmla="*/ 52128 h 448234"/>
                    <a:gd name="connsiteX640" fmla="*/ 1223591 w 2778398"/>
                    <a:gd name="connsiteY640" fmla="*/ 52128 h 448234"/>
                    <a:gd name="connsiteX641" fmla="*/ 1256296 w 2778398"/>
                    <a:gd name="connsiteY641" fmla="*/ 67085 h 448234"/>
                    <a:gd name="connsiteX642" fmla="*/ 1267681 w 2778398"/>
                    <a:gd name="connsiteY642" fmla="*/ 107938 h 448234"/>
                    <a:gd name="connsiteX643" fmla="*/ 1267681 w 2778398"/>
                    <a:gd name="connsiteY643" fmla="*/ 112515 h 448234"/>
                    <a:gd name="connsiteX644" fmla="*/ 1183072 w 2778398"/>
                    <a:gd name="connsiteY644" fmla="*/ 112515 h 448234"/>
                    <a:gd name="connsiteX645" fmla="*/ 1193955 w 2778398"/>
                    <a:gd name="connsiteY645" fmla="*/ 149350 h 448234"/>
                    <a:gd name="connsiteX646" fmla="*/ 1223814 w 2778398"/>
                    <a:gd name="connsiteY646" fmla="*/ 162633 h 448234"/>
                    <a:gd name="connsiteX647" fmla="*/ 1261319 w 2778398"/>
                    <a:gd name="connsiteY647" fmla="*/ 148457 h 448234"/>
                    <a:gd name="connsiteX648" fmla="*/ 1261319 w 2778398"/>
                    <a:gd name="connsiteY648" fmla="*/ 159396 h 448234"/>
                    <a:gd name="connsiteX649" fmla="*/ 1221693 w 2778398"/>
                    <a:gd name="connsiteY649" fmla="*/ 172009 h 448234"/>
                    <a:gd name="connsiteX650" fmla="*/ 1185974 w 2778398"/>
                    <a:gd name="connsiteY650" fmla="*/ 156159 h 448234"/>
                    <a:gd name="connsiteX651" fmla="*/ 1172357 w 2778398"/>
                    <a:gd name="connsiteY651" fmla="*/ 111399 h 448234"/>
                    <a:gd name="connsiteX652" fmla="*/ 1186588 w 2778398"/>
                    <a:gd name="connsiteY652" fmla="*/ 69262 h 448234"/>
                    <a:gd name="connsiteX653" fmla="*/ 1223591 w 2778398"/>
                    <a:gd name="connsiteY653" fmla="*/ 52128 h 448234"/>
                    <a:gd name="connsiteX654" fmla="*/ 932446 w 2778398"/>
                    <a:gd name="connsiteY654" fmla="*/ 52128 h 448234"/>
                    <a:gd name="connsiteX655" fmla="*/ 971067 w 2778398"/>
                    <a:gd name="connsiteY655" fmla="*/ 68090 h 448234"/>
                    <a:gd name="connsiteX656" fmla="*/ 985242 w 2778398"/>
                    <a:gd name="connsiteY656" fmla="*/ 112291 h 448234"/>
                    <a:gd name="connsiteX657" fmla="*/ 970788 w 2778398"/>
                    <a:gd name="connsiteY657" fmla="*/ 155489 h 448234"/>
                    <a:gd name="connsiteX658" fmla="*/ 931218 w 2778398"/>
                    <a:gd name="connsiteY658" fmla="*/ 172009 h 448234"/>
                    <a:gd name="connsiteX659" fmla="*/ 891648 w 2778398"/>
                    <a:gd name="connsiteY659" fmla="*/ 155545 h 448234"/>
                    <a:gd name="connsiteX660" fmla="*/ 877082 w 2778398"/>
                    <a:gd name="connsiteY660" fmla="*/ 112738 h 448234"/>
                    <a:gd name="connsiteX661" fmla="*/ 892318 w 2778398"/>
                    <a:gd name="connsiteY661" fmla="*/ 68201 h 448234"/>
                    <a:gd name="connsiteX662" fmla="*/ 932446 w 2778398"/>
                    <a:gd name="connsiteY662" fmla="*/ 52128 h 448234"/>
                    <a:gd name="connsiteX663" fmla="*/ 814016 w 2778398"/>
                    <a:gd name="connsiteY663" fmla="*/ 52128 h 448234"/>
                    <a:gd name="connsiteX664" fmla="*/ 846721 w 2778398"/>
                    <a:gd name="connsiteY664" fmla="*/ 67085 h 448234"/>
                    <a:gd name="connsiteX665" fmla="*/ 858106 w 2778398"/>
                    <a:gd name="connsiteY665" fmla="*/ 107938 h 448234"/>
                    <a:gd name="connsiteX666" fmla="*/ 858106 w 2778398"/>
                    <a:gd name="connsiteY666" fmla="*/ 112515 h 448234"/>
                    <a:gd name="connsiteX667" fmla="*/ 773497 w 2778398"/>
                    <a:gd name="connsiteY667" fmla="*/ 112515 h 448234"/>
                    <a:gd name="connsiteX668" fmla="*/ 784380 w 2778398"/>
                    <a:gd name="connsiteY668" fmla="*/ 149350 h 448234"/>
                    <a:gd name="connsiteX669" fmla="*/ 814239 w 2778398"/>
                    <a:gd name="connsiteY669" fmla="*/ 162633 h 448234"/>
                    <a:gd name="connsiteX670" fmla="*/ 851744 w 2778398"/>
                    <a:gd name="connsiteY670" fmla="*/ 148457 h 448234"/>
                    <a:gd name="connsiteX671" fmla="*/ 851744 w 2778398"/>
                    <a:gd name="connsiteY671" fmla="*/ 159396 h 448234"/>
                    <a:gd name="connsiteX672" fmla="*/ 812118 w 2778398"/>
                    <a:gd name="connsiteY672" fmla="*/ 172009 h 448234"/>
                    <a:gd name="connsiteX673" fmla="*/ 776399 w 2778398"/>
                    <a:gd name="connsiteY673" fmla="*/ 156159 h 448234"/>
                    <a:gd name="connsiteX674" fmla="*/ 762782 w 2778398"/>
                    <a:gd name="connsiteY674" fmla="*/ 111399 h 448234"/>
                    <a:gd name="connsiteX675" fmla="*/ 777013 w 2778398"/>
                    <a:gd name="connsiteY675" fmla="*/ 69262 h 448234"/>
                    <a:gd name="connsiteX676" fmla="*/ 814016 w 2778398"/>
                    <a:gd name="connsiteY676" fmla="*/ 52128 h 448234"/>
                    <a:gd name="connsiteX677" fmla="*/ 2710607 w 2778398"/>
                    <a:gd name="connsiteY677" fmla="*/ 52127 h 448234"/>
                    <a:gd name="connsiteX678" fmla="*/ 2747218 w 2778398"/>
                    <a:gd name="connsiteY678" fmla="*/ 73000 h 448234"/>
                    <a:gd name="connsiteX679" fmla="*/ 2747665 w 2778398"/>
                    <a:gd name="connsiteY679" fmla="*/ 73000 h 448234"/>
                    <a:gd name="connsiteX680" fmla="*/ 2747665 w 2778398"/>
                    <a:gd name="connsiteY680" fmla="*/ 54917 h 448234"/>
                    <a:gd name="connsiteX681" fmla="*/ 2757934 w 2778398"/>
                    <a:gd name="connsiteY681" fmla="*/ 54917 h 448234"/>
                    <a:gd name="connsiteX682" fmla="*/ 2757934 w 2778398"/>
                    <a:gd name="connsiteY682" fmla="*/ 160734 h 448234"/>
                    <a:gd name="connsiteX683" fmla="*/ 2743870 w 2778398"/>
                    <a:gd name="connsiteY683" fmla="*/ 207950 h 448234"/>
                    <a:gd name="connsiteX684" fmla="*/ 2700115 w 2778398"/>
                    <a:gd name="connsiteY684" fmla="*/ 222907 h 448234"/>
                    <a:gd name="connsiteX685" fmla="*/ 2666070 w 2778398"/>
                    <a:gd name="connsiteY685" fmla="*/ 214201 h 448234"/>
                    <a:gd name="connsiteX686" fmla="*/ 2666070 w 2778398"/>
                    <a:gd name="connsiteY686" fmla="*/ 203485 h 448234"/>
                    <a:gd name="connsiteX687" fmla="*/ 2700338 w 2778398"/>
                    <a:gd name="connsiteY687" fmla="*/ 213531 h 448234"/>
                    <a:gd name="connsiteX688" fmla="*/ 2747665 w 2778398"/>
                    <a:gd name="connsiteY688" fmla="*/ 163525 h 448234"/>
                    <a:gd name="connsiteX689" fmla="*/ 2747665 w 2778398"/>
                    <a:gd name="connsiteY689" fmla="*/ 148679 h 448234"/>
                    <a:gd name="connsiteX690" fmla="*/ 2747218 w 2778398"/>
                    <a:gd name="connsiteY690" fmla="*/ 148679 h 448234"/>
                    <a:gd name="connsiteX691" fmla="*/ 2706031 w 2778398"/>
                    <a:gd name="connsiteY691" fmla="*/ 172008 h 448234"/>
                    <a:gd name="connsiteX692" fmla="*/ 2671595 w 2778398"/>
                    <a:gd name="connsiteY692" fmla="*/ 156716 h 448234"/>
                    <a:gd name="connsiteX693" fmla="*/ 2658257 w 2778398"/>
                    <a:gd name="connsiteY693" fmla="*/ 114076 h 448234"/>
                    <a:gd name="connsiteX694" fmla="*/ 2672656 w 2778398"/>
                    <a:gd name="connsiteY694" fmla="*/ 69428 h 448234"/>
                    <a:gd name="connsiteX695" fmla="*/ 2710607 w 2778398"/>
                    <a:gd name="connsiteY695" fmla="*/ 52127 h 448234"/>
                    <a:gd name="connsiteX696" fmla="*/ 2592475 w 2778398"/>
                    <a:gd name="connsiteY696" fmla="*/ 52127 h 448234"/>
                    <a:gd name="connsiteX697" fmla="*/ 2620826 w 2778398"/>
                    <a:gd name="connsiteY697" fmla="*/ 64461 h 448234"/>
                    <a:gd name="connsiteX698" fmla="*/ 2630649 w 2778398"/>
                    <a:gd name="connsiteY698" fmla="*/ 99677 h 448234"/>
                    <a:gd name="connsiteX699" fmla="*/ 2630649 w 2778398"/>
                    <a:gd name="connsiteY699" fmla="*/ 169217 h 448234"/>
                    <a:gd name="connsiteX700" fmla="*/ 2620380 w 2778398"/>
                    <a:gd name="connsiteY700" fmla="*/ 169217 h 448234"/>
                    <a:gd name="connsiteX701" fmla="*/ 2620380 w 2778398"/>
                    <a:gd name="connsiteY701" fmla="*/ 102691 h 448234"/>
                    <a:gd name="connsiteX702" fmla="*/ 2590689 w 2778398"/>
                    <a:gd name="connsiteY702" fmla="*/ 61503 h 448234"/>
                    <a:gd name="connsiteX703" fmla="*/ 2563565 w 2778398"/>
                    <a:gd name="connsiteY703" fmla="*/ 73614 h 448234"/>
                    <a:gd name="connsiteX704" fmla="*/ 2552961 w 2778398"/>
                    <a:gd name="connsiteY704" fmla="*/ 103584 h 448234"/>
                    <a:gd name="connsiteX705" fmla="*/ 2552961 w 2778398"/>
                    <a:gd name="connsiteY705" fmla="*/ 169217 h 448234"/>
                    <a:gd name="connsiteX706" fmla="*/ 2542692 w 2778398"/>
                    <a:gd name="connsiteY706" fmla="*/ 169217 h 448234"/>
                    <a:gd name="connsiteX707" fmla="*/ 2542692 w 2778398"/>
                    <a:gd name="connsiteY707" fmla="*/ 54917 h 448234"/>
                    <a:gd name="connsiteX708" fmla="*/ 2552961 w 2778398"/>
                    <a:gd name="connsiteY708" fmla="*/ 54917 h 448234"/>
                    <a:gd name="connsiteX709" fmla="*/ 2552961 w 2778398"/>
                    <a:gd name="connsiteY709" fmla="*/ 75679 h 448234"/>
                    <a:gd name="connsiteX710" fmla="*/ 2553407 w 2778398"/>
                    <a:gd name="connsiteY710" fmla="*/ 75679 h 448234"/>
                    <a:gd name="connsiteX711" fmla="*/ 2592475 w 2778398"/>
                    <a:gd name="connsiteY711" fmla="*/ 52127 h 448234"/>
                    <a:gd name="connsiteX712" fmla="*/ 1062633 w 2778398"/>
                    <a:gd name="connsiteY712" fmla="*/ 52127 h 448234"/>
                    <a:gd name="connsiteX713" fmla="*/ 1096622 w 2778398"/>
                    <a:gd name="connsiteY713" fmla="*/ 67140 h 448234"/>
                    <a:gd name="connsiteX714" fmla="*/ 1108844 w 2778398"/>
                    <a:gd name="connsiteY714" fmla="*/ 107937 h 448234"/>
                    <a:gd name="connsiteX715" fmla="*/ 1094836 w 2778398"/>
                    <a:gd name="connsiteY715" fmla="*/ 154316 h 448234"/>
                    <a:gd name="connsiteX716" fmla="*/ 1057833 w 2778398"/>
                    <a:gd name="connsiteY716" fmla="*/ 172008 h 448234"/>
                    <a:gd name="connsiteX717" fmla="*/ 1019882 w 2778398"/>
                    <a:gd name="connsiteY717" fmla="*/ 148902 h 448234"/>
                    <a:gd name="connsiteX718" fmla="*/ 1019436 w 2778398"/>
                    <a:gd name="connsiteY718" fmla="*/ 148902 h 448234"/>
                    <a:gd name="connsiteX719" fmla="*/ 1019436 w 2778398"/>
                    <a:gd name="connsiteY719" fmla="*/ 221791 h 448234"/>
                    <a:gd name="connsiteX720" fmla="*/ 1009167 w 2778398"/>
                    <a:gd name="connsiteY720" fmla="*/ 221791 h 448234"/>
                    <a:gd name="connsiteX721" fmla="*/ 1009167 w 2778398"/>
                    <a:gd name="connsiteY721" fmla="*/ 54917 h 448234"/>
                    <a:gd name="connsiteX722" fmla="*/ 1019436 w 2778398"/>
                    <a:gd name="connsiteY722" fmla="*/ 54917 h 448234"/>
                    <a:gd name="connsiteX723" fmla="*/ 1019436 w 2778398"/>
                    <a:gd name="connsiteY723" fmla="*/ 78469 h 448234"/>
                    <a:gd name="connsiteX724" fmla="*/ 1019882 w 2778398"/>
                    <a:gd name="connsiteY724" fmla="*/ 78469 h 448234"/>
                    <a:gd name="connsiteX725" fmla="*/ 1037463 w 2778398"/>
                    <a:gd name="connsiteY725" fmla="*/ 58991 h 448234"/>
                    <a:gd name="connsiteX726" fmla="*/ 1062633 w 2778398"/>
                    <a:gd name="connsiteY726" fmla="*/ 52127 h 448234"/>
                    <a:gd name="connsiteX727" fmla="*/ 700683 w 2778398"/>
                    <a:gd name="connsiteY727" fmla="*/ 52127 h 448234"/>
                    <a:gd name="connsiteX728" fmla="*/ 734672 w 2778398"/>
                    <a:gd name="connsiteY728" fmla="*/ 67140 h 448234"/>
                    <a:gd name="connsiteX729" fmla="*/ 746894 w 2778398"/>
                    <a:gd name="connsiteY729" fmla="*/ 107937 h 448234"/>
                    <a:gd name="connsiteX730" fmla="*/ 732886 w 2778398"/>
                    <a:gd name="connsiteY730" fmla="*/ 154316 h 448234"/>
                    <a:gd name="connsiteX731" fmla="*/ 695883 w 2778398"/>
                    <a:gd name="connsiteY731" fmla="*/ 172008 h 448234"/>
                    <a:gd name="connsiteX732" fmla="*/ 657932 w 2778398"/>
                    <a:gd name="connsiteY732" fmla="*/ 148902 h 448234"/>
                    <a:gd name="connsiteX733" fmla="*/ 657486 w 2778398"/>
                    <a:gd name="connsiteY733" fmla="*/ 148902 h 448234"/>
                    <a:gd name="connsiteX734" fmla="*/ 657486 w 2778398"/>
                    <a:gd name="connsiteY734" fmla="*/ 221791 h 448234"/>
                    <a:gd name="connsiteX735" fmla="*/ 647216 w 2778398"/>
                    <a:gd name="connsiteY735" fmla="*/ 221791 h 448234"/>
                    <a:gd name="connsiteX736" fmla="*/ 647216 w 2778398"/>
                    <a:gd name="connsiteY736" fmla="*/ 54917 h 448234"/>
                    <a:gd name="connsiteX737" fmla="*/ 657486 w 2778398"/>
                    <a:gd name="connsiteY737" fmla="*/ 54917 h 448234"/>
                    <a:gd name="connsiteX738" fmla="*/ 657486 w 2778398"/>
                    <a:gd name="connsiteY738" fmla="*/ 78469 h 448234"/>
                    <a:gd name="connsiteX739" fmla="*/ 657932 w 2778398"/>
                    <a:gd name="connsiteY739" fmla="*/ 78469 h 448234"/>
                    <a:gd name="connsiteX740" fmla="*/ 675513 w 2778398"/>
                    <a:gd name="connsiteY740" fmla="*/ 58991 h 448234"/>
                    <a:gd name="connsiteX741" fmla="*/ 700683 w 2778398"/>
                    <a:gd name="connsiteY741" fmla="*/ 52127 h 448234"/>
                    <a:gd name="connsiteX742" fmla="*/ 249325 w 2778398"/>
                    <a:gd name="connsiteY742" fmla="*/ 52127 h 448234"/>
                    <a:gd name="connsiteX743" fmla="*/ 277676 w 2778398"/>
                    <a:gd name="connsiteY743" fmla="*/ 64461 h 448234"/>
                    <a:gd name="connsiteX744" fmla="*/ 287499 w 2778398"/>
                    <a:gd name="connsiteY744" fmla="*/ 99677 h 448234"/>
                    <a:gd name="connsiteX745" fmla="*/ 287499 w 2778398"/>
                    <a:gd name="connsiteY745" fmla="*/ 169217 h 448234"/>
                    <a:gd name="connsiteX746" fmla="*/ 277230 w 2778398"/>
                    <a:gd name="connsiteY746" fmla="*/ 169217 h 448234"/>
                    <a:gd name="connsiteX747" fmla="*/ 277230 w 2778398"/>
                    <a:gd name="connsiteY747" fmla="*/ 102691 h 448234"/>
                    <a:gd name="connsiteX748" fmla="*/ 247539 w 2778398"/>
                    <a:gd name="connsiteY748" fmla="*/ 61503 h 448234"/>
                    <a:gd name="connsiteX749" fmla="*/ 220415 w 2778398"/>
                    <a:gd name="connsiteY749" fmla="*/ 73614 h 448234"/>
                    <a:gd name="connsiteX750" fmla="*/ 209811 w 2778398"/>
                    <a:gd name="connsiteY750" fmla="*/ 103584 h 448234"/>
                    <a:gd name="connsiteX751" fmla="*/ 209811 w 2778398"/>
                    <a:gd name="connsiteY751" fmla="*/ 169217 h 448234"/>
                    <a:gd name="connsiteX752" fmla="*/ 199542 w 2778398"/>
                    <a:gd name="connsiteY752" fmla="*/ 169217 h 448234"/>
                    <a:gd name="connsiteX753" fmla="*/ 199542 w 2778398"/>
                    <a:gd name="connsiteY753" fmla="*/ 54917 h 448234"/>
                    <a:gd name="connsiteX754" fmla="*/ 209811 w 2778398"/>
                    <a:gd name="connsiteY754" fmla="*/ 54917 h 448234"/>
                    <a:gd name="connsiteX755" fmla="*/ 209811 w 2778398"/>
                    <a:gd name="connsiteY755" fmla="*/ 75679 h 448234"/>
                    <a:gd name="connsiteX756" fmla="*/ 210257 w 2778398"/>
                    <a:gd name="connsiteY756" fmla="*/ 75679 h 448234"/>
                    <a:gd name="connsiteX757" fmla="*/ 249325 w 2778398"/>
                    <a:gd name="connsiteY757" fmla="*/ 52127 h 448234"/>
                    <a:gd name="connsiteX758" fmla="*/ 508099 w 2778398"/>
                    <a:gd name="connsiteY758" fmla="*/ 15850 h 448234"/>
                    <a:gd name="connsiteX759" fmla="*/ 479413 w 2778398"/>
                    <a:gd name="connsiteY759" fmla="*/ 34714 h 448234"/>
                    <a:gd name="connsiteX760" fmla="*/ 469144 w 2778398"/>
                    <a:gd name="connsiteY760" fmla="*/ 91306 h 448234"/>
                    <a:gd name="connsiteX761" fmla="*/ 478966 w 2778398"/>
                    <a:gd name="connsiteY761" fmla="*/ 144158 h 448234"/>
                    <a:gd name="connsiteX762" fmla="*/ 506872 w 2778398"/>
                    <a:gd name="connsiteY762" fmla="*/ 162632 h 448234"/>
                    <a:gd name="connsiteX763" fmla="*/ 534498 w 2778398"/>
                    <a:gd name="connsiteY763" fmla="*/ 143823 h 448234"/>
                    <a:gd name="connsiteX764" fmla="*/ 544376 w 2778398"/>
                    <a:gd name="connsiteY764" fmla="*/ 90078 h 448234"/>
                    <a:gd name="connsiteX765" fmla="*/ 508099 w 2778398"/>
                    <a:gd name="connsiteY765" fmla="*/ 15850 h 448234"/>
                    <a:gd name="connsiteX766" fmla="*/ 2500090 w 2778398"/>
                    <a:gd name="connsiteY766" fmla="*/ 9153 h 448234"/>
                    <a:gd name="connsiteX767" fmla="*/ 2506173 w 2778398"/>
                    <a:gd name="connsiteY767" fmla="*/ 11385 h 448234"/>
                    <a:gd name="connsiteX768" fmla="*/ 2508796 w 2778398"/>
                    <a:gd name="connsiteY768" fmla="*/ 17413 h 448234"/>
                    <a:gd name="connsiteX769" fmla="*/ 2506229 w 2778398"/>
                    <a:gd name="connsiteY769" fmla="*/ 23552 h 448234"/>
                    <a:gd name="connsiteX770" fmla="*/ 2500090 w 2778398"/>
                    <a:gd name="connsiteY770" fmla="*/ 26119 h 448234"/>
                    <a:gd name="connsiteX771" fmla="*/ 2494174 w 2778398"/>
                    <a:gd name="connsiteY771" fmla="*/ 23663 h 448234"/>
                    <a:gd name="connsiteX772" fmla="*/ 2491606 w 2778398"/>
                    <a:gd name="connsiteY772" fmla="*/ 17413 h 448234"/>
                    <a:gd name="connsiteX773" fmla="*/ 2494229 w 2778398"/>
                    <a:gd name="connsiteY773" fmla="*/ 11441 h 448234"/>
                    <a:gd name="connsiteX774" fmla="*/ 2500090 w 2778398"/>
                    <a:gd name="connsiteY774" fmla="*/ 9153 h 448234"/>
                    <a:gd name="connsiteX775" fmla="*/ 1528540 w 2778398"/>
                    <a:gd name="connsiteY775" fmla="*/ 9153 h 448234"/>
                    <a:gd name="connsiteX776" fmla="*/ 1534623 w 2778398"/>
                    <a:gd name="connsiteY776" fmla="*/ 11385 h 448234"/>
                    <a:gd name="connsiteX777" fmla="*/ 1537246 w 2778398"/>
                    <a:gd name="connsiteY777" fmla="*/ 17413 h 448234"/>
                    <a:gd name="connsiteX778" fmla="*/ 1534679 w 2778398"/>
                    <a:gd name="connsiteY778" fmla="*/ 23552 h 448234"/>
                    <a:gd name="connsiteX779" fmla="*/ 1528540 w 2778398"/>
                    <a:gd name="connsiteY779" fmla="*/ 26119 h 448234"/>
                    <a:gd name="connsiteX780" fmla="*/ 1522624 w 2778398"/>
                    <a:gd name="connsiteY780" fmla="*/ 23663 h 448234"/>
                    <a:gd name="connsiteX781" fmla="*/ 1520056 w 2778398"/>
                    <a:gd name="connsiteY781" fmla="*/ 17413 h 448234"/>
                    <a:gd name="connsiteX782" fmla="*/ 1522679 w 2778398"/>
                    <a:gd name="connsiteY782" fmla="*/ 11441 h 448234"/>
                    <a:gd name="connsiteX783" fmla="*/ 1528540 w 2778398"/>
                    <a:gd name="connsiteY783" fmla="*/ 9153 h 448234"/>
                    <a:gd name="connsiteX784" fmla="*/ 156940 w 2778398"/>
                    <a:gd name="connsiteY784" fmla="*/ 9153 h 448234"/>
                    <a:gd name="connsiteX785" fmla="*/ 163023 w 2778398"/>
                    <a:gd name="connsiteY785" fmla="*/ 11385 h 448234"/>
                    <a:gd name="connsiteX786" fmla="*/ 165646 w 2778398"/>
                    <a:gd name="connsiteY786" fmla="*/ 17413 h 448234"/>
                    <a:gd name="connsiteX787" fmla="*/ 163079 w 2778398"/>
                    <a:gd name="connsiteY787" fmla="*/ 23552 h 448234"/>
                    <a:gd name="connsiteX788" fmla="*/ 156940 w 2778398"/>
                    <a:gd name="connsiteY788" fmla="*/ 26119 h 448234"/>
                    <a:gd name="connsiteX789" fmla="*/ 151024 w 2778398"/>
                    <a:gd name="connsiteY789" fmla="*/ 23663 h 448234"/>
                    <a:gd name="connsiteX790" fmla="*/ 148456 w 2778398"/>
                    <a:gd name="connsiteY790" fmla="*/ 17413 h 448234"/>
                    <a:gd name="connsiteX791" fmla="*/ 151080 w 2778398"/>
                    <a:gd name="connsiteY791" fmla="*/ 11441 h 448234"/>
                    <a:gd name="connsiteX792" fmla="*/ 156940 w 2778398"/>
                    <a:gd name="connsiteY792" fmla="*/ 9153 h 448234"/>
                    <a:gd name="connsiteX793" fmla="*/ 508992 w 2778398"/>
                    <a:gd name="connsiteY793" fmla="*/ 6474 h 448234"/>
                    <a:gd name="connsiteX794" fmla="*/ 555203 w 2778398"/>
                    <a:gd name="connsiteY794" fmla="*/ 88515 h 448234"/>
                    <a:gd name="connsiteX795" fmla="*/ 542144 w 2778398"/>
                    <a:gd name="connsiteY795" fmla="*/ 150688 h 448234"/>
                    <a:gd name="connsiteX796" fmla="*/ 505532 w 2778398"/>
                    <a:gd name="connsiteY796" fmla="*/ 172008 h 448234"/>
                    <a:gd name="connsiteX797" fmla="*/ 470930 w 2778398"/>
                    <a:gd name="connsiteY797" fmla="*/ 151693 h 448234"/>
                    <a:gd name="connsiteX798" fmla="*/ 458428 w 2778398"/>
                    <a:gd name="connsiteY798" fmla="*/ 92645 h 448234"/>
                    <a:gd name="connsiteX799" fmla="*/ 471544 w 2778398"/>
                    <a:gd name="connsiteY799" fmla="*/ 28184 h 448234"/>
                    <a:gd name="connsiteX800" fmla="*/ 508992 w 2778398"/>
                    <a:gd name="connsiteY800" fmla="*/ 6474 h 448234"/>
                    <a:gd name="connsiteX801" fmla="*/ 417351 w 2778398"/>
                    <a:gd name="connsiteY801" fmla="*/ 5581 h 448234"/>
                    <a:gd name="connsiteX802" fmla="*/ 420923 w 2778398"/>
                    <a:gd name="connsiteY802" fmla="*/ 5581 h 448234"/>
                    <a:gd name="connsiteX803" fmla="*/ 420923 w 2778398"/>
                    <a:gd name="connsiteY803" fmla="*/ 169217 h 448234"/>
                    <a:gd name="connsiteX804" fmla="*/ 410654 w 2778398"/>
                    <a:gd name="connsiteY804" fmla="*/ 169217 h 448234"/>
                    <a:gd name="connsiteX805" fmla="*/ 410654 w 2778398"/>
                    <a:gd name="connsiteY805" fmla="*/ 21766 h 448234"/>
                    <a:gd name="connsiteX806" fmla="*/ 393074 w 2778398"/>
                    <a:gd name="connsiteY806" fmla="*/ 34491 h 448234"/>
                    <a:gd name="connsiteX807" fmla="*/ 371475 w 2778398"/>
                    <a:gd name="connsiteY807" fmla="*/ 43978 h 448234"/>
                    <a:gd name="connsiteX808" fmla="*/ 371475 w 2778398"/>
                    <a:gd name="connsiteY808" fmla="*/ 34602 h 448234"/>
                    <a:gd name="connsiteX809" fmla="*/ 384535 w 2778398"/>
                    <a:gd name="connsiteY809" fmla="*/ 29300 h 448234"/>
                    <a:gd name="connsiteX810" fmla="*/ 396088 w 2778398"/>
                    <a:gd name="connsiteY810" fmla="*/ 22770 h 448234"/>
                    <a:gd name="connsiteX811" fmla="*/ 406803 w 2778398"/>
                    <a:gd name="connsiteY811" fmla="*/ 14901 h 448234"/>
                    <a:gd name="connsiteX812" fmla="*/ 417351 w 2778398"/>
                    <a:gd name="connsiteY812" fmla="*/ 5581 h 448234"/>
                    <a:gd name="connsiteX813" fmla="*/ 45877 w 2778398"/>
                    <a:gd name="connsiteY813" fmla="*/ 5581 h 448234"/>
                    <a:gd name="connsiteX814" fmla="*/ 49448 w 2778398"/>
                    <a:gd name="connsiteY814" fmla="*/ 5581 h 448234"/>
                    <a:gd name="connsiteX815" fmla="*/ 49448 w 2778398"/>
                    <a:gd name="connsiteY815" fmla="*/ 169217 h 448234"/>
                    <a:gd name="connsiteX816" fmla="*/ 39179 w 2778398"/>
                    <a:gd name="connsiteY816" fmla="*/ 169217 h 448234"/>
                    <a:gd name="connsiteX817" fmla="*/ 39179 w 2778398"/>
                    <a:gd name="connsiteY817" fmla="*/ 21766 h 448234"/>
                    <a:gd name="connsiteX818" fmla="*/ 21599 w 2778398"/>
                    <a:gd name="connsiteY818" fmla="*/ 34491 h 448234"/>
                    <a:gd name="connsiteX819" fmla="*/ 0 w 2778398"/>
                    <a:gd name="connsiteY819" fmla="*/ 43978 h 448234"/>
                    <a:gd name="connsiteX820" fmla="*/ 0 w 2778398"/>
                    <a:gd name="connsiteY820" fmla="*/ 34602 h 448234"/>
                    <a:gd name="connsiteX821" fmla="*/ 13060 w 2778398"/>
                    <a:gd name="connsiteY821" fmla="*/ 29300 h 448234"/>
                    <a:gd name="connsiteX822" fmla="*/ 24613 w 2778398"/>
                    <a:gd name="connsiteY822" fmla="*/ 22770 h 448234"/>
                    <a:gd name="connsiteX823" fmla="*/ 35328 w 2778398"/>
                    <a:gd name="connsiteY823" fmla="*/ 14901 h 448234"/>
                    <a:gd name="connsiteX824" fmla="*/ 45877 w 2778398"/>
                    <a:gd name="connsiteY824" fmla="*/ 5581 h 448234"/>
                    <a:gd name="connsiteX825" fmla="*/ 1618767 w 2778398"/>
                    <a:gd name="connsiteY825" fmla="*/ 1 h 448234"/>
                    <a:gd name="connsiteX826" fmla="*/ 1629036 w 2778398"/>
                    <a:gd name="connsiteY826" fmla="*/ 1 h 448234"/>
                    <a:gd name="connsiteX827" fmla="*/ 1629036 w 2778398"/>
                    <a:gd name="connsiteY827" fmla="*/ 169218 h 448234"/>
                    <a:gd name="connsiteX828" fmla="*/ 1618767 w 2778398"/>
                    <a:gd name="connsiteY828" fmla="*/ 169218 h 448234"/>
                    <a:gd name="connsiteX829" fmla="*/ 1571142 w 2778398"/>
                    <a:gd name="connsiteY829" fmla="*/ 1 h 448234"/>
                    <a:gd name="connsiteX830" fmla="*/ 1581411 w 2778398"/>
                    <a:gd name="connsiteY830" fmla="*/ 1 h 448234"/>
                    <a:gd name="connsiteX831" fmla="*/ 1581411 w 2778398"/>
                    <a:gd name="connsiteY831" fmla="*/ 169218 h 448234"/>
                    <a:gd name="connsiteX832" fmla="*/ 1571142 w 2778398"/>
                    <a:gd name="connsiteY832" fmla="*/ 169218 h 448234"/>
                    <a:gd name="connsiteX833" fmla="*/ 1132992 w 2778398"/>
                    <a:gd name="connsiteY833" fmla="*/ 1 h 448234"/>
                    <a:gd name="connsiteX834" fmla="*/ 1143261 w 2778398"/>
                    <a:gd name="connsiteY834" fmla="*/ 1 h 448234"/>
                    <a:gd name="connsiteX835" fmla="*/ 1143261 w 2778398"/>
                    <a:gd name="connsiteY835" fmla="*/ 169218 h 448234"/>
                    <a:gd name="connsiteX836" fmla="*/ 1132992 w 2778398"/>
                    <a:gd name="connsiteY836" fmla="*/ 169218 h 448234"/>
                    <a:gd name="connsiteX837" fmla="*/ 1733067 w 2778398"/>
                    <a:gd name="connsiteY837" fmla="*/ 0 h 448234"/>
                    <a:gd name="connsiteX838" fmla="*/ 1743336 w 2778398"/>
                    <a:gd name="connsiteY838" fmla="*/ 0 h 448234"/>
                    <a:gd name="connsiteX839" fmla="*/ 1743336 w 2778398"/>
                    <a:gd name="connsiteY839" fmla="*/ 78469 h 448234"/>
                    <a:gd name="connsiteX840" fmla="*/ 1743782 w 2778398"/>
                    <a:gd name="connsiteY840" fmla="*/ 78469 h 448234"/>
                    <a:gd name="connsiteX841" fmla="*/ 1761363 w 2778398"/>
                    <a:gd name="connsiteY841" fmla="*/ 58991 h 448234"/>
                    <a:gd name="connsiteX842" fmla="*/ 1786533 w 2778398"/>
                    <a:gd name="connsiteY842" fmla="*/ 52127 h 448234"/>
                    <a:gd name="connsiteX843" fmla="*/ 1820522 w 2778398"/>
                    <a:gd name="connsiteY843" fmla="*/ 67140 h 448234"/>
                    <a:gd name="connsiteX844" fmla="*/ 1832744 w 2778398"/>
                    <a:gd name="connsiteY844" fmla="*/ 107937 h 448234"/>
                    <a:gd name="connsiteX845" fmla="*/ 1818568 w 2778398"/>
                    <a:gd name="connsiteY845" fmla="*/ 154316 h 448234"/>
                    <a:gd name="connsiteX846" fmla="*/ 1781733 w 2778398"/>
                    <a:gd name="connsiteY846" fmla="*/ 172008 h 448234"/>
                    <a:gd name="connsiteX847" fmla="*/ 1743782 w 2778398"/>
                    <a:gd name="connsiteY847" fmla="*/ 148902 h 448234"/>
                    <a:gd name="connsiteX848" fmla="*/ 1743336 w 2778398"/>
                    <a:gd name="connsiteY848" fmla="*/ 148902 h 448234"/>
                    <a:gd name="connsiteX849" fmla="*/ 1743336 w 2778398"/>
                    <a:gd name="connsiteY849" fmla="*/ 169217 h 448234"/>
                    <a:gd name="connsiteX850" fmla="*/ 1733067 w 2778398"/>
                    <a:gd name="connsiteY850" fmla="*/ 169217 h 448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</a:cxnLst>
                  <a:rect l="l" t="t" r="r" b="b"/>
                  <a:pathLst>
                    <a:path w="2778398" h="448234">
                      <a:moveTo>
                        <a:pt x="2661419" y="337729"/>
                      </a:moveTo>
                      <a:cubicBezTo>
                        <a:pt x="2650704" y="337729"/>
                        <a:pt x="2641830" y="341319"/>
                        <a:pt x="2634798" y="348500"/>
                      </a:cubicBezTo>
                      <a:cubicBezTo>
                        <a:pt x="2627766" y="355681"/>
                        <a:pt x="2623431" y="365969"/>
                        <a:pt x="2621794" y="379364"/>
                      </a:cubicBezTo>
                      <a:lnTo>
                        <a:pt x="2695241" y="379364"/>
                      </a:lnTo>
                      <a:cubicBezTo>
                        <a:pt x="2694794" y="366192"/>
                        <a:pt x="2691631" y="355960"/>
                        <a:pt x="2685753" y="348668"/>
                      </a:cubicBezTo>
                      <a:cubicBezTo>
                        <a:pt x="2679874" y="341375"/>
                        <a:pt x="2671763" y="337729"/>
                        <a:pt x="2661419" y="337729"/>
                      </a:cubicBezTo>
                      <a:close/>
                      <a:moveTo>
                        <a:pt x="2347094" y="337729"/>
                      </a:moveTo>
                      <a:cubicBezTo>
                        <a:pt x="2336379" y="337729"/>
                        <a:pt x="2327505" y="341319"/>
                        <a:pt x="2320473" y="348500"/>
                      </a:cubicBezTo>
                      <a:cubicBezTo>
                        <a:pt x="2313440" y="355681"/>
                        <a:pt x="2309106" y="365969"/>
                        <a:pt x="2307469" y="379364"/>
                      </a:cubicBezTo>
                      <a:lnTo>
                        <a:pt x="2380915" y="379364"/>
                      </a:lnTo>
                      <a:cubicBezTo>
                        <a:pt x="2380469" y="366192"/>
                        <a:pt x="2377306" y="355960"/>
                        <a:pt x="2371428" y="348668"/>
                      </a:cubicBezTo>
                      <a:cubicBezTo>
                        <a:pt x="2365549" y="341375"/>
                        <a:pt x="2357438" y="337729"/>
                        <a:pt x="2347094" y="337729"/>
                      </a:cubicBezTo>
                      <a:close/>
                      <a:moveTo>
                        <a:pt x="1922599" y="337729"/>
                      </a:moveTo>
                      <a:cubicBezTo>
                        <a:pt x="1909130" y="337729"/>
                        <a:pt x="1898396" y="342268"/>
                        <a:pt x="1890397" y="351347"/>
                      </a:cubicBezTo>
                      <a:cubicBezTo>
                        <a:pt x="1882397" y="360425"/>
                        <a:pt x="1878397" y="373038"/>
                        <a:pt x="1878397" y="389186"/>
                      </a:cubicBezTo>
                      <a:cubicBezTo>
                        <a:pt x="1878397" y="404143"/>
                        <a:pt x="1882304" y="416161"/>
                        <a:pt x="1890117" y="425240"/>
                      </a:cubicBezTo>
                      <a:cubicBezTo>
                        <a:pt x="1897931" y="434318"/>
                        <a:pt x="1908609" y="438858"/>
                        <a:pt x="1922153" y="438858"/>
                      </a:cubicBezTo>
                      <a:cubicBezTo>
                        <a:pt x="1935919" y="438858"/>
                        <a:pt x="1946523" y="434393"/>
                        <a:pt x="1953965" y="425463"/>
                      </a:cubicBezTo>
                      <a:cubicBezTo>
                        <a:pt x="1961406" y="416533"/>
                        <a:pt x="1965127" y="404143"/>
                        <a:pt x="1965127" y="388293"/>
                      </a:cubicBezTo>
                      <a:cubicBezTo>
                        <a:pt x="1965127" y="371997"/>
                        <a:pt x="1961425" y="359495"/>
                        <a:pt x="1954021" y="350789"/>
                      </a:cubicBezTo>
                      <a:cubicBezTo>
                        <a:pt x="1946616" y="342082"/>
                        <a:pt x="1936143" y="337729"/>
                        <a:pt x="1922599" y="337729"/>
                      </a:cubicBezTo>
                      <a:close/>
                      <a:moveTo>
                        <a:pt x="1546994" y="337729"/>
                      </a:moveTo>
                      <a:cubicBezTo>
                        <a:pt x="1536279" y="337729"/>
                        <a:pt x="1527405" y="341319"/>
                        <a:pt x="1520373" y="348500"/>
                      </a:cubicBezTo>
                      <a:cubicBezTo>
                        <a:pt x="1513340" y="355681"/>
                        <a:pt x="1509006" y="365969"/>
                        <a:pt x="1507369" y="379364"/>
                      </a:cubicBezTo>
                      <a:lnTo>
                        <a:pt x="1580815" y="379364"/>
                      </a:lnTo>
                      <a:cubicBezTo>
                        <a:pt x="1580369" y="366192"/>
                        <a:pt x="1577206" y="355960"/>
                        <a:pt x="1571328" y="348668"/>
                      </a:cubicBezTo>
                      <a:cubicBezTo>
                        <a:pt x="1565449" y="341375"/>
                        <a:pt x="1557338" y="337729"/>
                        <a:pt x="1546994" y="337729"/>
                      </a:cubicBezTo>
                      <a:close/>
                      <a:moveTo>
                        <a:pt x="1261244" y="337729"/>
                      </a:moveTo>
                      <a:cubicBezTo>
                        <a:pt x="1250529" y="337729"/>
                        <a:pt x="1241655" y="341319"/>
                        <a:pt x="1234623" y="348500"/>
                      </a:cubicBezTo>
                      <a:cubicBezTo>
                        <a:pt x="1227590" y="355681"/>
                        <a:pt x="1223256" y="365969"/>
                        <a:pt x="1221619" y="379364"/>
                      </a:cubicBezTo>
                      <a:lnTo>
                        <a:pt x="1295065" y="379364"/>
                      </a:lnTo>
                      <a:cubicBezTo>
                        <a:pt x="1294619" y="366192"/>
                        <a:pt x="1291456" y="355960"/>
                        <a:pt x="1285578" y="348668"/>
                      </a:cubicBezTo>
                      <a:cubicBezTo>
                        <a:pt x="1279699" y="341375"/>
                        <a:pt x="1271588" y="337729"/>
                        <a:pt x="1261244" y="337729"/>
                      </a:cubicBezTo>
                      <a:close/>
                      <a:moveTo>
                        <a:pt x="893899" y="337729"/>
                      </a:moveTo>
                      <a:cubicBezTo>
                        <a:pt x="880430" y="337729"/>
                        <a:pt x="869696" y="342268"/>
                        <a:pt x="861697" y="351347"/>
                      </a:cubicBezTo>
                      <a:cubicBezTo>
                        <a:pt x="853697" y="360425"/>
                        <a:pt x="849697" y="373038"/>
                        <a:pt x="849697" y="389186"/>
                      </a:cubicBezTo>
                      <a:cubicBezTo>
                        <a:pt x="849697" y="404143"/>
                        <a:pt x="853604" y="416161"/>
                        <a:pt x="861417" y="425240"/>
                      </a:cubicBezTo>
                      <a:cubicBezTo>
                        <a:pt x="869231" y="434318"/>
                        <a:pt x="879909" y="438858"/>
                        <a:pt x="893453" y="438858"/>
                      </a:cubicBezTo>
                      <a:cubicBezTo>
                        <a:pt x="907219" y="438858"/>
                        <a:pt x="917823" y="434393"/>
                        <a:pt x="925265" y="425463"/>
                      </a:cubicBezTo>
                      <a:cubicBezTo>
                        <a:pt x="932706" y="416533"/>
                        <a:pt x="936427" y="404143"/>
                        <a:pt x="936427" y="388293"/>
                      </a:cubicBezTo>
                      <a:cubicBezTo>
                        <a:pt x="936427" y="371997"/>
                        <a:pt x="932725" y="359495"/>
                        <a:pt x="925321" y="350789"/>
                      </a:cubicBezTo>
                      <a:cubicBezTo>
                        <a:pt x="917916" y="342082"/>
                        <a:pt x="907443" y="337729"/>
                        <a:pt x="893899" y="337729"/>
                      </a:cubicBezTo>
                      <a:close/>
                      <a:moveTo>
                        <a:pt x="518294" y="337729"/>
                      </a:moveTo>
                      <a:cubicBezTo>
                        <a:pt x="507578" y="337729"/>
                        <a:pt x="498705" y="341319"/>
                        <a:pt x="491672" y="348500"/>
                      </a:cubicBezTo>
                      <a:cubicBezTo>
                        <a:pt x="484640" y="355681"/>
                        <a:pt x="480306" y="365969"/>
                        <a:pt x="478669" y="379364"/>
                      </a:cubicBezTo>
                      <a:lnTo>
                        <a:pt x="552115" y="379364"/>
                      </a:lnTo>
                      <a:cubicBezTo>
                        <a:pt x="551669" y="366192"/>
                        <a:pt x="548506" y="355960"/>
                        <a:pt x="542627" y="348668"/>
                      </a:cubicBezTo>
                      <a:cubicBezTo>
                        <a:pt x="536749" y="341375"/>
                        <a:pt x="528638" y="337729"/>
                        <a:pt x="518294" y="337729"/>
                      </a:cubicBezTo>
                      <a:close/>
                      <a:moveTo>
                        <a:pt x="208099" y="337729"/>
                      </a:moveTo>
                      <a:cubicBezTo>
                        <a:pt x="194630" y="337729"/>
                        <a:pt x="183896" y="342268"/>
                        <a:pt x="175896" y="351347"/>
                      </a:cubicBezTo>
                      <a:cubicBezTo>
                        <a:pt x="167897" y="360425"/>
                        <a:pt x="163897" y="373038"/>
                        <a:pt x="163897" y="389186"/>
                      </a:cubicBezTo>
                      <a:cubicBezTo>
                        <a:pt x="163897" y="404143"/>
                        <a:pt x="167804" y="416161"/>
                        <a:pt x="175617" y="425240"/>
                      </a:cubicBezTo>
                      <a:cubicBezTo>
                        <a:pt x="183431" y="434318"/>
                        <a:pt x="194109" y="438858"/>
                        <a:pt x="207653" y="438858"/>
                      </a:cubicBezTo>
                      <a:cubicBezTo>
                        <a:pt x="221419" y="438858"/>
                        <a:pt x="232023" y="434393"/>
                        <a:pt x="239465" y="425463"/>
                      </a:cubicBezTo>
                      <a:cubicBezTo>
                        <a:pt x="246906" y="416533"/>
                        <a:pt x="250627" y="404143"/>
                        <a:pt x="250627" y="388293"/>
                      </a:cubicBezTo>
                      <a:cubicBezTo>
                        <a:pt x="250627" y="371997"/>
                        <a:pt x="246925" y="359495"/>
                        <a:pt x="239520" y="350789"/>
                      </a:cubicBezTo>
                      <a:cubicBezTo>
                        <a:pt x="232116" y="342082"/>
                        <a:pt x="221642" y="337729"/>
                        <a:pt x="208099" y="337729"/>
                      </a:cubicBezTo>
                      <a:close/>
                      <a:moveTo>
                        <a:pt x="1662634" y="337728"/>
                      </a:moveTo>
                      <a:cubicBezTo>
                        <a:pt x="1650653" y="337728"/>
                        <a:pt x="1640756" y="342323"/>
                        <a:pt x="1632942" y="351513"/>
                      </a:cubicBezTo>
                      <a:cubicBezTo>
                        <a:pt x="1625129" y="360703"/>
                        <a:pt x="1621222" y="373335"/>
                        <a:pt x="1621222" y="389408"/>
                      </a:cubicBezTo>
                      <a:cubicBezTo>
                        <a:pt x="1621222" y="405184"/>
                        <a:pt x="1624738" y="417370"/>
                        <a:pt x="1631770" y="425964"/>
                      </a:cubicBezTo>
                      <a:cubicBezTo>
                        <a:pt x="1638803" y="434559"/>
                        <a:pt x="1647862" y="438857"/>
                        <a:pt x="1658950" y="438857"/>
                      </a:cubicBezTo>
                      <a:cubicBezTo>
                        <a:pt x="1671973" y="438857"/>
                        <a:pt x="1682056" y="434820"/>
                        <a:pt x="1689200" y="426746"/>
                      </a:cubicBezTo>
                      <a:cubicBezTo>
                        <a:pt x="1696343" y="418672"/>
                        <a:pt x="1699915" y="408831"/>
                        <a:pt x="1699915" y="397222"/>
                      </a:cubicBezTo>
                      <a:lnTo>
                        <a:pt x="1699915" y="375902"/>
                      </a:lnTo>
                      <a:cubicBezTo>
                        <a:pt x="1699915" y="365261"/>
                        <a:pt x="1696548" y="356238"/>
                        <a:pt x="1689813" y="348834"/>
                      </a:cubicBezTo>
                      <a:cubicBezTo>
                        <a:pt x="1683079" y="341430"/>
                        <a:pt x="1674019" y="337728"/>
                        <a:pt x="1662634" y="337728"/>
                      </a:cubicBezTo>
                      <a:close/>
                      <a:moveTo>
                        <a:pt x="2461394" y="328910"/>
                      </a:moveTo>
                      <a:cubicBezTo>
                        <a:pt x="2465636" y="328910"/>
                        <a:pt x="2469431" y="329580"/>
                        <a:pt x="2472780" y="330919"/>
                      </a:cubicBezTo>
                      <a:lnTo>
                        <a:pt x="2472780" y="341858"/>
                      </a:lnTo>
                      <a:cubicBezTo>
                        <a:pt x="2469357" y="339402"/>
                        <a:pt x="2465338" y="338174"/>
                        <a:pt x="2460725" y="338174"/>
                      </a:cubicBezTo>
                      <a:cubicBezTo>
                        <a:pt x="2451720" y="338174"/>
                        <a:pt x="2444167" y="342825"/>
                        <a:pt x="2438065" y="352127"/>
                      </a:cubicBezTo>
                      <a:cubicBezTo>
                        <a:pt x="2431963" y="361429"/>
                        <a:pt x="2428912" y="374637"/>
                        <a:pt x="2428912" y="391752"/>
                      </a:cubicBezTo>
                      <a:lnTo>
                        <a:pt x="2428912" y="445442"/>
                      </a:lnTo>
                      <a:lnTo>
                        <a:pt x="2418867" y="445442"/>
                      </a:lnTo>
                      <a:lnTo>
                        <a:pt x="2418867" y="331142"/>
                      </a:lnTo>
                      <a:lnTo>
                        <a:pt x="2428912" y="331142"/>
                      </a:lnTo>
                      <a:lnTo>
                        <a:pt x="2428912" y="356480"/>
                      </a:lnTo>
                      <a:lnTo>
                        <a:pt x="2429359" y="356480"/>
                      </a:lnTo>
                      <a:cubicBezTo>
                        <a:pt x="2431963" y="347774"/>
                        <a:pt x="2436093" y="341002"/>
                        <a:pt x="2441749" y="336165"/>
                      </a:cubicBezTo>
                      <a:cubicBezTo>
                        <a:pt x="2447404" y="331328"/>
                        <a:pt x="2453953" y="328910"/>
                        <a:pt x="2461394" y="328910"/>
                      </a:cubicBezTo>
                      <a:close/>
                      <a:moveTo>
                        <a:pt x="2661866" y="328353"/>
                      </a:moveTo>
                      <a:cubicBezTo>
                        <a:pt x="2676079" y="328353"/>
                        <a:pt x="2686981" y="333338"/>
                        <a:pt x="2694571" y="343310"/>
                      </a:cubicBezTo>
                      <a:cubicBezTo>
                        <a:pt x="2702161" y="353281"/>
                        <a:pt x="2705956" y="366899"/>
                        <a:pt x="2705956" y="384163"/>
                      </a:cubicBezTo>
                      <a:lnTo>
                        <a:pt x="2705956" y="388740"/>
                      </a:lnTo>
                      <a:lnTo>
                        <a:pt x="2621347" y="388740"/>
                      </a:lnTo>
                      <a:cubicBezTo>
                        <a:pt x="2621347" y="404441"/>
                        <a:pt x="2624975" y="416719"/>
                        <a:pt x="2632230" y="425575"/>
                      </a:cubicBezTo>
                      <a:cubicBezTo>
                        <a:pt x="2639486" y="434430"/>
                        <a:pt x="2649439" y="438858"/>
                        <a:pt x="2662089" y="438858"/>
                      </a:cubicBezTo>
                      <a:cubicBezTo>
                        <a:pt x="2674888" y="438858"/>
                        <a:pt x="2687390" y="434132"/>
                        <a:pt x="2699594" y="424682"/>
                      </a:cubicBezTo>
                      <a:lnTo>
                        <a:pt x="2699594" y="435621"/>
                      </a:lnTo>
                      <a:cubicBezTo>
                        <a:pt x="2687762" y="444029"/>
                        <a:pt x="2674553" y="448234"/>
                        <a:pt x="2659968" y="448234"/>
                      </a:cubicBezTo>
                      <a:cubicBezTo>
                        <a:pt x="2645234" y="448234"/>
                        <a:pt x="2633328" y="442950"/>
                        <a:pt x="2624250" y="432384"/>
                      </a:cubicBezTo>
                      <a:cubicBezTo>
                        <a:pt x="2615171" y="421817"/>
                        <a:pt x="2610632" y="406897"/>
                        <a:pt x="2610632" y="387624"/>
                      </a:cubicBezTo>
                      <a:cubicBezTo>
                        <a:pt x="2610632" y="370955"/>
                        <a:pt x="2615376" y="356909"/>
                        <a:pt x="2624863" y="345487"/>
                      </a:cubicBezTo>
                      <a:cubicBezTo>
                        <a:pt x="2634351" y="334064"/>
                        <a:pt x="2646685" y="328353"/>
                        <a:pt x="2661866" y="328353"/>
                      </a:cubicBezTo>
                      <a:close/>
                      <a:moveTo>
                        <a:pt x="2347541" y="328353"/>
                      </a:moveTo>
                      <a:cubicBezTo>
                        <a:pt x="2361754" y="328353"/>
                        <a:pt x="2372655" y="333338"/>
                        <a:pt x="2380246" y="343310"/>
                      </a:cubicBezTo>
                      <a:cubicBezTo>
                        <a:pt x="2387836" y="353281"/>
                        <a:pt x="2391631" y="366899"/>
                        <a:pt x="2391631" y="384163"/>
                      </a:cubicBezTo>
                      <a:lnTo>
                        <a:pt x="2391631" y="388740"/>
                      </a:lnTo>
                      <a:lnTo>
                        <a:pt x="2307022" y="388740"/>
                      </a:lnTo>
                      <a:cubicBezTo>
                        <a:pt x="2307022" y="404441"/>
                        <a:pt x="2310650" y="416719"/>
                        <a:pt x="2317905" y="425575"/>
                      </a:cubicBezTo>
                      <a:cubicBezTo>
                        <a:pt x="2325161" y="434430"/>
                        <a:pt x="2335114" y="438858"/>
                        <a:pt x="2347764" y="438858"/>
                      </a:cubicBezTo>
                      <a:cubicBezTo>
                        <a:pt x="2360563" y="438858"/>
                        <a:pt x="2373065" y="434132"/>
                        <a:pt x="2385269" y="424682"/>
                      </a:cubicBezTo>
                      <a:lnTo>
                        <a:pt x="2385269" y="435621"/>
                      </a:lnTo>
                      <a:cubicBezTo>
                        <a:pt x="2373437" y="444029"/>
                        <a:pt x="2360228" y="448234"/>
                        <a:pt x="2345643" y="448234"/>
                      </a:cubicBezTo>
                      <a:cubicBezTo>
                        <a:pt x="2330909" y="448234"/>
                        <a:pt x="2319003" y="442950"/>
                        <a:pt x="2309924" y="432384"/>
                      </a:cubicBezTo>
                      <a:cubicBezTo>
                        <a:pt x="2300846" y="421817"/>
                        <a:pt x="2296307" y="406897"/>
                        <a:pt x="2296307" y="387624"/>
                      </a:cubicBezTo>
                      <a:cubicBezTo>
                        <a:pt x="2296307" y="370955"/>
                        <a:pt x="2301051" y="356909"/>
                        <a:pt x="2310538" y="345487"/>
                      </a:cubicBezTo>
                      <a:cubicBezTo>
                        <a:pt x="2320026" y="334064"/>
                        <a:pt x="2332360" y="328353"/>
                        <a:pt x="2347541" y="328353"/>
                      </a:cubicBezTo>
                      <a:close/>
                      <a:moveTo>
                        <a:pt x="1923046" y="328353"/>
                      </a:moveTo>
                      <a:cubicBezTo>
                        <a:pt x="1939342" y="328353"/>
                        <a:pt x="1952216" y="333673"/>
                        <a:pt x="1961667" y="344315"/>
                      </a:cubicBezTo>
                      <a:cubicBezTo>
                        <a:pt x="1971117" y="354956"/>
                        <a:pt x="1975842" y="369690"/>
                        <a:pt x="1975842" y="388516"/>
                      </a:cubicBezTo>
                      <a:cubicBezTo>
                        <a:pt x="1975842" y="406301"/>
                        <a:pt x="1971024" y="420701"/>
                        <a:pt x="1961388" y="431714"/>
                      </a:cubicBezTo>
                      <a:cubicBezTo>
                        <a:pt x="1951751" y="442727"/>
                        <a:pt x="1938561" y="448234"/>
                        <a:pt x="1921818" y="448234"/>
                      </a:cubicBezTo>
                      <a:cubicBezTo>
                        <a:pt x="1905149" y="448234"/>
                        <a:pt x="1891959" y="442746"/>
                        <a:pt x="1882248" y="431770"/>
                      </a:cubicBezTo>
                      <a:cubicBezTo>
                        <a:pt x="1872537" y="420794"/>
                        <a:pt x="1867682" y="406525"/>
                        <a:pt x="1867682" y="388963"/>
                      </a:cubicBezTo>
                      <a:cubicBezTo>
                        <a:pt x="1867682" y="369987"/>
                        <a:pt x="1872760" y="355142"/>
                        <a:pt x="1882918" y="344426"/>
                      </a:cubicBezTo>
                      <a:cubicBezTo>
                        <a:pt x="1893075" y="333711"/>
                        <a:pt x="1906451" y="328353"/>
                        <a:pt x="1923046" y="328353"/>
                      </a:cubicBezTo>
                      <a:close/>
                      <a:moveTo>
                        <a:pt x="1547441" y="328353"/>
                      </a:moveTo>
                      <a:cubicBezTo>
                        <a:pt x="1561654" y="328353"/>
                        <a:pt x="1572555" y="333338"/>
                        <a:pt x="1580146" y="343310"/>
                      </a:cubicBezTo>
                      <a:cubicBezTo>
                        <a:pt x="1587736" y="353281"/>
                        <a:pt x="1591531" y="366899"/>
                        <a:pt x="1591531" y="384163"/>
                      </a:cubicBezTo>
                      <a:lnTo>
                        <a:pt x="1591531" y="388740"/>
                      </a:lnTo>
                      <a:lnTo>
                        <a:pt x="1506922" y="388740"/>
                      </a:lnTo>
                      <a:cubicBezTo>
                        <a:pt x="1506922" y="404441"/>
                        <a:pt x="1510550" y="416719"/>
                        <a:pt x="1517805" y="425575"/>
                      </a:cubicBezTo>
                      <a:cubicBezTo>
                        <a:pt x="1525061" y="434430"/>
                        <a:pt x="1535014" y="438858"/>
                        <a:pt x="1547664" y="438858"/>
                      </a:cubicBezTo>
                      <a:cubicBezTo>
                        <a:pt x="1560463" y="438858"/>
                        <a:pt x="1572965" y="434132"/>
                        <a:pt x="1585169" y="424682"/>
                      </a:cubicBezTo>
                      <a:lnTo>
                        <a:pt x="1585169" y="435621"/>
                      </a:lnTo>
                      <a:cubicBezTo>
                        <a:pt x="1573337" y="444029"/>
                        <a:pt x="1560128" y="448234"/>
                        <a:pt x="1545543" y="448234"/>
                      </a:cubicBezTo>
                      <a:cubicBezTo>
                        <a:pt x="1530809" y="448234"/>
                        <a:pt x="1518903" y="442950"/>
                        <a:pt x="1509824" y="432384"/>
                      </a:cubicBezTo>
                      <a:cubicBezTo>
                        <a:pt x="1500746" y="421817"/>
                        <a:pt x="1496207" y="406897"/>
                        <a:pt x="1496207" y="387624"/>
                      </a:cubicBezTo>
                      <a:cubicBezTo>
                        <a:pt x="1496207" y="370955"/>
                        <a:pt x="1500951" y="356909"/>
                        <a:pt x="1510438" y="345487"/>
                      </a:cubicBezTo>
                      <a:cubicBezTo>
                        <a:pt x="1519926" y="334064"/>
                        <a:pt x="1532260" y="328353"/>
                        <a:pt x="1547441" y="328353"/>
                      </a:cubicBezTo>
                      <a:close/>
                      <a:moveTo>
                        <a:pt x="1382130" y="328353"/>
                      </a:moveTo>
                      <a:cubicBezTo>
                        <a:pt x="1390836" y="328353"/>
                        <a:pt x="1399282" y="330139"/>
                        <a:pt x="1407468" y="333711"/>
                      </a:cubicBezTo>
                      <a:lnTo>
                        <a:pt x="1407468" y="345319"/>
                      </a:lnTo>
                      <a:cubicBezTo>
                        <a:pt x="1399282" y="340259"/>
                        <a:pt x="1390315" y="337729"/>
                        <a:pt x="1380567" y="337729"/>
                      </a:cubicBezTo>
                      <a:cubicBezTo>
                        <a:pt x="1367173" y="337729"/>
                        <a:pt x="1356308" y="342547"/>
                        <a:pt x="1347974" y="352184"/>
                      </a:cubicBezTo>
                      <a:cubicBezTo>
                        <a:pt x="1339639" y="361820"/>
                        <a:pt x="1335472" y="374303"/>
                        <a:pt x="1335472" y="389633"/>
                      </a:cubicBezTo>
                      <a:cubicBezTo>
                        <a:pt x="1335472" y="404441"/>
                        <a:pt x="1339286" y="416347"/>
                        <a:pt x="1346913" y="425351"/>
                      </a:cubicBezTo>
                      <a:cubicBezTo>
                        <a:pt x="1354541" y="434356"/>
                        <a:pt x="1364605" y="438858"/>
                        <a:pt x="1377107" y="438858"/>
                      </a:cubicBezTo>
                      <a:cubicBezTo>
                        <a:pt x="1388567" y="438858"/>
                        <a:pt x="1398538" y="435807"/>
                        <a:pt x="1407021" y="429705"/>
                      </a:cubicBezTo>
                      <a:lnTo>
                        <a:pt x="1407021" y="440420"/>
                      </a:lnTo>
                      <a:cubicBezTo>
                        <a:pt x="1398538" y="445629"/>
                        <a:pt x="1388418" y="448234"/>
                        <a:pt x="1376660" y="448234"/>
                      </a:cubicBezTo>
                      <a:cubicBezTo>
                        <a:pt x="1361108" y="448234"/>
                        <a:pt x="1348569" y="442895"/>
                        <a:pt x="1339044" y="432216"/>
                      </a:cubicBezTo>
                      <a:cubicBezTo>
                        <a:pt x="1329519" y="421538"/>
                        <a:pt x="1324757" y="407566"/>
                        <a:pt x="1324757" y="390302"/>
                      </a:cubicBezTo>
                      <a:cubicBezTo>
                        <a:pt x="1324757" y="372145"/>
                        <a:pt x="1330114" y="357281"/>
                        <a:pt x="1340830" y="345710"/>
                      </a:cubicBezTo>
                      <a:cubicBezTo>
                        <a:pt x="1351546" y="334138"/>
                        <a:pt x="1365312" y="328353"/>
                        <a:pt x="1382130" y="328353"/>
                      </a:cubicBezTo>
                      <a:close/>
                      <a:moveTo>
                        <a:pt x="1261691" y="328353"/>
                      </a:moveTo>
                      <a:cubicBezTo>
                        <a:pt x="1275904" y="328353"/>
                        <a:pt x="1286805" y="333338"/>
                        <a:pt x="1294396" y="343310"/>
                      </a:cubicBezTo>
                      <a:cubicBezTo>
                        <a:pt x="1301986" y="353281"/>
                        <a:pt x="1305781" y="366899"/>
                        <a:pt x="1305781" y="384163"/>
                      </a:cubicBezTo>
                      <a:lnTo>
                        <a:pt x="1305781" y="388740"/>
                      </a:lnTo>
                      <a:lnTo>
                        <a:pt x="1221172" y="388740"/>
                      </a:lnTo>
                      <a:cubicBezTo>
                        <a:pt x="1221172" y="404441"/>
                        <a:pt x="1224800" y="416719"/>
                        <a:pt x="1232055" y="425575"/>
                      </a:cubicBezTo>
                      <a:cubicBezTo>
                        <a:pt x="1239311" y="434430"/>
                        <a:pt x="1249264" y="438858"/>
                        <a:pt x="1261914" y="438858"/>
                      </a:cubicBezTo>
                      <a:cubicBezTo>
                        <a:pt x="1274713" y="438858"/>
                        <a:pt x="1287215" y="434132"/>
                        <a:pt x="1299419" y="424682"/>
                      </a:cubicBezTo>
                      <a:lnTo>
                        <a:pt x="1299419" y="435621"/>
                      </a:lnTo>
                      <a:cubicBezTo>
                        <a:pt x="1287587" y="444029"/>
                        <a:pt x="1274378" y="448234"/>
                        <a:pt x="1259793" y="448234"/>
                      </a:cubicBezTo>
                      <a:cubicBezTo>
                        <a:pt x="1245059" y="448234"/>
                        <a:pt x="1233153" y="442950"/>
                        <a:pt x="1224074" y="432384"/>
                      </a:cubicBezTo>
                      <a:cubicBezTo>
                        <a:pt x="1214996" y="421817"/>
                        <a:pt x="1210457" y="406897"/>
                        <a:pt x="1210457" y="387624"/>
                      </a:cubicBezTo>
                      <a:cubicBezTo>
                        <a:pt x="1210457" y="370955"/>
                        <a:pt x="1215201" y="356909"/>
                        <a:pt x="1224688" y="345487"/>
                      </a:cubicBezTo>
                      <a:cubicBezTo>
                        <a:pt x="1234176" y="334064"/>
                        <a:pt x="1246510" y="328353"/>
                        <a:pt x="1261691" y="328353"/>
                      </a:cubicBezTo>
                      <a:close/>
                      <a:moveTo>
                        <a:pt x="894346" y="328353"/>
                      </a:moveTo>
                      <a:cubicBezTo>
                        <a:pt x="910642" y="328353"/>
                        <a:pt x="923516" y="333673"/>
                        <a:pt x="932967" y="344315"/>
                      </a:cubicBezTo>
                      <a:cubicBezTo>
                        <a:pt x="942417" y="354956"/>
                        <a:pt x="947142" y="369690"/>
                        <a:pt x="947142" y="388516"/>
                      </a:cubicBezTo>
                      <a:cubicBezTo>
                        <a:pt x="947142" y="406301"/>
                        <a:pt x="942324" y="420701"/>
                        <a:pt x="932688" y="431714"/>
                      </a:cubicBezTo>
                      <a:cubicBezTo>
                        <a:pt x="923051" y="442727"/>
                        <a:pt x="909861" y="448234"/>
                        <a:pt x="893118" y="448234"/>
                      </a:cubicBezTo>
                      <a:cubicBezTo>
                        <a:pt x="876449" y="448234"/>
                        <a:pt x="863259" y="442746"/>
                        <a:pt x="853548" y="431770"/>
                      </a:cubicBezTo>
                      <a:cubicBezTo>
                        <a:pt x="843837" y="420794"/>
                        <a:pt x="838982" y="406525"/>
                        <a:pt x="838982" y="388963"/>
                      </a:cubicBezTo>
                      <a:cubicBezTo>
                        <a:pt x="838982" y="369987"/>
                        <a:pt x="844060" y="355142"/>
                        <a:pt x="854218" y="344426"/>
                      </a:cubicBezTo>
                      <a:cubicBezTo>
                        <a:pt x="864375" y="333711"/>
                        <a:pt x="877751" y="328353"/>
                        <a:pt x="894346" y="328353"/>
                      </a:cubicBezTo>
                      <a:close/>
                      <a:moveTo>
                        <a:pt x="791580" y="328353"/>
                      </a:moveTo>
                      <a:cubicBezTo>
                        <a:pt x="800286" y="328353"/>
                        <a:pt x="808732" y="330139"/>
                        <a:pt x="816918" y="333711"/>
                      </a:cubicBezTo>
                      <a:lnTo>
                        <a:pt x="816918" y="345319"/>
                      </a:lnTo>
                      <a:cubicBezTo>
                        <a:pt x="808732" y="340259"/>
                        <a:pt x="799765" y="337729"/>
                        <a:pt x="790017" y="337729"/>
                      </a:cubicBezTo>
                      <a:cubicBezTo>
                        <a:pt x="776623" y="337729"/>
                        <a:pt x="765758" y="342547"/>
                        <a:pt x="757424" y="352184"/>
                      </a:cubicBezTo>
                      <a:cubicBezTo>
                        <a:pt x="749089" y="361820"/>
                        <a:pt x="744922" y="374303"/>
                        <a:pt x="744922" y="389633"/>
                      </a:cubicBezTo>
                      <a:cubicBezTo>
                        <a:pt x="744922" y="404441"/>
                        <a:pt x="748736" y="416347"/>
                        <a:pt x="756363" y="425351"/>
                      </a:cubicBezTo>
                      <a:cubicBezTo>
                        <a:pt x="763991" y="434356"/>
                        <a:pt x="774055" y="438858"/>
                        <a:pt x="786557" y="438858"/>
                      </a:cubicBezTo>
                      <a:cubicBezTo>
                        <a:pt x="798017" y="438858"/>
                        <a:pt x="807988" y="435807"/>
                        <a:pt x="816471" y="429705"/>
                      </a:cubicBezTo>
                      <a:lnTo>
                        <a:pt x="816471" y="440420"/>
                      </a:lnTo>
                      <a:cubicBezTo>
                        <a:pt x="807988" y="445629"/>
                        <a:pt x="797868" y="448234"/>
                        <a:pt x="786110" y="448234"/>
                      </a:cubicBezTo>
                      <a:cubicBezTo>
                        <a:pt x="770558" y="448234"/>
                        <a:pt x="758019" y="442895"/>
                        <a:pt x="748494" y="432216"/>
                      </a:cubicBezTo>
                      <a:cubicBezTo>
                        <a:pt x="738969" y="421538"/>
                        <a:pt x="734206" y="407566"/>
                        <a:pt x="734206" y="390302"/>
                      </a:cubicBezTo>
                      <a:cubicBezTo>
                        <a:pt x="734206" y="372145"/>
                        <a:pt x="739564" y="357281"/>
                        <a:pt x="750280" y="345710"/>
                      </a:cubicBezTo>
                      <a:cubicBezTo>
                        <a:pt x="760996" y="334138"/>
                        <a:pt x="774762" y="328353"/>
                        <a:pt x="791580" y="328353"/>
                      </a:cubicBezTo>
                      <a:close/>
                      <a:moveTo>
                        <a:pt x="621544" y="328353"/>
                      </a:moveTo>
                      <a:cubicBezTo>
                        <a:pt x="631366" y="328353"/>
                        <a:pt x="639775" y="330362"/>
                        <a:pt x="646770" y="334380"/>
                      </a:cubicBezTo>
                      <a:lnTo>
                        <a:pt x="646770" y="345989"/>
                      </a:lnTo>
                      <a:cubicBezTo>
                        <a:pt x="638287" y="340482"/>
                        <a:pt x="629506" y="337729"/>
                        <a:pt x="620427" y="337729"/>
                      </a:cubicBezTo>
                      <a:cubicBezTo>
                        <a:pt x="612912" y="337729"/>
                        <a:pt x="606847" y="339682"/>
                        <a:pt x="602233" y="343589"/>
                      </a:cubicBezTo>
                      <a:cubicBezTo>
                        <a:pt x="597619" y="347496"/>
                        <a:pt x="595313" y="352574"/>
                        <a:pt x="595313" y="358825"/>
                      </a:cubicBezTo>
                      <a:cubicBezTo>
                        <a:pt x="595313" y="364257"/>
                        <a:pt x="596764" y="368667"/>
                        <a:pt x="599666" y="372052"/>
                      </a:cubicBezTo>
                      <a:cubicBezTo>
                        <a:pt x="602568" y="375438"/>
                        <a:pt x="608968" y="379326"/>
                        <a:pt x="618865" y="383717"/>
                      </a:cubicBezTo>
                      <a:cubicBezTo>
                        <a:pt x="630771" y="389075"/>
                        <a:pt x="638956" y="394042"/>
                        <a:pt x="643421" y="398618"/>
                      </a:cubicBezTo>
                      <a:cubicBezTo>
                        <a:pt x="647886" y="403195"/>
                        <a:pt x="650119" y="409278"/>
                        <a:pt x="650119" y="416868"/>
                      </a:cubicBezTo>
                      <a:cubicBezTo>
                        <a:pt x="650119" y="425947"/>
                        <a:pt x="646714" y="433444"/>
                        <a:pt x="639905" y="439360"/>
                      </a:cubicBezTo>
                      <a:cubicBezTo>
                        <a:pt x="633096" y="445276"/>
                        <a:pt x="623702" y="448234"/>
                        <a:pt x="611721" y="448234"/>
                      </a:cubicBezTo>
                      <a:cubicBezTo>
                        <a:pt x="600708" y="448234"/>
                        <a:pt x="591518" y="445629"/>
                        <a:pt x="584151" y="440420"/>
                      </a:cubicBezTo>
                      <a:lnTo>
                        <a:pt x="584151" y="428030"/>
                      </a:lnTo>
                      <a:cubicBezTo>
                        <a:pt x="588020" y="431379"/>
                        <a:pt x="592708" y="434021"/>
                        <a:pt x="598215" y="435955"/>
                      </a:cubicBezTo>
                      <a:cubicBezTo>
                        <a:pt x="603721" y="437890"/>
                        <a:pt x="608484" y="438858"/>
                        <a:pt x="612502" y="438858"/>
                      </a:cubicBezTo>
                      <a:cubicBezTo>
                        <a:pt x="630436" y="438858"/>
                        <a:pt x="639403" y="431528"/>
                        <a:pt x="639403" y="416868"/>
                      </a:cubicBezTo>
                      <a:cubicBezTo>
                        <a:pt x="639403" y="411808"/>
                        <a:pt x="637431" y="407492"/>
                        <a:pt x="633487" y="403920"/>
                      </a:cubicBezTo>
                      <a:cubicBezTo>
                        <a:pt x="629543" y="400348"/>
                        <a:pt x="623144" y="396665"/>
                        <a:pt x="614288" y="392870"/>
                      </a:cubicBezTo>
                      <a:cubicBezTo>
                        <a:pt x="603349" y="388107"/>
                        <a:pt x="595666" y="383177"/>
                        <a:pt x="591238" y="378080"/>
                      </a:cubicBezTo>
                      <a:cubicBezTo>
                        <a:pt x="586811" y="372983"/>
                        <a:pt x="584597" y="366788"/>
                        <a:pt x="584597" y="359495"/>
                      </a:cubicBezTo>
                      <a:cubicBezTo>
                        <a:pt x="584597" y="350193"/>
                        <a:pt x="588150" y="342677"/>
                        <a:pt x="595257" y="336948"/>
                      </a:cubicBezTo>
                      <a:cubicBezTo>
                        <a:pt x="602363" y="331218"/>
                        <a:pt x="611126" y="328353"/>
                        <a:pt x="621544" y="328353"/>
                      </a:cubicBezTo>
                      <a:close/>
                      <a:moveTo>
                        <a:pt x="518741" y="328353"/>
                      </a:moveTo>
                      <a:cubicBezTo>
                        <a:pt x="532954" y="328353"/>
                        <a:pt x="543855" y="333338"/>
                        <a:pt x="551446" y="343310"/>
                      </a:cubicBezTo>
                      <a:cubicBezTo>
                        <a:pt x="559036" y="353281"/>
                        <a:pt x="562831" y="366899"/>
                        <a:pt x="562831" y="384163"/>
                      </a:cubicBezTo>
                      <a:lnTo>
                        <a:pt x="562831" y="388740"/>
                      </a:lnTo>
                      <a:lnTo>
                        <a:pt x="478222" y="388740"/>
                      </a:lnTo>
                      <a:cubicBezTo>
                        <a:pt x="478222" y="404441"/>
                        <a:pt x="481850" y="416719"/>
                        <a:pt x="489105" y="425575"/>
                      </a:cubicBezTo>
                      <a:cubicBezTo>
                        <a:pt x="496361" y="434430"/>
                        <a:pt x="506313" y="438858"/>
                        <a:pt x="518964" y="438858"/>
                      </a:cubicBezTo>
                      <a:cubicBezTo>
                        <a:pt x="531763" y="438858"/>
                        <a:pt x="544265" y="434132"/>
                        <a:pt x="556469" y="424682"/>
                      </a:cubicBezTo>
                      <a:lnTo>
                        <a:pt x="556469" y="435621"/>
                      </a:lnTo>
                      <a:cubicBezTo>
                        <a:pt x="544637" y="444029"/>
                        <a:pt x="531428" y="448234"/>
                        <a:pt x="516843" y="448234"/>
                      </a:cubicBezTo>
                      <a:cubicBezTo>
                        <a:pt x="502109" y="448234"/>
                        <a:pt x="490203" y="442950"/>
                        <a:pt x="481124" y="432384"/>
                      </a:cubicBezTo>
                      <a:cubicBezTo>
                        <a:pt x="472046" y="421817"/>
                        <a:pt x="467506" y="406897"/>
                        <a:pt x="467506" y="387624"/>
                      </a:cubicBezTo>
                      <a:cubicBezTo>
                        <a:pt x="467506" y="370955"/>
                        <a:pt x="472250" y="356909"/>
                        <a:pt x="481738" y="345487"/>
                      </a:cubicBezTo>
                      <a:cubicBezTo>
                        <a:pt x="491226" y="334064"/>
                        <a:pt x="503560" y="328353"/>
                        <a:pt x="518741" y="328353"/>
                      </a:cubicBezTo>
                      <a:close/>
                      <a:moveTo>
                        <a:pt x="208546" y="328353"/>
                      </a:moveTo>
                      <a:cubicBezTo>
                        <a:pt x="224842" y="328353"/>
                        <a:pt x="237716" y="333673"/>
                        <a:pt x="247167" y="344315"/>
                      </a:cubicBezTo>
                      <a:cubicBezTo>
                        <a:pt x="256617" y="354956"/>
                        <a:pt x="261342" y="369690"/>
                        <a:pt x="261342" y="388516"/>
                      </a:cubicBezTo>
                      <a:cubicBezTo>
                        <a:pt x="261342" y="406301"/>
                        <a:pt x="256524" y="420701"/>
                        <a:pt x="246887" y="431714"/>
                      </a:cubicBezTo>
                      <a:cubicBezTo>
                        <a:pt x="237251" y="442727"/>
                        <a:pt x="224061" y="448234"/>
                        <a:pt x="207318" y="448234"/>
                      </a:cubicBezTo>
                      <a:cubicBezTo>
                        <a:pt x="190649" y="448234"/>
                        <a:pt x="177459" y="442746"/>
                        <a:pt x="167748" y="431770"/>
                      </a:cubicBezTo>
                      <a:cubicBezTo>
                        <a:pt x="158037" y="420794"/>
                        <a:pt x="153182" y="406525"/>
                        <a:pt x="153182" y="388963"/>
                      </a:cubicBezTo>
                      <a:cubicBezTo>
                        <a:pt x="153182" y="369987"/>
                        <a:pt x="158260" y="355142"/>
                        <a:pt x="168418" y="344426"/>
                      </a:cubicBezTo>
                      <a:cubicBezTo>
                        <a:pt x="178575" y="333711"/>
                        <a:pt x="191951" y="328353"/>
                        <a:pt x="208546" y="328353"/>
                      </a:cubicBezTo>
                      <a:close/>
                      <a:moveTo>
                        <a:pt x="58155" y="328353"/>
                      </a:moveTo>
                      <a:cubicBezTo>
                        <a:pt x="66861" y="328353"/>
                        <a:pt x="75307" y="330139"/>
                        <a:pt x="83493" y="333711"/>
                      </a:cubicBezTo>
                      <a:lnTo>
                        <a:pt x="83493" y="345319"/>
                      </a:lnTo>
                      <a:cubicBezTo>
                        <a:pt x="75307" y="340259"/>
                        <a:pt x="66340" y="337729"/>
                        <a:pt x="56592" y="337729"/>
                      </a:cubicBezTo>
                      <a:cubicBezTo>
                        <a:pt x="43198" y="337729"/>
                        <a:pt x="32333" y="342547"/>
                        <a:pt x="23999" y="352184"/>
                      </a:cubicBezTo>
                      <a:cubicBezTo>
                        <a:pt x="15664" y="361820"/>
                        <a:pt x="11497" y="374303"/>
                        <a:pt x="11497" y="389633"/>
                      </a:cubicBezTo>
                      <a:cubicBezTo>
                        <a:pt x="11497" y="404441"/>
                        <a:pt x="15311" y="416347"/>
                        <a:pt x="22938" y="425351"/>
                      </a:cubicBezTo>
                      <a:cubicBezTo>
                        <a:pt x="30566" y="434356"/>
                        <a:pt x="40630" y="438858"/>
                        <a:pt x="53132" y="438858"/>
                      </a:cubicBezTo>
                      <a:cubicBezTo>
                        <a:pt x="64592" y="438858"/>
                        <a:pt x="74563" y="435807"/>
                        <a:pt x="83046" y="429705"/>
                      </a:cubicBezTo>
                      <a:lnTo>
                        <a:pt x="83046" y="440420"/>
                      </a:lnTo>
                      <a:cubicBezTo>
                        <a:pt x="74563" y="445629"/>
                        <a:pt x="64443" y="448234"/>
                        <a:pt x="52685" y="448234"/>
                      </a:cubicBezTo>
                      <a:cubicBezTo>
                        <a:pt x="37133" y="448234"/>
                        <a:pt x="24594" y="442895"/>
                        <a:pt x="15069" y="432216"/>
                      </a:cubicBezTo>
                      <a:cubicBezTo>
                        <a:pt x="5544" y="421538"/>
                        <a:pt x="782" y="407566"/>
                        <a:pt x="782" y="390302"/>
                      </a:cubicBezTo>
                      <a:cubicBezTo>
                        <a:pt x="782" y="372145"/>
                        <a:pt x="6139" y="357281"/>
                        <a:pt x="16855" y="345710"/>
                      </a:cubicBezTo>
                      <a:cubicBezTo>
                        <a:pt x="27571" y="334138"/>
                        <a:pt x="41337" y="328353"/>
                        <a:pt x="58155" y="328353"/>
                      </a:cubicBezTo>
                      <a:close/>
                      <a:moveTo>
                        <a:pt x="2544850" y="328352"/>
                      </a:moveTo>
                      <a:cubicBezTo>
                        <a:pt x="2557202" y="328352"/>
                        <a:pt x="2566653" y="332463"/>
                        <a:pt x="2573201" y="340686"/>
                      </a:cubicBezTo>
                      <a:cubicBezTo>
                        <a:pt x="2579750" y="348909"/>
                        <a:pt x="2583024" y="360647"/>
                        <a:pt x="2583024" y="375902"/>
                      </a:cubicBezTo>
                      <a:lnTo>
                        <a:pt x="2583024" y="445442"/>
                      </a:lnTo>
                      <a:lnTo>
                        <a:pt x="2572755" y="445442"/>
                      </a:lnTo>
                      <a:lnTo>
                        <a:pt x="2572755" y="378916"/>
                      </a:lnTo>
                      <a:cubicBezTo>
                        <a:pt x="2572755" y="351457"/>
                        <a:pt x="2562858" y="337728"/>
                        <a:pt x="2543064" y="337728"/>
                      </a:cubicBezTo>
                      <a:cubicBezTo>
                        <a:pt x="2532051" y="337728"/>
                        <a:pt x="2523009" y="341765"/>
                        <a:pt x="2515940" y="349839"/>
                      </a:cubicBezTo>
                      <a:cubicBezTo>
                        <a:pt x="2508870" y="357913"/>
                        <a:pt x="2505336" y="367903"/>
                        <a:pt x="2505336" y="379809"/>
                      </a:cubicBezTo>
                      <a:lnTo>
                        <a:pt x="2505336" y="445442"/>
                      </a:lnTo>
                      <a:lnTo>
                        <a:pt x="2495067" y="445442"/>
                      </a:lnTo>
                      <a:lnTo>
                        <a:pt x="2495067" y="331142"/>
                      </a:lnTo>
                      <a:lnTo>
                        <a:pt x="2505336" y="331142"/>
                      </a:lnTo>
                      <a:lnTo>
                        <a:pt x="2505336" y="351904"/>
                      </a:lnTo>
                      <a:lnTo>
                        <a:pt x="2505782" y="351904"/>
                      </a:lnTo>
                      <a:cubicBezTo>
                        <a:pt x="2514117" y="336202"/>
                        <a:pt x="2527139" y="328352"/>
                        <a:pt x="2544850" y="328352"/>
                      </a:cubicBezTo>
                      <a:close/>
                      <a:moveTo>
                        <a:pt x="2163850" y="328352"/>
                      </a:moveTo>
                      <a:cubicBezTo>
                        <a:pt x="2176202" y="328352"/>
                        <a:pt x="2185653" y="332463"/>
                        <a:pt x="2192201" y="340686"/>
                      </a:cubicBezTo>
                      <a:cubicBezTo>
                        <a:pt x="2198750" y="348909"/>
                        <a:pt x="2202024" y="360647"/>
                        <a:pt x="2202024" y="375902"/>
                      </a:cubicBezTo>
                      <a:lnTo>
                        <a:pt x="2202024" y="445442"/>
                      </a:lnTo>
                      <a:lnTo>
                        <a:pt x="2191755" y="445442"/>
                      </a:lnTo>
                      <a:lnTo>
                        <a:pt x="2191755" y="378916"/>
                      </a:lnTo>
                      <a:cubicBezTo>
                        <a:pt x="2191755" y="351457"/>
                        <a:pt x="2181858" y="337728"/>
                        <a:pt x="2162064" y="337728"/>
                      </a:cubicBezTo>
                      <a:cubicBezTo>
                        <a:pt x="2151050" y="337728"/>
                        <a:pt x="2142009" y="341765"/>
                        <a:pt x="2134940" y="349839"/>
                      </a:cubicBezTo>
                      <a:cubicBezTo>
                        <a:pt x="2127870" y="357913"/>
                        <a:pt x="2124336" y="367903"/>
                        <a:pt x="2124336" y="379809"/>
                      </a:cubicBezTo>
                      <a:lnTo>
                        <a:pt x="2124336" y="445442"/>
                      </a:lnTo>
                      <a:lnTo>
                        <a:pt x="2114067" y="445442"/>
                      </a:lnTo>
                      <a:lnTo>
                        <a:pt x="2114067" y="331142"/>
                      </a:lnTo>
                      <a:lnTo>
                        <a:pt x="2124336" y="331142"/>
                      </a:lnTo>
                      <a:lnTo>
                        <a:pt x="2124336" y="351904"/>
                      </a:lnTo>
                      <a:lnTo>
                        <a:pt x="2124782" y="351904"/>
                      </a:lnTo>
                      <a:cubicBezTo>
                        <a:pt x="2133117" y="336202"/>
                        <a:pt x="2146139" y="328352"/>
                        <a:pt x="2163850" y="328352"/>
                      </a:cubicBezTo>
                      <a:close/>
                      <a:moveTo>
                        <a:pt x="1144675" y="328352"/>
                      </a:moveTo>
                      <a:cubicBezTo>
                        <a:pt x="1157027" y="328352"/>
                        <a:pt x="1166478" y="332463"/>
                        <a:pt x="1173026" y="340686"/>
                      </a:cubicBezTo>
                      <a:cubicBezTo>
                        <a:pt x="1179575" y="348909"/>
                        <a:pt x="1182849" y="360647"/>
                        <a:pt x="1182849" y="375902"/>
                      </a:cubicBezTo>
                      <a:lnTo>
                        <a:pt x="1182849" y="445442"/>
                      </a:lnTo>
                      <a:lnTo>
                        <a:pt x="1172580" y="445442"/>
                      </a:lnTo>
                      <a:lnTo>
                        <a:pt x="1172580" y="378916"/>
                      </a:lnTo>
                      <a:cubicBezTo>
                        <a:pt x="1172580" y="351457"/>
                        <a:pt x="1162683" y="337728"/>
                        <a:pt x="1142889" y="337728"/>
                      </a:cubicBezTo>
                      <a:cubicBezTo>
                        <a:pt x="1131875" y="337728"/>
                        <a:pt x="1122834" y="341765"/>
                        <a:pt x="1115765" y="349839"/>
                      </a:cubicBezTo>
                      <a:cubicBezTo>
                        <a:pt x="1108695" y="357913"/>
                        <a:pt x="1105161" y="367903"/>
                        <a:pt x="1105161" y="379809"/>
                      </a:cubicBezTo>
                      <a:lnTo>
                        <a:pt x="1105161" y="445442"/>
                      </a:lnTo>
                      <a:lnTo>
                        <a:pt x="1094892" y="445442"/>
                      </a:lnTo>
                      <a:lnTo>
                        <a:pt x="1094892" y="331142"/>
                      </a:lnTo>
                      <a:lnTo>
                        <a:pt x="1105161" y="331142"/>
                      </a:lnTo>
                      <a:lnTo>
                        <a:pt x="1105161" y="351904"/>
                      </a:lnTo>
                      <a:lnTo>
                        <a:pt x="1105607" y="351904"/>
                      </a:lnTo>
                      <a:cubicBezTo>
                        <a:pt x="1113942" y="336202"/>
                        <a:pt x="1126964" y="328352"/>
                        <a:pt x="1144675" y="328352"/>
                      </a:cubicBezTo>
                      <a:close/>
                      <a:moveTo>
                        <a:pt x="1020850" y="328352"/>
                      </a:moveTo>
                      <a:cubicBezTo>
                        <a:pt x="1033202" y="328352"/>
                        <a:pt x="1042653" y="332463"/>
                        <a:pt x="1049201" y="340686"/>
                      </a:cubicBezTo>
                      <a:cubicBezTo>
                        <a:pt x="1055750" y="348909"/>
                        <a:pt x="1059024" y="360647"/>
                        <a:pt x="1059024" y="375902"/>
                      </a:cubicBezTo>
                      <a:lnTo>
                        <a:pt x="1059024" y="445442"/>
                      </a:lnTo>
                      <a:lnTo>
                        <a:pt x="1048755" y="445442"/>
                      </a:lnTo>
                      <a:lnTo>
                        <a:pt x="1048755" y="378916"/>
                      </a:lnTo>
                      <a:cubicBezTo>
                        <a:pt x="1048755" y="351457"/>
                        <a:pt x="1038858" y="337728"/>
                        <a:pt x="1019064" y="337728"/>
                      </a:cubicBezTo>
                      <a:cubicBezTo>
                        <a:pt x="1008050" y="337728"/>
                        <a:pt x="999009" y="341765"/>
                        <a:pt x="991940" y="349839"/>
                      </a:cubicBezTo>
                      <a:cubicBezTo>
                        <a:pt x="984870" y="357913"/>
                        <a:pt x="981336" y="367903"/>
                        <a:pt x="981336" y="379809"/>
                      </a:cubicBezTo>
                      <a:lnTo>
                        <a:pt x="981336" y="445442"/>
                      </a:lnTo>
                      <a:lnTo>
                        <a:pt x="971067" y="445442"/>
                      </a:lnTo>
                      <a:lnTo>
                        <a:pt x="971067" y="331142"/>
                      </a:lnTo>
                      <a:lnTo>
                        <a:pt x="981336" y="331142"/>
                      </a:lnTo>
                      <a:lnTo>
                        <a:pt x="981336" y="351904"/>
                      </a:lnTo>
                      <a:lnTo>
                        <a:pt x="981782" y="351904"/>
                      </a:lnTo>
                      <a:cubicBezTo>
                        <a:pt x="990117" y="336202"/>
                        <a:pt x="1003139" y="328352"/>
                        <a:pt x="1020850" y="328352"/>
                      </a:cubicBezTo>
                      <a:close/>
                      <a:moveTo>
                        <a:pt x="2748260" y="297991"/>
                      </a:moveTo>
                      <a:lnTo>
                        <a:pt x="2748260" y="331142"/>
                      </a:lnTo>
                      <a:lnTo>
                        <a:pt x="2778398" y="331142"/>
                      </a:lnTo>
                      <a:lnTo>
                        <a:pt x="2778398" y="340518"/>
                      </a:lnTo>
                      <a:lnTo>
                        <a:pt x="2748260" y="340518"/>
                      </a:lnTo>
                      <a:lnTo>
                        <a:pt x="2748260" y="415974"/>
                      </a:lnTo>
                      <a:cubicBezTo>
                        <a:pt x="2748260" y="423862"/>
                        <a:pt x="2749507" y="429573"/>
                        <a:pt x="2752000" y="433108"/>
                      </a:cubicBezTo>
                      <a:cubicBezTo>
                        <a:pt x="2754492" y="436643"/>
                        <a:pt x="2758716" y="438410"/>
                        <a:pt x="2764668" y="438410"/>
                      </a:cubicBezTo>
                      <a:cubicBezTo>
                        <a:pt x="2768910" y="438410"/>
                        <a:pt x="2773486" y="437033"/>
                        <a:pt x="2778398" y="434280"/>
                      </a:cubicBezTo>
                      <a:lnTo>
                        <a:pt x="2778398" y="443880"/>
                      </a:lnTo>
                      <a:cubicBezTo>
                        <a:pt x="2773040" y="446410"/>
                        <a:pt x="2768018" y="447675"/>
                        <a:pt x="2763329" y="447675"/>
                      </a:cubicBezTo>
                      <a:cubicBezTo>
                        <a:pt x="2746437" y="447675"/>
                        <a:pt x="2737991" y="437554"/>
                        <a:pt x="2737991" y="417314"/>
                      </a:cubicBezTo>
                      <a:lnTo>
                        <a:pt x="2737991" y="340518"/>
                      </a:lnTo>
                      <a:lnTo>
                        <a:pt x="2717453" y="340518"/>
                      </a:lnTo>
                      <a:lnTo>
                        <a:pt x="2717453" y="331142"/>
                      </a:lnTo>
                      <a:lnTo>
                        <a:pt x="2737991" y="331142"/>
                      </a:lnTo>
                      <a:lnTo>
                        <a:pt x="2737991" y="301451"/>
                      </a:lnTo>
                      <a:cubicBezTo>
                        <a:pt x="2739628" y="300856"/>
                        <a:pt x="2741340" y="300260"/>
                        <a:pt x="2743126" y="299665"/>
                      </a:cubicBezTo>
                      <a:cubicBezTo>
                        <a:pt x="2744912" y="299144"/>
                        <a:pt x="2746623" y="298586"/>
                        <a:pt x="2748260" y="297991"/>
                      </a:cubicBezTo>
                      <a:close/>
                      <a:moveTo>
                        <a:pt x="2252960" y="297991"/>
                      </a:moveTo>
                      <a:lnTo>
                        <a:pt x="2252960" y="331142"/>
                      </a:lnTo>
                      <a:lnTo>
                        <a:pt x="2283098" y="331142"/>
                      </a:lnTo>
                      <a:lnTo>
                        <a:pt x="2283098" y="340518"/>
                      </a:lnTo>
                      <a:lnTo>
                        <a:pt x="2252960" y="340518"/>
                      </a:lnTo>
                      <a:lnTo>
                        <a:pt x="2252960" y="415974"/>
                      </a:lnTo>
                      <a:cubicBezTo>
                        <a:pt x="2252960" y="423862"/>
                        <a:pt x="2254207" y="429573"/>
                        <a:pt x="2256700" y="433108"/>
                      </a:cubicBezTo>
                      <a:cubicBezTo>
                        <a:pt x="2259193" y="436643"/>
                        <a:pt x="2263416" y="438410"/>
                        <a:pt x="2269369" y="438410"/>
                      </a:cubicBezTo>
                      <a:cubicBezTo>
                        <a:pt x="2273610" y="438410"/>
                        <a:pt x="2278187" y="437033"/>
                        <a:pt x="2283098" y="434280"/>
                      </a:cubicBezTo>
                      <a:lnTo>
                        <a:pt x="2283098" y="443880"/>
                      </a:lnTo>
                      <a:cubicBezTo>
                        <a:pt x="2277740" y="446410"/>
                        <a:pt x="2272717" y="447675"/>
                        <a:pt x="2268029" y="447675"/>
                      </a:cubicBezTo>
                      <a:cubicBezTo>
                        <a:pt x="2251137" y="447675"/>
                        <a:pt x="2242691" y="437554"/>
                        <a:pt x="2242691" y="417314"/>
                      </a:cubicBezTo>
                      <a:lnTo>
                        <a:pt x="2242691" y="340518"/>
                      </a:lnTo>
                      <a:lnTo>
                        <a:pt x="2222153" y="340518"/>
                      </a:lnTo>
                      <a:lnTo>
                        <a:pt x="2222153" y="331142"/>
                      </a:lnTo>
                      <a:lnTo>
                        <a:pt x="2242691" y="331142"/>
                      </a:lnTo>
                      <a:lnTo>
                        <a:pt x="2242691" y="301451"/>
                      </a:lnTo>
                      <a:cubicBezTo>
                        <a:pt x="2244328" y="300856"/>
                        <a:pt x="2246040" y="300260"/>
                        <a:pt x="2247826" y="299665"/>
                      </a:cubicBezTo>
                      <a:cubicBezTo>
                        <a:pt x="2249612" y="299144"/>
                        <a:pt x="2251323" y="298586"/>
                        <a:pt x="2252960" y="297991"/>
                      </a:cubicBezTo>
                      <a:close/>
                      <a:moveTo>
                        <a:pt x="1824335" y="297991"/>
                      </a:moveTo>
                      <a:lnTo>
                        <a:pt x="1824335" y="331142"/>
                      </a:lnTo>
                      <a:lnTo>
                        <a:pt x="1854473" y="331142"/>
                      </a:lnTo>
                      <a:lnTo>
                        <a:pt x="1854473" y="340518"/>
                      </a:lnTo>
                      <a:lnTo>
                        <a:pt x="1824335" y="340518"/>
                      </a:lnTo>
                      <a:lnTo>
                        <a:pt x="1824335" y="415974"/>
                      </a:lnTo>
                      <a:cubicBezTo>
                        <a:pt x="1824335" y="423862"/>
                        <a:pt x="1825582" y="429573"/>
                        <a:pt x="1828075" y="433108"/>
                      </a:cubicBezTo>
                      <a:cubicBezTo>
                        <a:pt x="1830568" y="436643"/>
                        <a:pt x="1834791" y="438410"/>
                        <a:pt x="1840744" y="438410"/>
                      </a:cubicBezTo>
                      <a:cubicBezTo>
                        <a:pt x="1844985" y="438410"/>
                        <a:pt x="1849562" y="437033"/>
                        <a:pt x="1854473" y="434280"/>
                      </a:cubicBezTo>
                      <a:lnTo>
                        <a:pt x="1854473" y="443880"/>
                      </a:lnTo>
                      <a:cubicBezTo>
                        <a:pt x="1849115" y="446410"/>
                        <a:pt x="1844092" y="447675"/>
                        <a:pt x="1839404" y="447675"/>
                      </a:cubicBezTo>
                      <a:cubicBezTo>
                        <a:pt x="1822512" y="447675"/>
                        <a:pt x="1814066" y="437554"/>
                        <a:pt x="1814066" y="417314"/>
                      </a:cubicBezTo>
                      <a:lnTo>
                        <a:pt x="1814066" y="340518"/>
                      </a:lnTo>
                      <a:lnTo>
                        <a:pt x="1793528" y="340518"/>
                      </a:lnTo>
                      <a:lnTo>
                        <a:pt x="1793528" y="331142"/>
                      </a:lnTo>
                      <a:lnTo>
                        <a:pt x="1814066" y="331142"/>
                      </a:lnTo>
                      <a:lnTo>
                        <a:pt x="1814066" y="301451"/>
                      </a:lnTo>
                      <a:cubicBezTo>
                        <a:pt x="1815703" y="300856"/>
                        <a:pt x="1817415" y="300260"/>
                        <a:pt x="1819201" y="299665"/>
                      </a:cubicBezTo>
                      <a:cubicBezTo>
                        <a:pt x="1820987" y="299144"/>
                        <a:pt x="1822698" y="298586"/>
                        <a:pt x="1824335" y="297991"/>
                      </a:cubicBezTo>
                      <a:close/>
                      <a:moveTo>
                        <a:pt x="1452860" y="297991"/>
                      </a:moveTo>
                      <a:lnTo>
                        <a:pt x="1452860" y="331142"/>
                      </a:lnTo>
                      <a:lnTo>
                        <a:pt x="1482998" y="331142"/>
                      </a:lnTo>
                      <a:lnTo>
                        <a:pt x="1482998" y="340518"/>
                      </a:lnTo>
                      <a:lnTo>
                        <a:pt x="1452860" y="340518"/>
                      </a:lnTo>
                      <a:lnTo>
                        <a:pt x="1452860" y="415974"/>
                      </a:lnTo>
                      <a:cubicBezTo>
                        <a:pt x="1452860" y="423862"/>
                        <a:pt x="1454107" y="429573"/>
                        <a:pt x="1456600" y="433108"/>
                      </a:cubicBezTo>
                      <a:cubicBezTo>
                        <a:pt x="1459093" y="436643"/>
                        <a:pt x="1463316" y="438410"/>
                        <a:pt x="1469269" y="438410"/>
                      </a:cubicBezTo>
                      <a:cubicBezTo>
                        <a:pt x="1473510" y="438410"/>
                        <a:pt x="1478087" y="437033"/>
                        <a:pt x="1482998" y="434280"/>
                      </a:cubicBezTo>
                      <a:lnTo>
                        <a:pt x="1482998" y="443880"/>
                      </a:lnTo>
                      <a:cubicBezTo>
                        <a:pt x="1477640" y="446410"/>
                        <a:pt x="1472617" y="447675"/>
                        <a:pt x="1467929" y="447675"/>
                      </a:cubicBezTo>
                      <a:cubicBezTo>
                        <a:pt x="1451037" y="447675"/>
                        <a:pt x="1442591" y="437554"/>
                        <a:pt x="1442591" y="417314"/>
                      </a:cubicBezTo>
                      <a:lnTo>
                        <a:pt x="1442591" y="340518"/>
                      </a:lnTo>
                      <a:lnTo>
                        <a:pt x="1422053" y="340518"/>
                      </a:lnTo>
                      <a:lnTo>
                        <a:pt x="1422053" y="331142"/>
                      </a:lnTo>
                      <a:lnTo>
                        <a:pt x="1442591" y="331142"/>
                      </a:lnTo>
                      <a:lnTo>
                        <a:pt x="1442591" y="301451"/>
                      </a:lnTo>
                      <a:cubicBezTo>
                        <a:pt x="1444228" y="300856"/>
                        <a:pt x="1445940" y="300260"/>
                        <a:pt x="1447726" y="299665"/>
                      </a:cubicBezTo>
                      <a:cubicBezTo>
                        <a:pt x="1449512" y="299144"/>
                        <a:pt x="1451223" y="298586"/>
                        <a:pt x="1452860" y="297991"/>
                      </a:cubicBezTo>
                      <a:close/>
                      <a:moveTo>
                        <a:pt x="300335" y="297991"/>
                      </a:moveTo>
                      <a:lnTo>
                        <a:pt x="300335" y="331142"/>
                      </a:lnTo>
                      <a:lnTo>
                        <a:pt x="330473" y="331142"/>
                      </a:lnTo>
                      <a:lnTo>
                        <a:pt x="330473" y="340518"/>
                      </a:lnTo>
                      <a:lnTo>
                        <a:pt x="300335" y="340518"/>
                      </a:lnTo>
                      <a:lnTo>
                        <a:pt x="300335" y="415974"/>
                      </a:lnTo>
                      <a:cubicBezTo>
                        <a:pt x="300335" y="423862"/>
                        <a:pt x="301582" y="429573"/>
                        <a:pt x="304075" y="433108"/>
                      </a:cubicBezTo>
                      <a:cubicBezTo>
                        <a:pt x="306568" y="436643"/>
                        <a:pt x="310791" y="438410"/>
                        <a:pt x="316744" y="438410"/>
                      </a:cubicBezTo>
                      <a:cubicBezTo>
                        <a:pt x="320985" y="438410"/>
                        <a:pt x="325562" y="437033"/>
                        <a:pt x="330473" y="434280"/>
                      </a:cubicBezTo>
                      <a:lnTo>
                        <a:pt x="330473" y="443880"/>
                      </a:lnTo>
                      <a:cubicBezTo>
                        <a:pt x="325115" y="446410"/>
                        <a:pt x="320092" y="447675"/>
                        <a:pt x="315404" y="447675"/>
                      </a:cubicBezTo>
                      <a:cubicBezTo>
                        <a:pt x="298512" y="447675"/>
                        <a:pt x="290066" y="437554"/>
                        <a:pt x="290066" y="417314"/>
                      </a:cubicBezTo>
                      <a:lnTo>
                        <a:pt x="290066" y="340518"/>
                      </a:lnTo>
                      <a:lnTo>
                        <a:pt x="269528" y="340518"/>
                      </a:lnTo>
                      <a:lnTo>
                        <a:pt x="269528" y="331142"/>
                      </a:lnTo>
                      <a:lnTo>
                        <a:pt x="290066" y="331142"/>
                      </a:lnTo>
                      <a:lnTo>
                        <a:pt x="290066" y="301451"/>
                      </a:lnTo>
                      <a:cubicBezTo>
                        <a:pt x="291703" y="300856"/>
                        <a:pt x="293415" y="300260"/>
                        <a:pt x="295201" y="299665"/>
                      </a:cubicBezTo>
                      <a:cubicBezTo>
                        <a:pt x="296987" y="299144"/>
                        <a:pt x="298698" y="298586"/>
                        <a:pt x="300335" y="297991"/>
                      </a:cubicBezTo>
                      <a:close/>
                      <a:moveTo>
                        <a:pt x="2068674" y="285378"/>
                      </a:moveTo>
                      <a:lnTo>
                        <a:pt x="2079725" y="285378"/>
                      </a:lnTo>
                      <a:lnTo>
                        <a:pt x="2079725" y="445442"/>
                      </a:lnTo>
                      <a:lnTo>
                        <a:pt x="2068674" y="445442"/>
                      </a:lnTo>
                      <a:close/>
                      <a:moveTo>
                        <a:pt x="351942" y="276226"/>
                      </a:moveTo>
                      <a:lnTo>
                        <a:pt x="362211" y="276226"/>
                      </a:lnTo>
                      <a:lnTo>
                        <a:pt x="362211" y="351682"/>
                      </a:lnTo>
                      <a:lnTo>
                        <a:pt x="362657" y="351682"/>
                      </a:lnTo>
                      <a:cubicBezTo>
                        <a:pt x="371661" y="336129"/>
                        <a:pt x="384758" y="328353"/>
                        <a:pt x="401948" y="328353"/>
                      </a:cubicBezTo>
                      <a:cubicBezTo>
                        <a:pt x="414300" y="328353"/>
                        <a:pt x="423714" y="332334"/>
                        <a:pt x="430188" y="340296"/>
                      </a:cubicBezTo>
                      <a:cubicBezTo>
                        <a:pt x="436662" y="348258"/>
                        <a:pt x="439899" y="359681"/>
                        <a:pt x="439899" y="374564"/>
                      </a:cubicBezTo>
                      <a:lnTo>
                        <a:pt x="439899" y="445443"/>
                      </a:lnTo>
                      <a:lnTo>
                        <a:pt x="429630" y="445443"/>
                      </a:lnTo>
                      <a:lnTo>
                        <a:pt x="429630" y="376908"/>
                      </a:lnTo>
                      <a:cubicBezTo>
                        <a:pt x="429630" y="363365"/>
                        <a:pt x="427174" y="353449"/>
                        <a:pt x="422263" y="347161"/>
                      </a:cubicBezTo>
                      <a:cubicBezTo>
                        <a:pt x="417351" y="340873"/>
                        <a:pt x="409687" y="337729"/>
                        <a:pt x="399269" y="337729"/>
                      </a:cubicBezTo>
                      <a:cubicBezTo>
                        <a:pt x="389446" y="337729"/>
                        <a:pt x="380814" y="341561"/>
                        <a:pt x="373373" y="349226"/>
                      </a:cubicBezTo>
                      <a:cubicBezTo>
                        <a:pt x="365931" y="356890"/>
                        <a:pt x="362211" y="367867"/>
                        <a:pt x="362211" y="382154"/>
                      </a:cubicBezTo>
                      <a:lnTo>
                        <a:pt x="362211" y="445443"/>
                      </a:lnTo>
                      <a:lnTo>
                        <a:pt x="351942" y="445443"/>
                      </a:lnTo>
                      <a:close/>
                      <a:moveTo>
                        <a:pt x="113817" y="276226"/>
                      </a:moveTo>
                      <a:lnTo>
                        <a:pt x="124086" y="276226"/>
                      </a:lnTo>
                      <a:lnTo>
                        <a:pt x="124086" y="445443"/>
                      </a:lnTo>
                      <a:lnTo>
                        <a:pt x="113817" y="445443"/>
                      </a:lnTo>
                      <a:close/>
                      <a:moveTo>
                        <a:pt x="1699915" y="276225"/>
                      </a:moveTo>
                      <a:lnTo>
                        <a:pt x="1710184" y="276225"/>
                      </a:lnTo>
                      <a:lnTo>
                        <a:pt x="1710184" y="445442"/>
                      </a:lnTo>
                      <a:lnTo>
                        <a:pt x="1699915" y="445442"/>
                      </a:lnTo>
                      <a:lnTo>
                        <a:pt x="1699915" y="424681"/>
                      </a:lnTo>
                      <a:lnTo>
                        <a:pt x="1699469" y="424681"/>
                      </a:lnTo>
                      <a:cubicBezTo>
                        <a:pt x="1695748" y="431899"/>
                        <a:pt x="1690241" y="437629"/>
                        <a:pt x="1682949" y="441870"/>
                      </a:cubicBezTo>
                      <a:cubicBezTo>
                        <a:pt x="1675656" y="446112"/>
                        <a:pt x="1667433" y="448233"/>
                        <a:pt x="1658280" y="448233"/>
                      </a:cubicBezTo>
                      <a:cubicBezTo>
                        <a:pt x="1644216" y="448233"/>
                        <a:pt x="1632738" y="443098"/>
                        <a:pt x="1623845" y="432829"/>
                      </a:cubicBezTo>
                      <a:cubicBezTo>
                        <a:pt x="1614953" y="422560"/>
                        <a:pt x="1610507" y="408384"/>
                        <a:pt x="1610507" y="390301"/>
                      </a:cubicBezTo>
                      <a:cubicBezTo>
                        <a:pt x="1610507" y="371847"/>
                        <a:pt x="1615362" y="356908"/>
                        <a:pt x="1625073" y="345486"/>
                      </a:cubicBezTo>
                      <a:cubicBezTo>
                        <a:pt x="1634784" y="334063"/>
                        <a:pt x="1647379" y="328352"/>
                        <a:pt x="1662857" y="328352"/>
                      </a:cubicBezTo>
                      <a:cubicBezTo>
                        <a:pt x="1679972" y="328352"/>
                        <a:pt x="1692176" y="335384"/>
                        <a:pt x="1699469" y="349448"/>
                      </a:cubicBezTo>
                      <a:lnTo>
                        <a:pt x="1699915" y="349448"/>
                      </a:lnTo>
                      <a:close/>
                      <a:moveTo>
                        <a:pt x="2372879" y="107715"/>
                      </a:moveTo>
                      <a:lnTo>
                        <a:pt x="2341402" y="112291"/>
                      </a:lnTo>
                      <a:cubicBezTo>
                        <a:pt x="2329421" y="114003"/>
                        <a:pt x="2321012" y="116775"/>
                        <a:pt x="2316175" y="120607"/>
                      </a:cubicBezTo>
                      <a:cubicBezTo>
                        <a:pt x="2311338" y="124440"/>
                        <a:pt x="2308920" y="130672"/>
                        <a:pt x="2308920" y="139304"/>
                      </a:cubicBezTo>
                      <a:cubicBezTo>
                        <a:pt x="2308920" y="146075"/>
                        <a:pt x="2311171" y="151657"/>
                        <a:pt x="2315673" y="156047"/>
                      </a:cubicBezTo>
                      <a:cubicBezTo>
                        <a:pt x="2320175" y="160437"/>
                        <a:pt x="2326444" y="162633"/>
                        <a:pt x="2334481" y="162633"/>
                      </a:cubicBezTo>
                      <a:cubicBezTo>
                        <a:pt x="2345494" y="162633"/>
                        <a:pt x="2354647" y="158558"/>
                        <a:pt x="2361940" y="150410"/>
                      </a:cubicBezTo>
                      <a:cubicBezTo>
                        <a:pt x="2369232" y="142262"/>
                        <a:pt x="2372879" y="131751"/>
                        <a:pt x="2372879" y="118877"/>
                      </a:cubicBezTo>
                      <a:close/>
                      <a:moveTo>
                        <a:pt x="2232794" y="61504"/>
                      </a:moveTo>
                      <a:cubicBezTo>
                        <a:pt x="2222079" y="61504"/>
                        <a:pt x="2213205" y="65094"/>
                        <a:pt x="2206173" y="72275"/>
                      </a:cubicBezTo>
                      <a:cubicBezTo>
                        <a:pt x="2199140" y="79456"/>
                        <a:pt x="2194806" y="89744"/>
                        <a:pt x="2193169" y="103139"/>
                      </a:cubicBezTo>
                      <a:lnTo>
                        <a:pt x="2266615" y="103139"/>
                      </a:lnTo>
                      <a:cubicBezTo>
                        <a:pt x="2266169" y="89967"/>
                        <a:pt x="2263006" y="79735"/>
                        <a:pt x="2257128" y="72443"/>
                      </a:cubicBezTo>
                      <a:cubicBezTo>
                        <a:pt x="2251249" y="65150"/>
                        <a:pt x="2243138" y="61504"/>
                        <a:pt x="2232794" y="61504"/>
                      </a:cubicBezTo>
                      <a:close/>
                      <a:moveTo>
                        <a:pt x="1899419" y="61504"/>
                      </a:moveTo>
                      <a:cubicBezTo>
                        <a:pt x="1888704" y="61504"/>
                        <a:pt x="1879830" y="65094"/>
                        <a:pt x="1872798" y="72275"/>
                      </a:cubicBezTo>
                      <a:cubicBezTo>
                        <a:pt x="1865765" y="79456"/>
                        <a:pt x="1861431" y="89744"/>
                        <a:pt x="1859794" y="103139"/>
                      </a:cubicBezTo>
                      <a:lnTo>
                        <a:pt x="1933240" y="103139"/>
                      </a:lnTo>
                      <a:cubicBezTo>
                        <a:pt x="1932794" y="89967"/>
                        <a:pt x="1929631" y="79735"/>
                        <a:pt x="1923753" y="72443"/>
                      </a:cubicBezTo>
                      <a:cubicBezTo>
                        <a:pt x="1917874" y="65150"/>
                        <a:pt x="1909763" y="61504"/>
                        <a:pt x="1899419" y="61504"/>
                      </a:cubicBezTo>
                      <a:close/>
                      <a:moveTo>
                        <a:pt x="1223144" y="61504"/>
                      </a:moveTo>
                      <a:cubicBezTo>
                        <a:pt x="1212429" y="61504"/>
                        <a:pt x="1203555" y="65094"/>
                        <a:pt x="1196523" y="72275"/>
                      </a:cubicBezTo>
                      <a:cubicBezTo>
                        <a:pt x="1189490" y="79456"/>
                        <a:pt x="1185156" y="89744"/>
                        <a:pt x="1183519" y="103139"/>
                      </a:cubicBezTo>
                      <a:lnTo>
                        <a:pt x="1256965" y="103139"/>
                      </a:lnTo>
                      <a:cubicBezTo>
                        <a:pt x="1256519" y="89967"/>
                        <a:pt x="1253356" y="79735"/>
                        <a:pt x="1247478" y="72443"/>
                      </a:cubicBezTo>
                      <a:cubicBezTo>
                        <a:pt x="1241599" y="65150"/>
                        <a:pt x="1233488" y="61504"/>
                        <a:pt x="1223144" y="61504"/>
                      </a:cubicBezTo>
                      <a:close/>
                      <a:moveTo>
                        <a:pt x="931999" y="61504"/>
                      </a:moveTo>
                      <a:cubicBezTo>
                        <a:pt x="918530" y="61504"/>
                        <a:pt x="907796" y="66043"/>
                        <a:pt x="899797" y="75122"/>
                      </a:cubicBezTo>
                      <a:cubicBezTo>
                        <a:pt x="891797" y="84200"/>
                        <a:pt x="887797" y="96813"/>
                        <a:pt x="887797" y="112961"/>
                      </a:cubicBezTo>
                      <a:cubicBezTo>
                        <a:pt x="887797" y="127918"/>
                        <a:pt x="891704" y="139936"/>
                        <a:pt x="899517" y="149015"/>
                      </a:cubicBezTo>
                      <a:cubicBezTo>
                        <a:pt x="907331" y="158093"/>
                        <a:pt x="918009" y="162633"/>
                        <a:pt x="931553" y="162633"/>
                      </a:cubicBezTo>
                      <a:cubicBezTo>
                        <a:pt x="945319" y="162633"/>
                        <a:pt x="955923" y="158168"/>
                        <a:pt x="963365" y="149238"/>
                      </a:cubicBezTo>
                      <a:cubicBezTo>
                        <a:pt x="970806" y="140308"/>
                        <a:pt x="974527" y="127918"/>
                        <a:pt x="974527" y="112068"/>
                      </a:cubicBezTo>
                      <a:cubicBezTo>
                        <a:pt x="974527" y="95772"/>
                        <a:pt x="970825" y="83270"/>
                        <a:pt x="963421" y="74564"/>
                      </a:cubicBezTo>
                      <a:cubicBezTo>
                        <a:pt x="956016" y="65857"/>
                        <a:pt x="945543" y="61504"/>
                        <a:pt x="931999" y="61504"/>
                      </a:cubicBezTo>
                      <a:close/>
                      <a:moveTo>
                        <a:pt x="813569" y="61504"/>
                      </a:moveTo>
                      <a:cubicBezTo>
                        <a:pt x="802854" y="61504"/>
                        <a:pt x="793980" y="65094"/>
                        <a:pt x="786948" y="72275"/>
                      </a:cubicBezTo>
                      <a:cubicBezTo>
                        <a:pt x="779915" y="79456"/>
                        <a:pt x="775581" y="89744"/>
                        <a:pt x="773944" y="103139"/>
                      </a:cubicBezTo>
                      <a:lnTo>
                        <a:pt x="847390" y="103139"/>
                      </a:lnTo>
                      <a:cubicBezTo>
                        <a:pt x="846944" y="89967"/>
                        <a:pt x="843781" y="79735"/>
                        <a:pt x="837903" y="72443"/>
                      </a:cubicBezTo>
                      <a:cubicBezTo>
                        <a:pt x="832024" y="65150"/>
                        <a:pt x="823913" y="61504"/>
                        <a:pt x="813569" y="61504"/>
                      </a:cubicBezTo>
                      <a:close/>
                      <a:moveTo>
                        <a:pt x="2710830" y="61503"/>
                      </a:moveTo>
                      <a:cubicBezTo>
                        <a:pt x="2698254" y="61503"/>
                        <a:pt x="2688134" y="66228"/>
                        <a:pt x="2680469" y="75679"/>
                      </a:cubicBezTo>
                      <a:cubicBezTo>
                        <a:pt x="2672805" y="85129"/>
                        <a:pt x="2668972" y="97631"/>
                        <a:pt x="2668972" y="113183"/>
                      </a:cubicBezTo>
                      <a:cubicBezTo>
                        <a:pt x="2668972" y="128810"/>
                        <a:pt x="2672488" y="140958"/>
                        <a:pt x="2679521" y="149628"/>
                      </a:cubicBezTo>
                      <a:cubicBezTo>
                        <a:pt x="2686553" y="158297"/>
                        <a:pt x="2695836" y="162632"/>
                        <a:pt x="2707370" y="162632"/>
                      </a:cubicBezTo>
                      <a:cubicBezTo>
                        <a:pt x="2719648" y="162632"/>
                        <a:pt x="2729434" y="158650"/>
                        <a:pt x="2736726" y="150688"/>
                      </a:cubicBezTo>
                      <a:cubicBezTo>
                        <a:pt x="2744018" y="142726"/>
                        <a:pt x="2747665" y="132978"/>
                        <a:pt x="2747665" y="121443"/>
                      </a:cubicBezTo>
                      <a:lnTo>
                        <a:pt x="2747665" y="98784"/>
                      </a:lnTo>
                      <a:cubicBezTo>
                        <a:pt x="2747665" y="88664"/>
                        <a:pt x="2744260" y="79920"/>
                        <a:pt x="2737452" y="72553"/>
                      </a:cubicBezTo>
                      <a:cubicBezTo>
                        <a:pt x="2730643" y="65186"/>
                        <a:pt x="2721769" y="61503"/>
                        <a:pt x="2710830" y="61503"/>
                      </a:cubicBezTo>
                      <a:close/>
                      <a:moveTo>
                        <a:pt x="1785194" y="61503"/>
                      </a:moveTo>
                      <a:cubicBezTo>
                        <a:pt x="1771874" y="61503"/>
                        <a:pt x="1761567" y="65968"/>
                        <a:pt x="1754275" y="74897"/>
                      </a:cubicBezTo>
                      <a:cubicBezTo>
                        <a:pt x="1746982" y="83827"/>
                        <a:pt x="1743336" y="94319"/>
                        <a:pt x="1743336" y="106375"/>
                      </a:cubicBezTo>
                      <a:lnTo>
                        <a:pt x="1743336" y="120774"/>
                      </a:lnTo>
                      <a:cubicBezTo>
                        <a:pt x="1743336" y="132233"/>
                        <a:pt x="1746945" y="142075"/>
                        <a:pt x="1754163" y="150297"/>
                      </a:cubicBezTo>
                      <a:cubicBezTo>
                        <a:pt x="1761381" y="158520"/>
                        <a:pt x="1770869" y="162632"/>
                        <a:pt x="1782626" y="162632"/>
                      </a:cubicBezTo>
                      <a:cubicBezTo>
                        <a:pt x="1794309" y="162632"/>
                        <a:pt x="1803797" y="157627"/>
                        <a:pt x="1811090" y="147619"/>
                      </a:cubicBezTo>
                      <a:cubicBezTo>
                        <a:pt x="1818382" y="137610"/>
                        <a:pt x="1822029" y="124457"/>
                        <a:pt x="1822029" y="108161"/>
                      </a:cubicBezTo>
                      <a:cubicBezTo>
                        <a:pt x="1822029" y="93873"/>
                        <a:pt x="1818680" y="82525"/>
                        <a:pt x="1811983" y="74116"/>
                      </a:cubicBezTo>
                      <a:cubicBezTo>
                        <a:pt x="1805285" y="65707"/>
                        <a:pt x="1796356" y="61503"/>
                        <a:pt x="1785194" y="61503"/>
                      </a:cubicBezTo>
                      <a:close/>
                      <a:moveTo>
                        <a:pt x="1061294" y="61503"/>
                      </a:moveTo>
                      <a:cubicBezTo>
                        <a:pt x="1047974" y="61503"/>
                        <a:pt x="1037667" y="65968"/>
                        <a:pt x="1030375" y="74897"/>
                      </a:cubicBezTo>
                      <a:cubicBezTo>
                        <a:pt x="1023082" y="83827"/>
                        <a:pt x="1019436" y="94319"/>
                        <a:pt x="1019436" y="106375"/>
                      </a:cubicBezTo>
                      <a:lnTo>
                        <a:pt x="1019436" y="120774"/>
                      </a:lnTo>
                      <a:cubicBezTo>
                        <a:pt x="1019436" y="132233"/>
                        <a:pt x="1023045" y="142075"/>
                        <a:pt x="1030263" y="150297"/>
                      </a:cubicBezTo>
                      <a:cubicBezTo>
                        <a:pt x="1037481" y="158520"/>
                        <a:pt x="1046969" y="162632"/>
                        <a:pt x="1058726" y="162632"/>
                      </a:cubicBezTo>
                      <a:cubicBezTo>
                        <a:pt x="1070409" y="162632"/>
                        <a:pt x="1079897" y="157627"/>
                        <a:pt x="1087190" y="147619"/>
                      </a:cubicBezTo>
                      <a:cubicBezTo>
                        <a:pt x="1094482" y="137610"/>
                        <a:pt x="1098129" y="124457"/>
                        <a:pt x="1098129" y="108161"/>
                      </a:cubicBezTo>
                      <a:cubicBezTo>
                        <a:pt x="1098129" y="93873"/>
                        <a:pt x="1094780" y="82525"/>
                        <a:pt x="1088083" y="74116"/>
                      </a:cubicBezTo>
                      <a:cubicBezTo>
                        <a:pt x="1081385" y="65707"/>
                        <a:pt x="1072456" y="61503"/>
                        <a:pt x="1061294" y="61503"/>
                      </a:cubicBezTo>
                      <a:close/>
                      <a:moveTo>
                        <a:pt x="699344" y="61503"/>
                      </a:moveTo>
                      <a:cubicBezTo>
                        <a:pt x="686024" y="61503"/>
                        <a:pt x="675717" y="65968"/>
                        <a:pt x="668425" y="74897"/>
                      </a:cubicBezTo>
                      <a:cubicBezTo>
                        <a:pt x="661132" y="83827"/>
                        <a:pt x="657486" y="94319"/>
                        <a:pt x="657486" y="106375"/>
                      </a:cubicBezTo>
                      <a:lnTo>
                        <a:pt x="657486" y="120774"/>
                      </a:lnTo>
                      <a:cubicBezTo>
                        <a:pt x="657486" y="132233"/>
                        <a:pt x="661095" y="142075"/>
                        <a:pt x="668313" y="150297"/>
                      </a:cubicBezTo>
                      <a:cubicBezTo>
                        <a:pt x="675531" y="158520"/>
                        <a:pt x="685019" y="162632"/>
                        <a:pt x="696776" y="162632"/>
                      </a:cubicBezTo>
                      <a:cubicBezTo>
                        <a:pt x="708459" y="162632"/>
                        <a:pt x="717947" y="157627"/>
                        <a:pt x="725240" y="147619"/>
                      </a:cubicBezTo>
                      <a:cubicBezTo>
                        <a:pt x="732532" y="137610"/>
                        <a:pt x="736179" y="124457"/>
                        <a:pt x="736179" y="108161"/>
                      </a:cubicBezTo>
                      <a:cubicBezTo>
                        <a:pt x="736179" y="93873"/>
                        <a:pt x="732830" y="82525"/>
                        <a:pt x="726133" y="74116"/>
                      </a:cubicBezTo>
                      <a:cubicBezTo>
                        <a:pt x="719435" y="65707"/>
                        <a:pt x="710506" y="61503"/>
                        <a:pt x="699344" y="61503"/>
                      </a:cubicBezTo>
                      <a:close/>
                      <a:moveTo>
                        <a:pt x="2495067" y="54917"/>
                      </a:moveTo>
                      <a:lnTo>
                        <a:pt x="2505336" y="54917"/>
                      </a:lnTo>
                      <a:lnTo>
                        <a:pt x="2505336" y="169217"/>
                      </a:lnTo>
                      <a:lnTo>
                        <a:pt x="2495067" y="169217"/>
                      </a:lnTo>
                      <a:close/>
                      <a:moveTo>
                        <a:pt x="2023691" y="54917"/>
                      </a:moveTo>
                      <a:lnTo>
                        <a:pt x="2035076" y="54917"/>
                      </a:lnTo>
                      <a:lnTo>
                        <a:pt x="2061642" y="146112"/>
                      </a:lnTo>
                      <a:cubicBezTo>
                        <a:pt x="2062312" y="148493"/>
                        <a:pt x="2062833" y="151693"/>
                        <a:pt x="2063205" y="155711"/>
                      </a:cubicBezTo>
                      <a:lnTo>
                        <a:pt x="2064098" y="155711"/>
                      </a:lnTo>
                      <a:cubicBezTo>
                        <a:pt x="2064246" y="153553"/>
                        <a:pt x="2064953" y="150353"/>
                        <a:pt x="2066218" y="146112"/>
                      </a:cubicBezTo>
                      <a:lnTo>
                        <a:pt x="2095240" y="54917"/>
                      </a:lnTo>
                      <a:lnTo>
                        <a:pt x="2102272" y="54917"/>
                      </a:lnTo>
                      <a:lnTo>
                        <a:pt x="2128168" y="146112"/>
                      </a:lnTo>
                      <a:cubicBezTo>
                        <a:pt x="2128763" y="148270"/>
                        <a:pt x="2129284" y="151469"/>
                        <a:pt x="2129731" y="155711"/>
                      </a:cubicBezTo>
                      <a:lnTo>
                        <a:pt x="2130624" y="155711"/>
                      </a:lnTo>
                      <a:cubicBezTo>
                        <a:pt x="2130624" y="153553"/>
                        <a:pt x="2131256" y="150353"/>
                        <a:pt x="2132521" y="146112"/>
                      </a:cubicBezTo>
                      <a:lnTo>
                        <a:pt x="2159645" y="54917"/>
                      </a:lnTo>
                      <a:lnTo>
                        <a:pt x="2170249" y="54917"/>
                      </a:lnTo>
                      <a:lnTo>
                        <a:pt x="2134754" y="169217"/>
                      </a:lnTo>
                      <a:lnTo>
                        <a:pt x="2125154" y="169217"/>
                      </a:lnTo>
                      <a:lnTo>
                        <a:pt x="2100263" y="83046"/>
                      </a:lnTo>
                      <a:cubicBezTo>
                        <a:pt x="2099593" y="80665"/>
                        <a:pt x="2098998" y="77465"/>
                        <a:pt x="2098477" y="73446"/>
                      </a:cubicBezTo>
                      <a:lnTo>
                        <a:pt x="2097919" y="73446"/>
                      </a:lnTo>
                      <a:cubicBezTo>
                        <a:pt x="2097770" y="75158"/>
                        <a:pt x="2097026" y="78283"/>
                        <a:pt x="2095686" y="82823"/>
                      </a:cubicBezTo>
                      <a:lnTo>
                        <a:pt x="2067781" y="169217"/>
                      </a:lnTo>
                      <a:lnTo>
                        <a:pt x="2058182" y="169217"/>
                      </a:lnTo>
                      <a:close/>
                      <a:moveTo>
                        <a:pt x="1523517" y="54917"/>
                      </a:moveTo>
                      <a:lnTo>
                        <a:pt x="1533786" y="54917"/>
                      </a:lnTo>
                      <a:lnTo>
                        <a:pt x="1533786" y="169217"/>
                      </a:lnTo>
                      <a:lnTo>
                        <a:pt x="1523517" y="169217"/>
                      </a:lnTo>
                      <a:close/>
                      <a:moveTo>
                        <a:pt x="1356941" y="54917"/>
                      </a:moveTo>
                      <a:lnTo>
                        <a:pt x="1368326" y="54917"/>
                      </a:lnTo>
                      <a:lnTo>
                        <a:pt x="1394892" y="146112"/>
                      </a:lnTo>
                      <a:cubicBezTo>
                        <a:pt x="1395562" y="148493"/>
                        <a:pt x="1396083" y="151693"/>
                        <a:pt x="1396455" y="155711"/>
                      </a:cubicBezTo>
                      <a:lnTo>
                        <a:pt x="1397348" y="155711"/>
                      </a:lnTo>
                      <a:cubicBezTo>
                        <a:pt x="1397496" y="153553"/>
                        <a:pt x="1398203" y="150353"/>
                        <a:pt x="1399468" y="146112"/>
                      </a:cubicBezTo>
                      <a:lnTo>
                        <a:pt x="1428490" y="54917"/>
                      </a:lnTo>
                      <a:lnTo>
                        <a:pt x="1435522" y="54917"/>
                      </a:lnTo>
                      <a:lnTo>
                        <a:pt x="1461418" y="146112"/>
                      </a:lnTo>
                      <a:cubicBezTo>
                        <a:pt x="1462013" y="148270"/>
                        <a:pt x="1462534" y="151469"/>
                        <a:pt x="1462981" y="155711"/>
                      </a:cubicBezTo>
                      <a:lnTo>
                        <a:pt x="1463874" y="155711"/>
                      </a:lnTo>
                      <a:cubicBezTo>
                        <a:pt x="1463874" y="153553"/>
                        <a:pt x="1464506" y="150353"/>
                        <a:pt x="1465771" y="146112"/>
                      </a:cubicBezTo>
                      <a:lnTo>
                        <a:pt x="1492895" y="54917"/>
                      </a:lnTo>
                      <a:lnTo>
                        <a:pt x="1503499" y="54917"/>
                      </a:lnTo>
                      <a:lnTo>
                        <a:pt x="1468004" y="169217"/>
                      </a:lnTo>
                      <a:lnTo>
                        <a:pt x="1458404" y="169217"/>
                      </a:lnTo>
                      <a:lnTo>
                        <a:pt x="1433513" y="83046"/>
                      </a:lnTo>
                      <a:cubicBezTo>
                        <a:pt x="1432843" y="80665"/>
                        <a:pt x="1432248" y="77465"/>
                        <a:pt x="1431727" y="73446"/>
                      </a:cubicBezTo>
                      <a:lnTo>
                        <a:pt x="1431169" y="73446"/>
                      </a:lnTo>
                      <a:cubicBezTo>
                        <a:pt x="1431020" y="75158"/>
                        <a:pt x="1430276" y="78283"/>
                        <a:pt x="1428936" y="82823"/>
                      </a:cubicBezTo>
                      <a:lnTo>
                        <a:pt x="1401031" y="169217"/>
                      </a:lnTo>
                      <a:lnTo>
                        <a:pt x="1391432" y="169217"/>
                      </a:lnTo>
                      <a:close/>
                      <a:moveTo>
                        <a:pt x="151917" y="54917"/>
                      </a:moveTo>
                      <a:lnTo>
                        <a:pt x="162186" y="54917"/>
                      </a:lnTo>
                      <a:lnTo>
                        <a:pt x="162186" y="169217"/>
                      </a:lnTo>
                      <a:lnTo>
                        <a:pt x="151917" y="169217"/>
                      </a:lnTo>
                      <a:close/>
                      <a:moveTo>
                        <a:pt x="2461394" y="52685"/>
                      </a:moveTo>
                      <a:cubicBezTo>
                        <a:pt x="2465636" y="52685"/>
                        <a:pt x="2469431" y="53355"/>
                        <a:pt x="2472780" y="54694"/>
                      </a:cubicBezTo>
                      <a:lnTo>
                        <a:pt x="2472780" y="65633"/>
                      </a:lnTo>
                      <a:cubicBezTo>
                        <a:pt x="2469357" y="63177"/>
                        <a:pt x="2465338" y="61949"/>
                        <a:pt x="2460725" y="61949"/>
                      </a:cubicBezTo>
                      <a:cubicBezTo>
                        <a:pt x="2451720" y="61949"/>
                        <a:pt x="2444167" y="66600"/>
                        <a:pt x="2438065" y="75902"/>
                      </a:cubicBezTo>
                      <a:cubicBezTo>
                        <a:pt x="2431963" y="85204"/>
                        <a:pt x="2428912" y="98412"/>
                        <a:pt x="2428912" y="115527"/>
                      </a:cubicBezTo>
                      <a:lnTo>
                        <a:pt x="2428912" y="169217"/>
                      </a:lnTo>
                      <a:lnTo>
                        <a:pt x="2418867" y="169217"/>
                      </a:lnTo>
                      <a:lnTo>
                        <a:pt x="2418867" y="54917"/>
                      </a:lnTo>
                      <a:lnTo>
                        <a:pt x="2428912" y="54917"/>
                      </a:lnTo>
                      <a:lnTo>
                        <a:pt x="2428912" y="80255"/>
                      </a:lnTo>
                      <a:lnTo>
                        <a:pt x="2429359" y="80255"/>
                      </a:lnTo>
                      <a:cubicBezTo>
                        <a:pt x="2431963" y="71549"/>
                        <a:pt x="2436093" y="64777"/>
                        <a:pt x="2441749" y="59940"/>
                      </a:cubicBezTo>
                      <a:cubicBezTo>
                        <a:pt x="2447404" y="55103"/>
                        <a:pt x="2453953" y="52685"/>
                        <a:pt x="2461394" y="52685"/>
                      </a:cubicBezTo>
                      <a:close/>
                      <a:moveTo>
                        <a:pt x="2346201" y="52128"/>
                      </a:moveTo>
                      <a:cubicBezTo>
                        <a:pt x="2357959" y="52128"/>
                        <a:pt x="2367056" y="55774"/>
                        <a:pt x="2373493" y="63067"/>
                      </a:cubicBezTo>
                      <a:cubicBezTo>
                        <a:pt x="2379929" y="70359"/>
                        <a:pt x="2383148" y="80963"/>
                        <a:pt x="2383148" y="94879"/>
                      </a:cubicBezTo>
                      <a:lnTo>
                        <a:pt x="2383148" y="169218"/>
                      </a:lnTo>
                      <a:lnTo>
                        <a:pt x="2372879" y="169218"/>
                      </a:lnTo>
                      <a:lnTo>
                        <a:pt x="2372879" y="146336"/>
                      </a:lnTo>
                      <a:lnTo>
                        <a:pt x="2372432" y="146336"/>
                      </a:lnTo>
                      <a:cubicBezTo>
                        <a:pt x="2368786" y="154149"/>
                        <a:pt x="2363484" y="160382"/>
                        <a:pt x="2356526" y="165032"/>
                      </a:cubicBezTo>
                      <a:cubicBezTo>
                        <a:pt x="2349569" y="169683"/>
                        <a:pt x="2341848" y="172009"/>
                        <a:pt x="2333365" y="172009"/>
                      </a:cubicBezTo>
                      <a:cubicBezTo>
                        <a:pt x="2322500" y="172009"/>
                        <a:pt x="2313906" y="168958"/>
                        <a:pt x="2307580" y="162856"/>
                      </a:cubicBezTo>
                      <a:cubicBezTo>
                        <a:pt x="2301255" y="156754"/>
                        <a:pt x="2298093" y="149052"/>
                        <a:pt x="2298093" y="139750"/>
                      </a:cubicBezTo>
                      <a:cubicBezTo>
                        <a:pt x="2298093" y="119807"/>
                        <a:pt x="2311301" y="107752"/>
                        <a:pt x="2337718" y="103585"/>
                      </a:cubicBezTo>
                      <a:lnTo>
                        <a:pt x="2372879" y="98339"/>
                      </a:lnTo>
                      <a:cubicBezTo>
                        <a:pt x="2372879" y="73782"/>
                        <a:pt x="2363651" y="61504"/>
                        <a:pt x="2345197" y="61504"/>
                      </a:cubicBezTo>
                      <a:cubicBezTo>
                        <a:pt x="2332621" y="61504"/>
                        <a:pt x="2320380" y="66564"/>
                        <a:pt x="2308473" y="76684"/>
                      </a:cubicBezTo>
                      <a:lnTo>
                        <a:pt x="2308473" y="64294"/>
                      </a:lnTo>
                      <a:cubicBezTo>
                        <a:pt x="2312715" y="60946"/>
                        <a:pt x="2318463" y="58081"/>
                        <a:pt x="2325719" y="55700"/>
                      </a:cubicBezTo>
                      <a:cubicBezTo>
                        <a:pt x="2332974" y="53318"/>
                        <a:pt x="2339802" y="52128"/>
                        <a:pt x="2346201" y="52128"/>
                      </a:cubicBezTo>
                      <a:close/>
                      <a:moveTo>
                        <a:pt x="2233241" y="52128"/>
                      </a:moveTo>
                      <a:cubicBezTo>
                        <a:pt x="2247454" y="52128"/>
                        <a:pt x="2258355" y="57113"/>
                        <a:pt x="2265946" y="67085"/>
                      </a:cubicBezTo>
                      <a:cubicBezTo>
                        <a:pt x="2273536" y="77056"/>
                        <a:pt x="2277331" y="90674"/>
                        <a:pt x="2277331" y="107938"/>
                      </a:cubicBezTo>
                      <a:lnTo>
                        <a:pt x="2277331" y="112515"/>
                      </a:lnTo>
                      <a:lnTo>
                        <a:pt x="2192722" y="112515"/>
                      </a:lnTo>
                      <a:cubicBezTo>
                        <a:pt x="2192722" y="128216"/>
                        <a:pt x="2196350" y="140494"/>
                        <a:pt x="2203605" y="149350"/>
                      </a:cubicBezTo>
                      <a:cubicBezTo>
                        <a:pt x="2210861" y="158205"/>
                        <a:pt x="2220814" y="162633"/>
                        <a:pt x="2233464" y="162633"/>
                      </a:cubicBezTo>
                      <a:cubicBezTo>
                        <a:pt x="2246263" y="162633"/>
                        <a:pt x="2258765" y="157907"/>
                        <a:pt x="2270969" y="148457"/>
                      </a:cubicBezTo>
                      <a:lnTo>
                        <a:pt x="2270969" y="159396"/>
                      </a:lnTo>
                      <a:cubicBezTo>
                        <a:pt x="2259137" y="167804"/>
                        <a:pt x="2245928" y="172009"/>
                        <a:pt x="2231343" y="172009"/>
                      </a:cubicBezTo>
                      <a:cubicBezTo>
                        <a:pt x="2216609" y="172009"/>
                        <a:pt x="2204703" y="166725"/>
                        <a:pt x="2195624" y="156159"/>
                      </a:cubicBezTo>
                      <a:cubicBezTo>
                        <a:pt x="2186546" y="145592"/>
                        <a:pt x="2182007" y="130672"/>
                        <a:pt x="2182007" y="111399"/>
                      </a:cubicBezTo>
                      <a:cubicBezTo>
                        <a:pt x="2182007" y="94730"/>
                        <a:pt x="2186751" y="80684"/>
                        <a:pt x="2196238" y="69262"/>
                      </a:cubicBezTo>
                      <a:cubicBezTo>
                        <a:pt x="2205726" y="57839"/>
                        <a:pt x="2218060" y="52128"/>
                        <a:pt x="2233241" y="52128"/>
                      </a:cubicBezTo>
                      <a:close/>
                      <a:moveTo>
                        <a:pt x="1899866" y="52128"/>
                      </a:moveTo>
                      <a:cubicBezTo>
                        <a:pt x="1914079" y="52128"/>
                        <a:pt x="1924980" y="57113"/>
                        <a:pt x="1932571" y="67085"/>
                      </a:cubicBezTo>
                      <a:cubicBezTo>
                        <a:pt x="1940161" y="77056"/>
                        <a:pt x="1943956" y="90674"/>
                        <a:pt x="1943956" y="107938"/>
                      </a:cubicBezTo>
                      <a:lnTo>
                        <a:pt x="1943956" y="112515"/>
                      </a:lnTo>
                      <a:lnTo>
                        <a:pt x="1859347" y="112515"/>
                      </a:lnTo>
                      <a:cubicBezTo>
                        <a:pt x="1859347" y="128216"/>
                        <a:pt x="1862975" y="140494"/>
                        <a:pt x="1870230" y="149350"/>
                      </a:cubicBezTo>
                      <a:cubicBezTo>
                        <a:pt x="1877486" y="158205"/>
                        <a:pt x="1887439" y="162633"/>
                        <a:pt x="1900089" y="162633"/>
                      </a:cubicBezTo>
                      <a:cubicBezTo>
                        <a:pt x="1912888" y="162633"/>
                        <a:pt x="1925390" y="157907"/>
                        <a:pt x="1937594" y="148457"/>
                      </a:cubicBezTo>
                      <a:lnTo>
                        <a:pt x="1937594" y="159396"/>
                      </a:lnTo>
                      <a:cubicBezTo>
                        <a:pt x="1925762" y="167804"/>
                        <a:pt x="1912553" y="172009"/>
                        <a:pt x="1897968" y="172009"/>
                      </a:cubicBezTo>
                      <a:cubicBezTo>
                        <a:pt x="1883234" y="172009"/>
                        <a:pt x="1871328" y="166725"/>
                        <a:pt x="1862249" y="156159"/>
                      </a:cubicBezTo>
                      <a:cubicBezTo>
                        <a:pt x="1853171" y="145592"/>
                        <a:pt x="1848632" y="130672"/>
                        <a:pt x="1848632" y="111399"/>
                      </a:cubicBezTo>
                      <a:cubicBezTo>
                        <a:pt x="1848632" y="94730"/>
                        <a:pt x="1853376" y="80684"/>
                        <a:pt x="1862863" y="69262"/>
                      </a:cubicBezTo>
                      <a:cubicBezTo>
                        <a:pt x="1872351" y="57839"/>
                        <a:pt x="1884685" y="52128"/>
                        <a:pt x="1899866" y="52128"/>
                      </a:cubicBezTo>
                      <a:close/>
                      <a:moveTo>
                        <a:pt x="1223591" y="52128"/>
                      </a:moveTo>
                      <a:cubicBezTo>
                        <a:pt x="1237804" y="52128"/>
                        <a:pt x="1248705" y="57113"/>
                        <a:pt x="1256296" y="67085"/>
                      </a:cubicBezTo>
                      <a:cubicBezTo>
                        <a:pt x="1263886" y="77056"/>
                        <a:pt x="1267681" y="90674"/>
                        <a:pt x="1267681" y="107938"/>
                      </a:cubicBezTo>
                      <a:lnTo>
                        <a:pt x="1267681" y="112515"/>
                      </a:lnTo>
                      <a:lnTo>
                        <a:pt x="1183072" y="112515"/>
                      </a:lnTo>
                      <a:cubicBezTo>
                        <a:pt x="1183072" y="128216"/>
                        <a:pt x="1186700" y="140494"/>
                        <a:pt x="1193955" y="149350"/>
                      </a:cubicBezTo>
                      <a:cubicBezTo>
                        <a:pt x="1201211" y="158205"/>
                        <a:pt x="1211164" y="162633"/>
                        <a:pt x="1223814" y="162633"/>
                      </a:cubicBezTo>
                      <a:cubicBezTo>
                        <a:pt x="1236613" y="162633"/>
                        <a:pt x="1249115" y="157907"/>
                        <a:pt x="1261319" y="148457"/>
                      </a:cubicBezTo>
                      <a:lnTo>
                        <a:pt x="1261319" y="159396"/>
                      </a:lnTo>
                      <a:cubicBezTo>
                        <a:pt x="1249487" y="167804"/>
                        <a:pt x="1236278" y="172009"/>
                        <a:pt x="1221693" y="172009"/>
                      </a:cubicBezTo>
                      <a:cubicBezTo>
                        <a:pt x="1206959" y="172009"/>
                        <a:pt x="1195053" y="166725"/>
                        <a:pt x="1185974" y="156159"/>
                      </a:cubicBezTo>
                      <a:cubicBezTo>
                        <a:pt x="1176896" y="145592"/>
                        <a:pt x="1172357" y="130672"/>
                        <a:pt x="1172357" y="111399"/>
                      </a:cubicBezTo>
                      <a:cubicBezTo>
                        <a:pt x="1172357" y="94730"/>
                        <a:pt x="1177101" y="80684"/>
                        <a:pt x="1186588" y="69262"/>
                      </a:cubicBezTo>
                      <a:cubicBezTo>
                        <a:pt x="1196076" y="57839"/>
                        <a:pt x="1208410" y="52128"/>
                        <a:pt x="1223591" y="52128"/>
                      </a:cubicBezTo>
                      <a:close/>
                      <a:moveTo>
                        <a:pt x="932446" y="52128"/>
                      </a:moveTo>
                      <a:cubicBezTo>
                        <a:pt x="948742" y="52128"/>
                        <a:pt x="961616" y="57448"/>
                        <a:pt x="971067" y="68090"/>
                      </a:cubicBezTo>
                      <a:cubicBezTo>
                        <a:pt x="980517" y="78731"/>
                        <a:pt x="985242" y="93465"/>
                        <a:pt x="985242" y="112291"/>
                      </a:cubicBezTo>
                      <a:cubicBezTo>
                        <a:pt x="985242" y="130076"/>
                        <a:pt x="980424" y="144476"/>
                        <a:pt x="970788" y="155489"/>
                      </a:cubicBezTo>
                      <a:cubicBezTo>
                        <a:pt x="961151" y="166502"/>
                        <a:pt x="947961" y="172009"/>
                        <a:pt x="931218" y="172009"/>
                      </a:cubicBezTo>
                      <a:cubicBezTo>
                        <a:pt x="914549" y="172009"/>
                        <a:pt x="901359" y="166521"/>
                        <a:pt x="891648" y="155545"/>
                      </a:cubicBezTo>
                      <a:cubicBezTo>
                        <a:pt x="881937" y="144569"/>
                        <a:pt x="877082" y="130300"/>
                        <a:pt x="877082" y="112738"/>
                      </a:cubicBezTo>
                      <a:cubicBezTo>
                        <a:pt x="877082" y="93762"/>
                        <a:pt x="882160" y="78917"/>
                        <a:pt x="892318" y="68201"/>
                      </a:cubicBezTo>
                      <a:cubicBezTo>
                        <a:pt x="902475" y="57486"/>
                        <a:pt x="915851" y="52128"/>
                        <a:pt x="932446" y="52128"/>
                      </a:cubicBezTo>
                      <a:close/>
                      <a:moveTo>
                        <a:pt x="814016" y="52128"/>
                      </a:moveTo>
                      <a:cubicBezTo>
                        <a:pt x="828229" y="52128"/>
                        <a:pt x="839130" y="57113"/>
                        <a:pt x="846721" y="67085"/>
                      </a:cubicBezTo>
                      <a:cubicBezTo>
                        <a:pt x="854311" y="77056"/>
                        <a:pt x="858106" y="90674"/>
                        <a:pt x="858106" y="107938"/>
                      </a:cubicBezTo>
                      <a:lnTo>
                        <a:pt x="858106" y="112515"/>
                      </a:lnTo>
                      <a:lnTo>
                        <a:pt x="773497" y="112515"/>
                      </a:lnTo>
                      <a:cubicBezTo>
                        <a:pt x="773497" y="128216"/>
                        <a:pt x="777125" y="140494"/>
                        <a:pt x="784380" y="149350"/>
                      </a:cubicBezTo>
                      <a:cubicBezTo>
                        <a:pt x="791636" y="158205"/>
                        <a:pt x="801589" y="162633"/>
                        <a:pt x="814239" y="162633"/>
                      </a:cubicBezTo>
                      <a:cubicBezTo>
                        <a:pt x="827038" y="162633"/>
                        <a:pt x="839540" y="157907"/>
                        <a:pt x="851744" y="148457"/>
                      </a:cubicBezTo>
                      <a:lnTo>
                        <a:pt x="851744" y="159396"/>
                      </a:lnTo>
                      <a:cubicBezTo>
                        <a:pt x="839912" y="167804"/>
                        <a:pt x="826703" y="172009"/>
                        <a:pt x="812118" y="172009"/>
                      </a:cubicBezTo>
                      <a:cubicBezTo>
                        <a:pt x="797384" y="172009"/>
                        <a:pt x="785478" y="166725"/>
                        <a:pt x="776399" y="156159"/>
                      </a:cubicBezTo>
                      <a:cubicBezTo>
                        <a:pt x="767321" y="145592"/>
                        <a:pt x="762782" y="130672"/>
                        <a:pt x="762782" y="111399"/>
                      </a:cubicBezTo>
                      <a:cubicBezTo>
                        <a:pt x="762782" y="94730"/>
                        <a:pt x="767526" y="80684"/>
                        <a:pt x="777013" y="69262"/>
                      </a:cubicBezTo>
                      <a:cubicBezTo>
                        <a:pt x="786501" y="57839"/>
                        <a:pt x="798835" y="52128"/>
                        <a:pt x="814016" y="52128"/>
                      </a:cubicBezTo>
                      <a:close/>
                      <a:moveTo>
                        <a:pt x="2710607" y="52127"/>
                      </a:moveTo>
                      <a:cubicBezTo>
                        <a:pt x="2727425" y="52127"/>
                        <a:pt x="2739628" y="59084"/>
                        <a:pt x="2747218" y="73000"/>
                      </a:cubicBezTo>
                      <a:lnTo>
                        <a:pt x="2747665" y="73000"/>
                      </a:lnTo>
                      <a:lnTo>
                        <a:pt x="2747665" y="54917"/>
                      </a:lnTo>
                      <a:lnTo>
                        <a:pt x="2757934" y="54917"/>
                      </a:lnTo>
                      <a:lnTo>
                        <a:pt x="2757934" y="160734"/>
                      </a:lnTo>
                      <a:cubicBezTo>
                        <a:pt x="2757934" y="182240"/>
                        <a:pt x="2753246" y="197978"/>
                        <a:pt x="2743870" y="207950"/>
                      </a:cubicBezTo>
                      <a:cubicBezTo>
                        <a:pt x="2734494" y="217921"/>
                        <a:pt x="2719909" y="222907"/>
                        <a:pt x="2700115" y="222907"/>
                      </a:cubicBezTo>
                      <a:cubicBezTo>
                        <a:pt x="2689101" y="222907"/>
                        <a:pt x="2677753" y="220005"/>
                        <a:pt x="2666070" y="214201"/>
                      </a:cubicBezTo>
                      <a:lnTo>
                        <a:pt x="2666070" y="203485"/>
                      </a:lnTo>
                      <a:cubicBezTo>
                        <a:pt x="2678125" y="210182"/>
                        <a:pt x="2689548" y="213531"/>
                        <a:pt x="2700338" y="213531"/>
                      </a:cubicBezTo>
                      <a:cubicBezTo>
                        <a:pt x="2731889" y="213531"/>
                        <a:pt x="2747665" y="196862"/>
                        <a:pt x="2747665" y="163525"/>
                      </a:cubicBezTo>
                      <a:lnTo>
                        <a:pt x="2747665" y="148679"/>
                      </a:lnTo>
                      <a:lnTo>
                        <a:pt x="2747218" y="148679"/>
                      </a:lnTo>
                      <a:cubicBezTo>
                        <a:pt x="2738214" y="164231"/>
                        <a:pt x="2724485" y="172008"/>
                        <a:pt x="2706031" y="172008"/>
                      </a:cubicBezTo>
                      <a:cubicBezTo>
                        <a:pt x="2691966" y="172008"/>
                        <a:pt x="2680488" y="166910"/>
                        <a:pt x="2671595" y="156716"/>
                      </a:cubicBezTo>
                      <a:cubicBezTo>
                        <a:pt x="2662703" y="146521"/>
                        <a:pt x="2658257" y="132308"/>
                        <a:pt x="2658257" y="114076"/>
                      </a:cubicBezTo>
                      <a:cubicBezTo>
                        <a:pt x="2658257" y="95845"/>
                        <a:pt x="2663056" y="80962"/>
                        <a:pt x="2672656" y="69428"/>
                      </a:cubicBezTo>
                      <a:cubicBezTo>
                        <a:pt x="2682255" y="57894"/>
                        <a:pt x="2694906" y="52127"/>
                        <a:pt x="2710607" y="52127"/>
                      </a:cubicBezTo>
                      <a:close/>
                      <a:moveTo>
                        <a:pt x="2592475" y="52127"/>
                      </a:moveTo>
                      <a:cubicBezTo>
                        <a:pt x="2604827" y="52127"/>
                        <a:pt x="2614278" y="56238"/>
                        <a:pt x="2620826" y="64461"/>
                      </a:cubicBezTo>
                      <a:cubicBezTo>
                        <a:pt x="2627375" y="72684"/>
                        <a:pt x="2630649" y="84422"/>
                        <a:pt x="2630649" y="99677"/>
                      </a:cubicBezTo>
                      <a:lnTo>
                        <a:pt x="2630649" y="169217"/>
                      </a:lnTo>
                      <a:lnTo>
                        <a:pt x="2620380" y="169217"/>
                      </a:lnTo>
                      <a:lnTo>
                        <a:pt x="2620380" y="102691"/>
                      </a:lnTo>
                      <a:cubicBezTo>
                        <a:pt x="2620380" y="75232"/>
                        <a:pt x="2610483" y="61503"/>
                        <a:pt x="2590689" y="61503"/>
                      </a:cubicBezTo>
                      <a:cubicBezTo>
                        <a:pt x="2579676" y="61503"/>
                        <a:pt x="2570634" y="65540"/>
                        <a:pt x="2563565" y="73614"/>
                      </a:cubicBezTo>
                      <a:cubicBezTo>
                        <a:pt x="2556496" y="81688"/>
                        <a:pt x="2552961" y="91678"/>
                        <a:pt x="2552961" y="103584"/>
                      </a:cubicBezTo>
                      <a:lnTo>
                        <a:pt x="2552961" y="169217"/>
                      </a:lnTo>
                      <a:lnTo>
                        <a:pt x="2542692" y="169217"/>
                      </a:lnTo>
                      <a:lnTo>
                        <a:pt x="2542692" y="54917"/>
                      </a:lnTo>
                      <a:lnTo>
                        <a:pt x="2552961" y="54917"/>
                      </a:lnTo>
                      <a:lnTo>
                        <a:pt x="2552961" y="75679"/>
                      </a:lnTo>
                      <a:lnTo>
                        <a:pt x="2553407" y="75679"/>
                      </a:lnTo>
                      <a:cubicBezTo>
                        <a:pt x="2561742" y="59977"/>
                        <a:pt x="2574764" y="52127"/>
                        <a:pt x="2592475" y="52127"/>
                      </a:cubicBezTo>
                      <a:close/>
                      <a:moveTo>
                        <a:pt x="1062633" y="52127"/>
                      </a:moveTo>
                      <a:cubicBezTo>
                        <a:pt x="1077144" y="52127"/>
                        <a:pt x="1088473" y="57131"/>
                        <a:pt x="1096622" y="67140"/>
                      </a:cubicBezTo>
                      <a:cubicBezTo>
                        <a:pt x="1104770" y="77148"/>
                        <a:pt x="1108844" y="90748"/>
                        <a:pt x="1108844" y="107937"/>
                      </a:cubicBezTo>
                      <a:cubicBezTo>
                        <a:pt x="1108844" y="127062"/>
                        <a:pt x="1104175" y="142521"/>
                        <a:pt x="1094836" y="154316"/>
                      </a:cubicBezTo>
                      <a:cubicBezTo>
                        <a:pt x="1085497" y="166110"/>
                        <a:pt x="1073163" y="172008"/>
                        <a:pt x="1057833" y="172008"/>
                      </a:cubicBezTo>
                      <a:cubicBezTo>
                        <a:pt x="1040718" y="172008"/>
                        <a:pt x="1028068" y="164306"/>
                        <a:pt x="1019882" y="148902"/>
                      </a:cubicBezTo>
                      <a:lnTo>
                        <a:pt x="1019436" y="148902"/>
                      </a:lnTo>
                      <a:lnTo>
                        <a:pt x="1019436" y="221791"/>
                      </a:lnTo>
                      <a:lnTo>
                        <a:pt x="1009167" y="221791"/>
                      </a:lnTo>
                      <a:lnTo>
                        <a:pt x="1009167" y="54917"/>
                      </a:lnTo>
                      <a:lnTo>
                        <a:pt x="1019436" y="54917"/>
                      </a:lnTo>
                      <a:lnTo>
                        <a:pt x="1019436" y="78469"/>
                      </a:lnTo>
                      <a:lnTo>
                        <a:pt x="1019882" y="78469"/>
                      </a:lnTo>
                      <a:cubicBezTo>
                        <a:pt x="1023975" y="70060"/>
                        <a:pt x="1029835" y="63568"/>
                        <a:pt x="1037463" y="58991"/>
                      </a:cubicBezTo>
                      <a:cubicBezTo>
                        <a:pt x="1045090" y="54415"/>
                        <a:pt x="1053480" y="52127"/>
                        <a:pt x="1062633" y="52127"/>
                      </a:cubicBezTo>
                      <a:close/>
                      <a:moveTo>
                        <a:pt x="700683" y="52127"/>
                      </a:moveTo>
                      <a:cubicBezTo>
                        <a:pt x="715194" y="52127"/>
                        <a:pt x="726523" y="57131"/>
                        <a:pt x="734672" y="67140"/>
                      </a:cubicBezTo>
                      <a:cubicBezTo>
                        <a:pt x="742820" y="77148"/>
                        <a:pt x="746894" y="90748"/>
                        <a:pt x="746894" y="107937"/>
                      </a:cubicBezTo>
                      <a:cubicBezTo>
                        <a:pt x="746894" y="127062"/>
                        <a:pt x="742225" y="142521"/>
                        <a:pt x="732886" y="154316"/>
                      </a:cubicBezTo>
                      <a:cubicBezTo>
                        <a:pt x="723547" y="166110"/>
                        <a:pt x="711213" y="172008"/>
                        <a:pt x="695883" y="172008"/>
                      </a:cubicBezTo>
                      <a:cubicBezTo>
                        <a:pt x="678768" y="172008"/>
                        <a:pt x="666118" y="164306"/>
                        <a:pt x="657932" y="148902"/>
                      </a:cubicBezTo>
                      <a:lnTo>
                        <a:pt x="657486" y="148902"/>
                      </a:lnTo>
                      <a:lnTo>
                        <a:pt x="657486" y="221791"/>
                      </a:lnTo>
                      <a:lnTo>
                        <a:pt x="647216" y="221791"/>
                      </a:lnTo>
                      <a:lnTo>
                        <a:pt x="647216" y="54917"/>
                      </a:lnTo>
                      <a:lnTo>
                        <a:pt x="657486" y="54917"/>
                      </a:lnTo>
                      <a:lnTo>
                        <a:pt x="657486" y="78469"/>
                      </a:lnTo>
                      <a:lnTo>
                        <a:pt x="657932" y="78469"/>
                      </a:lnTo>
                      <a:cubicBezTo>
                        <a:pt x="662025" y="70060"/>
                        <a:pt x="667885" y="63568"/>
                        <a:pt x="675513" y="58991"/>
                      </a:cubicBezTo>
                      <a:cubicBezTo>
                        <a:pt x="683140" y="54415"/>
                        <a:pt x="691530" y="52127"/>
                        <a:pt x="700683" y="52127"/>
                      </a:cubicBezTo>
                      <a:close/>
                      <a:moveTo>
                        <a:pt x="249325" y="52127"/>
                      </a:moveTo>
                      <a:cubicBezTo>
                        <a:pt x="261677" y="52127"/>
                        <a:pt x="271128" y="56238"/>
                        <a:pt x="277676" y="64461"/>
                      </a:cubicBezTo>
                      <a:cubicBezTo>
                        <a:pt x="284225" y="72684"/>
                        <a:pt x="287499" y="84422"/>
                        <a:pt x="287499" y="99677"/>
                      </a:cubicBezTo>
                      <a:lnTo>
                        <a:pt x="287499" y="169217"/>
                      </a:lnTo>
                      <a:lnTo>
                        <a:pt x="277230" y="169217"/>
                      </a:lnTo>
                      <a:lnTo>
                        <a:pt x="277230" y="102691"/>
                      </a:lnTo>
                      <a:cubicBezTo>
                        <a:pt x="277230" y="75232"/>
                        <a:pt x="267333" y="61503"/>
                        <a:pt x="247539" y="61503"/>
                      </a:cubicBezTo>
                      <a:cubicBezTo>
                        <a:pt x="236525" y="61503"/>
                        <a:pt x="227484" y="65540"/>
                        <a:pt x="220415" y="73614"/>
                      </a:cubicBezTo>
                      <a:cubicBezTo>
                        <a:pt x="213345" y="81688"/>
                        <a:pt x="209811" y="91678"/>
                        <a:pt x="209811" y="103584"/>
                      </a:cubicBezTo>
                      <a:lnTo>
                        <a:pt x="209811" y="169217"/>
                      </a:lnTo>
                      <a:lnTo>
                        <a:pt x="199542" y="169217"/>
                      </a:lnTo>
                      <a:lnTo>
                        <a:pt x="199542" y="54917"/>
                      </a:lnTo>
                      <a:lnTo>
                        <a:pt x="209811" y="54917"/>
                      </a:lnTo>
                      <a:lnTo>
                        <a:pt x="209811" y="75679"/>
                      </a:lnTo>
                      <a:lnTo>
                        <a:pt x="210257" y="75679"/>
                      </a:lnTo>
                      <a:cubicBezTo>
                        <a:pt x="218592" y="59977"/>
                        <a:pt x="231614" y="52127"/>
                        <a:pt x="249325" y="52127"/>
                      </a:cubicBezTo>
                      <a:close/>
                      <a:moveTo>
                        <a:pt x="508099" y="15850"/>
                      </a:moveTo>
                      <a:cubicBezTo>
                        <a:pt x="495821" y="15850"/>
                        <a:pt x="486259" y="22138"/>
                        <a:pt x="479413" y="34714"/>
                      </a:cubicBezTo>
                      <a:cubicBezTo>
                        <a:pt x="472567" y="47290"/>
                        <a:pt x="469144" y="66154"/>
                        <a:pt x="469144" y="91306"/>
                      </a:cubicBezTo>
                      <a:cubicBezTo>
                        <a:pt x="469144" y="114225"/>
                        <a:pt x="472418" y="131843"/>
                        <a:pt x="478966" y="144158"/>
                      </a:cubicBezTo>
                      <a:cubicBezTo>
                        <a:pt x="485515" y="156474"/>
                        <a:pt x="494816" y="162632"/>
                        <a:pt x="506872" y="162632"/>
                      </a:cubicBezTo>
                      <a:cubicBezTo>
                        <a:pt x="518704" y="162632"/>
                        <a:pt x="527912" y="156362"/>
                        <a:pt x="534498" y="143823"/>
                      </a:cubicBezTo>
                      <a:cubicBezTo>
                        <a:pt x="541083" y="131285"/>
                        <a:pt x="544376" y="113369"/>
                        <a:pt x="544376" y="90078"/>
                      </a:cubicBezTo>
                      <a:cubicBezTo>
                        <a:pt x="544376" y="40593"/>
                        <a:pt x="532284" y="15850"/>
                        <a:pt x="508099" y="15850"/>
                      </a:cubicBezTo>
                      <a:close/>
                      <a:moveTo>
                        <a:pt x="2500090" y="9153"/>
                      </a:moveTo>
                      <a:cubicBezTo>
                        <a:pt x="2502396" y="9153"/>
                        <a:pt x="2504424" y="9897"/>
                        <a:pt x="2506173" y="11385"/>
                      </a:cubicBezTo>
                      <a:cubicBezTo>
                        <a:pt x="2507922" y="12873"/>
                        <a:pt x="2508796" y="14882"/>
                        <a:pt x="2508796" y="17413"/>
                      </a:cubicBezTo>
                      <a:cubicBezTo>
                        <a:pt x="2508796" y="19794"/>
                        <a:pt x="2507940" y="21840"/>
                        <a:pt x="2506229" y="23552"/>
                      </a:cubicBezTo>
                      <a:cubicBezTo>
                        <a:pt x="2504517" y="25263"/>
                        <a:pt x="2502471" y="26119"/>
                        <a:pt x="2500090" y="26119"/>
                      </a:cubicBezTo>
                      <a:cubicBezTo>
                        <a:pt x="2497857" y="26119"/>
                        <a:pt x="2495885" y="25300"/>
                        <a:pt x="2494174" y="23663"/>
                      </a:cubicBezTo>
                      <a:cubicBezTo>
                        <a:pt x="2492462" y="22026"/>
                        <a:pt x="2491606" y="19943"/>
                        <a:pt x="2491606" y="17413"/>
                      </a:cubicBezTo>
                      <a:cubicBezTo>
                        <a:pt x="2491606" y="14957"/>
                        <a:pt x="2492481" y="12966"/>
                        <a:pt x="2494229" y="11441"/>
                      </a:cubicBezTo>
                      <a:cubicBezTo>
                        <a:pt x="2495978" y="9915"/>
                        <a:pt x="2497932" y="9153"/>
                        <a:pt x="2500090" y="9153"/>
                      </a:cubicBezTo>
                      <a:close/>
                      <a:moveTo>
                        <a:pt x="1528540" y="9153"/>
                      </a:moveTo>
                      <a:cubicBezTo>
                        <a:pt x="1530846" y="9153"/>
                        <a:pt x="1532874" y="9897"/>
                        <a:pt x="1534623" y="11385"/>
                      </a:cubicBezTo>
                      <a:cubicBezTo>
                        <a:pt x="1536372" y="12873"/>
                        <a:pt x="1537246" y="14882"/>
                        <a:pt x="1537246" y="17413"/>
                      </a:cubicBezTo>
                      <a:cubicBezTo>
                        <a:pt x="1537246" y="19794"/>
                        <a:pt x="1536390" y="21840"/>
                        <a:pt x="1534679" y="23552"/>
                      </a:cubicBezTo>
                      <a:cubicBezTo>
                        <a:pt x="1532967" y="25263"/>
                        <a:pt x="1530921" y="26119"/>
                        <a:pt x="1528540" y="26119"/>
                      </a:cubicBezTo>
                      <a:cubicBezTo>
                        <a:pt x="1526307" y="26119"/>
                        <a:pt x="1524335" y="25300"/>
                        <a:pt x="1522624" y="23663"/>
                      </a:cubicBezTo>
                      <a:cubicBezTo>
                        <a:pt x="1520912" y="22026"/>
                        <a:pt x="1520056" y="19943"/>
                        <a:pt x="1520056" y="17413"/>
                      </a:cubicBezTo>
                      <a:cubicBezTo>
                        <a:pt x="1520056" y="14957"/>
                        <a:pt x="1520931" y="12966"/>
                        <a:pt x="1522679" y="11441"/>
                      </a:cubicBezTo>
                      <a:cubicBezTo>
                        <a:pt x="1524428" y="9915"/>
                        <a:pt x="1526382" y="9153"/>
                        <a:pt x="1528540" y="9153"/>
                      </a:cubicBezTo>
                      <a:close/>
                      <a:moveTo>
                        <a:pt x="156940" y="9153"/>
                      </a:moveTo>
                      <a:cubicBezTo>
                        <a:pt x="159246" y="9153"/>
                        <a:pt x="161274" y="9897"/>
                        <a:pt x="163023" y="11385"/>
                      </a:cubicBezTo>
                      <a:cubicBezTo>
                        <a:pt x="164772" y="12873"/>
                        <a:pt x="165646" y="14882"/>
                        <a:pt x="165646" y="17413"/>
                      </a:cubicBezTo>
                      <a:cubicBezTo>
                        <a:pt x="165646" y="19794"/>
                        <a:pt x="164790" y="21840"/>
                        <a:pt x="163079" y="23552"/>
                      </a:cubicBezTo>
                      <a:cubicBezTo>
                        <a:pt x="161367" y="25263"/>
                        <a:pt x="159321" y="26119"/>
                        <a:pt x="156940" y="26119"/>
                      </a:cubicBezTo>
                      <a:cubicBezTo>
                        <a:pt x="154707" y="26119"/>
                        <a:pt x="152735" y="25300"/>
                        <a:pt x="151024" y="23663"/>
                      </a:cubicBezTo>
                      <a:cubicBezTo>
                        <a:pt x="149312" y="22026"/>
                        <a:pt x="148456" y="19943"/>
                        <a:pt x="148456" y="17413"/>
                      </a:cubicBezTo>
                      <a:cubicBezTo>
                        <a:pt x="148456" y="14957"/>
                        <a:pt x="149331" y="12966"/>
                        <a:pt x="151080" y="11441"/>
                      </a:cubicBezTo>
                      <a:cubicBezTo>
                        <a:pt x="152828" y="9915"/>
                        <a:pt x="154782" y="9153"/>
                        <a:pt x="156940" y="9153"/>
                      </a:cubicBezTo>
                      <a:close/>
                      <a:moveTo>
                        <a:pt x="508992" y="6474"/>
                      </a:moveTo>
                      <a:cubicBezTo>
                        <a:pt x="539800" y="6474"/>
                        <a:pt x="555203" y="33821"/>
                        <a:pt x="555203" y="88515"/>
                      </a:cubicBezTo>
                      <a:cubicBezTo>
                        <a:pt x="555203" y="115751"/>
                        <a:pt x="550850" y="136475"/>
                        <a:pt x="542144" y="150688"/>
                      </a:cubicBezTo>
                      <a:cubicBezTo>
                        <a:pt x="533437" y="164901"/>
                        <a:pt x="521233" y="172008"/>
                        <a:pt x="505532" y="172008"/>
                      </a:cubicBezTo>
                      <a:cubicBezTo>
                        <a:pt x="490798" y="172008"/>
                        <a:pt x="479264" y="165236"/>
                        <a:pt x="470930" y="151693"/>
                      </a:cubicBezTo>
                      <a:cubicBezTo>
                        <a:pt x="462595" y="138149"/>
                        <a:pt x="458428" y="118467"/>
                        <a:pt x="458428" y="92645"/>
                      </a:cubicBezTo>
                      <a:cubicBezTo>
                        <a:pt x="458428" y="64145"/>
                        <a:pt x="462800" y="42658"/>
                        <a:pt x="471544" y="28184"/>
                      </a:cubicBezTo>
                      <a:cubicBezTo>
                        <a:pt x="480287" y="13710"/>
                        <a:pt x="492770" y="6474"/>
                        <a:pt x="508992" y="6474"/>
                      </a:cubicBezTo>
                      <a:close/>
                      <a:moveTo>
                        <a:pt x="417351" y="5581"/>
                      </a:moveTo>
                      <a:lnTo>
                        <a:pt x="420923" y="5581"/>
                      </a:lnTo>
                      <a:lnTo>
                        <a:pt x="420923" y="169217"/>
                      </a:lnTo>
                      <a:lnTo>
                        <a:pt x="410654" y="169217"/>
                      </a:lnTo>
                      <a:lnTo>
                        <a:pt x="410654" y="21766"/>
                      </a:lnTo>
                      <a:cubicBezTo>
                        <a:pt x="405520" y="26677"/>
                        <a:pt x="399660" y="30919"/>
                        <a:pt x="393074" y="34491"/>
                      </a:cubicBezTo>
                      <a:cubicBezTo>
                        <a:pt x="386488" y="38062"/>
                        <a:pt x="379289" y="41225"/>
                        <a:pt x="371475" y="43978"/>
                      </a:cubicBezTo>
                      <a:lnTo>
                        <a:pt x="371475" y="34602"/>
                      </a:lnTo>
                      <a:cubicBezTo>
                        <a:pt x="376163" y="33040"/>
                        <a:pt x="380517" y="31272"/>
                        <a:pt x="384535" y="29300"/>
                      </a:cubicBezTo>
                      <a:cubicBezTo>
                        <a:pt x="388553" y="27328"/>
                        <a:pt x="392404" y="25152"/>
                        <a:pt x="396088" y="22770"/>
                      </a:cubicBezTo>
                      <a:cubicBezTo>
                        <a:pt x="399771" y="20389"/>
                        <a:pt x="403343" y="17766"/>
                        <a:pt x="406803" y="14901"/>
                      </a:cubicBezTo>
                      <a:cubicBezTo>
                        <a:pt x="410264" y="12036"/>
                        <a:pt x="413780" y="8929"/>
                        <a:pt x="417351" y="5581"/>
                      </a:cubicBezTo>
                      <a:close/>
                      <a:moveTo>
                        <a:pt x="45877" y="5581"/>
                      </a:moveTo>
                      <a:lnTo>
                        <a:pt x="49448" y="5581"/>
                      </a:lnTo>
                      <a:lnTo>
                        <a:pt x="49448" y="169217"/>
                      </a:lnTo>
                      <a:lnTo>
                        <a:pt x="39179" y="169217"/>
                      </a:lnTo>
                      <a:lnTo>
                        <a:pt x="39179" y="21766"/>
                      </a:lnTo>
                      <a:cubicBezTo>
                        <a:pt x="34045" y="26677"/>
                        <a:pt x="28185" y="30919"/>
                        <a:pt x="21599" y="34491"/>
                      </a:cubicBezTo>
                      <a:cubicBezTo>
                        <a:pt x="15013" y="38062"/>
                        <a:pt x="7814" y="41225"/>
                        <a:pt x="0" y="43978"/>
                      </a:cubicBezTo>
                      <a:lnTo>
                        <a:pt x="0" y="34602"/>
                      </a:lnTo>
                      <a:cubicBezTo>
                        <a:pt x="4688" y="33040"/>
                        <a:pt x="9042" y="31272"/>
                        <a:pt x="13060" y="29300"/>
                      </a:cubicBezTo>
                      <a:cubicBezTo>
                        <a:pt x="17078" y="27328"/>
                        <a:pt x="20929" y="25152"/>
                        <a:pt x="24613" y="22770"/>
                      </a:cubicBezTo>
                      <a:cubicBezTo>
                        <a:pt x="28296" y="20389"/>
                        <a:pt x="31868" y="17766"/>
                        <a:pt x="35328" y="14901"/>
                      </a:cubicBezTo>
                      <a:cubicBezTo>
                        <a:pt x="38789" y="12036"/>
                        <a:pt x="42305" y="8929"/>
                        <a:pt x="45877" y="5581"/>
                      </a:cubicBezTo>
                      <a:close/>
                      <a:moveTo>
                        <a:pt x="1618767" y="1"/>
                      </a:moveTo>
                      <a:lnTo>
                        <a:pt x="1629036" y="1"/>
                      </a:lnTo>
                      <a:lnTo>
                        <a:pt x="1629036" y="169218"/>
                      </a:lnTo>
                      <a:lnTo>
                        <a:pt x="1618767" y="169218"/>
                      </a:lnTo>
                      <a:close/>
                      <a:moveTo>
                        <a:pt x="1571142" y="1"/>
                      </a:moveTo>
                      <a:lnTo>
                        <a:pt x="1581411" y="1"/>
                      </a:lnTo>
                      <a:lnTo>
                        <a:pt x="1581411" y="169218"/>
                      </a:lnTo>
                      <a:lnTo>
                        <a:pt x="1571142" y="169218"/>
                      </a:lnTo>
                      <a:close/>
                      <a:moveTo>
                        <a:pt x="1132992" y="1"/>
                      </a:moveTo>
                      <a:lnTo>
                        <a:pt x="1143261" y="1"/>
                      </a:lnTo>
                      <a:lnTo>
                        <a:pt x="1143261" y="169218"/>
                      </a:lnTo>
                      <a:lnTo>
                        <a:pt x="1132992" y="169218"/>
                      </a:lnTo>
                      <a:close/>
                      <a:moveTo>
                        <a:pt x="1733067" y="0"/>
                      </a:moveTo>
                      <a:lnTo>
                        <a:pt x="1743336" y="0"/>
                      </a:lnTo>
                      <a:lnTo>
                        <a:pt x="1743336" y="78469"/>
                      </a:lnTo>
                      <a:lnTo>
                        <a:pt x="1743782" y="78469"/>
                      </a:lnTo>
                      <a:cubicBezTo>
                        <a:pt x="1747875" y="70060"/>
                        <a:pt x="1753735" y="63568"/>
                        <a:pt x="1761363" y="58991"/>
                      </a:cubicBezTo>
                      <a:cubicBezTo>
                        <a:pt x="1768990" y="54415"/>
                        <a:pt x="1777380" y="52127"/>
                        <a:pt x="1786533" y="52127"/>
                      </a:cubicBezTo>
                      <a:cubicBezTo>
                        <a:pt x="1801044" y="52127"/>
                        <a:pt x="1812373" y="57131"/>
                        <a:pt x="1820522" y="67140"/>
                      </a:cubicBezTo>
                      <a:cubicBezTo>
                        <a:pt x="1828670" y="77148"/>
                        <a:pt x="1832744" y="90748"/>
                        <a:pt x="1832744" y="107937"/>
                      </a:cubicBezTo>
                      <a:cubicBezTo>
                        <a:pt x="1832744" y="127062"/>
                        <a:pt x="1828019" y="142521"/>
                        <a:pt x="1818568" y="154316"/>
                      </a:cubicBezTo>
                      <a:cubicBezTo>
                        <a:pt x="1809118" y="166110"/>
                        <a:pt x="1796839" y="172008"/>
                        <a:pt x="1781733" y="172008"/>
                      </a:cubicBezTo>
                      <a:cubicBezTo>
                        <a:pt x="1764618" y="172008"/>
                        <a:pt x="1751968" y="164306"/>
                        <a:pt x="1743782" y="148902"/>
                      </a:cubicBezTo>
                      <a:lnTo>
                        <a:pt x="1743336" y="148902"/>
                      </a:lnTo>
                      <a:lnTo>
                        <a:pt x="1743336" y="169217"/>
                      </a:lnTo>
                      <a:lnTo>
                        <a:pt x="1733067" y="169217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Здесь будет текст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424" name="Group 423"/>
            <p:cNvGrpSpPr/>
            <p:nvPr/>
          </p:nvGrpSpPr>
          <p:grpSpPr>
            <a:xfrm>
              <a:off x="17680646" y="-11313874"/>
              <a:ext cx="55162021" cy="2272204"/>
              <a:chOff x="295411" y="2288543"/>
              <a:chExt cx="55162021" cy="2272204"/>
            </a:xfrm>
          </p:grpSpPr>
          <p:grpSp>
            <p:nvGrpSpPr>
              <p:cNvPr id="425" name="3D Printed"/>
              <p:cNvGrpSpPr/>
              <p:nvPr/>
            </p:nvGrpSpPr>
            <p:grpSpPr>
              <a:xfrm>
                <a:off x="52502507" y="2386977"/>
                <a:ext cx="2954925" cy="2075337"/>
                <a:chOff x="875532" y="2465504"/>
                <a:chExt cx="2954925" cy="2075337"/>
              </a:xfrm>
            </p:grpSpPr>
            <p:pic>
              <p:nvPicPr>
                <p:cNvPr id="845" name="Picture 844"/>
                <p:cNvPicPr>
                  <a:picLocks noChangeAspect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75532" y="2465504"/>
                  <a:ext cx="1402575" cy="1401212"/>
                </a:xfrm>
                <a:prstGeom prst="rect">
                  <a:avLst/>
                </a:prstGeom>
              </p:spPr>
            </p:pic>
            <p:sp>
              <p:nvSpPr>
                <p:cNvPr id="846" name="Freeform 25"/>
                <p:cNvSpPr>
                  <a:spLocks noEditPoints="1"/>
                </p:cNvSpPr>
                <p:nvPr/>
              </p:nvSpPr>
              <p:spPr bwMode="auto">
                <a:xfrm>
                  <a:off x="1252443" y="3024039"/>
                  <a:ext cx="648752" cy="523038"/>
                </a:xfrm>
                <a:custGeom>
                  <a:avLst/>
                  <a:gdLst>
                    <a:gd name="T0" fmla="*/ 1258 w 1269"/>
                    <a:gd name="T1" fmla="*/ 305 h 1023"/>
                    <a:gd name="T2" fmla="*/ 1144 w 1269"/>
                    <a:gd name="T3" fmla="*/ 235 h 1023"/>
                    <a:gd name="T4" fmla="*/ 1103 w 1269"/>
                    <a:gd name="T5" fmla="*/ 269 h 1023"/>
                    <a:gd name="T6" fmla="*/ 959 w 1269"/>
                    <a:gd name="T7" fmla="*/ 34 h 1023"/>
                    <a:gd name="T8" fmla="*/ 605 w 1269"/>
                    <a:gd name="T9" fmla="*/ 0 h 1023"/>
                    <a:gd name="T10" fmla="*/ 310 w 1269"/>
                    <a:gd name="T11" fmla="*/ 34 h 1023"/>
                    <a:gd name="T12" fmla="*/ 165 w 1269"/>
                    <a:gd name="T13" fmla="*/ 269 h 1023"/>
                    <a:gd name="T14" fmla="*/ 124 w 1269"/>
                    <a:gd name="T15" fmla="*/ 235 h 1023"/>
                    <a:gd name="T16" fmla="*/ 11 w 1269"/>
                    <a:gd name="T17" fmla="*/ 305 h 1023"/>
                    <a:gd name="T18" fmla="*/ 115 w 1269"/>
                    <a:gd name="T19" fmla="*/ 368 h 1023"/>
                    <a:gd name="T20" fmla="*/ 72 w 1269"/>
                    <a:gd name="T21" fmla="*/ 464 h 1023"/>
                    <a:gd name="T22" fmla="*/ 18 w 1269"/>
                    <a:gd name="T23" fmla="*/ 565 h 1023"/>
                    <a:gd name="T24" fmla="*/ 18 w 1269"/>
                    <a:gd name="T25" fmla="*/ 927 h 1023"/>
                    <a:gd name="T26" fmla="*/ 18 w 1269"/>
                    <a:gd name="T27" fmla="*/ 927 h 1023"/>
                    <a:gd name="T28" fmla="*/ 18 w 1269"/>
                    <a:gd name="T29" fmla="*/ 990 h 1023"/>
                    <a:gd name="T30" fmla="*/ 51 w 1269"/>
                    <a:gd name="T31" fmla="*/ 1023 h 1023"/>
                    <a:gd name="T32" fmla="*/ 191 w 1269"/>
                    <a:gd name="T33" fmla="*/ 1023 h 1023"/>
                    <a:gd name="T34" fmla="*/ 225 w 1269"/>
                    <a:gd name="T35" fmla="*/ 990 h 1023"/>
                    <a:gd name="T36" fmla="*/ 225 w 1269"/>
                    <a:gd name="T37" fmla="*/ 927 h 1023"/>
                    <a:gd name="T38" fmla="*/ 1044 w 1269"/>
                    <a:gd name="T39" fmla="*/ 927 h 1023"/>
                    <a:gd name="T40" fmla="*/ 1044 w 1269"/>
                    <a:gd name="T41" fmla="*/ 990 h 1023"/>
                    <a:gd name="T42" fmla="*/ 1077 w 1269"/>
                    <a:gd name="T43" fmla="*/ 1023 h 1023"/>
                    <a:gd name="T44" fmla="*/ 1217 w 1269"/>
                    <a:gd name="T45" fmla="*/ 1023 h 1023"/>
                    <a:gd name="T46" fmla="*/ 1251 w 1269"/>
                    <a:gd name="T47" fmla="*/ 990 h 1023"/>
                    <a:gd name="T48" fmla="*/ 1251 w 1269"/>
                    <a:gd name="T49" fmla="*/ 927 h 1023"/>
                    <a:gd name="T50" fmla="*/ 1251 w 1269"/>
                    <a:gd name="T51" fmla="*/ 816 h 1023"/>
                    <a:gd name="T52" fmla="*/ 1251 w 1269"/>
                    <a:gd name="T53" fmla="*/ 565 h 1023"/>
                    <a:gd name="T54" fmla="*/ 1197 w 1269"/>
                    <a:gd name="T55" fmla="*/ 464 h 1023"/>
                    <a:gd name="T56" fmla="*/ 1153 w 1269"/>
                    <a:gd name="T57" fmla="*/ 368 h 1023"/>
                    <a:gd name="T58" fmla="*/ 1258 w 1269"/>
                    <a:gd name="T59" fmla="*/ 305 h 1023"/>
                    <a:gd name="T60" fmla="*/ 179 w 1269"/>
                    <a:gd name="T61" fmla="*/ 675 h 1023"/>
                    <a:gd name="T62" fmla="*/ 106 w 1269"/>
                    <a:gd name="T63" fmla="*/ 602 h 1023"/>
                    <a:gd name="T64" fmla="*/ 179 w 1269"/>
                    <a:gd name="T65" fmla="*/ 528 h 1023"/>
                    <a:gd name="T66" fmla="*/ 252 w 1269"/>
                    <a:gd name="T67" fmla="*/ 602 h 1023"/>
                    <a:gd name="T68" fmla="*/ 179 w 1269"/>
                    <a:gd name="T69" fmla="*/ 675 h 1023"/>
                    <a:gd name="T70" fmla="*/ 605 w 1269"/>
                    <a:gd name="T71" fmla="*/ 329 h 1023"/>
                    <a:gd name="T72" fmla="*/ 269 w 1269"/>
                    <a:gd name="T73" fmla="*/ 329 h 1023"/>
                    <a:gd name="T74" fmla="*/ 368 w 1269"/>
                    <a:gd name="T75" fmla="*/ 115 h 1023"/>
                    <a:gd name="T76" fmla="*/ 605 w 1269"/>
                    <a:gd name="T77" fmla="*/ 92 h 1023"/>
                    <a:gd name="T78" fmla="*/ 901 w 1269"/>
                    <a:gd name="T79" fmla="*/ 115 h 1023"/>
                    <a:gd name="T80" fmla="*/ 999 w 1269"/>
                    <a:gd name="T81" fmla="*/ 329 h 1023"/>
                    <a:gd name="T82" fmla="*/ 605 w 1269"/>
                    <a:gd name="T83" fmla="*/ 329 h 1023"/>
                    <a:gd name="T84" fmla="*/ 1163 w 1269"/>
                    <a:gd name="T85" fmla="*/ 602 h 1023"/>
                    <a:gd name="T86" fmla="*/ 1090 w 1269"/>
                    <a:gd name="T87" fmla="*/ 675 h 1023"/>
                    <a:gd name="T88" fmla="*/ 1016 w 1269"/>
                    <a:gd name="T89" fmla="*/ 602 h 1023"/>
                    <a:gd name="T90" fmla="*/ 1090 w 1269"/>
                    <a:gd name="T91" fmla="*/ 528 h 1023"/>
                    <a:gd name="T92" fmla="*/ 1163 w 1269"/>
                    <a:gd name="T93" fmla="*/ 602 h 10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269" h="1023">
                      <a:moveTo>
                        <a:pt x="1258" y="305"/>
                      </a:moveTo>
                      <a:cubicBezTo>
                        <a:pt x="1269" y="272"/>
                        <a:pt x="1177" y="235"/>
                        <a:pt x="1144" y="235"/>
                      </a:cubicBezTo>
                      <a:cubicBezTo>
                        <a:pt x="1115" y="235"/>
                        <a:pt x="1105" y="260"/>
                        <a:pt x="1103" y="269"/>
                      </a:cubicBezTo>
                      <a:cubicBezTo>
                        <a:pt x="1066" y="189"/>
                        <a:pt x="994" y="39"/>
                        <a:pt x="959" y="34"/>
                      </a:cubicBezTo>
                      <a:cubicBezTo>
                        <a:pt x="959" y="34"/>
                        <a:pt x="864" y="0"/>
                        <a:pt x="605" y="0"/>
                      </a:cubicBezTo>
                      <a:cubicBezTo>
                        <a:pt x="346" y="0"/>
                        <a:pt x="310" y="34"/>
                        <a:pt x="310" y="34"/>
                      </a:cubicBezTo>
                      <a:cubicBezTo>
                        <a:pt x="275" y="39"/>
                        <a:pt x="202" y="189"/>
                        <a:pt x="165" y="269"/>
                      </a:cubicBezTo>
                      <a:cubicBezTo>
                        <a:pt x="164" y="260"/>
                        <a:pt x="153" y="235"/>
                        <a:pt x="124" y="235"/>
                      </a:cubicBezTo>
                      <a:cubicBezTo>
                        <a:pt x="91" y="235"/>
                        <a:pt x="0" y="272"/>
                        <a:pt x="11" y="305"/>
                      </a:cubicBezTo>
                      <a:cubicBezTo>
                        <a:pt x="22" y="339"/>
                        <a:pt x="93" y="362"/>
                        <a:pt x="115" y="368"/>
                      </a:cubicBezTo>
                      <a:cubicBezTo>
                        <a:pt x="115" y="368"/>
                        <a:pt x="111" y="435"/>
                        <a:pt x="72" y="464"/>
                      </a:cubicBezTo>
                      <a:cubicBezTo>
                        <a:pt x="33" y="492"/>
                        <a:pt x="18" y="525"/>
                        <a:pt x="18" y="565"/>
                      </a:cubicBezTo>
                      <a:cubicBezTo>
                        <a:pt x="18" y="606"/>
                        <a:pt x="18" y="927"/>
                        <a:pt x="18" y="927"/>
                      </a:cubicBezTo>
                      <a:cubicBezTo>
                        <a:pt x="18" y="927"/>
                        <a:pt x="18" y="927"/>
                        <a:pt x="18" y="927"/>
                      </a:cubicBezTo>
                      <a:cubicBezTo>
                        <a:pt x="18" y="990"/>
                        <a:pt x="18" y="990"/>
                        <a:pt x="18" y="990"/>
                      </a:cubicBezTo>
                      <a:cubicBezTo>
                        <a:pt x="18" y="1009"/>
                        <a:pt x="33" y="1023"/>
                        <a:pt x="51" y="1023"/>
                      </a:cubicBezTo>
                      <a:cubicBezTo>
                        <a:pt x="191" y="1023"/>
                        <a:pt x="191" y="1023"/>
                        <a:pt x="191" y="1023"/>
                      </a:cubicBezTo>
                      <a:cubicBezTo>
                        <a:pt x="210" y="1023"/>
                        <a:pt x="225" y="1009"/>
                        <a:pt x="225" y="990"/>
                      </a:cubicBezTo>
                      <a:cubicBezTo>
                        <a:pt x="225" y="927"/>
                        <a:pt x="225" y="927"/>
                        <a:pt x="225" y="927"/>
                      </a:cubicBezTo>
                      <a:cubicBezTo>
                        <a:pt x="1044" y="927"/>
                        <a:pt x="1044" y="927"/>
                        <a:pt x="1044" y="927"/>
                      </a:cubicBezTo>
                      <a:cubicBezTo>
                        <a:pt x="1044" y="990"/>
                        <a:pt x="1044" y="990"/>
                        <a:pt x="1044" y="990"/>
                      </a:cubicBezTo>
                      <a:cubicBezTo>
                        <a:pt x="1044" y="1009"/>
                        <a:pt x="1059" y="1023"/>
                        <a:pt x="1077" y="1023"/>
                      </a:cubicBezTo>
                      <a:cubicBezTo>
                        <a:pt x="1217" y="1023"/>
                        <a:pt x="1217" y="1023"/>
                        <a:pt x="1217" y="1023"/>
                      </a:cubicBezTo>
                      <a:cubicBezTo>
                        <a:pt x="1236" y="1023"/>
                        <a:pt x="1251" y="1009"/>
                        <a:pt x="1251" y="990"/>
                      </a:cubicBezTo>
                      <a:cubicBezTo>
                        <a:pt x="1251" y="927"/>
                        <a:pt x="1251" y="927"/>
                        <a:pt x="1251" y="927"/>
                      </a:cubicBezTo>
                      <a:cubicBezTo>
                        <a:pt x="1251" y="927"/>
                        <a:pt x="1251" y="878"/>
                        <a:pt x="1251" y="816"/>
                      </a:cubicBezTo>
                      <a:cubicBezTo>
                        <a:pt x="1251" y="719"/>
                        <a:pt x="1251" y="590"/>
                        <a:pt x="1251" y="565"/>
                      </a:cubicBezTo>
                      <a:cubicBezTo>
                        <a:pt x="1251" y="525"/>
                        <a:pt x="1235" y="492"/>
                        <a:pt x="1197" y="464"/>
                      </a:cubicBezTo>
                      <a:cubicBezTo>
                        <a:pt x="1158" y="435"/>
                        <a:pt x="1153" y="368"/>
                        <a:pt x="1153" y="368"/>
                      </a:cubicBezTo>
                      <a:cubicBezTo>
                        <a:pt x="1176" y="362"/>
                        <a:pt x="1246" y="339"/>
                        <a:pt x="1258" y="305"/>
                      </a:cubicBezTo>
                      <a:close/>
                      <a:moveTo>
                        <a:pt x="179" y="675"/>
                      </a:moveTo>
                      <a:cubicBezTo>
                        <a:pt x="138" y="675"/>
                        <a:pt x="106" y="642"/>
                        <a:pt x="106" y="602"/>
                      </a:cubicBezTo>
                      <a:cubicBezTo>
                        <a:pt x="106" y="561"/>
                        <a:pt x="138" y="528"/>
                        <a:pt x="179" y="528"/>
                      </a:cubicBezTo>
                      <a:cubicBezTo>
                        <a:pt x="220" y="528"/>
                        <a:pt x="252" y="561"/>
                        <a:pt x="252" y="602"/>
                      </a:cubicBezTo>
                      <a:cubicBezTo>
                        <a:pt x="252" y="642"/>
                        <a:pt x="220" y="675"/>
                        <a:pt x="179" y="675"/>
                      </a:cubicBezTo>
                      <a:close/>
                      <a:moveTo>
                        <a:pt x="605" y="329"/>
                      </a:moveTo>
                      <a:cubicBezTo>
                        <a:pt x="269" y="329"/>
                        <a:pt x="269" y="329"/>
                        <a:pt x="269" y="329"/>
                      </a:cubicBezTo>
                      <a:cubicBezTo>
                        <a:pt x="368" y="115"/>
                        <a:pt x="368" y="115"/>
                        <a:pt x="368" y="115"/>
                      </a:cubicBezTo>
                      <a:cubicBezTo>
                        <a:pt x="396" y="95"/>
                        <a:pt x="545" y="92"/>
                        <a:pt x="605" y="92"/>
                      </a:cubicBezTo>
                      <a:cubicBezTo>
                        <a:pt x="665" y="92"/>
                        <a:pt x="873" y="95"/>
                        <a:pt x="901" y="115"/>
                      </a:cubicBezTo>
                      <a:cubicBezTo>
                        <a:pt x="999" y="329"/>
                        <a:pt x="999" y="329"/>
                        <a:pt x="999" y="329"/>
                      </a:cubicBezTo>
                      <a:lnTo>
                        <a:pt x="605" y="329"/>
                      </a:lnTo>
                      <a:close/>
                      <a:moveTo>
                        <a:pt x="1163" y="602"/>
                      </a:moveTo>
                      <a:cubicBezTo>
                        <a:pt x="1163" y="642"/>
                        <a:pt x="1130" y="675"/>
                        <a:pt x="1090" y="675"/>
                      </a:cubicBezTo>
                      <a:cubicBezTo>
                        <a:pt x="1049" y="675"/>
                        <a:pt x="1016" y="642"/>
                        <a:pt x="1016" y="602"/>
                      </a:cubicBezTo>
                      <a:cubicBezTo>
                        <a:pt x="1016" y="561"/>
                        <a:pt x="1049" y="528"/>
                        <a:pt x="1090" y="528"/>
                      </a:cubicBezTo>
                      <a:cubicBezTo>
                        <a:pt x="1130" y="528"/>
                        <a:pt x="1163" y="561"/>
                        <a:pt x="1163" y="60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pic>
              <p:nvPicPr>
                <p:cNvPr id="847" name="Picture 846"/>
                <p:cNvPicPr>
                  <a:picLocks noChangeAspect="1"/>
                </p:cNvPicPr>
                <p:nvPr/>
              </p:nvPicPr>
              <p:blipFill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27882" y="2465504"/>
                  <a:ext cx="1402575" cy="1401212"/>
                </a:xfrm>
                <a:prstGeom prst="rect">
                  <a:avLst/>
                </a:prstGeom>
              </p:spPr>
            </p:pic>
            <p:sp>
              <p:nvSpPr>
                <p:cNvPr id="848" name="Freeform 29"/>
                <p:cNvSpPr>
                  <a:spLocks noEditPoints="1"/>
                </p:cNvSpPr>
                <p:nvPr/>
              </p:nvSpPr>
              <p:spPr bwMode="auto">
                <a:xfrm>
                  <a:off x="2882808" y="3115915"/>
                  <a:ext cx="549880" cy="370933"/>
                </a:xfrm>
                <a:custGeom>
                  <a:avLst/>
                  <a:gdLst>
                    <a:gd name="T0" fmla="*/ 1048 w 1147"/>
                    <a:gd name="T1" fmla="*/ 95 h 773"/>
                    <a:gd name="T2" fmla="*/ 829 w 1147"/>
                    <a:gd name="T3" fmla="*/ 65 h 773"/>
                    <a:gd name="T4" fmla="*/ 639 w 1147"/>
                    <a:gd name="T5" fmla="*/ 54 h 773"/>
                    <a:gd name="T6" fmla="*/ 198 w 1147"/>
                    <a:gd name="T7" fmla="*/ 36 h 773"/>
                    <a:gd name="T8" fmla="*/ 15 w 1147"/>
                    <a:gd name="T9" fmla="*/ 300 h 773"/>
                    <a:gd name="T10" fmla="*/ 111 w 1147"/>
                    <a:gd name="T11" fmla="*/ 751 h 773"/>
                    <a:gd name="T12" fmla="*/ 375 w 1147"/>
                    <a:gd name="T13" fmla="*/ 650 h 773"/>
                    <a:gd name="T14" fmla="*/ 595 w 1147"/>
                    <a:gd name="T15" fmla="*/ 523 h 773"/>
                    <a:gd name="T16" fmla="*/ 651 w 1147"/>
                    <a:gd name="T17" fmla="*/ 478 h 773"/>
                    <a:gd name="T18" fmla="*/ 668 w 1147"/>
                    <a:gd name="T19" fmla="*/ 236 h 773"/>
                    <a:gd name="T20" fmla="*/ 723 w 1147"/>
                    <a:gd name="T21" fmla="*/ 477 h 773"/>
                    <a:gd name="T22" fmla="*/ 723 w 1147"/>
                    <a:gd name="T23" fmla="*/ 477 h 773"/>
                    <a:gd name="T24" fmla="*/ 845 w 1147"/>
                    <a:gd name="T25" fmla="*/ 426 h 773"/>
                    <a:gd name="T26" fmla="*/ 1100 w 1147"/>
                    <a:gd name="T27" fmla="*/ 192 h 773"/>
                    <a:gd name="T28" fmla="*/ 1048 w 1147"/>
                    <a:gd name="T29" fmla="*/ 95 h 773"/>
                    <a:gd name="T30" fmla="*/ 63 w 1147"/>
                    <a:gd name="T31" fmla="*/ 303 h 773"/>
                    <a:gd name="T32" fmla="*/ 183 w 1147"/>
                    <a:gd name="T33" fmla="*/ 99 h 773"/>
                    <a:gd name="T34" fmla="*/ 339 w 1147"/>
                    <a:gd name="T35" fmla="*/ 67 h 773"/>
                    <a:gd name="T36" fmla="*/ 63 w 1147"/>
                    <a:gd name="T37" fmla="*/ 303 h 7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47" h="773">
                      <a:moveTo>
                        <a:pt x="1048" y="95"/>
                      </a:moveTo>
                      <a:cubicBezTo>
                        <a:pt x="996" y="68"/>
                        <a:pt x="854" y="64"/>
                        <a:pt x="829" y="65"/>
                      </a:cubicBezTo>
                      <a:cubicBezTo>
                        <a:pt x="805" y="67"/>
                        <a:pt x="667" y="60"/>
                        <a:pt x="639" y="54"/>
                      </a:cubicBezTo>
                      <a:cubicBezTo>
                        <a:pt x="612" y="48"/>
                        <a:pt x="395" y="0"/>
                        <a:pt x="198" y="36"/>
                      </a:cubicBezTo>
                      <a:cubicBezTo>
                        <a:pt x="1" y="73"/>
                        <a:pt x="15" y="300"/>
                        <a:pt x="15" y="300"/>
                      </a:cubicBezTo>
                      <a:cubicBezTo>
                        <a:pt x="0" y="408"/>
                        <a:pt x="70" y="729"/>
                        <a:pt x="111" y="751"/>
                      </a:cubicBezTo>
                      <a:cubicBezTo>
                        <a:pt x="152" y="773"/>
                        <a:pt x="332" y="678"/>
                        <a:pt x="375" y="650"/>
                      </a:cubicBezTo>
                      <a:cubicBezTo>
                        <a:pt x="419" y="622"/>
                        <a:pt x="565" y="542"/>
                        <a:pt x="595" y="523"/>
                      </a:cubicBezTo>
                      <a:cubicBezTo>
                        <a:pt x="615" y="511"/>
                        <a:pt x="638" y="490"/>
                        <a:pt x="651" y="478"/>
                      </a:cubicBezTo>
                      <a:cubicBezTo>
                        <a:pt x="668" y="425"/>
                        <a:pt x="687" y="335"/>
                        <a:pt x="668" y="236"/>
                      </a:cubicBezTo>
                      <a:cubicBezTo>
                        <a:pt x="668" y="236"/>
                        <a:pt x="709" y="401"/>
                        <a:pt x="723" y="477"/>
                      </a:cubicBezTo>
                      <a:cubicBezTo>
                        <a:pt x="723" y="477"/>
                        <a:pt x="723" y="477"/>
                        <a:pt x="723" y="477"/>
                      </a:cubicBezTo>
                      <a:cubicBezTo>
                        <a:pt x="754" y="473"/>
                        <a:pt x="808" y="455"/>
                        <a:pt x="845" y="426"/>
                      </a:cubicBezTo>
                      <a:cubicBezTo>
                        <a:pt x="882" y="396"/>
                        <a:pt x="1053" y="226"/>
                        <a:pt x="1100" y="192"/>
                      </a:cubicBezTo>
                      <a:cubicBezTo>
                        <a:pt x="1147" y="158"/>
                        <a:pt x="1099" y="122"/>
                        <a:pt x="1048" y="95"/>
                      </a:cubicBezTo>
                      <a:close/>
                      <a:moveTo>
                        <a:pt x="63" y="303"/>
                      </a:moveTo>
                      <a:cubicBezTo>
                        <a:pt x="63" y="303"/>
                        <a:pt x="70" y="134"/>
                        <a:pt x="183" y="99"/>
                      </a:cubicBezTo>
                      <a:cubicBezTo>
                        <a:pt x="297" y="63"/>
                        <a:pt x="339" y="67"/>
                        <a:pt x="339" y="67"/>
                      </a:cubicBezTo>
                      <a:cubicBezTo>
                        <a:pt x="339" y="67"/>
                        <a:pt x="109" y="127"/>
                        <a:pt x="63" y="30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849" name="Freeform: Shape 848"/>
                <p:cNvSpPr>
                  <a:spLocks noChangeAspect="1"/>
                </p:cNvSpPr>
                <p:nvPr/>
              </p:nvSpPr>
              <p:spPr>
                <a:xfrm>
                  <a:off x="876238" y="4040693"/>
                  <a:ext cx="2953512" cy="500148"/>
                </a:xfrm>
                <a:custGeom>
                  <a:avLst/>
                  <a:gdLst>
                    <a:gd name="connsiteX0" fmla="*/ 2372394 w 2552202"/>
                    <a:gd name="connsiteY0" fmla="*/ 332374 h 432191"/>
                    <a:gd name="connsiteX1" fmla="*/ 2344852 w 2552202"/>
                    <a:gd name="connsiteY1" fmla="*/ 336378 h 432191"/>
                    <a:gd name="connsiteX2" fmla="*/ 2322778 w 2552202"/>
                    <a:gd name="connsiteY2" fmla="*/ 343655 h 432191"/>
                    <a:gd name="connsiteX3" fmla="*/ 2316430 w 2552202"/>
                    <a:gd name="connsiteY3" fmla="*/ 360014 h 432191"/>
                    <a:gd name="connsiteX4" fmla="*/ 2322340 w 2552202"/>
                    <a:gd name="connsiteY4" fmla="*/ 374664 h 432191"/>
                    <a:gd name="connsiteX5" fmla="*/ 2338796 w 2552202"/>
                    <a:gd name="connsiteY5" fmla="*/ 380427 h 432191"/>
                    <a:gd name="connsiteX6" fmla="*/ 2362822 w 2552202"/>
                    <a:gd name="connsiteY6" fmla="*/ 369732 h 432191"/>
                    <a:gd name="connsiteX7" fmla="*/ 2372394 w 2552202"/>
                    <a:gd name="connsiteY7" fmla="*/ 342141 h 432191"/>
                    <a:gd name="connsiteX8" fmla="*/ 1943770 w 2552202"/>
                    <a:gd name="connsiteY8" fmla="*/ 332374 h 432191"/>
                    <a:gd name="connsiteX9" fmla="*/ 1916226 w 2552202"/>
                    <a:gd name="connsiteY9" fmla="*/ 336378 h 432191"/>
                    <a:gd name="connsiteX10" fmla="*/ 1894154 w 2552202"/>
                    <a:gd name="connsiteY10" fmla="*/ 343655 h 432191"/>
                    <a:gd name="connsiteX11" fmla="*/ 1887806 w 2552202"/>
                    <a:gd name="connsiteY11" fmla="*/ 360014 h 432191"/>
                    <a:gd name="connsiteX12" fmla="*/ 1893714 w 2552202"/>
                    <a:gd name="connsiteY12" fmla="*/ 374664 h 432191"/>
                    <a:gd name="connsiteX13" fmla="*/ 1910172 w 2552202"/>
                    <a:gd name="connsiteY13" fmla="*/ 380427 h 432191"/>
                    <a:gd name="connsiteX14" fmla="*/ 1934198 w 2552202"/>
                    <a:gd name="connsiteY14" fmla="*/ 369732 h 432191"/>
                    <a:gd name="connsiteX15" fmla="*/ 1943770 w 2552202"/>
                    <a:gd name="connsiteY15" fmla="*/ 342141 h 432191"/>
                    <a:gd name="connsiteX16" fmla="*/ 1217530 w 2552202"/>
                    <a:gd name="connsiteY16" fmla="*/ 291940 h 432191"/>
                    <a:gd name="connsiteX17" fmla="*/ 1191550 w 2552202"/>
                    <a:gd name="connsiteY17" fmla="*/ 304002 h 432191"/>
                    <a:gd name="connsiteX18" fmla="*/ 1181295 w 2552202"/>
                    <a:gd name="connsiteY18" fmla="*/ 337161 h 432191"/>
                    <a:gd name="connsiteX19" fmla="*/ 1190524 w 2552202"/>
                    <a:gd name="connsiteY19" fmla="*/ 369147 h 432191"/>
                    <a:gd name="connsiteX20" fmla="*/ 1214307 w 2552202"/>
                    <a:gd name="connsiteY20" fmla="*/ 380428 h 432191"/>
                    <a:gd name="connsiteX21" fmla="*/ 1240775 w 2552202"/>
                    <a:gd name="connsiteY21" fmla="*/ 369831 h 432191"/>
                    <a:gd name="connsiteX22" fmla="*/ 1250151 w 2552202"/>
                    <a:gd name="connsiteY22" fmla="*/ 343997 h 432191"/>
                    <a:gd name="connsiteX23" fmla="*/ 1250151 w 2552202"/>
                    <a:gd name="connsiteY23" fmla="*/ 325343 h 432191"/>
                    <a:gd name="connsiteX24" fmla="*/ 1241312 w 2552202"/>
                    <a:gd name="connsiteY24" fmla="*/ 301658 h 432191"/>
                    <a:gd name="connsiteX25" fmla="*/ 1217530 w 2552202"/>
                    <a:gd name="connsiteY25" fmla="*/ 291940 h 432191"/>
                    <a:gd name="connsiteX26" fmla="*/ 2205832 w 2552202"/>
                    <a:gd name="connsiteY26" fmla="*/ 291939 h 432191"/>
                    <a:gd name="connsiteX27" fmla="*/ 2178778 w 2552202"/>
                    <a:gd name="connsiteY27" fmla="*/ 303659 h 432191"/>
                    <a:gd name="connsiteX28" fmla="*/ 2169206 w 2552202"/>
                    <a:gd name="connsiteY28" fmla="*/ 331202 h 432191"/>
                    <a:gd name="connsiteX29" fmla="*/ 2169206 w 2552202"/>
                    <a:gd name="connsiteY29" fmla="*/ 343801 h 432191"/>
                    <a:gd name="connsiteX30" fmla="*/ 2178680 w 2552202"/>
                    <a:gd name="connsiteY30" fmla="*/ 369634 h 432191"/>
                    <a:gd name="connsiteX31" fmla="*/ 2203586 w 2552202"/>
                    <a:gd name="connsiteY31" fmla="*/ 380427 h 432191"/>
                    <a:gd name="connsiteX32" fmla="*/ 2228492 w 2552202"/>
                    <a:gd name="connsiteY32" fmla="*/ 367290 h 432191"/>
                    <a:gd name="connsiteX33" fmla="*/ 2238062 w 2552202"/>
                    <a:gd name="connsiteY33" fmla="*/ 332765 h 432191"/>
                    <a:gd name="connsiteX34" fmla="*/ 2229272 w 2552202"/>
                    <a:gd name="connsiteY34" fmla="*/ 302976 h 432191"/>
                    <a:gd name="connsiteX35" fmla="*/ 2205832 w 2552202"/>
                    <a:gd name="connsiteY35" fmla="*/ 291939 h 432191"/>
                    <a:gd name="connsiteX36" fmla="*/ 1568782 w 2552202"/>
                    <a:gd name="connsiteY36" fmla="*/ 291939 h 432191"/>
                    <a:gd name="connsiteX37" fmla="*/ 1545488 w 2552202"/>
                    <a:gd name="connsiteY37" fmla="*/ 301364 h 432191"/>
                    <a:gd name="connsiteX38" fmla="*/ 1534110 w 2552202"/>
                    <a:gd name="connsiteY38" fmla="*/ 328370 h 432191"/>
                    <a:gd name="connsiteX39" fmla="*/ 1598376 w 2552202"/>
                    <a:gd name="connsiteY39" fmla="*/ 328370 h 432191"/>
                    <a:gd name="connsiteX40" fmla="*/ 1590074 w 2552202"/>
                    <a:gd name="connsiteY40" fmla="*/ 301511 h 432191"/>
                    <a:gd name="connsiteX41" fmla="*/ 1568782 w 2552202"/>
                    <a:gd name="connsiteY41" fmla="*/ 291939 h 432191"/>
                    <a:gd name="connsiteX42" fmla="*/ 1111583 w 2552202"/>
                    <a:gd name="connsiteY42" fmla="*/ 291939 h 432191"/>
                    <a:gd name="connsiteX43" fmla="*/ 1088289 w 2552202"/>
                    <a:gd name="connsiteY43" fmla="*/ 301364 h 432191"/>
                    <a:gd name="connsiteX44" fmla="*/ 1076911 w 2552202"/>
                    <a:gd name="connsiteY44" fmla="*/ 328370 h 432191"/>
                    <a:gd name="connsiteX45" fmla="*/ 1141176 w 2552202"/>
                    <a:gd name="connsiteY45" fmla="*/ 328370 h 432191"/>
                    <a:gd name="connsiteX46" fmla="*/ 1132875 w 2552202"/>
                    <a:gd name="connsiteY46" fmla="*/ 301511 h 432191"/>
                    <a:gd name="connsiteX47" fmla="*/ 1111583 w 2552202"/>
                    <a:gd name="connsiteY47" fmla="*/ 291939 h 432191"/>
                    <a:gd name="connsiteX48" fmla="*/ 738982 w 2552202"/>
                    <a:gd name="connsiteY48" fmla="*/ 291939 h 432191"/>
                    <a:gd name="connsiteX49" fmla="*/ 711928 w 2552202"/>
                    <a:gd name="connsiteY49" fmla="*/ 303659 h 432191"/>
                    <a:gd name="connsiteX50" fmla="*/ 702357 w 2552202"/>
                    <a:gd name="connsiteY50" fmla="*/ 331202 h 432191"/>
                    <a:gd name="connsiteX51" fmla="*/ 702357 w 2552202"/>
                    <a:gd name="connsiteY51" fmla="*/ 343801 h 432191"/>
                    <a:gd name="connsiteX52" fmla="*/ 711831 w 2552202"/>
                    <a:gd name="connsiteY52" fmla="*/ 369634 h 432191"/>
                    <a:gd name="connsiteX53" fmla="*/ 736736 w 2552202"/>
                    <a:gd name="connsiteY53" fmla="*/ 380427 h 432191"/>
                    <a:gd name="connsiteX54" fmla="*/ 761641 w 2552202"/>
                    <a:gd name="connsiteY54" fmla="*/ 367290 h 432191"/>
                    <a:gd name="connsiteX55" fmla="*/ 771213 w 2552202"/>
                    <a:gd name="connsiteY55" fmla="*/ 332765 h 432191"/>
                    <a:gd name="connsiteX56" fmla="*/ 762423 w 2552202"/>
                    <a:gd name="connsiteY56" fmla="*/ 302976 h 432191"/>
                    <a:gd name="connsiteX57" fmla="*/ 738982 w 2552202"/>
                    <a:gd name="connsiteY57" fmla="*/ 291939 h 432191"/>
                    <a:gd name="connsiteX58" fmla="*/ 1422256 w 2552202"/>
                    <a:gd name="connsiteY58" fmla="*/ 286177 h 432191"/>
                    <a:gd name="connsiteX59" fmla="*/ 1432316 w 2552202"/>
                    <a:gd name="connsiteY59" fmla="*/ 286177 h 432191"/>
                    <a:gd name="connsiteX60" fmla="*/ 1462106 w 2552202"/>
                    <a:gd name="connsiteY60" fmla="*/ 365777 h 432191"/>
                    <a:gd name="connsiteX61" fmla="*/ 1465134 w 2552202"/>
                    <a:gd name="connsiteY61" fmla="*/ 376227 h 432191"/>
                    <a:gd name="connsiteX62" fmla="*/ 1465524 w 2552202"/>
                    <a:gd name="connsiteY62" fmla="*/ 376227 h 432191"/>
                    <a:gd name="connsiteX63" fmla="*/ 1468356 w 2552202"/>
                    <a:gd name="connsiteY63" fmla="*/ 366167 h 432191"/>
                    <a:gd name="connsiteX64" fmla="*/ 1499122 w 2552202"/>
                    <a:gd name="connsiteY64" fmla="*/ 286177 h 432191"/>
                    <a:gd name="connsiteX65" fmla="*/ 1508888 w 2552202"/>
                    <a:gd name="connsiteY65" fmla="*/ 286177 h 432191"/>
                    <a:gd name="connsiteX66" fmla="*/ 1469138 w 2552202"/>
                    <a:gd name="connsiteY66" fmla="*/ 386189 h 432191"/>
                    <a:gd name="connsiteX67" fmla="*/ 1460934 w 2552202"/>
                    <a:gd name="connsiteY67" fmla="*/ 386189 h 432191"/>
                    <a:gd name="connsiteX68" fmla="*/ 1398222 w 2552202"/>
                    <a:gd name="connsiteY68" fmla="*/ 286177 h 432191"/>
                    <a:gd name="connsiteX69" fmla="*/ 1407206 w 2552202"/>
                    <a:gd name="connsiteY69" fmla="*/ 286177 h 432191"/>
                    <a:gd name="connsiteX70" fmla="*/ 1407206 w 2552202"/>
                    <a:gd name="connsiteY70" fmla="*/ 386189 h 432191"/>
                    <a:gd name="connsiteX71" fmla="*/ 1398222 w 2552202"/>
                    <a:gd name="connsiteY71" fmla="*/ 386189 h 432191"/>
                    <a:gd name="connsiteX72" fmla="*/ 874346 w 2552202"/>
                    <a:gd name="connsiteY72" fmla="*/ 286177 h 432191"/>
                    <a:gd name="connsiteX73" fmla="*/ 883332 w 2552202"/>
                    <a:gd name="connsiteY73" fmla="*/ 286177 h 432191"/>
                    <a:gd name="connsiteX74" fmla="*/ 883332 w 2552202"/>
                    <a:gd name="connsiteY74" fmla="*/ 386189 h 432191"/>
                    <a:gd name="connsiteX75" fmla="*/ 874346 w 2552202"/>
                    <a:gd name="connsiteY75" fmla="*/ 386189 h 432191"/>
                    <a:gd name="connsiteX76" fmla="*/ 93296 w 2552202"/>
                    <a:gd name="connsiteY76" fmla="*/ 286177 h 432191"/>
                    <a:gd name="connsiteX77" fmla="*/ 102282 w 2552202"/>
                    <a:gd name="connsiteY77" fmla="*/ 286177 h 432191"/>
                    <a:gd name="connsiteX78" fmla="*/ 102282 w 2552202"/>
                    <a:gd name="connsiteY78" fmla="*/ 386189 h 432191"/>
                    <a:gd name="connsiteX79" fmla="*/ 93296 w 2552202"/>
                    <a:gd name="connsiteY79" fmla="*/ 386189 h 432191"/>
                    <a:gd name="connsiteX80" fmla="*/ 1854532 w 2552202"/>
                    <a:gd name="connsiteY80" fmla="*/ 284223 h 432191"/>
                    <a:gd name="connsiteX81" fmla="*/ 1864496 w 2552202"/>
                    <a:gd name="connsiteY81" fmla="*/ 285981 h 432191"/>
                    <a:gd name="connsiteX82" fmla="*/ 1864496 w 2552202"/>
                    <a:gd name="connsiteY82" fmla="*/ 295553 h 432191"/>
                    <a:gd name="connsiteX83" fmla="*/ 1853946 w 2552202"/>
                    <a:gd name="connsiteY83" fmla="*/ 292330 h 432191"/>
                    <a:gd name="connsiteX84" fmla="*/ 1834120 w 2552202"/>
                    <a:gd name="connsiteY84" fmla="*/ 304538 h 432191"/>
                    <a:gd name="connsiteX85" fmla="*/ 1826112 w 2552202"/>
                    <a:gd name="connsiteY85" fmla="*/ 339211 h 432191"/>
                    <a:gd name="connsiteX86" fmla="*/ 1826112 w 2552202"/>
                    <a:gd name="connsiteY86" fmla="*/ 386189 h 432191"/>
                    <a:gd name="connsiteX87" fmla="*/ 1817322 w 2552202"/>
                    <a:gd name="connsiteY87" fmla="*/ 386189 h 432191"/>
                    <a:gd name="connsiteX88" fmla="*/ 1817322 w 2552202"/>
                    <a:gd name="connsiteY88" fmla="*/ 286177 h 432191"/>
                    <a:gd name="connsiteX89" fmla="*/ 1826112 w 2552202"/>
                    <a:gd name="connsiteY89" fmla="*/ 286177 h 432191"/>
                    <a:gd name="connsiteX90" fmla="*/ 1826112 w 2552202"/>
                    <a:gd name="connsiteY90" fmla="*/ 308347 h 432191"/>
                    <a:gd name="connsiteX91" fmla="*/ 1826502 w 2552202"/>
                    <a:gd name="connsiteY91" fmla="*/ 308347 h 432191"/>
                    <a:gd name="connsiteX92" fmla="*/ 1837344 w 2552202"/>
                    <a:gd name="connsiteY92" fmla="*/ 290572 h 432191"/>
                    <a:gd name="connsiteX93" fmla="*/ 1854532 w 2552202"/>
                    <a:gd name="connsiteY93" fmla="*/ 284223 h 432191"/>
                    <a:gd name="connsiteX94" fmla="*/ 1673558 w 2552202"/>
                    <a:gd name="connsiteY94" fmla="*/ 284223 h 432191"/>
                    <a:gd name="connsiteX95" fmla="*/ 1683520 w 2552202"/>
                    <a:gd name="connsiteY95" fmla="*/ 285981 h 432191"/>
                    <a:gd name="connsiteX96" fmla="*/ 1683520 w 2552202"/>
                    <a:gd name="connsiteY96" fmla="*/ 295553 h 432191"/>
                    <a:gd name="connsiteX97" fmla="*/ 1672972 w 2552202"/>
                    <a:gd name="connsiteY97" fmla="*/ 292330 h 432191"/>
                    <a:gd name="connsiteX98" fmla="*/ 1653144 w 2552202"/>
                    <a:gd name="connsiteY98" fmla="*/ 304538 h 432191"/>
                    <a:gd name="connsiteX99" fmla="*/ 1645136 w 2552202"/>
                    <a:gd name="connsiteY99" fmla="*/ 339211 h 432191"/>
                    <a:gd name="connsiteX100" fmla="*/ 1645136 w 2552202"/>
                    <a:gd name="connsiteY100" fmla="*/ 386189 h 432191"/>
                    <a:gd name="connsiteX101" fmla="*/ 1636346 w 2552202"/>
                    <a:gd name="connsiteY101" fmla="*/ 386189 h 432191"/>
                    <a:gd name="connsiteX102" fmla="*/ 1636346 w 2552202"/>
                    <a:gd name="connsiteY102" fmla="*/ 286177 h 432191"/>
                    <a:gd name="connsiteX103" fmla="*/ 1645136 w 2552202"/>
                    <a:gd name="connsiteY103" fmla="*/ 286177 h 432191"/>
                    <a:gd name="connsiteX104" fmla="*/ 1645136 w 2552202"/>
                    <a:gd name="connsiteY104" fmla="*/ 308347 h 432191"/>
                    <a:gd name="connsiteX105" fmla="*/ 1645526 w 2552202"/>
                    <a:gd name="connsiteY105" fmla="*/ 308347 h 432191"/>
                    <a:gd name="connsiteX106" fmla="*/ 1656368 w 2552202"/>
                    <a:gd name="connsiteY106" fmla="*/ 290572 h 432191"/>
                    <a:gd name="connsiteX107" fmla="*/ 1673558 w 2552202"/>
                    <a:gd name="connsiteY107" fmla="*/ 284223 h 432191"/>
                    <a:gd name="connsiteX108" fmla="*/ 844883 w 2552202"/>
                    <a:gd name="connsiteY108" fmla="*/ 284223 h 432191"/>
                    <a:gd name="connsiteX109" fmla="*/ 854845 w 2552202"/>
                    <a:gd name="connsiteY109" fmla="*/ 285981 h 432191"/>
                    <a:gd name="connsiteX110" fmla="*/ 854845 w 2552202"/>
                    <a:gd name="connsiteY110" fmla="*/ 295553 h 432191"/>
                    <a:gd name="connsiteX111" fmla="*/ 844297 w 2552202"/>
                    <a:gd name="connsiteY111" fmla="*/ 292330 h 432191"/>
                    <a:gd name="connsiteX112" fmla="*/ 824470 w 2552202"/>
                    <a:gd name="connsiteY112" fmla="*/ 304538 h 432191"/>
                    <a:gd name="connsiteX113" fmla="*/ 816461 w 2552202"/>
                    <a:gd name="connsiteY113" fmla="*/ 339211 h 432191"/>
                    <a:gd name="connsiteX114" fmla="*/ 816461 w 2552202"/>
                    <a:gd name="connsiteY114" fmla="*/ 386189 h 432191"/>
                    <a:gd name="connsiteX115" fmla="*/ 807671 w 2552202"/>
                    <a:gd name="connsiteY115" fmla="*/ 386189 h 432191"/>
                    <a:gd name="connsiteX116" fmla="*/ 807671 w 2552202"/>
                    <a:gd name="connsiteY116" fmla="*/ 286177 h 432191"/>
                    <a:gd name="connsiteX117" fmla="*/ 816461 w 2552202"/>
                    <a:gd name="connsiteY117" fmla="*/ 286177 h 432191"/>
                    <a:gd name="connsiteX118" fmla="*/ 816461 w 2552202"/>
                    <a:gd name="connsiteY118" fmla="*/ 308347 h 432191"/>
                    <a:gd name="connsiteX119" fmla="*/ 816852 w 2552202"/>
                    <a:gd name="connsiteY119" fmla="*/ 308347 h 432191"/>
                    <a:gd name="connsiteX120" fmla="*/ 827693 w 2552202"/>
                    <a:gd name="connsiteY120" fmla="*/ 290572 h 432191"/>
                    <a:gd name="connsiteX121" fmla="*/ 844883 w 2552202"/>
                    <a:gd name="connsiteY121" fmla="*/ 284223 h 432191"/>
                    <a:gd name="connsiteX122" fmla="*/ 168608 w 2552202"/>
                    <a:gd name="connsiteY122" fmla="*/ 284223 h 432191"/>
                    <a:gd name="connsiteX123" fmla="*/ 178570 w 2552202"/>
                    <a:gd name="connsiteY123" fmla="*/ 285981 h 432191"/>
                    <a:gd name="connsiteX124" fmla="*/ 178570 w 2552202"/>
                    <a:gd name="connsiteY124" fmla="*/ 295553 h 432191"/>
                    <a:gd name="connsiteX125" fmla="*/ 168022 w 2552202"/>
                    <a:gd name="connsiteY125" fmla="*/ 292330 h 432191"/>
                    <a:gd name="connsiteX126" fmla="*/ 148195 w 2552202"/>
                    <a:gd name="connsiteY126" fmla="*/ 304538 h 432191"/>
                    <a:gd name="connsiteX127" fmla="*/ 140186 w 2552202"/>
                    <a:gd name="connsiteY127" fmla="*/ 339211 h 432191"/>
                    <a:gd name="connsiteX128" fmla="*/ 140186 w 2552202"/>
                    <a:gd name="connsiteY128" fmla="*/ 386189 h 432191"/>
                    <a:gd name="connsiteX129" fmla="*/ 131396 w 2552202"/>
                    <a:gd name="connsiteY129" fmla="*/ 386189 h 432191"/>
                    <a:gd name="connsiteX130" fmla="*/ 131396 w 2552202"/>
                    <a:gd name="connsiteY130" fmla="*/ 286177 h 432191"/>
                    <a:gd name="connsiteX131" fmla="*/ 140186 w 2552202"/>
                    <a:gd name="connsiteY131" fmla="*/ 286177 h 432191"/>
                    <a:gd name="connsiteX132" fmla="*/ 140186 w 2552202"/>
                    <a:gd name="connsiteY132" fmla="*/ 308347 h 432191"/>
                    <a:gd name="connsiteX133" fmla="*/ 140577 w 2552202"/>
                    <a:gd name="connsiteY133" fmla="*/ 308347 h 432191"/>
                    <a:gd name="connsiteX134" fmla="*/ 151418 w 2552202"/>
                    <a:gd name="connsiteY134" fmla="*/ 290572 h 432191"/>
                    <a:gd name="connsiteX135" fmla="*/ 168608 w 2552202"/>
                    <a:gd name="connsiteY135" fmla="*/ 284223 h 432191"/>
                    <a:gd name="connsiteX136" fmla="*/ 2451432 w 2552202"/>
                    <a:gd name="connsiteY136" fmla="*/ 283735 h 432191"/>
                    <a:gd name="connsiteX137" fmla="*/ 2476240 w 2552202"/>
                    <a:gd name="connsiteY137" fmla="*/ 294527 h 432191"/>
                    <a:gd name="connsiteX138" fmla="*/ 2484834 w 2552202"/>
                    <a:gd name="connsiteY138" fmla="*/ 325342 h 432191"/>
                    <a:gd name="connsiteX139" fmla="*/ 2484834 w 2552202"/>
                    <a:gd name="connsiteY139" fmla="*/ 386189 h 432191"/>
                    <a:gd name="connsiteX140" fmla="*/ 2475848 w 2552202"/>
                    <a:gd name="connsiteY140" fmla="*/ 386189 h 432191"/>
                    <a:gd name="connsiteX141" fmla="*/ 2475848 w 2552202"/>
                    <a:gd name="connsiteY141" fmla="*/ 327979 h 432191"/>
                    <a:gd name="connsiteX142" fmla="*/ 2449868 w 2552202"/>
                    <a:gd name="connsiteY142" fmla="*/ 291939 h 432191"/>
                    <a:gd name="connsiteX143" fmla="*/ 2426136 w 2552202"/>
                    <a:gd name="connsiteY143" fmla="*/ 302536 h 432191"/>
                    <a:gd name="connsiteX144" fmla="*/ 2416856 w 2552202"/>
                    <a:gd name="connsiteY144" fmla="*/ 328760 h 432191"/>
                    <a:gd name="connsiteX145" fmla="*/ 2416856 w 2552202"/>
                    <a:gd name="connsiteY145" fmla="*/ 386189 h 432191"/>
                    <a:gd name="connsiteX146" fmla="*/ 2407872 w 2552202"/>
                    <a:gd name="connsiteY146" fmla="*/ 386189 h 432191"/>
                    <a:gd name="connsiteX147" fmla="*/ 2407872 w 2552202"/>
                    <a:gd name="connsiteY147" fmla="*/ 286177 h 432191"/>
                    <a:gd name="connsiteX148" fmla="*/ 2416856 w 2552202"/>
                    <a:gd name="connsiteY148" fmla="*/ 286177 h 432191"/>
                    <a:gd name="connsiteX149" fmla="*/ 2416856 w 2552202"/>
                    <a:gd name="connsiteY149" fmla="*/ 304343 h 432191"/>
                    <a:gd name="connsiteX150" fmla="*/ 2417248 w 2552202"/>
                    <a:gd name="connsiteY150" fmla="*/ 304343 h 432191"/>
                    <a:gd name="connsiteX151" fmla="*/ 2451432 w 2552202"/>
                    <a:gd name="connsiteY151" fmla="*/ 283735 h 432191"/>
                    <a:gd name="connsiteX152" fmla="*/ 2349052 w 2552202"/>
                    <a:gd name="connsiteY152" fmla="*/ 283735 h 432191"/>
                    <a:gd name="connsiteX153" fmla="*/ 2372932 w 2552202"/>
                    <a:gd name="connsiteY153" fmla="*/ 293307 h 432191"/>
                    <a:gd name="connsiteX154" fmla="*/ 2381380 w 2552202"/>
                    <a:gd name="connsiteY154" fmla="*/ 321142 h 432191"/>
                    <a:gd name="connsiteX155" fmla="*/ 2381380 w 2552202"/>
                    <a:gd name="connsiteY155" fmla="*/ 386189 h 432191"/>
                    <a:gd name="connsiteX156" fmla="*/ 2372394 w 2552202"/>
                    <a:gd name="connsiteY156" fmla="*/ 386189 h 432191"/>
                    <a:gd name="connsiteX157" fmla="*/ 2372394 w 2552202"/>
                    <a:gd name="connsiteY157" fmla="*/ 366167 h 432191"/>
                    <a:gd name="connsiteX158" fmla="*/ 2372004 w 2552202"/>
                    <a:gd name="connsiteY158" fmla="*/ 366167 h 432191"/>
                    <a:gd name="connsiteX159" fmla="*/ 2358086 w 2552202"/>
                    <a:gd name="connsiteY159" fmla="*/ 382527 h 432191"/>
                    <a:gd name="connsiteX160" fmla="*/ 2337820 w 2552202"/>
                    <a:gd name="connsiteY160" fmla="*/ 388631 h 432191"/>
                    <a:gd name="connsiteX161" fmla="*/ 2315258 w 2552202"/>
                    <a:gd name="connsiteY161" fmla="*/ 380622 h 432191"/>
                    <a:gd name="connsiteX162" fmla="*/ 2306956 w 2552202"/>
                    <a:gd name="connsiteY162" fmla="*/ 360405 h 432191"/>
                    <a:gd name="connsiteX163" fmla="*/ 2341628 w 2552202"/>
                    <a:gd name="connsiteY163" fmla="*/ 328760 h 432191"/>
                    <a:gd name="connsiteX164" fmla="*/ 2372394 w 2552202"/>
                    <a:gd name="connsiteY164" fmla="*/ 324170 h 432191"/>
                    <a:gd name="connsiteX165" fmla="*/ 2348172 w 2552202"/>
                    <a:gd name="connsiteY165" fmla="*/ 291939 h 432191"/>
                    <a:gd name="connsiteX166" fmla="*/ 2316040 w 2552202"/>
                    <a:gd name="connsiteY166" fmla="*/ 305222 h 432191"/>
                    <a:gd name="connsiteX167" fmla="*/ 2316040 w 2552202"/>
                    <a:gd name="connsiteY167" fmla="*/ 294381 h 432191"/>
                    <a:gd name="connsiteX168" fmla="*/ 2331130 w 2552202"/>
                    <a:gd name="connsiteY168" fmla="*/ 286860 h 432191"/>
                    <a:gd name="connsiteX169" fmla="*/ 2349052 w 2552202"/>
                    <a:gd name="connsiteY169" fmla="*/ 283735 h 432191"/>
                    <a:gd name="connsiteX170" fmla="*/ 2207004 w 2552202"/>
                    <a:gd name="connsiteY170" fmla="*/ 283735 h 432191"/>
                    <a:gd name="connsiteX171" fmla="*/ 2236744 w 2552202"/>
                    <a:gd name="connsiteY171" fmla="*/ 296871 h 432191"/>
                    <a:gd name="connsiteX172" fmla="*/ 2247440 w 2552202"/>
                    <a:gd name="connsiteY172" fmla="*/ 332569 h 432191"/>
                    <a:gd name="connsiteX173" fmla="*/ 2235182 w 2552202"/>
                    <a:gd name="connsiteY173" fmla="*/ 373150 h 432191"/>
                    <a:gd name="connsiteX174" fmla="*/ 2202804 w 2552202"/>
                    <a:gd name="connsiteY174" fmla="*/ 388631 h 432191"/>
                    <a:gd name="connsiteX175" fmla="*/ 2169598 w 2552202"/>
                    <a:gd name="connsiteY175" fmla="*/ 368414 h 432191"/>
                    <a:gd name="connsiteX176" fmla="*/ 2169206 w 2552202"/>
                    <a:gd name="connsiteY176" fmla="*/ 368414 h 432191"/>
                    <a:gd name="connsiteX177" fmla="*/ 2169206 w 2552202"/>
                    <a:gd name="connsiteY177" fmla="*/ 432191 h 432191"/>
                    <a:gd name="connsiteX178" fmla="*/ 2160220 w 2552202"/>
                    <a:gd name="connsiteY178" fmla="*/ 432191 h 432191"/>
                    <a:gd name="connsiteX179" fmla="*/ 2160220 w 2552202"/>
                    <a:gd name="connsiteY179" fmla="*/ 286177 h 432191"/>
                    <a:gd name="connsiteX180" fmla="*/ 2169206 w 2552202"/>
                    <a:gd name="connsiteY180" fmla="*/ 286177 h 432191"/>
                    <a:gd name="connsiteX181" fmla="*/ 2169206 w 2552202"/>
                    <a:gd name="connsiteY181" fmla="*/ 306785 h 432191"/>
                    <a:gd name="connsiteX182" fmla="*/ 2169598 w 2552202"/>
                    <a:gd name="connsiteY182" fmla="*/ 306785 h 432191"/>
                    <a:gd name="connsiteX183" fmla="*/ 2184980 w 2552202"/>
                    <a:gd name="connsiteY183" fmla="*/ 289742 h 432191"/>
                    <a:gd name="connsiteX184" fmla="*/ 2207004 w 2552202"/>
                    <a:gd name="connsiteY184" fmla="*/ 283735 h 432191"/>
                    <a:gd name="connsiteX185" fmla="*/ 2111564 w 2552202"/>
                    <a:gd name="connsiteY185" fmla="*/ 283735 h 432191"/>
                    <a:gd name="connsiteX186" fmla="*/ 2133636 w 2552202"/>
                    <a:gd name="connsiteY186" fmla="*/ 289009 h 432191"/>
                    <a:gd name="connsiteX187" fmla="*/ 2133636 w 2552202"/>
                    <a:gd name="connsiteY187" fmla="*/ 299167 h 432191"/>
                    <a:gd name="connsiteX188" fmla="*/ 2110588 w 2552202"/>
                    <a:gd name="connsiteY188" fmla="*/ 291939 h 432191"/>
                    <a:gd name="connsiteX189" fmla="*/ 2094668 w 2552202"/>
                    <a:gd name="connsiteY189" fmla="*/ 297067 h 432191"/>
                    <a:gd name="connsiteX190" fmla="*/ 2088612 w 2552202"/>
                    <a:gd name="connsiteY190" fmla="*/ 310399 h 432191"/>
                    <a:gd name="connsiteX191" fmla="*/ 2092420 w 2552202"/>
                    <a:gd name="connsiteY191" fmla="*/ 321972 h 432191"/>
                    <a:gd name="connsiteX192" fmla="*/ 2109220 w 2552202"/>
                    <a:gd name="connsiteY192" fmla="*/ 332179 h 432191"/>
                    <a:gd name="connsiteX193" fmla="*/ 2130706 w 2552202"/>
                    <a:gd name="connsiteY193" fmla="*/ 345217 h 432191"/>
                    <a:gd name="connsiteX194" fmla="*/ 2136566 w 2552202"/>
                    <a:gd name="connsiteY194" fmla="*/ 361186 h 432191"/>
                    <a:gd name="connsiteX195" fmla="*/ 2127630 w 2552202"/>
                    <a:gd name="connsiteY195" fmla="*/ 380866 h 432191"/>
                    <a:gd name="connsiteX196" fmla="*/ 2102968 w 2552202"/>
                    <a:gd name="connsiteY196" fmla="*/ 388631 h 432191"/>
                    <a:gd name="connsiteX197" fmla="*/ 2078844 w 2552202"/>
                    <a:gd name="connsiteY197" fmla="*/ 381794 h 432191"/>
                    <a:gd name="connsiteX198" fmla="*/ 2078844 w 2552202"/>
                    <a:gd name="connsiteY198" fmla="*/ 370953 h 432191"/>
                    <a:gd name="connsiteX199" fmla="*/ 2091150 w 2552202"/>
                    <a:gd name="connsiteY199" fmla="*/ 377887 h 432191"/>
                    <a:gd name="connsiteX200" fmla="*/ 2103652 w 2552202"/>
                    <a:gd name="connsiteY200" fmla="*/ 380427 h 432191"/>
                    <a:gd name="connsiteX201" fmla="*/ 2127190 w 2552202"/>
                    <a:gd name="connsiteY201" fmla="*/ 361186 h 432191"/>
                    <a:gd name="connsiteX202" fmla="*/ 2122014 w 2552202"/>
                    <a:gd name="connsiteY202" fmla="*/ 349857 h 432191"/>
                    <a:gd name="connsiteX203" fmla="*/ 2105216 w 2552202"/>
                    <a:gd name="connsiteY203" fmla="*/ 340187 h 432191"/>
                    <a:gd name="connsiteX204" fmla="*/ 2085046 w 2552202"/>
                    <a:gd name="connsiteY204" fmla="*/ 327246 h 432191"/>
                    <a:gd name="connsiteX205" fmla="*/ 2079236 w 2552202"/>
                    <a:gd name="connsiteY205" fmla="*/ 310985 h 432191"/>
                    <a:gd name="connsiteX206" fmla="*/ 2088562 w 2552202"/>
                    <a:gd name="connsiteY206" fmla="*/ 291255 h 432191"/>
                    <a:gd name="connsiteX207" fmla="*/ 2111564 w 2552202"/>
                    <a:gd name="connsiteY207" fmla="*/ 283735 h 432191"/>
                    <a:gd name="connsiteX208" fmla="*/ 2022806 w 2552202"/>
                    <a:gd name="connsiteY208" fmla="*/ 283735 h 432191"/>
                    <a:gd name="connsiteX209" fmla="*/ 2047614 w 2552202"/>
                    <a:gd name="connsiteY209" fmla="*/ 294527 h 432191"/>
                    <a:gd name="connsiteX210" fmla="*/ 2056208 w 2552202"/>
                    <a:gd name="connsiteY210" fmla="*/ 325342 h 432191"/>
                    <a:gd name="connsiteX211" fmla="*/ 2056208 w 2552202"/>
                    <a:gd name="connsiteY211" fmla="*/ 386189 h 432191"/>
                    <a:gd name="connsiteX212" fmla="*/ 2047224 w 2552202"/>
                    <a:gd name="connsiteY212" fmla="*/ 386189 h 432191"/>
                    <a:gd name="connsiteX213" fmla="*/ 2047224 w 2552202"/>
                    <a:gd name="connsiteY213" fmla="*/ 327979 h 432191"/>
                    <a:gd name="connsiteX214" fmla="*/ 2021244 w 2552202"/>
                    <a:gd name="connsiteY214" fmla="*/ 291939 h 432191"/>
                    <a:gd name="connsiteX215" fmla="*/ 1997510 w 2552202"/>
                    <a:gd name="connsiteY215" fmla="*/ 302536 h 432191"/>
                    <a:gd name="connsiteX216" fmla="*/ 1988232 w 2552202"/>
                    <a:gd name="connsiteY216" fmla="*/ 328760 h 432191"/>
                    <a:gd name="connsiteX217" fmla="*/ 1988232 w 2552202"/>
                    <a:gd name="connsiteY217" fmla="*/ 386189 h 432191"/>
                    <a:gd name="connsiteX218" fmla="*/ 1979246 w 2552202"/>
                    <a:gd name="connsiteY218" fmla="*/ 386189 h 432191"/>
                    <a:gd name="connsiteX219" fmla="*/ 1979246 w 2552202"/>
                    <a:gd name="connsiteY219" fmla="*/ 286177 h 432191"/>
                    <a:gd name="connsiteX220" fmla="*/ 1988232 w 2552202"/>
                    <a:gd name="connsiteY220" fmla="*/ 286177 h 432191"/>
                    <a:gd name="connsiteX221" fmla="*/ 1988232 w 2552202"/>
                    <a:gd name="connsiteY221" fmla="*/ 304343 h 432191"/>
                    <a:gd name="connsiteX222" fmla="*/ 1988622 w 2552202"/>
                    <a:gd name="connsiteY222" fmla="*/ 304343 h 432191"/>
                    <a:gd name="connsiteX223" fmla="*/ 2022806 w 2552202"/>
                    <a:gd name="connsiteY223" fmla="*/ 283735 h 432191"/>
                    <a:gd name="connsiteX224" fmla="*/ 1920426 w 2552202"/>
                    <a:gd name="connsiteY224" fmla="*/ 283735 h 432191"/>
                    <a:gd name="connsiteX225" fmla="*/ 1944306 w 2552202"/>
                    <a:gd name="connsiteY225" fmla="*/ 293307 h 432191"/>
                    <a:gd name="connsiteX226" fmla="*/ 1952754 w 2552202"/>
                    <a:gd name="connsiteY226" fmla="*/ 321142 h 432191"/>
                    <a:gd name="connsiteX227" fmla="*/ 1952754 w 2552202"/>
                    <a:gd name="connsiteY227" fmla="*/ 386189 h 432191"/>
                    <a:gd name="connsiteX228" fmla="*/ 1943770 w 2552202"/>
                    <a:gd name="connsiteY228" fmla="*/ 386189 h 432191"/>
                    <a:gd name="connsiteX229" fmla="*/ 1943770 w 2552202"/>
                    <a:gd name="connsiteY229" fmla="*/ 366167 h 432191"/>
                    <a:gd name="connsiteX230" fmla="*/ 1943378 w 2552202"/>
                    <a:gd name="connsiteY230" fmla="*/ 366167 h 432191"/>
                    <a:gd name="connsiteX231" fmla="*/ 1929460 w 2552202"/>
                    <a:gd name="connsiteY231" fmla="*/ 382527 h 432191"/>
                    <a:gd name="connsiteX232" fmla="*/ 1909194 w 2552202"/>
                    <a:gd name="connsiteY232" fmla="*/ 388631 h 432191"/>
                    <a:gd name="connsiteX233" fmla="*/ 1886634 w 2552202"/>
                    <a:gd name="connsiteY233" fmla="*/ 380622 h 432191"/>
                    <a:gd name="connsiteX234" fmla="*/ 1878332 w 2552202"/>
                    <a:gd name="connsiteY234" fmla="*/ 360405 h 432191"/>
                    <a:gd name="connsiteX235" fmla="*/ 1913004 w 2552202"/>
                    <a:gd name="connsiteY235" fmla="*/ 328760 h 432191"/>
                    <a:gd name="connsiteX236" fmla="*/ 1943770 w 2552202"/>
                    <a:gd name="connsiteY236" fmla="*/ 324170 h 432191"/>
                    <a:gd name="connsiteX237" fmla="*/ 1919548 w 2552202"/>
                    <a:gd name="connsiteY237" fmla="*/ 291939 h 432191"/>
                    <a:gd name="connsiteX238" fmla="*/ 1887414 w 2552202"/>
                    <a:gd name="connsiteY238" fmla="*/ 305222 h 432191"/>
                    <a:gd name="connsiteX239" fmla="*/ 1887414 w 2552202"/>
                    <a:gd name="connsiteY239" fmla="*/ 294381 h 432191"/>
                    <a:gd name="connsiteX240" fmla="*/ 1902504 w 2552202"/>
                    <a:gd name="connsiteY240" fmla="*/ 286860 h 432191"/>
                    <a:gd name="connsiteX241" fmla="*/ 1920426 w 2552202"/>
                    <a:gd name="connsiteY241" fmla="*/ 283735 h 432191"/>
                    <a:gd name="connsiteX242" fmla="*/ 1569174 w 2552202"/>
                    <a:gd name="connsiteY242" fmla="*/ 283735 h 432191"/>
                    <a:gd name="connsiteX243" fmla="*/ 1597790 w 2552202"/>
                    <a:gd name="connsiteY243" fmla="*/ 296823 h 432191"/>
                    <a:gd name="connsiteX244" fmla="*/ 1607752 w 2552202"/>
                    <a:gd name="connsiteY244" fmla="*/ 332569 h 432191"/>
                    <a:gd name="connsiteX245" fmla="*/ 1607752 w 2552202"/>
                    <a:gd name="connsiteY245" fmla="*/ 336574 h 432191"/>
                    <a:gd name="connsiteX246" fmla="*/ 1533720 w 2552202"/>
                    <a:gd name="connsiteY246" fmla="*/ 336574 h 432191"/>
                    <a:gd name="connsiteX247" fmla="*/ 1543242 w 2552202"/>
                    <a:gd name="connsiteY247" fmla="*/ 368804 h 432191"/>
                    <a:gd name="connsiteX248" fmla="*/ 1569368 w 2552202"/>
                    <a:gd name="connsiteY248" fmla="*/ 380427 h 432191"/>
                    <a:gd name="connsiteX249" fmla="*/ 1602186 w 2552202"/>
                    <a:gd name="connsiteY249" fmla="*/ 368023 h 432191"/>
                    <a:gd name="connsiteX250" fmla="*/ 1602186 w 2552202"/>
                    <a:gd name="connsiteY250" fmla="*/ 377594 h 432191"/>
                    <a:gd name="connsiteX251" fmla="*/ 1567514 w 2552202"/>
                    <a:gd name="connsiteY251" fmla="*/ 388631 h 432191"/>
                    <a:gd name="connsiteX252" fmla="*/ 1536260 w 2552202"/>
                    <a:gd name="connsiteY252" fmla="*/ 374762 h 432191"/>
                    <a:gd name="connsiteX253" fmla="*/ 1524344 w 2552202"/>
                    <a:gd name="connsiteY253" fmla="*/ 335597 h 432191"/>
                    <a:gd name="connsiteX254" fmla="*/ 1536796 w 2552202"/>
                    <a:gd name="connsiteY254" fmla="*/ 298727 h 432191"/>
                    <a:gd name="connsiteX255" fmla="*/ 1569174 w 2552202"/>
                    <a:gd name="connsiteY255" fmla="*/ 283735 h 432191"/>
                    <a:gd name="connsiteX256" fmla="*/ 1111973 w 2552202"/>
                    <a:gd name="connsiteY256" fmla="*/ 283735 h 432191"/>
                    <a:gd name="connsiteX257" fmla="*/ 1140590 w 2552202"/>
                    <a:gd name="connsiteY257" fmla="*/ 296823 h 432191"/>
                    <a:gd name="connsiteX258" fmla="*/ 1150552 w 2552202"/>
                    <a:gd name="connsiteY258" fmla="*/ 332569 h 432191"/>
                    <a:gd name="connsiteX259" fmla="*/ 1150552 w 2552202"/>
                    <a:gd name="connsiteY259" fmla="*/ 336574 h 432191"/>
                    <a:gd name="connsiteX260" fmla="*/ 1076520 w 2552202"/>
                    <a:gd name="connsiteY260" fmla="*/ 336574 h 432191"/>
                    <a:gd name="connsiteX261" fmla="*/ 1086042 w 2552202"/>
                    <a:gd name="connsiteY261" fmla="*/ 368804 h 432191"/>
                    <a:gd name="connsiteX262" fmla="*/ 1112169 w 2552202"/>
                    <a:gd name="connsiteY262" fmla="*/ 380427 h 432191"/>
                    <a:gd name="connsiteX263" fmla="*/ 1144985 w 2552202"/>
                    <a:gd name="connsiteY263" fmla="*/ 368023 h 432191"/>
                    <a:gd name="connsiteX264" fmla="*/ 1144985 w 2552202"/>
                    <a:gd name="connsiteY264" fmla="*/ 377594 h 432191"/>
                    <a:gd name="connsiteX265" fmla="*/ 1110313 w 2552202"/>
                    <a:gd name="connsiteY265" fmla="*/ 388631 h 432191"/>
                    <a:gd name="connsiteX266" fmla="*/ 1079059 w 2552202"/>
                    <a:gd name="connsiteY266" fmla="*/ 374762 h 432191"/>
                    <a:gd name="connsiteX267" fmla="*/ 1067144 w 2552202"/>
                    <a:gd name="connsiteY267" fmla="*/ 335597 h 432191"/>
                    <a:gd name="connsiteX268" fmla="*/ 1079596 w 2552202"/>
                    <a:gd name="connsiteY268" fmla="*/ 298727 h 432191"/>
                    <a:gd name="connsiteX269" fmla="*/ 1111973 w 2552202"/>
                    <a:gd name="connsiteY269" fmla="*/ 283735 h 432191"/>
                    <a:gd name="connsiteX270" fmla="*/ 956006 w 2552202"/>
                    <a:gd name="connsiteY270" fmla="*/ 283735 h 432191"/>
                    <a:gd name="connsiteX271" fmla="*/ 980814 w 2552202"/>
                    <a:gd name="connsiteY271" fmla="*/ 294527 h 432191"/>
                    <a:gd name="connsiteX272" fmla="*/ 989409 w 2552202"/>
                    <a:gd name="connsiteY272" fmla="*/ 325342 h 432191"/>
                    <a:gd name="connsiteX273" fmla="*/ 989409 w 2552202"/>
                    <a:gd name="connsiteY273" fmla="*/ 386189 h 432191"/>
                    <a:gd name="connsiteX274" fmla="*/ 980424 w 2552202"/>
                    <a:gd name="connsiteY274" fmla="*/ 386189 h 432191"/>
                    <a:gd name="connsiteX275" fmla="*/ 980424 w 2552202"/>
                    <a:gd name="connsiteY275" fmla="*/ 327979 h 432191"/>
                    <a:gd name="connsiteX276" fmla="*/ 954444 w 2552202"/>
                    <a:gd name="connsiteY276" fmla="*/ 291939 h 432191"/>
                    <a:gd name="connsiteX277" fmla="*/ 930710 w 2552202"/>
                    <a:gd name="connsiteY277" fmla="*/ 302536 h 432191"/>
                    <a:gd name="connsiteX278" fmla="*/ 921432 w 2552202"/>
                    <a:gd name="connsiteY278" fmla="*/ 328760 h 432191"/>
                    <a:gd name="connsiteX279" fmla="*/ 921432 w 2552202"/>
                    <a:gd name="connsiteY279" fmla="*/ 386189 h 432191"/>
                    <a:gd name="connsiteX280" fmla="*/ 912446 w 2552202"/>
                    <a:gd name="connsiteY280" fmla="*/ 386189 h 432191"/>
                    <a:gd name="connsiteX281" fmla="*/ 912446 w 2552202"/>
                    <a:gd name="connsiteY281" fmla="*/ 286177 h 432191"/>
                    <a:gd name="connsiteX282" fmla="*/ 921432 w 2552202"/>
                    <a:gd name="connsiteY282" fmla="*/ 286177 h 432191"/>
                    <a:gd name="connsiteX283" fmla="*/ 921432 w 2552202"/>
                    <a:gd name="connsiteY283" fmla="*/ 304343 h 432191"/>
                    <a:gd name="connsiteX284" fmla="*/ 921822 w 2552202"/>
                    <a:gd name="connsiteY284" fmla="*/ 304343 h 432191"/>
                    <a:gd name="connsiteX285" fmla="*/ 956006 w 2552202"/>
                    <a:gd name="connsiteY285" fmla="*/ 283735 h 432191"/>
                    <a:gd name="connsiteX286" fmla="*/ 740154 w 2552202"/>
                    <a:gd name="connsiteY286" fmla="*/ 283735 h 432191"/>
                    <a:gd name="connsiteX287" fmla="*/ 769894 w 2552202"/>
                    <a:gd name="connsiteY287" fmla="*/ 296871 h 432191"/>
                    <a:gd name="connsiteX288" fmla="*/ 780589 w 2552202"/>
                    <a:gd name="connsiteY288" fmla="*/ 332569 h 432191"/>
                    <a:gd name="connsiteX289" fmla="*/ 768332 w 2552202"/>
                    <a:gd name="connsiteY289" fmla="*/ 373150 h 432191"/>
                    <a:gd name="connsiteX290" fmla="*/ 735955 w 2552202"/>
                    <a:gd name="connsiteY290" fmla="*/ 388631 h 432191"/>
                    <a:gd name="connsiteX291" fmla="*/ 702747 w 2552202"/>
                    <a:gd name="connsiteY291" fmla="*/ 368414 h 432191"/>
                    <a:gd name="connsiteX292" fmla="*/ 702357 w 2552202"/>
                    <a:gd name="connsiteY292" fmla="*/ 368414 h 432191"/>
                    <a:gd name="connsiteX293" fmla="*/ 702357 w 2552202"/>
                    <a:gd name="connsiteY293" fmla="*/ 432191 h 432191"/>
                    <a:gd name="connsiteX294" fmla="*/ 693371 w 2552202"/>
                    <a:gd name="connsiteY294" fmla="*/ 432191 h 432191"/>
                    <a:gd name="connsiteX295" fmla="*/ 693371 w 2552202"/>
                    <a:gd name="connsiteY295" fmla="*/ 286177 h 432191"/>
                    <a:gd name="connsiteX296" fmla="*/ 702357 w 2552202"/>
                    <a:gd name="connsiteY296" fmla="*/ 286177 h 432191"/>
                    <a:gd name="connsiteX297" fmla="*/ 702357 w 2552202"/>
                    <a:gd name="connsiteY297" fmla="*/ 306785 h 432191"/>
                    <a:gd name="connsiteX298" fmla="*/ 702747 w 2552202"/>
                    <a:gd name="connsiteY298" fmla="*/ 306785 h 432191"/>
                    <a:gd name="connsiteX299" fmla="*/ 718130 w 2552202"/>
                    <a:gd name="connsiteY299" fmla="*/ 289742 h 432191"/>
                    <a:gd name="connsiteX300" fmla="*/ 740154 w 2552202"/>
                    <a:gd name="connsiteY300" fmla="*/ 283735 h 432191"/>
                    <a:gd name="connsiteX301" fmla="*/ 225614 w 2552202"/>
                    <a:gd name="connsiteY301" fmla="*/ 283735 h 432191"/>
                    <a:gd name="connsiteX302" fmla="*/ 247687 w 2552202"/>
                    <a:gd name="connsiteY302" fmla="*/ 289009 h 432191"/>
                    <a:gd name="connsiteX303" fmla="*/ 247687 w 2552202"/>
                    <a:gd name="connsiteY303" fmla="*/ 299167 h 432191"/>
                    <a:gd name="connsiteX304" fmla="*/ 224637 w 2552202"/>
                    <a:gd name="connsiteY304" fmla="*/ 291939 h 432191"/>
                    <a:gd name="connsiteX305" fmla="*/ 208717 w 2552202"/>
                    <a:gd name="connsiteY305" fmla="*/ 297067 h 432191"/>
                    <a:gd name="connsiteX306" fmla="*/ 202662 w 2552202"/>
                    <a:gd name="connsiteY306" fmla="*/ 310399 h 432191"/>
                    <a:gd name="connsiteX307" fmla="*/ 206471 w 2552202"/>
                    <a:gd name="connsiteY307" fmla="*/ 321972 h 432191"/>
                    <a:gd name="connsiteX308" fmla="*/ 223270 w 2552202"/>
                    <a:gd name="connsiteY308" fmla="*/ 332179 h 432191"/>
                    <a:gd name="connsiteX309" fmla="*/ 244757 w 2552202"/>
                    <a:gd name="connsiteY309" fmla="*/ 345217 h 432191"/>
                    <a:gd name="connsiteX310" fmla="*/ 250617 w 2552202"/>
                    <a:gd name="connsiteY310" fmla="*/ 361186 h 432191"/>
                    <a:gd name="connsiteX311" fmla="*/ 241680 w 2552202"/>
                    <a:gd name="connsiteY311" fmla="*/ 380866 h 432191"/>
                    <a:gd name="connsiteX312" fmla="*/ 217019 w 2552202"/>
                    <a:gd name="connsiteY312" fmla="*/ 388631 h 432191"/>
                    <a:gd name="connsiteX313" fmla="*/ 192895 w 2552202"/>
                    <a:gd name="connsiteY313" fmla="*/ 381794 h 432191"/>
                    <a:gd name="connsiteX314" fmla="*/ 192895 w 2552202"/>
                    <a:gd name="connsiteY314" fmla="*/ 370953 h 432191"/>
                    <a:gd name="connsiteX315" fmla="*/ 205201 w 2552202"/>
                    <a:gd name="connsiteY315" fmla="*/ 377887 h 432191"/>
                    <a:gd name="connsiteX316" fmla="*/ 217703 w 2552202"/>
                    <a:gd name="connsiteY316" fmla="*/ 380427 h 432191"/>
                    <a:gd name="connsiteX317" fmla="*/ 241241 w 2552202"/>
                    <a:gd name="connsiteY317" fmla="*/ 361186 h 432191"/>
                    <a:gd name="connsiteX318" fmla="*/ 236064 w 2552202"/>
                    <a:gd name="connsiteY318" fmla="*/ 349857 h 432191"/>
                    <a:gd name="connsiteX319" fmla="*/ 219265 w 2552202"/>
                    <a:gd name="connsiteY319" fmla="*/ 340187 h 432191"/>
                    <a:gd name="connsiteX320" fmla="*/ 199097 w 2552202"/>
                    <a:gd name="connsiteY320" fmla="*/ 327246 h 432191"/>
                    <a:gd name="connsiteX321" fmla="*/ 193285 w 2552202"/>
                    <a:gd name="connsiteY321" fmla="*/ 310985 h 432191"/>
                    <a:gd name="connsiteX322" fmla="*/ 202613 w 2552202"/>
                    <a:gd name="connsiteY322" fmla="*/ 291255 h 432191"/>
                    <a:gd name="connsiteX323" fmla="*/ 225614 w 2552202"/>
                    <a:gd name="connsiteY323" fmla="*/ 283735 h 432191"/>
                    <a:gd name="connsiteX324" fmla="*/ 2525832 w 2552202"/>
                    <a:gd name="connsiteY324" fmla="*/ 257169 h 432191"/>
                    <a:gd name="connsiteX325" fmla="*/ 2525832 w 2552202"/>
                    <a:gd name="connsiteY325" fmla="*/ 286177 h 432191"/>
                    <a:gd name="connsiteX326" fmla="*/ 2552202 w 2552202"/>
                    <a:gd name="connsiteY326" fmla="*/ 286177 h 432191"/>
                    <a:gd name="connsiteX327" fmla="*/ 2552202 w 2552202"/>
                    <a:gd name="connsiteY327" fmla="*/ 294381 h 432191"/>
                    <a:gd name="connsiteX328" fmla="*/ 2525832 w 2552202"/>
                    <a:gd name="connsiteY328" fmla="*/ 294381 h 432191"/>
                    <a:gd name="connsiteX329" fmla="*/ 2525832 w 2552202"/>
                    <a:gd name="connsiteY329" fmla="*/ 360405 h 432191"/>
                    <a:gd name="connsiteX330" fmla="*/ 2529104 w 2552202"/>
                    <a:gd name="connsiteY330" fmla="*/ 375397 h 432191"/>
                    <a:gd name="connsiteX331" fmla="*/ 2540188 w 2552202"/>
                    <a:gd name="connsiteY331" fmla="*/ 380036 h 432191"/>
                    <a:gd name="connsiteX332" fmla="*/ 2552202 w 2552202"/>
                    <a:gd name="connsiteY332" fmla="*/ 376422 h 432191"/>
                    <a:gd name="connsiteX333" fmla="*/ 2552202 w 2552202"/>
                    <a:gd name="connsiteY333" fmla="*/ 384822 h 432191"/>
                    <a:gd name="connsiteX334" fmla="*/ 2539016 w 2552202"/>
                    <a:gd name="connsiteY334" fmla="*/ 388143 h 432191"/>
                    <a:gd name="connsiteX335" fmla="*/ 2516846 w 2552202"/>
                    <a:gd name="connsiteY335" fmla="*/ 361577 h 432191"/>
                    <a:gd name="connsiteX336" fmla="*/ 2516846 w 2552202"/>
                    <a:gd name="connsiteY336" fmla="*/ 294381 h 432191"/>
                    <a:gd name="connsiteX337" fmla="*/ 2498874 w 2552202"/>
                    <a:gd name="connsiteY337" fmla="*/ 294381 h 432191"/>
                    <a:gd name="connsiteX338" fmla="*/ 2498874 w 2552202"/>
                    <a:gd name="connsiteY338" fmla="*/ 286177 h 432191"/>
                    <a:gd name="connsiteX339" fmla="*/ 2516846 w 2552202"/>
                    <a:gd name="connsiteY339" fmla="*/ 286177 h 432191"/>
                    <a:gd name="connsiteX340" fmla="*/ 2516846 w 2552202"/>
                    <a:gd name="connsiteY340" fmla="*/ 260197 h 432191"/>
                    <a:gd name="connsiteX341" fmla="*/ 2521338 w 2552202"/>
                    <a:gd name="connsiteY341" fmla="*/ 258634 h 432191"/>
                    <a:gd name="connsiteX342" fmla="*/ 2525832 w 2552202"/>
                    <a:gd name="connsiteY342" fmla="*/ 257169 h 432191"/>
                    <a:gd name="connsiteX343" fmla="*/ 1773356 w 2552202"/>
                    <a:gd name="connsiteY343" fmla="*/ 257169 h 432191"/>
                    <a:gd name="connsiteX344" fmla="*/ 1773356 w 2552202"/>
                    <a:gd name="connsiteY344" fmla="*/ 286177 h 432191"/>
                    <a:gd name="connsiteX345" fmla="*/ 1799726 w 2552202"/>
                    <a:gd name="connsiteY345" fmla="*/ 286177 h 432191"/>
                    <a:gd name="connsiteX346" fmla="*/ 1799726 w 2552202"/>
                    <a:gd name="connsiteY346" fmla="*/ 294381 h 432191"/>
                    <a:gd name="connsiteX347" fmla="*/ 1773356 w 2552202"/>
                    <a:gd name="connsiteY347" fmla="*/ 294381 h 432191"/>
                    <a:gd name="connsiteX348" fmla="*/ 1773356 w 2552202"/>
                    <a:gd name="connsiteY348" fmla="*/ 360405 h 432191"/>
                    <a:gd name="connsiteX349" fmla="*/ 1776628 w 2552202"/>
                    <a:gd name="connsiteY349" fmla="*/ 375397 h 432191"/>
                    <a:gd name="connsiteX350" fmla="*/ 1787714 w 2552202"/>
                    <a:gd name="connsiteY350" fmla="*/ 380036 h 432191"/>
                    <a:gd name="connsiteX351" fmla="*/ 1799726 w 2552202"/>
                    <a:gd name="connsiteY351" fmla="*/ 376422 h 432191"/>
                    <a:gd name="connsiteX352" fmla="*/ 1799726 w 2552202"/>
                    <a:gd name="connsiteY352" fmla="*/ 384822 h 432191"/>
                    <a:gd name="connsiteX353" fmla="*/ 1786542 w 2552202"/>
                    <a:gd name="connsiteY353" fmla="*/ 388143 h 432191"/>
                    <a:gd name="connsiteX354" fmla="*/ 1764370 w 2552202"/>
                    <a:gd name="connsiteY354" fmla="*/ 361577 h 432191"/>
                    <a:gd name="connsiteX355" fmla="*/ 1764370 w 2552202"/>
                    <a:gd name="connsiteY355" fmla="*/ 294381 h 432191"/>
                    <a:gd name="connsiteX356" fmla="*/ 1746400 w 2552202"/>
                    <a:gd name="connsiteY356" fmla="*/ 294381 h 432191"/>
                    <a:gd name="connsiteX357" fmla="*/ 1746400 w 2552202"/>
                    <a:gd name="connsiteY357" fmla="*/ 286177 h 432191"/>
                    <a:gd name="connsiteX358" fmla="*/ 1764370 w 2552202"/>
                    <a:gd name="connsiteY358" fmla="*/ 286177 h 432191"/>
                    <a:gd name="connsiteX359" fmla="*/ 1764370 w 2552202"/>
                    <a:gd name="connsiteY359" fmla="*/ 260197 h 432191"/>
                    <a:gd name="connsiteX360" fmla="*/ 1768864 w 2552202"/>
                    <a:gd name="connsiteY360" fmla="*/ 258634 h 432191"/>
                    <a:gd name="connsiteX361" fmla="*/ 1773356 w 2552202"/>
                    <a:gd name="connsiteY361" fmla="*/ 257169 h 432191"/>
                    <a:gd name="connsiteX362" fmla="*/ 1030406 w 2552202"/>
                    <a:gd name="connsiteY362" fmla="*/ 257169 h 432191"/>
                    <a:gd name="connsiteX363" fmla="*/ 1030406 w 2552202"/>
                    <a:gd name="connsiteY363" fmla="*/ 286177 h 432191"/>
                    <a:gd name="connsiteX364" fmla="*/ 1056777 w 2552202"/>
                    <a:gd name="connsiteY364" fmla="*/ 286177 h 432191"/>
                    <a:gd name="connsiteX365" fmla="*/ 1056777 w 2552202"/>
                    <a:gd name="connsiteY365" fmla="*/ 294381 h 432191"/>
                    <a:gd name="connsiteX366" fmla="*/ 1030406 w 2552202"/>
                    <a:gd name="connsiteY366" fmla="*/ 294381 h 432191"/>
                    <a:gd name="connsiteX367" fmla="*/ 1030406 w 2552202"/>
                    <a:gd name="connsiteY367" fmla="*/ 360405 h 432191"/>
                    <a:gd name="connsiteX368" fmla="*/ 1033678 w 2552202"/>
                    <a:gd name="connsiteY368" fmla="*/ 375397 h 432191"/>
                    <a:gd name="connsiteX369" fmla="*/ 1044764 w 2552202"/>
                    <a:gd name="connsiteY369" fmla="*/ 380036 h 432191"/>
                    <a:gd name="connsiteX370" fmla="*/ 1056777 w 2552202"/>
                    <a:gd name="connsiteY370" fmla="*/ 376422 h 432191"/>
                    <a:gd name="connsiteX371" fmla="*/ 1056777 w 2552202"/>
                    <a:gd name="connsiteY371" fmla="*/ 384822 h 432191"/>
                    <a:gd name="connsiteX372" fmla="*/ 1043592 w 2552202"/>
                    <a:gd name="connsiteY372" fmla="*/ 388143 h 432191"/>
                    <a:gd name="connsiteX373" fmla="*/ 1021421 w 2552202"/>
                    <a:gd name="connsiteY373" fmla="*/ 361577 h 432191"/>
                    <a:gd name="connsiteX374" fmla="*/ 1021421 w 2552202"/>
                    <a:gd name="connsiteY374" fmla="*/ 294381 h 432191"/>
                    <a:gd name="connsiteX375" fmla="*/ 1003450 w 2552202"/>
                    <a:gd name="connsiteY375" fmla="*/ 294381 h 432191"/>
                    <a:gd name="connsiteX376" fmla="*/ 1003450 w 2552202"/>
                    <a:gd name="connsiteY376" fmla="*/ 286177 h 432191"/>
                    <a:gd name="connsiteX377" fmla="*/ 1021421 w 2552202"/>
                    <a:gd name="connsiteY377" fmla="*/ 286177 h 432191"/>
                    <a:gd name="connsiteX378" fmla="*/ 1021421 w 2552202"/>
                    <a:gd name="connsiteY378" fmla="*/ 260197 h 432191"/>
                    <a:gd name="connsiteX379" fmla="*/ 1025914 w 2552202"/>
                    <a:gd name="connsiteY379" fmla="*/ 258634 h 432191"/>
                    <a:gd name="connsiteX380" fmla="*/ 1030406 w 2552202"/>
                    <a:gd name="connsiteY380" fmla="*/ 257169 h 432191"/>
                    <a:gd name="connsiteX381" fmla="*/ 287456 w 2552202"/>
                    <a:gd name="connsiteY381" fmla="*/ 257169 h 432191"/>
                    <a:gd name="connsiteX382" fmla="*/ 287456 w 2552202"/>
                    <a:gd name="connsiteY382" fmla="*/ 286177 h 432191"/>
                    <a:gd name="connsiteX383" fmla="*/ 313827 w 2552202"/>
                    <a:gd name="connsiteY383" fmla="*/ 286177 h 432191"/>
                    <a:gd name="connsiteX384" fmla="*/ 313827 w 2552202"/>
                    <a:gd name="connsiteY384" fmla="*/ 294381 h 432191"/>
                    <a:gd name="connsiteX385" fmla="*/ 287456 w 2552202"/>
                    <a:gd name="connsiteY385" fmla="*/ 294381 h 432191"/>
                    <a:gd name="connsiteX386" fmla="*/ 287456 w 2552202"/>
                    <a:gd name="connsiteY386" fmla="*/ 360405 h 432191"/>
                    <a:gd name="connsiteX387" fmla="*/ 290728 w 2552202"/>
                    <a:gd name="connsiteY387" fmla="*/ 375397 h 432191"/>
                    <a:gd name="connsiteX388" fmla="*/ 301814 w 2552202"/>
                    <a:gd name="connsiteY388" fmla="*/ 380036 h 432191"/>
                    <a:gd name="connsiteX389" fmla="*/ 313827 w 2552202"/>
                    <a:gd name="connsiteY389" fmla="*/ 376422 h 432191"/>
                    <a:gd name="connsiteX390" fmla="*/ 313827 w 2552202"/>
                    <a:gd name="connsiteY390" fmla="*/ 384822 h 432191"/>
                    <a:gd name="connsiteX391" fmla="*/ 300642 w 2552202"/>
                    <a:gd name="connsiteY391" fmla="*/ 388143 h 432191"/>
                    <a:gd name="connsiteX392" fmla="*/ 278471 w 2552202"/>
                    <a:gd name="connsiteY392" fmla="*/ 361577 h 432191"/>
                    <a:gd name="connsiteX393" fmla="*/ 278471 w 2552202"/>
                    <a:gd name="connsiteY393" fmla="*/ 294381 h 432191"/>
                    <a:gd name="connsiteX394" fmla="*/ 260500 w 2552202"/>
                    <a:gd name="connsiteY394" fmla="*/ 294381 h 432191"/>
                    <a:gd name="connsiteX395" fmla="*/ 260500 w 2552202"/>
                    <a:gd name="connsiteY395" fmla="*/ 286177 h 432191"/>
                    <a:gd name="connsiteX396" fmla="*/ 278471 w 2552202"/>
                    <a:gd name="connsiteY396" fmla="*/ 286177 h 432191"/>
                    <a:gd name="connsiteX397" fmla="*/ 278471 w 2552202"/>
                    <a:gd name="connsiteY397" fmla="*/ 260197 h 432191"/>
                    <a:gd name="connsiteX398" fmla="*/ 282964 w 2552202"/>
                    <a:gd name="connsiteY398" fmla="*/ 258634 h 432191"/>
                    <a:gd name="connsiteX399" fmla="*/ 287456 w 2552202"/>
                    <a:gd name="connsiteY399" fmla="*/ 257169 h 432191"/>
                    <a:gd name="connsiteX400" fmla="*/ 514494 w 2552202"/>
                    <a:gd name="connsiteY400" fmla="*/ 255020 h 432191"/>
                    <a:gd name="connsiteX401" fmla="*/ 514494 w 2552202"/>
                    <a:gd name="connsiteY401" fmla="*/ 377399 h 432191"/>
                    <a:gd name="connsiteX402" fmla="*/ 536469 w 2552202"/>
                    <a:gd name="connsiteY402" fmla="*/ 377399 h 432191"/>
                    <a:gd name="connsiteX403" fmla="*/ 584327 w 2552202"/>
                    <a:gd name="connsiteY403" fmla="*/ 361235 h 432191"/>
                    <a:gd name="connsiteX404" fmla="*/ 601028 w 2552202"/>
                    <a:gd name="connsiteY404" fmla="*/ 314598 h 432191"/>
                    <a:gd name="connsiteX405" fmla="*/ 538422 w 2552202"/>
                    <a:gd name="connsiteY405" fmla="*/ 255020 h 432191"/>
                    <a:gd name="connsiteX406" fmla="*/ 1402616 w 2552202"/>
                    <a:gd name="connsiteY406" fmla="*/ 246134 h 432191"/>
                    <a:gd name="connsiteX407" fmla="*/ 1407940 w 2552202"/>
                    <a:gd name="connsiteY407" fmla="*/ 248087 h 432191"/>
                    <a:gd name="connsiteX408" fmla="*/ 1410234 w 2552202"/>
                    <a:gd name="connsiteY408" fmla="*/ 253361 h 432191"/>
                    <a:gd name="connsiteX409" fmla="*/ 1407988 w 2552202"/>
                    <a:gd name="connsiteY409" fmla="*/ 258733 h 432191"/>
                    <a:gd name="connsiteX410" fmla="*/ 1402616 w 2552202"/>
                    <a:gd name="connsiteY410" fmla="*/ 260979 h 432191"/>
                    <a:gd name="connsiteX411" fmla="*/ 1397440 w 2552202"/>
                    <a:gd name="connsiteY411" fmla="*/ 258831 h 432191"/>
                    <a:gd name="connsiteX412" fmla="*/ 1395194 w 2552202"/>
                    <a:gd name="connsiteY412" fmla="*/ 253361 h 432191"/>
                    <a:gd name="connsiteX413" fmla="*/ 1397488 w 2552202"/>
                    <a:gd name="connsiteY413" fmla="*/ 248136 h 432191"/>
                    <a:gd name="connsiteX414" fmla="*/ 1402616 w 2552202"/>
                    <a:gd name="connsiteY414" fmla="*/ 246134 h 432191"/>
                    <a:gd name="connsiteX415" fmla="*/ 878741 w 2552202"/>
                    <a:gd name="connsiteY415" fmla="*/ 246134 h 432191"/>
                    <a:gd name="connsiteX416" fmla="*/ 884064 w 2552202"/>
                    <a:gd name="connsiteY416" fmla="*/ 248087 h 432191"/>
                    <a:gd name="connsiteX417" fmla="*/ 886359 w 2552202"/>
                    <a:gd name="connsiteY417" fmla="*/ 253361 h 432191"/>
                    <a:gd name="connsiteX418" fmla="*/ 884113 w 2552202"/>
                    <a:gd name="connsiteY418" fmla="*/ 258733 h 432191"/>
                    <a:gd name="connsiteX419" fmla="*/ 878741 w 2552202"/>
                    <a:gd name="connsiteY419" fmla="*/ 260979 h 432191"/>
                    <a:gd name="connsiteX420" fmla="*/ 873565 w 2552202"/>
                    <a:gd name="connsiteY420" fmla="*/ 258831 h 432191"/>
                    <a:gd name="connsiteX421" fmla="*/ 871318 w 2552202"/>
                    <a:gd name="connsiteY421" fmla="*/ 253361 h 432191"/>
                    <a:gd name="connsiteX422" fmla="*/ 873614 w 2552202"/>
                    <a:gd name="connsiteY422" fmla="*/ 248136 h 432191"/>
                    <a:gd name="connsiteX423" fmla="*/ 878741 w 2552202"/>
                    <a:gd name="connsiteY423" fmla="*/ 246134 h 432191"/>
                    <a:gd name="connsiteX424" fmla="*/ 97691 w 2552202"/>
                    <a:gd name="connsiteY424" fmla="*/ 246134 h 432191"/>
                    <a:gd name="connsiteX425" fmla="*/ 103014 w 2552202"/>
                    <a:gd name="connsiteY425" fmla="*/ 248087 h 432191"/>
                    <a:gd name="connsiteX426" fmla="*/ 105309 w 2552202"/>
                    <a:gd name="connsiteY426" fmla="*/ 253361 h 432191"/>
                    <a:gd name="connsiteX427" fmla="*/ 103063 w 2552202"/>
                    <a:gd name="connsiteY427" fmla="*/ 258733 h 432191"/>
                    <a:gd name="connsiteX428" fmla="*/ 97691 w 2552202"/>
                    <a:gd name="connsiteY428" fmla="*/ 260979 h 432191"/>
                    <a:gd name="connsiteX429" fmla="*/ 92515 w 2552202"/>
                    <a:gd name="connsiteY429" fmla="*/ 258831 h 432191"/>
                    <a:gd name="connsiteX430" fmla="*/ 90268 w 2552202"/>
                    <a:gd name="connsiteY430" fmla="*/ 253361 h 432191"/>
                    <a:gd name="connsiteX431" fmla="*/ 92564 w 2552202"/>
                    <a:gd name="connsiteY431" fmla="*/ 248136 h 432191"/>
                    <a:gd name="connsiteX432" fmla="*/ 97691 w 2552202"/>
                    <a:gd name="connsiteY432" fmla="*/ 246134 h 432191"/>
                    <a:gd name="connsiteX433" fmla="*/ 504824 w 2552202"/>
                    <a:gd name="connsiteY433" fmla="*/ 246133 h 432191"/>
                    <a:gd name="connsiteX434" fmla="*/ 539888 w 2552202"/>
                    <a:gd name="connsiteY434" fmla="*/ 246133 h 432191"/>
                    <a:gd name="connsiteX435" fmla="*/ 592922 w 2552202"/>
                    <a:gd name="connsiteY435" fmla="*/ 263518 h 432191"/>
                    <a:gd name="connsiteX436" fmla="*/ 611088 w 2552202"/>
                    <a:gd name="connsiteY436" fmla="*/ 314208 h 432191"/>
                    <a:gd name="connsiteX437" fmla="*/ 591603 w 2552202"/>
                    <a:gd name="connsiteY437" fmla="*/ 366216 h 432191"/>
                    <a:gd name="connsiteX438" fmla="*/ 537836 w 2552202"/>
                    <a:gd name="connsiteY438" fmla="*/ 386189 h 432191"/>
                    <a:gd name="connsiteX439" fmla="*/ 504824 w 2552202"/>
                    <a:gd name="connsiteY439" fmla="*/ 386189 h 432191"/>
                    <a:gd name="connsiteX440" fmla="*/ 0 w 2552202"/>
                    <a:gd name="connsiteY440" fmla="*/ 246133 h 432191"/>
                    <a:gd name="connsiteX441" fmla="*/ 65437 w 2552202"/>
                    <a:gd name="connsiteY441" fmla="*/ 246133 h 432191"/>
                    <a:gd name="connsiteX442" fmla="*/ 65437 w 2552202"/>
                    <a:gd name="connsiteY442" fmla="*/ 255020 h 432191"/>
                    <a:gd name="connsiteX443" fmla="*/ 9669 w 2552202"/>
                    <a:gd name="connsiteY443" fmla="*/ 255020 h 432191"/>
                    <a:gd name="connsiteX444" fmla="*/ 9669 w 2552202"/>
                    <a:gd name="connsiteY444" fmla="*/ 312157 h 432191"/>
                    <a:gd name="connsiteX445" fmla="*/ 61433 w 2552202"/>
                    <a:gd name="connsiteY445" fmla="*/ 312157 h 432191"/>
                    <a:gd name="connsiteX446" fmla="*/ 61433 w 2552202"/>
                    <a:gd name="connsiteY446" fmla="*/ 320947 h 432191"/>
                    <a:gd name="connsiteX447" fmla="*/ 9669 w 2552202"/>
                    <a:gd name="connsiteY447" fmla="*/ 320947 h 432191"/>
                    <a:gd name="connsiteX448" fmla="*/ 9669 w 2552202"/>
                    <a:gd name="connsiteY448" fmla="*/ 386189 h 432191"/>
                    <a:gd name="connsiteX449" fmla="*/ 0 w 2552202"/>
                    <a:gd name="connsiteY449" fmla="*/ 386189 h 432191"/>
                    <a:gd name="connsiteX450" fmla="*/ 427885 w 2552202"/>
                    <a:gd name="connsiteY450" fmla="*/ 243789 h 432191"/>
                    <a:gd name="connsiteX451" fmla="*/ 454207 w 2552202"/>
                    <a:gd name="connsiteY451" fmla="*/ 252774 h 432191"/>
                    <a:gd name="connsiteX452" fmla="*/ 463925 w 2552202"/>
                    <a:gd name="connsiteY452" fmla="*/ 276605 h 432191"/>
                    <a:gd name="connsiteX453" fmla="*/ 436675 w 2552202"/>
                    <a:gd name="connsiteY453" fmla="*/ 312743 h 432191"/>
                    <a:gd name="connsiteX454" fmla="*/ 436675 w 2552202"/>
                    <a:gd name="connsiteY454" fmla="*/ 313133 h 432191"/>
                    <a:gd name="connsiteX455" fmla="*/ 460116 w 2552202"/>
                    <a:gd name="connsiteY455" fmla="*/ 324023 h 432191"/>
                    <a:gd name="connsiteX456" fmla="*/ 468906 w 2552202"/>
                    <a:gd name="connsiteY456" fmla="*/ 347806 h 432191"/>
                    <a:gd name="connsiteX457" fmla="*/ 456209 w 2552202"/>
                    <a:gd name="connsiteY457" fmla="*/ 377399 h 432191"/>
                    <a:gd name="connsiteX458" fmla="*/ 423295 w 2552202"/>
                    <a:gd name="connsiteY458" fmla="*/ 388631 h 432191"/>
                    <a:gd name="connsiteX459" fmla="*/ 393310 w 2552202"/>
                    <a:gd name="connsiteY459" fmla="*/ 381208 h 432191"/>
                    <a:gd name="connsiteX460" fmla="*/ 393310 w 2552202"/>
                    <a:gd name="connsiteY460" fmla="*/ 370953 h 432191"/>
                    <a:gd name="connsiteX461" fmla="*/ 423490 w 2552202"/>
                    <a:gd name="connsiteY461" fmla="*/ 380427 h 432191"/>
                    <a:gd name="connsiteX462" fmla="*/ 449958 w 2552202"/>
                    <a:gd name="connsiteY462" fmla="*/ 371783 h 432191"/>
                    <a:gd name="connsiteX463" fmla="*/ 459530 w 2552202"/>
                    <a:gd name="connsiteY463" fmla="*/ 349173 h 432191"/>
                    <a:gd name="connsiteX464" fmla="*/ 448542 w 2552202"/>
                    <a:gd name="connsiteY464" fmla="*/ 325635 h 432191"/>
                    <a:gd name="connsiteX465" fmla="*/ 417239 w 2552202"/>
                    <a:gd name="connsiteY465" fmla="*/ 317626 h 432191"/>
                    <a:gd name="connsiteX466" fmla="*/ 406496 w 2552202"/>
                    <a:gd name="connsiteY466" fmla="*/ 317626 h 432191"/>
                    <a:gd name="connsiteX467" fmla="*/ 406496 w 2552202"/>
                    <a:gd name="connsiteY467" fmla="*/ 309422 h 432191"/>
                    <a:gd name="connsiteX468" fmla="*/ 416067 w 2552202"/>
                    <a:gd name="connsiteY468" fmla="*/ 309422 h 432191"/>
                    <a:gd name="connsiteX469" fmla="*/ 444635 w 2552202"/>
                    <a:gd name="connsiteY469" fmla="*/ 301462 h 432191"/>
                    <a:gd name="connsiteX470" fmla="*/ 454451 w 2552202"/>
                    <a:gd name="connsiteY470" fmla="*/ 278949 h 432191"/>
                    <a:gd name="connsiteX471" fmla="*/ 447321 w 2552202"/>
                    <a:gd name="connsiteY471" fmla="*/ 259171 h 432191"/>
                    <a:gd name="connsiteX472" fmla="*/ 426518 w 2552202"/>
                    <a:gd name="connsiteY472" fmla="*/ 251993 h 432191"/>
                    <a:gd name="connsiteX473" fmla="*/ 398878 w 2552202"/>
                    <a:gd name="connsiteY473" fmla="*/ 261174 h 432191"/>
                    <a:gd name="connsiteX474" fmla="*/ 398878 w 2552202"/>
                    <a:gd name="connsiteY474" fmla="*/ 251602 h 432191"/>
                    <a:gd name="connsiteX475" fmla="*/ 427885 w 2552202"/>
                    <a:gd name="connsiteY475" fmla="*/ 243789 h 432191"/>
                    <a:gd name="connsiteX476" fmla="*/ 2274522 w 2552202"/>
                    <a:gd name="connsiteY476" fmla="*/ 238125 h 432191"/>
                    <a:gd name="connsiteX477" fmla="*/ 2283506 w 2552202"/>
                    <a:gd name="connsiteY477" fmla="*/ 238125 h 432191"/>
                    <a:gd name="connsiteX478" fmla="*/ 2283506 w 2552202"/>
                    <a:gd name="connsiteY478" fmla="*/ 386190 h 432191"/>
                    <a:gd name="connsiteX479" fmla="*/ 2274522 w 2552202"/>
                    <a:gd name="connsiteY479" fmla="*/ 386190 h 432191"/>
                    <a:gd name="connsiteX480" fmla="*/ 1360121 w 2552202"/>
                    <a:gd name="connsiteY480" fmla="*/ 238125 h 432191"/>
                    <a:gd name="connsiteX481" fmla="*/ 1369107 w 2552202"/>
                    <a:gd name="connsiteY481" fmla="*/ 238125 h 432191"/>
                    <a:gd name="connsiteX482" fmla="*/ 1369107 w 2552202"/>
                    <a:gd name="connsiteY482" fmla="*/ 386190 h 432191"/>
                    <a:gd name="connsiteX483" fmla="*/ 1360121 w 2552202"/>
                    <a:gd name="connsiteY483" fmla="*/ 386190 h 432191"/>
                    <a:gd name="connsiteX484" fmla="*/ 1250151 w 2552202"/>
                    <a:gd name="connsiteY484" fmla="*/ 238125 h 432191"/>
                    <a:gd name="connsiteX485" fmla="*/ 1259136 w 2552202"/>
                    <a:gd name="connsiteY485" fmla="*/ 238125 h 432191"/>
                    <a:gd name="connsiteX486" fmla="*/ 1259136 w 2552202"/>
                    <a:gd name="connsiteY486" fmla="*/ 386190 h 432191"/>
                    <a:gd name="connsiteX487" fmla="*/ 1250151 w 2552202"/>
                    <a:gd name="connsiteY487" fmla="*/ 386190 h 432191"/>
                    <a:gd name="connsiteX488" fmla="*/ 1250151 w 2552202"/>
                    <a:gd name="connsiteY488" fmla="*/ 368024 h 432191"/>
                    <a:gd name="connsiteX489" fmla="*/ 1249760 w 2552202"/>
                    <a:gd name="connsiteY489" fmla="*/ 368024 h 432191"/>
                    <a:gd name="connsiteX490" fmla="*/ 1235305 w 2552202"/>
                    <a:gd name="connsiteY490" fmla="*/ 383065 h 432191"/>
                    <a:gd name="connsiteX491" fmla="*/ 1213721 w 2552202"/>
                    <a:gd name="connsiteY491" fmla="*/ 388632 h 432191"/>
                    <a:gd name="connsiteX492" fmla="*/ 1183590 w 2552202"/>
                    <a:gd name="connsiteY492" fmla="*/ 375154 h 432191"/>
                    <a:gd name="connsiteX493" fmla="*/ 1171919 w 2552202"/>
                    <a:gd name="connsiteY493" fmla="*/ 337942 h 432191"/>
                    <a:gd name="connsiteX494" fmla="*/ 1184664 w 2552202"/>
                    <a:gd name="connsiteY494" fmla="*/ 298728 h 432191"/>
                    <a:gd name="connsiteX495" fmla="*/ 1217725 w 2552202"/>
                    <a:gd name="connsiteY495" fmla="*/ 283736 h 432191"/>
                    <a:gd name="connsiteX496" fmla="*/ 1249760 w 2552202"/>
                    <a:gd name="connsiteY496" fmla="*/ 302195 h 432191"/>
                    <a:gd name="connsiteX497" fmla="*/ 1250151 w 2552202"/>
                    <a:gd name="connsiteY497" fmla="*/ 302195 h 432191"/>
                    <a:gd name="connsiteX498" fmla="*/ 2239044 w 2552202"/>
                    <a:gd name="connsiteY498" fmla="*/ 94249 h 432191"/>
                    <a:gd name="connsiteX499" fmla="*/ 2211502 w 2552202"/>
                    <a:gd name="connsiteY499" fmla="*/ 98253 h 432191"/>
                    <a:gd name="connsiteX500" fmla="*/ 2189428 w 2552202"/>
                    <a:gd name="connsiteY500" fmla="*/ 105530 h 432191"/>
                    <a:gd name="connsiteX501" fmla="*/ 2183080 w 2552202"/>
                    <a:gd name="connsiteY501" fmla="*/ 121889 h 432191"/>
                    <a:gd name="connsiteX502" fmla="*/ 2188988 w 2552202"/>
                    <a:gd name="connsiteY502" fmla="*/ 136539 h 432191"/>
                    <a:gd name="connsiteX503" fmla="*/ 2205446 w 2552202"/>
                    <a:gd name="connsiteY503" fmla="*/ 142302 h 432191"/>
                    <a:gd name="connsiteX504" fmla="*/ 2229472 w 2552202"/>
                    <a:gd name="connsiteY504" fmla="*/ 131607 h 432191"/>
                    <a:gd name="connsiteX505" fmla="*/ 2239044 w 2552202"/>
                    <a:gd name="connsiteY505" fmla="*/ 104016 h 432191"/>
                    <a:gd name="connsiteX506" fmla="*/ 1436604 w 2552202"/>
                    <a:gd name="connsiteY506" fmla="*/ 53815 h 432191"/>
                    <a:gd name="connsiteX507" fmla="*/ 1410624 w 2552202"/>
                    <a:gd name="connsiteY507" fmla="*/ 65877 h 432191"/>
                    <a:gd name="connsiteX508" fmla="*/ 1400370 w 2552202"/>
                    <a:gd name="connsiteY508" fmla="*/ 99036 h 432191"/>
                    <a:gd name="connsiteX509" fmla="*/ 1409600 w 2552202"/>
                    <a:gd name="connsiteY509" fmla="*/ 131022 h 432191"/>
                    <a:gd name="connsiteX510" fmla="*/ 1433382 w 2552202"/>
                    <a:gd name="connsiteY510" fmla="*/ 142303 h 432191"/>
                    <a:gd name="connsiteX511" fmla="*/ 1459850 w 2552202"/>
                    <a:gd name="connsiteY511" fmla="*/ 131706 h 432191"/>
                    <a:gd name="connsiteX512" fmla="*/ 1469226 w 2552202"/>
                    <a:gd name="connsiteY512" fmla="*/ 105872 h 432191"/>
                    <a:gd name="connsiteX513" fmla="*/ 1469226 w 2552202"/>
                    <a:gd name="connsiteY513" fmla="*/ 87218 h 432191"/>
                    <a:gd name="connsiteX514" fmla="*/ 1460388 w 2552202"/>
                    <a:gd name="connsiteY514" fmla="*/ 63533 h 432191"/>
                    <a:gd name="connsiteX515" fmla="*/ 1436604 w 2552202"/>
                    <a:gd name="connsiteY515" fmla="*/ 53815 h 432191"/>
                    <a:gd name="connsiteX516" fmla="*/ 960355 w 2552202"/>
                    <a:gd name="connsiteY516" fmla="*/ 53815 h 432191"/>
                    <a:gd name="connsiteX517" fmla="*/ 934375 w 2552202"/>
                    <a:gd name="connsiteY517" fmla="*/ 65877 h 432191"/>
                    <a:gd name="connsiteX518" fmla="*/ 924120 w 2552202"/>
                    <a:gd name="connsiteY518" fmla="*/ 99036 h 432191"/>
                    <a:gd name="connsiteX519" fmla="*/ 933350 w 2552202"/>
                    <a:gd name="connsiteY519" fmla="*/ 131022 h 432191"/>
                    <a:gd name="connsiteX520" fmla="*/ 957132 w 2552202"/>
                    <a:gd name="connsiteY520" fmla="*/ 142303 h 432191"/>
                    <a:gd name="connsiteX521" fmla="*/ 983600 w 2552202"/>
                    <a:gd name="connsiteY521" fmla="*/ 131706 h 432191"/>
                    <a:gd name="connsiteX522" fmla="*/ 992976 w 2552202"/>
                    <a:gd name="connsiteY522" fmla="*/ 105872 h 432191"/>
                    <a:gd name="connsiteX523" fmla="*/ 992976 w 2552202"/>
                    <a:gd name="connsiteY523" fmla="*/ 87218 h 432191"/>
                    <a:gd name="connsiteX524" fmla="*/ 984137 w 2552202"/>
                    <a:gd name="connsiteY524" fmla="*/ 63533 h 432191"/>
                    <a:gd name="connsiteX525" fmla="*/ 960355 w 2552202"/>
                    <a:gd name="connsiteY525" fmla="*/ 53815 h 432191"/>
                    <a:gd name="connsiteX526" fmla="*/ 1839096 w 2552202"/>
                    <a:gd name="connsiteY526" fmla="*/ 53814 h 432191"/>
                    <a:gd name="connsiteX527" fmla="*/ 1810920 w 2552202"/>
                    <a:gd name="connsiteY527" fmla="*/ 65730 h 432191"/>
                    <a:gd name="connsiteX528" fmla="*/ 1800420 w 2552202"/>
                    <a:gd name="connsiteY528" fmla="*/ 98839 h 432191"/>
                    <a:gd name="connsiteX529" fmla="*/ 1810676 w 2552202"/>
                    <a:gd name="connsiteY529" fmla="*/ 130386 h 432191"/>
                    <a:gd name="connsiteX530" fmla="*/ 1838706 w 2552202"/>
                    <a:gd name="connsiteY530" fmla="*/ 142302 h 432191"/>
                    <a:gd name="connsiteX531" fmla="*/ 1866542 w 2552202"/>
                    <a:gd name="connsiteY531" fmla="*/ 130582 h 432191"/>
                    <a:gd name="connsiteX532" fmla="*/ 1876308 w 2552202"/>
                    <a:gd name="connsiteY532" fmla="*/ 98058 h 432191"/>
                    <a:gd name="connsiteX533" fmla="*/ 1866590 w 2552202"/>
                    <a:gd name="connsiteY533" fmla="*/ 65241 h 432191"/>
                    <a:gd name="connsiteX534" fmla="*/ 1839096 w 2552202"/>
                    <a:gd name="connsiteY534" fmla="*/ 53814 h 432191"/>
                    <a:gd name="connsiteX535" fmla="*/ 1324746 w 2552202"/>
                    <a:gd name="connsiteY535" fmla="*/ 53814 h 432191"/>
                    <a:gd name="connsiteX536" fmla="*/ 1296569 w 2552202"/>
                    <a:gd name="connsiteY536" fmla="*/ 65730 h 432191"/>
                    <a:gd name="connsiteX537" fmla="*/ 1286070 w 2552202"/>
                    <a:gd name="connsiteY537" fmla="*/ 98839 h 432191"/>
                    <a:gd name="connsiteX538" fmla="*/ 1296325 w 2552202"/>
                    <a:gd name="connsiteY538" fmla="*/ 130386 h 432191"/>
                    <a:gd name="connsiteX539" fmla="*/ 1324356 w 2552202"/>
                    <a:gd name="connsiteY539" fmla="*/ 142302 h 432191"/>
                    <a:gd name="connsiteX540" fmla="*/ 1352191 w 2552202"/>
                    <a:gd name="connsiteY540" fmla="*/ 130582 h 432191"/>
                    <a:gd name="connsiteX541" fmla="*/ 1361958 w 2552202"/>
                    <a:gd name="connsiteY541" fmla="*/ 98058 h 432191"/>
                    <a:gd name="connsiteX542" fmla="*/ 1352240 w 2552202"/>
                    <a:gd name="connsiteY542" fmla="*/ 65241 h 432191"/>
                    <a:gd name="connsiteX543" fmla="*/ 1324746 w 2552202"/>
                    <a:gd name="connsiteY543" fmla="*/ 53814 h 432191"/>
                    <a:gd name="connsiteX544" fmla="*/ 1148557 w 2552202"/>
                    <a:gd name="connsiteY544" fmla="*/ 53814 h 432191"/>
                    <a:gd name="connsiteX545" fmla="*/ 1121503 w 2552202"/>
                    <a:gd name="connsiteY545" fmla="*/ 65534 h 432191"/>
                    <a:gd name="connsiteX546" fmla="*/ 1111932 w 2552202"/>
                    <a:gd name="connsiteY546" fmla="*/ 93077 h 432191"/>
                    <a:gd name="connsiteX547" fmla="*/ 1111932 w 2552202"/>
                    <a:gd name="connsiteY547" fmla="*/ 105676 h 432191"/>
                    <a:gd name="connsiteX548" fmla="*/ 1121405 w 2552202"/>
                    <a:gd name="connsiteY548" fmla="*/ 131509 h 432191"/>
                    <a:gd name="connsiteX549" fmla="*/ 1146311 w 2552202"/>
                    <a:gd name="connsiteY549" fmla="*/ 142302 h 432191"/>
                    <a:gd name="connsiteX550" fmla="*/ 1171216 w 2552202"/>
                    <a:gd name="connsiteY550" fmla="*/ 129165 h 432191"/>
                    <a:gd name="connsiteX551" fmla="*/ 1180788 w 2552202"/>
                    <a:gd name="connsiteY551" fmla="*/ 94640 h 432191"/>
                    <a:gd name="connsiteX552" fmla="*/ 1171998 w 2552202"/>
                    <a:gd name="connsiteY552" fmla="*/ 64851 h 432191"/>
                    <a:gd name="connsiteX553" fmla="*/ 1148557 w 2552202"/>
                    <a:gd name="connsiteY553" fmla="*/ 53814 h 432191"/>
                    <a:gd name="connsiteX554" fmla="*/ 854408 w 2552202"/>
                    <a:gd name="connsiteY554" fmla="*/ 53814 h 432191"/>
                    <a:gd name="connsiteX555" fmla="*/ 831114 w 2552202"/>
                    <a:gd name="connsiteY555" fmla="*/ 63239 h 432191"/>
                    <a:gd name="connsiteX556" fmla="*/ 819736 w 2552202"/>
                    <a:gd name="connsiteY556" fmla="*/ 90245 h 432191"/>
                    <a:gd name="connsiteX557" fmla="*/ 884001 w 2552202"/>
                    <a:gd name="connsiteY557" fmla="*/ 90245 h 432191"/>
                    <a:gd name="connsiteX558" fmla="*/ 875700 w 2552202"/>
                    <a:gd name="connsiteY558" fmla="*/ 63386 h 432191"/>
                    <a:gd name="connsiteX559" fmla="*/ 854408 w 2552202"/>
                    <a:gd name="connsiteY559" fmla="*/ 53814 h 432191"/>
                    <a:gd name="connsiteX560" fmla="*/ 481807 w 2552202"/>
                    <a:gd name="connsiteY560" fmla="*/ 53814 h 432191"/>
                    <a:gd name="connsiteX561" fmla="*/ 454753 w 2552202"/>
                    <a:gd name="connsiteY561" fmla="*/ 65534 h 432191"/>
                    <a:gd name="connsiteX562" fmla="*/ 445182 w 2552202"/>
                    <a:gd name="connsiteY562" fmla="*/ 93077 h 432191"/>
                    <a:gd name="connsiteX563" fmla="*/ 445182 w 2552202"/>
                    <a:gd name="connsiteY563" fmla="*/ 105676 h 432191"/>
                    <a:gd name="connsiteX564" fmla="*/ 454656 w 2552202"/>
                    <a:gd name="connsiteY564" fmla="*/ 131509 h 432191"/>
                    <a:gd name="connsiteX565" fmla="*/ 479561 w 2552202"/>
                    <a:gd name="connsiteY565" fmla="*/ 142302 h 432191"/>
                    <a:gd name="connsiteX566" fmla="*/ 504466 w 2552202"/>
                    <a:gd name="connsiteY566" fmla="*/ 129165 h 432191"/>
                    <a:gd name="connsiteX567" fmla="*/ 514038 w 2552202"/>
                    <a:gd name="connsiteY567" fmla="*/ 94640 h 432191"/>
                    <a:gd name="connsiteX568" fmla="*/ 505248 w 2552202"/>
                    <a:gd name="connsiteY568" fmla="*/ 64851 h 432191"/>
                    <a:gd name="connsiteX569" fmla="*/ 481807 w 2552202"/>
                    <a:gd name="connsiteY569" fmla="*/ 53814 h 432191"/>
                    <a:gd name="connsiteX570" fmla="*/ 1760172 w 2552202"/>
                    <a:gd name="connsiteY570" fmla="*/ 48052 h 432191"/>
                    <a:gd name="connsiteX571" fmla="*/ 1769156 w 2552202"/>
                    <a:gd name="connsiteY571" fmla="*/ 48052 h 432191"/>
                    <a:gd name="connsiteX572" fmla="*/ 1769156 w 2552202"/>
                    <a:gd name="connsiteY572" fmla="*/ 148064 h 432191"/>
                    <a:gd name="connsiteX573" fmla="*/ 1760172 w 2552202"/>
                    <a:gd name="connsiteY573" fmla="*/ 148064 h 432191"/>
                    <a:gd name="connsiteX574" fmla="*/ 1510470 w 2552202"/>
                    <a:gd name="connsiteY574" fmla="*/ 48052 h 432191"/>
                    <a:gd name="connsiteX575" fmla="*/ 1519554 w 2552202"/>
                    <a:gd name="connsiteY575" fmla="*/ 48052 h 432191"/>
                    <a:gd name="connsiteX576" fmla="*/ 1519554 w 2552202"/>
                    <a:gd name="connsiteY576" fmla="*/ 103625 h 432191"/>
                    <a:gd name="connsiteX577" fmla="*/ 1526244 w 2552202"/>
                    <a:gd name="connsiteY577" fmla="*/ 133121 h 432191"/>
                    <a:gd name="connsiteX578" fmla="*/ 1547292 w 2552202"/>
                    <a:gd name="connsiteY578" fmla="*/ 142302 h 432191"/>
                    <a:gd name="connsiteX579" fmla="*/ 1569902 w 2552202"/>
                    <a:gd name="connsiteY579" fmla="*/ 132047 h 432191"/>
                    <a:gd name="connsiteX580" fmla="*/ 1578544 w 2552202"/>
                    <a:gd name="connsiteY580" fmla="*/ 104699 h 432191"/>
                    <a:gd name="connsiteX581" fmla="*/ 1578544 w 2552202"/>
                    <a:gd name="connsiteY581" fmla="*/ 48052 h 432191"/>
                    <a:gd name="connsiteX582" fmla="*/ 1587530 w 2552202"/>
                    <a:gd name="connsiteY582" fmla="*/ 48052 h 432191"/>
                    <a:gd name="connsiteX583" fmla="*/ 1587530 w 2552202"/>
                    <a:gd name="connsiteY583" fmla="*/ 148064 h 432191"/>
                    <a:gd name="connsiteX584" fmla="*/ 1578544 w 2552202"/>
                    <a:gd name="connsiteY584" fmla="*/ 148064 h 432191"/>
                    <a:gd name="connsiteX585" fmla="*/ 1578544 w 2552202"/>
                    <a:gd name="connsiteY585" fmla="*/ 129898 h 432191"/>
                    <a:gd name="connsiteX586" fmla="*/ 1578154 w 2552202"/>
                    <a:gd name="connsiteY586" fmla="*/ 129898 h 432191"/>
                    <a:gd name="connsiteX587" fmla="*/ 1545924 w 2552202"/>
                    <a:gd name="connsiteY587" fmla="*/ 150506 h 432191"/>
                    <a:gd name="connsiteX588" fmla="*/ 1510470 w 2552202"/>
                    <a:gd name="connsiteY588" fmla="*/ 105871 h 432191"/>
                    <a:gd name="connsiteX589" fmla="*/ 617171 w 2552202"/>
                    <a:gd name="connsiteY589" fmla="*/ 48052 h 432191"/>
                    <a:gd name="connsiteX590" fmla="*/ 626157 w 2552202"/>
                    <a:gd name="connsiteY590" fmla="*/ 48052 h 432191"/>
                    <a:gd name="connsiteX591" fmla="*/ 626157 w 2552202"/>
                    <a:gd name="connsiteY591" fmla="*/ 148064 h 432191"/>
                    <a:gd name="connsiteX592" fmla="*/ 617171 w 2552202"/>
                    <a:gd name="connsiteY592" fmla="*/ 148064 h 432191"/>
                    <a:gd name="connsiteX593" fmla="*/ 2311732 w 2552202"/>
                    <a:gd name="connsiteY593" fmla="*/ 46098 h 432191"/>
                    <a:gd name="connsiteX594" fmla="*/ 2321696 w 2552202"/>
                    <a:gd name="connsiteY594" fmla="*/ 47856 h 432191"/>
                    <a:gd name="connsiteX595" fmla="*/ 2321696 w 2552202"/>
                    <a:gd name="connsiteY595" fmla="*/ 57428 h 432191"/>
                    <a:gd name="connsiteX596" fmla="*/ 2311146 w 2552202"/>
                    <a:gd name="connsiteY596" fmla="*/ 54205 h 432191"/>
                    <a:gd name="connsiteX597" fmla="*/ 2291320 w 2552202"/>
                    <a:gd name="connsiteY597" fmla="*/ 66413 h 432191"/>
                    <a:gd name="connsiteX598" fmla="*/ 2283312 w 2552202"/>
                    <a:gd name="connsiteY598" fmla="*/ 101086 h 432191"/>
                    <a:gd name="connsiteX599" fmla="*/ 2283312 w 2552202"/>
                    <a:gd name="connsiteY599" fmla="*/ 148064 h 432191"/>
                    <a:gd name="connsiteX600" fmla="*/ 2274520 w 2552202"/>
                    <a:gd name="connsiteY600" fmla="*/ 148064 h 432191"/>
                    <a:gd name="connsiteX601" fmla="*/ 2274520 w 2552202"/>
                    <a:gd name="connsiteY601" fmla="*/ 48052 h 432191"/>
                    <a:gd name="connsiteX602" fmla="*/ 2283312 w 2552202"/>
                    <a:gd name="connsiteY602" fmla="*/ 48052 h 432191"/>
                    <a:gd name="connsiteX603" fmla="*/ 2283312 w 2552202"/>
                    <a:gd name="connsiteY603" fmla="*/ 70222 h 432191"/>
                    <a:gd name="connsiteX604" fmla="*/ 2283702 w 2552202"/>
                    <a:gd name="connsiteY604" fmla="*/ 70222 h 432191"/>
                    <a:gd name="connsiteX605" fmla="*/ 2294544 w 2552202"/>
                    <a:gd name="connsiteY605" fmla="*/ 52447 h 432191"/>
                    <a:gd name="connsiteX606" fmla="*/ 2311732 w 2552202"/>
                    <a:gd name="connsiteY606" fmla="*/ 46098 h 432191"/>
                    <a:gd name="connsiteX607" fmla="*/ 1254458 w 2552202"/>
                    <a:gd name="connsiteY607" fmla="*/ 46098 h 432191"/>
                    <a:gd name="connsiteX608" fmla="*/ 1264420 w 2552202"/>
                    <a:gd name="connsiteY608" fmla="*/ 47856 h 432191"/>
                    <a:gd name="connsiteX609" fmla="*/ 1264420 w 2552202"/>
                    <a:gd name="connsiteY609" fmla="*/ 57428 h 432191"/>
                    <a:gd name="connsiteX610" fmla="*/ 1253872 w 2552202"/>
                    <a:gd name="connsiteY610" fmla="*/ 54205 h 432191"/>
                    <a:gd name="connsiteX611" fmla="*/ 1234045 w 2552202"/>
                    <a:gd name="connsiteY611" fmla="*/ 66413 h 432191"/>
                    <a:gd name="connsiteX612" fmla="*/ 1226036 w 2552202"/>
                    <a:gd name="connsiteY612" fmla="*/ 101086 h 432191"/>
                    <a:gd name="connsiteX613" fmla="*/ 1226036 w 2552202"/>
                    <a:gd name="connsiteY613" fmla="*/ 148064 h 432191"/>
                    <a:gd name="connsiteX614" fmla="*/ 1217246 w 2552202"/>
                    <a:gd name="connsiteY614" fmla="*/ 148064 h 432191"/>
                    <a:gd name="connsiteX615" fmla="*/ 1217246 w 2552202"/>
                    <a:gd name="connsiteY615" fmla="*/ 48052 h 432191"/>
                    <a:gd name="connsiteX616" fmla="*/ 1226036 w 2552202"/>
                    <a:gd name="connsiteY616" fmla="*/ 48052 h 432191"/>
                    <a:gd name="connsiteX617" fmla="*/ 1226036 w 2552202"/>
                    <a:gd name="connsiteY617" fmla="*/ 70222 h 432191"/>
                    <a:gd name="connsiteX618" fmla="*/ 1226427 w 2552202"/>
                    <a:gd name="connsiteY618" fmla="*/ 70222 h 432191"/>
                    <a:gd name="connsiteX619" fmla="*/ 1237268 w 2552202"/>
                    <a:gd name="connsiteY619" fmla="*/ 52447 h 432191"/>
                    <a:gd name="connsiteX620" fmla="*/ 1254458 w 2552202"/>
                    <a:gd name="connsiteY620" fmla="*/ 46098 h 432191"/>
                    <a:gd name="connsiteX621" fmla="*/ 587708 w 2552202"/>
                    <a:gd name="connsiteY621" fmla="*/ 46098 h 432191"/>
                    <a:gd name="connsiteX622" fmla="*/ 597670 w 2552202"/>
                    <a:gd name="connsiteY622" fmla="*/ 47856 h 432191"/>
                    <a:gd name="connsiteX623" fmla="*/ 597670 w 2552202"/>
                    <a:gd name="connsiteY623" fmla="*/ 57428 h 432191"/>
                    <a:gd name="connsiteX624" fmla="*/ 587122 w 2552202"/>
                    <a:gd name="connsiteY624" fmla="*/ 54205 h 432191"/>
                    <a:gd name="connsiteX625" fmla="*/ 567295 w 2552202"/>
                    <a:gd name="connsiteY625" fmla="*/ 66413 h 432191"/>
                    <a:gd name="connsiteX626" fmla="*/ 559286 w 2552202"/>
                    <a:gd name="connsiteY626" fmla="*/ 101086 h 432191"/>
                    <a:gd name="connsiteX627" fmla="*/ 559286 w 2552202"/>
                    <a:gd name="connsiteY627" fmla="*/ 148064 h 432191"/>
                    <a:gd name="connsiteX628" fmla="*/ 550496 w 2552202"/>
                    <a:gd name="connsiteY628" fmla="*/ 148064 h 432191"/>
                    <a:gd name="connsiteX629" fmla="*/ 550496 w 2552202"/>
                    <a:gd name="connsiteY629" fmla="*/ 48052 h 432191"/>
                    <a:gd name="connsiteX630" fmla="*/ 559286 w 2552202"/>
                    <a:gd name="connsiteY630" fmla="*/ 48052 h 432191"/>
                    <a:gd name="connsiteX631" fmla="*/ 559286 w 2552202"/>
                    <a:gd name="connsiteY631" fmla="*/ 70222 h 432191"/>
                    <a:gd name="connsiteX632" fmla="*/ 559677 w 2552202"/>
                    <a:gd name="connsiteY632" fmla="*/ 70222 h 432191"/>
                    <a:gd name="connsiteX633" fmla="*/ 570518 w 2552202"/>
                    <a:gd name="connsiteY633" fmla="*/ 52447 h 432191"/>
                    <a:gd name="connsiteX634" fmla="*/ 587708 w 2552202"/>
                    <a:gd name="connsiteY634" fmla="*/ 46098 h 432191"/>
                    <a:gd name="connsiteX635" fmla="*/ 2368738 w 2552202"/>
                    <a:gd name="connsiteY635" fmla="*/ 45610 h 432191"/>
                    <a:gd name="connsiteX636" fmla="*/ 2390812 w 2552202"/>
                    <a:gd name="connsiteY636" fmla="*/ 50884 h 432191"/>
                    <a:gd name="connsiteX637" fmla="*/ 2390812 w 2552202"/>
                    <a:gd name="connsiteY637" fmla="*/ 61042 h 432191"/>
                    <a:gd name="connsiteX638" fmla="*/ 2367762 w 2552202"/>
                    <a:gd name="connsiteY638" fmla="*/ 53814 h 432191"/>
                    <a:gd name="connsiteX639" fmla="*/ 2351842 w 2552202"/>
                    <a:gd name="connsiteY639" fmla="*/ 58942 h 432191"/>
                    <a:gd name="connsiteX640" fmla="*/ 2345786 w 2552202"/>
                    <a:gd name="connsiteY640" fmla="*/ 72274 h 432191"/>
                    <a:gd name="connsiteX641" fmla="*/ 2349596 w 2552202"/>
                    <a:gd name="connsiteY641" fmla="*/ 83847 h 432191"/>
                    <a:gd name="connsiteX642" fmla="*/ 2366394 w 2552202"/>
                    <a:gd name="connsiteY642" fmla="*/ 94054 h 432191"/>
                    <a:gd name="connsiteX643" fmla="*/ 2387882 w 2552202"/>
                    <a:gd name="connsiteY643" fmla="*/ 107092 h 432191"/>
                    <a:gd name="connsiteX644" fmla="*/ 2393742 w 2552202"/>
                    <a:gd name="connsiteY644" fmla="*/ 123061 h 432191"/>
                    <a:gd name="connsiteX645" fmla="*/ 2384804 w 2552202"/>
                    <a:gd name="connsiteY645" fmla="*/ 142741 h 432191"/>
                    <a:gd name="connsiteX646" fmla="*/ 2360144 w 2552202"/>
                    <a:gd name="connsiteY646" fmla="*/ 150506 h 432191"/>
                    <a:gd name="connsiteX647" fmla="*/ 2336020 w 2552202"/>
                    <a:gd name="connsiteY647" fmla="*/ 143669 h 432191"/>
                    <a:gd name="connsiteX648" fmla="*/ 2336020 w 2552202"/>
                    <a:gd name="connsiteY648" fmla="*/ 132828 h 432191"/>
                    <a:gd name="connsiteX649" fmla="*/ 2348326 w 2552202"/>
                    <a:gd name="connsiteY649" fmla="*/ 139762 h 432191"/>
                    <a:gd name="connsiteX650" fmla="*/ 2360828 w 2552202"/>
                    <a:gd name="connsiteY650" fmla="*/ 142302 h 432191"/>
                    <a:gd name="connsiteX651" fmla="*/ 2384366 w 2552202"/>
                    <a:gd name="connsiteY651" fmla="*/ 123061 h 432191"/>
                    <a:gd name="connsiteX652" fmla="*/ 2379188 w 2552202"/>
                    <a:gd name="connsiteY652" fmla="*/ 111732 h 432191"/>
                    <a:gd name="connsiteX653" fmla="*/ 2362390 w 2552202"/>
                    <a:gd name="connsiteY653" fmla="*/ 102062 h 432191"/>
                    <a:gd name="connsiteX654" fmla="*/ 2342222 w 2552202"/>
                    <a:gd name="connsiteY654" fmla="*/ 89121 h 432191"/>
                    <a:gd name="connsiteX655" fmla="*/ 2336410 w 2552202"/>
                    <a:gd name="connsiteY655" fmla="*/ 72860 h 432191"/>
                    <a:gd name="connsiteX656" fmla="*/ 2345738 w 2552202"/>
                    <a:gd name="connsiteY656" fmla="*/ 53131 h 432191"/>
                    <a:gd name="connsiteX657" fmla="*/ 2368738 w 2552202"/>
                    <a:gd name="connsiteY657" fmla="*/ 45610 h 432191"/>
                    <a:gd name="connsiteX658" fmla="*/ 2215702 w 2552202"/>
                    <a:gd name="connsiteY658" fmla="*/ 45610 h 432191"/>
                    <a:gd name="connsiteX659" fmla="*/ 2239582 w 2552202"/>
                    <a:gd name="connsiteY659" fmla="*/ 55182 h 432191"/>
                    <a:gd name="connsiteX660" fmla="*/ 2248030 w 2552202"/>
                    <a:gd name="connsiteY660" fmla="*/ 83017 h 432191"/>
                    <a:gd name="connsiteX661" fmla="*/ 2248030 w 2552202"/>
                    <a:gd name="connsiteY661" fmla="*/ 148064 h 432191"/>
                    <a:gd name="connsiteX662" fmla="*/ 2239044 w 2552202"/>
                    <a:gd name="connsiteY662" fmla="*/ 148064 h 432191"/>
                    <a:gd name="connsiteX663" fmla="*/ 2239044 w 2552202"/>
                    <a:gd name="connsiteY663" fmla="*/ 128042 h 432191"/>
                    <a:gd name="connsiteX664" fmla="*/ 2238654 w 2552202"/>
                    <a:gd name="connsiteY664" fmla="*/ 128042 h 432191"/>
                    <a:gd name="connsiteX665" fmla="*/ 2224736 w 2552202"/>
                    <a:gd name="connsiteY665" fmla="*/ 144402 h 432191"/>
                    <a:gd name="connsiteX666" fmla="*/ 2204470 w 2552202"/>
                    <a:gd name="connsiteY666" fmla="*/ 150506 h 432191"/>
                    <a:gd name="connsiteX667" fmla="*/ 2181908 w 2552202"/>
                    <a:gd name="connsiteY667" fmla="*/ 142497 h 432191"/>
                    <a:gd name="connsiteX668" fmla="*/ 2173606 w 2552202"/>
                    <a:gd name="connsiteY668" fmla="*/ 122280 h 432191"/>
                    <a:gd name="connsiteX669" fmla="*/ 2208278 w 2552202"/>
                    <a:gd name="connsiteY669" fmla="*/ 90635 h 432191"/>
                    <a:gd name="connsiteX670" fmla="*/ 2239044 w 2552202"/>
                    <a:gd name="connsiteY670" fmla="*/ 86045 h 432191"/>
                    <a:gd name="connsiteX671" fmla="*/ 2214822 w 2552202"/>
                    <a:gd name="connsiteY671" fmla="*/ 53814 h 432191"/>
                    <a:gd name="connsiteX672" fmla="*/ 2182690 w 2552202"/>
                    <a:gd name="connsiteY672" fmla="*/ 67097 h 432191"/>
                    <a:gd name="connsiteX673" fmla="*/ 2182690 w 2552202"/>
                    <a:gd name="connsiteY673" fmla="*/ 56256 h 432191"/>
                    <a:gd name="connsiteX674" fmla="*/ 2197780 w 2552202"/>
                    <a:gd name="connsiteY674" fmla="*/ 48735 h 432191"/>
                    <a:gd name="connsiteX675" fmla="*/ 2215702 w 2552202"/>
                    <a:gd name="connsiteY675" fmla="*/ 45610 h 432191"/>
                    <a:gd name="connsiteX676" fmla="*/ 2136520 w 2552202"/>
                    <a:gd name="connsiteY676" fmla="*/ 45610 h 432191"/>
                    <a:gd name="connsiteX677" fmla="*/ 2158692 w 2552202"/>
                    <a:gd name="connsiteY677" fmla="*/ 50298 h 432191"/>
                    <a:gd name="connsiteX678" fmla="*/ 2158692 w 2552202"/>
                    <a:gd name="connsiteY678" fmla="*/ 60456 h 432191"/>
                    <a:gd name="connsiteX679" fmla="*/ 2135152 w 2552202"/>
                    <a:gd name="connsiteY679" fmla="*/ 53814 h 432191"/>
                    <a:gd name="connsiteX680" fmla="*/ 2106634 w 2552202"/>
                    <a:gd name="connsiteY680" fmla="*/ 66462 h 432191"/>
                    <a:gd name="connsiteX681" fmla="*/ 2095694 w 2552202"/>
                    <a:gd name="connsiteY681" fmla="*/ 99230 h 432191"/>
                    <a:gd name="connsiteX682" fmla="*/ 2105706 w 2552202"/>
                    <a:gd name="connsiteY682" fmla="*/ 130484 h 432191"/>
                    <a:gd name="connsiteX683" fmla="*/ 2132124 w 2552202"/>
                    <a:gd name="connsiteY683" fmla="*/ 142302 h 432191"/>
                    <a:gd name="connsiteX684" fmla="*/ 2158300 w 2552202"/>
                    <a:gd name="connsiteY684" fmla="*/ 134293 h 432191"/>
                    <a:gd name="connsiteX685" fmla="*/ 2158300 w 2552202"/>
                    <a:gd name="connsiteY685" fmla="*/ 143669 h 432191"/>
                    <a:gd name="connsiteX686" fmla="*/ 2131734 w 2552202"/>
                    <a:gd name="connsiteY686" fmla="*/ 150506 h 432191"/>
                    <a:gd name="connsiteX687" fmla="*/ 2098820 w 2552202"/>
                    <a:gd name="connsiteY687" fmla="*/ 136491 h 432191"/>
                    <a:gd name="connsiteX688" fmla="*/ 2086318 w 2552202"/>
                    <a:gd name="connsiteY688" fmla="*/ 99816 h 432191"/>
                    <a:gd name="connsiteX689" fmla="*/ 2100382 w 2552202"/>
                    <a:gd name="connsiteY689" fmla="*/ 60797 h 432191"/>
                    <a:gd name="connsiteX690" fmla="*/ 2136520 w 2552202"/>
                    <a:gd name="connsiteY690" fmla="*/ 45610 h 432191"/>
                    <a:gd name="connsiteX691" fmla="*/ 1956132 w 2552202"/>
                    <a:gd name="connsiteY691" fmla="*/ 45610 h 432191"/>
                    <a:gd name="connsiteX692" fmla="*/ 1980938 w 2552202"/>
                    <a:gd name="connsiteY692" fmla="*/ 56402 h 432191"/>
                    <a:gd name="connsiteX693" fmla="*/ 1989534 w 2552202"/>
                    <a:gd name="connsiteY693" fmla="*/ 87217 h 432191"/>
                    <a:gd name="connsiteX694" fmla="*/ 1989534 w 2552202"/>
                    <a:gd name="connsiteY694" fmla="*/ 148064 h 432191"/>
                    <a:gd name="connsiteX695" fmla="*/ 1980548 w 2552202"/>
                    <a:gd name="connsiteY695" fmla="*/ 148064 h 432191"/>
                    <a:gd name="connsiteX696" fmla="*/ 1980548 w 2552202"/>
                    <a:gd name="connsiteY696" fmla="*/ 89854 h 432191"/>
                    <a:gd name="connsiteX697" fmla="*/ 1954568 w 2552202"/>
                    <a:gd name="connsiteY697" fmla="*/ 53814 h 432191"/>
                    <a:gd name="connsiteX698" fmla="*/ 1930834 w 2552202"/>
                    <a:gd name="connsiteY698" fmla="*/ 64411 h 432191"/>
                    <a:gd name="connsiteX699" fmla="*/ 1921556 w 2552202"/>
                    <a:gd name="connsiteY699" fmla="*/ 90635 h 432191"/>
                    <a:gd name="connsiteX700" fmla="*/ 1921556 w 2552202"/>
                    <a:gd name="connsiteY700" fmla="*/ 148064 h 432191"/>
                    <a:gd name="connsiteX701" fmla="*/ 1912570 w 2552202"/>
                    <a:gd name="connsiteY701" fmla="*/ 148064 h 432191"/>
                    <a:gd name="connsiteX702" fmla="*/ 1912570 w 2552202"/>
                    <a:gd name="connsiteY702" fmla="*/ 48052 h 432191"/>
                    <a:gd name="connsiteX703" fmla="*/ 1921556 w 2552202"/>
                    <a:gd name="connsiteY703" fmla="*/ 48052 h 432191"/>
                    <a:gd name="connsiteX704" fmla="*/ 1921556 w 2552202"/>
                    <a:gd name="connsiteY704" fmla="*/ 66218 h 432191"/>
                    <a:gd name="connsiteX705" fmla="*/ 1921948 w 2552202"/>
                    <a:gd name="connsiteY705" fmla="*/ 66218 h 432191"/>
                    <a:gd name="connsiteX706" fmla="*/ 1956132 w 2552202"/>
                    <a:gd name="connsiteY706" fmla="*/ 45610 h 432191"/>
                    <a:gd name="connsiteX707" fmla="*/ 1839488 w 2552202"/>
                    <a:gd name="connsiteY707" fmla="*/ 45610 h 432191"/>
                    <a:gd name="connsiteX708" fmla="*/ 1873280 w 2552202"/>
                    <a:gd name="connsiteY708" fmla="*/ 59577 h 432191"/>
                    <a:gd name="connsiteX709" fmla="*/ 1885684 w 2552202"/>
                    <a:gd name="connsiteY709" fmla="*/ 98253 h 432191"/>
                    <a:gd name="connsiteX710" fmla="*/ 1873036 w 2552202"/>
                    <a:gd name="connsiteY710" fmla="*/ 136051 h 432191"/>
                    <a:gd name="connsiteX711" fmla="*/ 1838412 w 2552202"/>
                    <a:gd name="connsiteY711" fmla="*/ 150506 h 432191"/>
                    <a:gd name="connsiteX712" fmla="*/ 1803790 w 2552202"/>
                    <a:gd name="connsiteY712" fmla="*/ 136100 h 432191"/>
                    <a:gd name="connsiteX713" fmla="*/ 1791044 w 2552202"/>
                    <a:gd name="connsiteY713" fmla="*/ 98644 h 432191"/>
                    <a:gd name="connsiteX714" fmla="*/ 1804376 w 2552202"/>
                    <a:gd name="connsiteY714" fmla="*/ 59674 h 432191"/>
                    <a:gd name="connsiteX715" fmla="*/ 1839488 w 2552202"/>
                    <a:gd name="connsiteY715" fmla="*/ 45610 h 432191"/>
                    <a:gd name="connsiteX716" fmla="*/ 1660270 w 2552202"/>
                    <a:gd name="connsiteY716" fmla="*/ 45610 h 432191"/>
                    <a:gd name="connsiteX717" fmla="*/ 1682440 w 2552202"/>
                    <a:gd name="connsiteY717" fmla="*/ 50298 h 432191"/>
                    <a:gd name="connsiteX718" fmla="*/ 1682440 w 2552202"/>
                    <a:gd name="connsiteY718" fmla="*/ 60456 h 432191"/>
                    <a:gd name="connsiteX719" fmla="*/ 1658902 w 2552202"/>
                    <a:gd name="connsiteY719" fmla="*/ 53814 h 432191"/>
                    <a:gd name="connsiteX720" fmla="*/ 1630384 w 2552202"/>
                    <a:gd name="connsiteY720" fmla="*/ 66462 h 432191"/>
                    <a:gd name="connsiteX721" fmla="*/ 1619444 w 2552202"/>
                    <a:gd name="connsiteY721" fmla="*/ 99230 h 432191"/>
                    <a:gd name="connsiteX722" fmla="*/ 1629456 w 2552202"/>
                    <a:gd name="connsiteY722" fmla="*/ 130484 h 432191"/>
                    <a:gd name="connsiteX723" fmla="*/ 1655876 w 2552202"/>
                    <a:gd name="connsiteY723" fmla="*/ 142302 h 432191"/>
                    <a:gd name="connsiteX724" fmla="*/ 1682050 w 2552202"/>
                    <a:gd name="connsiteY724" fmla="*/ 134293 h 432191"/>
                    <a:gd name="connsiteX725" fmla="*/ 1682050 w 2552202"/>
                    <a:gd name="connsiteY725" fmla="*/ 143669 h 432191"/>
                    <a:gd name="connsiteX726" fmla="*/ 1655484 w 2552202"/>
                    <a:gd name="connsiteY726" fmla="*/ 150506 h 432191"/>
                    <a:gd name="connsiteX727" fmla="*/ 1622570 w 2552202"/>
                    <a:gd name="connsiteY727" fmla="*/ 136491 h 432191"/>
                    <a:gd name="connsiteX728" fmla="*/ 1610068 w 2552202"/>
                    <a:gd name="connsiteY728" fmla="*/ 99816 h 432191"/>
                    <a:gd name="connsiteX729" fmla="*/ 1624132 w 2552202"/>
                    <a:gd name="connsiteY729" fmla="*/ 60797 h 432191"/>
                    <a:gd name="connsiteX730" fmla="*/ 1660270 w 2552202"/>
                    <a:gd name="connsiteY730" fmla="*/ 45610 h 432191"/>
                    <a:gd name="connsiteX731" fmla="*/ 1325137 w 2552202"/>
                    <a:gd name="connsiteY731" fmla="*/ 45610 h 432191"/>
                    <a:gd name="connsiteX732" fmla="*/ 1358930 w 2552202"/>
                    <a:gd name="connsiteY732" fmla="*/ 59577 h 432191"/>
                    <a:gd name="connsiteX733" fmla="*/ 1371334 w 2552202"/>
                    <a:gd name="connsiteY733" fmla="*/ 98253 h 432191"/>
                    <a:gd name="connsiteX734" fmla="*/ 1358686 w 2552202"/>
                    <a:gd name="connsiteY734" fmla="*/ 136051 h 432191"/>
                    <a:gd name="connsiteX735" fmla="*/ 1324063 w 2552202"/>
                    <a:gd name="connsiteY735" fmla="*/ 150506 h 432191"/>
                    <a:gd name="connsiteX736" fmla="*/ 1289439 w 2552202"/>
                    <a:gd name="connsiteY736" fmla="*/ 136100 h 432191"/>
                    <a:gd name="connsiteX737" fmla="*/ 1276694 w 2552202"/>
                    <a:gd name="connsiteY737" fmla="*/ 98644 h 432191"/>
                    <a:gd name="connsiteX738" fmla="*/ 1290025 w 2552202"/>
                    <a:gd name="connsiteY738" fmla="*/ 59674 h 432191"/>
                    <a:gd name="connsiteX739" fmla="*/ 1325137 w 2552202"/>
                    <a:gd name="connsiteY739" fmla="*/ 45610 h 432191"/>
                    <a:gd name="connsiteX740" fmla="*/ 1149729 w 2552202"/>
                    <a:gd name="connsiteY740" fmla="*/ 45610 h 432191"/>
                    <a:gd name="connsiteX741" fmla="*/ 1179469 w 2552202"/>
                    <a:gd name="connsiteY741" fmla="*/ 58746 h 432191"/>
                    <a:gd name="connsiteX742" fmla="*/ 1190164 w 2552202"/>
                    <a:gd name="connsiteY742" fmla="*/ 94444 h 432191"/>
                    <a:gd name="connsiteX743" fmla="*/ 1177907 w 2552202"/>
                    <a:gd name="connsiteY743" fmla="*/ 135025 h 432191"/>
                    <a:gd name="connsiteX744" fmla="*/ 1145530 w 2552202"/>
                    <a:gd name="connsiteY744" fmla="*/ 150506 h 432191"/>
                    <a:gd name="connsiteX745" fmla="*/ 1112322 w 2552202"/>
                    <a:gd name="connsiteY745" fmla="*/ 130289 h 432191"/>
                    <a:gd name="connsiteX746" fmla="*/ 1111932 w 2552202"/>
                    <a:gd name="connsiteY746" fmla="*/ 130289 h 432191"/>
                    <a:gd name="connsiteX747" fmla="*/ 1111932 w 2552202"/>
                    <a:gd name="connsiteY747" fmla="*/ 194066 h 432191"/>
                    <a:gd name="connsiteX748" fmla="*/ 1102946 w 2552202"/>
                    <a:gd name="connsiteY748" fmla="*/ 194066 h 432191"/>
                    <a:gd name="connsiteX749" fmla="*/ 1102946 w 2552202"/>
                    <a:gd name="connsiteY749" fmla="*/ 48052 h 432191"/>
                    <a:gd name="connsiteX750" fmla="*/ 1111932 w 2552202"/>
                    <a:gd name="connsiteY750" fmla="*/ 48052 h 432191"/>
                    <a:gd name="connsiteX751" fmla="*/ 1111932 w 2552202"/>
                    <a:gd name="connsiteY751" fmla="*/ 68660 h 432191"/>
                    <a:gd name="connsiteX752" fmla="*/ 1112322 w 2552202"/>
                    <a:gd name="connsiteY752" fmla="*/ 68660 h 432191"/>
                    <a:gd name="connsiteX753" fmla="*/ 1127705 w 2552202"/>
                    <a:gd name="connsiteY753" fmla="*/ 51617 h 432191"/>
                    <a:gd name="connsiteX754" fmla="*/ 1149729 w 2552202"/>
                    <a:gd name="connsiteY754" fmla="*/ 45610 h 432191"/>
                    <a:gd name="connsiteX755" fmla="*/ 854798 w 2552202"/>
                    <a:gd name="connsiteY755" fmla="*/ 45610 h 432191"/>
                    <a:gd name="connsiteX756" fmla="*/ 883415 w 2552202"/>
                    <a:gd name="connsiteY756" fmla="*/ 58698 h 432191"/>
                    <a:gd name="connsiteX757" fmla="*/ 893378 w 2552202"/>
                    <a:gd name="connsiteY757" fmla="*/ 94444 h 432191"/>
                    <a:gd name="connsiteX758" fmla="*/ 893378 w 2552202"/>
                    <a:gd name="connsiteY758" fmla="*/ 98449 h 432191"/>
                    <a:gd name="connsiteX759" fmla="*/ 819345 w 2552202"/>
                    <a:gd name="connsiteY759" fmla="*/ 98449 h 432191"/>
                    <a:gd name="connsiteX760" fmla="*/ 828868 w 2552202"/>
                    <a:gd name="connsiteY760" fmla="*/ 130679 h 432191"/>
                    <a:gd name="connsiteX761" fmla="*/ 854994 w 2552202"/>
                    <a:gd name="connsiteY761" fmla="*/ 142302 h 432191"/>
                    <a:gd name="connsiteX762" fmla="*/ 887810 w 2552202"/>
                    <a:gd name="connsiteY762" fmla="*/ 129898 h 432191"/>
                    <a:gd name="connsiteX763" fmla="*/ 887810 w 2552202"/>
                    <a:gd name="connsiteY763" fmla="*/ 139469 h 432191"/>
                    <a:gd name="connsiteX764" fmla="*/ 853138 w 2552202"/>
                    <a:gd name="connsiteY764" fmla="*/ 150506 h 432191"/>
                    <a:gd name="connsiteX765" fmla="*/ 821884 w 2552202"/>
                    <a:gd name="connsiteY765" fmla="*/ 136637 h 432191"/>
                    <a:gd name="connsiteX766" fmla="*/ 809969 w 2552202"/>
                    <a:gd name="connsiteY766" fmla="*/ 97472 h 432191"/>
                    <a:gd name="connsiteX767" fmla="*/ 822421 w 2552202"/>
                    <a:gd name="connsiteY767" fmla="*/ 60602 h 432191"/>
                    <a:gd name="connsiteX768" fmla="*/ 854798 w 2552202"/>
                    <a:gd name="connsiteY768" fmla="*/ 45610 h 432191"/>
                    <a:gd name="connsiteX769" fmla="*/ 698831 w 2552202"/>
                    <a:gd name="connsiteY769" fmla="*/ 45610 h 432191"/>
                    <a:gd name="connsiteX770" fmla="*/ 723639 w 2552202"/>
                    <a:gd name="connsiteY770" fmla="*/ 56402 h 432191"/>
                    <a:gd name="connsiteX771" fmla="*/ 732234 w 2552202"/>
                    <a:gd name="connsiteY771" fmla="*/ 87217 h 432191"/>
                    <a:gd name="connsiteX772" fmla="*/ 732234 w 2552202"/>
                    <a:gd name="connsiteY772" fmla="*/ 148064 h 432191"/>
                    <a:gd name="connsiteX773" fmla="*/ 723248 w 2552202"/>
                    <a:gd name="connsiteY773" fmla="*/ 148064 h 432191"/>
                    <a:gd name="connsiteX774" fmla="*/ 723248 w 2552202"/>
                    <a:gd name="connsiteY774" fmla="*/ 89854 h 432191"/>
                    <a:gd name="connsiteX775" fmla="*/ 697269 w 2552202"/>
                    <a:gd name="connsiteY775" fmla="*/ 53814 h 432191"/>
                    <a:gd name="connsiteX776" fmla="*/ 673535 w 2552202"/>
                    <a:gd name="connsiteY776" fmla="*/ 64411 h 432191"/>
                    <a:gd name="connsiteX777" fmla="*/ 664257 w 2552202"/>
                    <a:gd name="connsiteY777" fmla="*/ 90635 h 432191"/>
                    <a:gd name="connsiteX778" fmla="*/ 664257 w 2552202"/>
                    <a:gd name="connsiteY778" fmla="*/ 148064 h 432191"/>
                    <a:gd name="connsiteX779" fmla="*/ 655271 w 2552202"/>
                    <a:gd name="connsiteY779" fmla="*/ 148064 h 432191"/>
                    <a:gd name="connsiteX780" fmla="*/ 655271 w 2552202"/>
                    <a:gd name="connsiteY780" fmla="*/ 48052 h 432191"/>
                    <a:gd name="connsiteX781" fmla="*/ 664257 w 2552202"/>
                    <a:gd name="connsiteY781" fmla="*/ 48052 h 432191"/>
                    <a:gd name="connsiteX782" fmla="*/ 664257 w 2552202"/>
                    <a:gd name="connsiteY782" fmla="*/ 66218 h 432191"/>
                    <a:gd name="connsiteX783" fmla="*/ 664647 w 2552202"/>
                    <a:gd name="connsiteY783" fmla="*/ 66218 h 432191"/>
                    <a:gd name="connsiteX784" fmla="*/ 698831 w 2552202"/>
                    <a:gd name="connsiteY784" fmla="*/ 45610 h 432191"/>
                    <a:gd name="connsiteX785" fmla="*/ 482979 w 2552202"/>
                    <a:gd name="connsiteY785" fmla="*/ 45610 h 432191"/>
                    <a:gd name="connsiteX786" fmla="*/ 512719 w 2552202"/>
                    <a:gd name="connsiteY786" fmla="*/ 58746 h 432191"/>
                    <a:gd name="connsiteX787" fmla="*/ 523414 w 2552202"/>
                    <a:gd name="connsiteY787" fmla="*/ 94444 h 432191"/>
                    <a:gd name="connsiteX788" fmla="*/ 511157 w 2552202"/>
                    <a:gd name="connsiteY788" fmla="*/ 135025 h 432191"/>
                    <a:gd name="connsiteX789" fmla="*/ 478780 w 2552202"/>
                    <a:gd name="connsiteY789" fmla="*/ 150506 h 432191"/>
                    <a:gd name="connsiteX790" fmla="*/ 445572 w 2552202"/>
                    <a:gd name="connsiteY790" fmla="*/ 130289 h 432191"/>
                    <a:gd name="connsiteX791" fmla="*/ 445182 w 2552202"/>
                    <a:gd name="connsiteY791" fmla="*/ 130289 h 432191"/>
                    <a:gd name="connsiteX792" fmla="*/ 445182 w 2552202"/>
                    <a:gd name="connsiteY792" fmla="*/ 194066 h 432191"/>
                    <a:gd name="connsiteX793" fmla="*/ 436196 w 2552202"/>
                    <a:gd name="connsiteY793" fmla="*/ 194066 h 432191"/>
                    <a:gd name="connsiteX794" fmla="*/ 436196 w 2552202"/>
                    <a:gd name="connsiteY794" fmla="*/ 48052 h 432191"/>
                    <a:gd name="connsiteX795" fmla="*/ 445182 w 2552202"/>
                    <a:gd name="connsiteY795" fmla="*/ 48052 h 432191"/>
                    <a:gd name="connsiteX796" fmla="*/ 445182 w 2552202"/>
                    <a:gd name="connsiteY796" fmla="*/ 68660 h 432191"/>
                    <a:gd name="connsiteX797" fmla="*/ 445572 w 2552202"/>
                    <a:gd name="connsiteY797" fmla="*/ 68660 h 432191"/>
                    <a:gd name="connsiteX798" fmla="*/ 460955 w 2552202"/>
                    <a:gd name="connsiteY798" fmla="*/ 51617 h 432191"/>
                    <a:gd name="connsiteX799" fmla="*/ 482979 w 2552202"/>
                    <a:gd name="connsiteY799" fmla="*/ 45610 h 432191"/>
                    <a:gd name="connsiteX800" fmla="*/ 1716206 w 2552202"/>
                    <a:gd name="connsiteY800" fmla="*/ 19044 h 432191"/>
                    <a:gd name="connsiteX801" fmla="*/ 1716206 w 2552202"/>
                    <a:gd name="connsiteY801" fmla="*/ 48052 h 432191"/>
                    <a:gd name="connsiteX802" fmla="*/ 1742576 w 2552202"/>
                    <a:gd name="connsiteY802" fmla="*/ 48052 h 432191"/>
                    <a:gd name="connsiteX803" fmla="*/ 1742576 w 2552202"/>
                    <a:gd name="connsiteY803" fmla="*/ 56256 h 432191"/>
                    <a:gd name="connsiteX804" fmla="*/ 1716206 w 2552202"/>
                    <a:gd name="connsiteY804" fmla="*/ 56256 h 432191"/>
                    <a:gd name="connsiteX805" fmla="*/ 1716206 w 2552202"/>
                    <a:gd name="connsiteY805" fmla="*/ 122280 h 432191"/>
                    <a:gd name="connsiteX806" fmla="*/ 1719478 w 2552202"/>
                    <a:gd name="connsiteY806" fmla="*/ 137272 h 432191"/>
                    <a:gd name="connsiteX807" fmla="*/ 1730564 w 2552202"/>
                    <a:gd name="connsiteY807" fmla="*/ 141911 h 432191"/>
                    <a:gd name="connsiteX808" fmla="*/ 1742576 w 2552202"/>
                    <a:gd name="connsiteY808" fmla="*/ 138297 h 432191"/>
                    <a:gd name="connsiteX809" fmla="*/ 1742576 w 2552202"/>
                    <a:gd name="connsiteY809" fmla="*/ 146697 h 432191"/>
                    <a:gd name="connsiteX810" fmla="*/ 1729392 w 2552202"/>
                    <a:gd name="connsiteY810" fmla="*/ 150018 h 432191"/>
                    <a:gd name="connsiteX811" fmla="*/ 1707220 w 2552202"/>
                    <a:gd name="connsiteY811" fmla="*/ 123452 h 432191"/>
                    <a:gd name="connsiteX812" fmla="*/ 1707220 w 2552202"/>
                    <a:gd name="connsiteY812" fmla="*/ 56256 h 432191"/>
                    <a:gd name="connsiteX813" fmla="*/ 1689250 w 2552202"/>
                    <a:gd name="connsiteY813" fmla="*/ 56256 h 432191"/>
                    <a:gd name="connsiteX814" fmla="*/ 1689250 w 2552202"/>
                    <a:gd name="connsiteY814" fmla="*/ 48052 h 432191"/>
                    <a:gd name="connsiteX815" fmla="*/ 1707220 w 2552202"/>
                    <a:gd name="connsiteY815" fmla="*/ 48052 h 432191"/>
                    <a:gd name="connsiteX816" fmla="*/ 1707220 w 2552202"/>
                    <a:gd name="connsiteY816" fmla="*/ 22072 h 432191"/>
                    <a:gd name="connsiteX817" fmla="*/ 1711714 w 2552202"/>
                    <a:gd name="connsiteY817" fmla="*/ 20509 h 432191"/>
                    <a:gd name="connsiteX818" fmla="*/ 1716206 w 2552202"/>
                    <a:gd name="connsiteY818" fmla="*/ 19044 h 432191"/>
                    <a:gd name="connsiteX819" fmla="*/ 773231 w 2552202"/>
                    <a:gd name="connsiteY819" fmla="*/ 19044 h 432191"/>
                    <a:gd name="connsiteX820" fmla="*/ 773231 w 2552202"/>
                    <a:gd name="connsiteY820" fmla="*/ 48052 h 432191"/>
                    <a:gd name="connsiteX821" fmla="*/ 799602 w 2552202"/>
                    <a:gd name="connsiteY821" fmla="*/ 48052 h 432191"/>
                    <a:gd name="connsiteX822" fmla="*/ 799602 w 2552202"/>
                    <a:gd name="connsiteY822" fmla="*/ 56256 h 432191"/>
                    <a:gd name="connsiteX823" fmla="*/ 773231 w 2552202"/>
                    <a:gd name="connsiteY823" fmla="*/ 56256 h 432191"/>
                    <a:gd name="connsiteX824" fmla="*/ 773231 w 2552202"/>
                    <a:gd name="connsiteY824" fmla="*/ 122280 h 432191"/>
                    <a:gd name="connsiteX825" fmla="*/ 776503 w 2552202"/>
                    <a:gd name="connsiteY825" fmla="*/ 137272 h 432191"/>
                    <a:gd name="connsiteX826" fmla="*/ 787589 w 2552202"/>
                    <a:gd name="connsiteY826" fmla="*/ 141911 h 432191"/>
                    <a:gd name="connsiteX827" fmla="*/ 799602 w 2552202"/>
                    <a:gd name="connsiteY827" fmla="*/ 138297 h 432191"/>
                    <a:gd name="connsiteX828" fmla="*/ 799602 w 2552202"/>
                    <a:gd name="connsiteY828" fmla="*/ 146697 h 432191"/>
                    <a:gd name="connsiteX829" fmla="*/ 786417 w 2552202"/>
                    <a:gd name="connsiteY829" fmla="*/ 150018 h 432191"/>
                    <a:gd name="connsiteX830" fmla="*/ 764246 w 2552202"/>
                    <a:gd name="connsiteY830" fmla="*/ 123452 h 432191"/>
                    <a:gd name="connsiteX831" fmla="*/ 764246 w 2552202"/>
                    <a:gd name="connsiteY831" fmla="*/ 56256 h 432191"/>
                    <a:gd name="connsiteX832" fmla="*/ 746275 w 2552202"/>
                    <a:gd name="connsiteY832" fmla="*/ 56256 h 432191"/>
                    <a:gd name="connsiteX833" fmla="*/ 746275 w 2552202"/>
                    <a:gd name="connsiteY833" fmla="*/ 48052 h 432191"/>
                    <a:gd name="connsiteX834" fmla="*/ 764246 w 2552202"/>
                    <a:gd name="connsiteY834" fmla="*/ 48052 h 432191"/>
                    <a:gd name="connsiteX835" fmla="*/ 764246 w 2552202"/>
                    <a:gd name="connsiteY835" fmla="*/ 22072 h 432191"/>
                    <a:gd name="connsiteX836" fmla="*/ 768739 w 2552202"/>
                    <a:gd name="connsiteY836" fmla="*/ 20509 h 432191"/>
                    <a:gd name="connsiteX837" fmla="*/ 773231 w 2552202"/>
                    <a:gd name="connsiteY837" fmla="*/ 19044 h 432191"/>
                    <a:gd name="connsiteX838" fmla="*/ 257319 w 2552202"/>
                    <a:gd name="connsiteY838" fmla="*/ 16896 h 432191"/>
                    <a:gd name="connsiteX839" fmla="*/ 257319 w 2552202"/>
                    <a:gd name="connsiteY839" fmla="*/ 139274 h 432191"/>
                    <a:gd name="connsiteX840" fmla="*/ 279294 w 2552202"/>
                    <a:gd name="connsiteY840" fmla="*/ 139274 h 432191"/>
                    <a:gd name="connsiteX841" fmla="*/ 327152 w 2552202"/>
                    <a:gd name="connsiteY841" fmla="*/ 123110 h 432191"/>
                    <a:gd name="connsiteX842" fmla="*/ 343853 w 2552202"/>
                    <a:gd name="connsiteY842" fmla="*/ 76473 h 432191"/>
                    <a:gd name="connsiteX843" fmla="*/ 281248 w 2552202"/>
                    <a:gd name="connsiteY843" fmla="*/ 16896 h 432191"/>
                    <a:gd name="connsiteX844" fmla="*/ 1764566 w 2552202"/>
                    <a:gd name="connsiteY844" fmla="*/ 8009 h 432191"/>
                    <a:gd name="connsiteX845" fmla="*/ 1769890 w 2552202"/>
                    <a:gd name="connsiteY845" fmla="*/ 9962 h 432191"/>
                    <a:gd name="connsiteX846" fmla="*/ 1772184 w 2552202"/>
                    <a:gd name="connsiteY846" fmla="*/ 15236 h 432191"/>
                    <a:gd name="connsiteX847" fmla="*/ 1769938 w 2552202"/>
                    <a:gd name="connsiteY847" fmla="*/ 20608 h 432191"/>
                    <a:gd name="connsiteX848" fmla="*/ 1764566 w 2552202"/>
                    <a:gd name="connsiteY848" fmla="*/ 22854 h 432191"/>
                    <a:gd name="connsiteX849" fmla="*/ 1759390 w 2552202"/>
                    <a:gd name="connsiteY849" fmla="*/ 20706 h 432191"/>
                    <a:gd name="connsiteX850" fmla="*/ 1757144 w 2552202"/>
                    <a:gd name="connsiteY850" fmla="*/ 15236 h 432191"/>
                    <a:gd name="connsiteX851" fmla="*/ 1759438 w 2552202"/>
                    <a:gd name="connsiteY851" fmla="*/ 10011 h 432191"/>
                    <a:gd name="connsiteX852" fmla="*/ 1764566 w 2552202"/>
                    <a:gd name="connsiteY852" fmla="*/ 8009 h 432191"/>
                    <a:gd name="connsiteX853" fmla="*/ 621566 w 2552202"/>
                    <a:gd name="connsiteY853" fmla="*/ 8009 h 432191"/>
                    <a:gd name="connsiteX854" fmla="*/ 626889 w 2552202"/>
                    <a:gd name="connsiteY854" fmla="*/ 9962 h 432191"/>
                    <a:gd name="connsiteX855" fmla="*/ 629184 w 2552202"/>
                    <a:gd name="connsiteY855" fmla="*/ 15236 h 432191"/>
                    <a:gd name="connsiteX856" fmla="*/ 626938 w 2552202"/>
                    <a:gd name="connsiteY856" fmla="*/ 20608 h 432191"/>
                    <a:gd name="connsiteX857" fmla="*/ 621566 w 2552202"/>
                    <a:gd name="connsiteY857" fmla="*/ 22854 h 432191"/>
                    <a:gd name="connsiteX858" fmla="*/ 616390 w 2552202"/>
                    <a:gd name="connsiteY858" fmla="*/ 20706 h 432191"/>
                    <a:gd name="connsiteX859" fmla="*/ 614143 w 2552202"/>
                    <a:gd name="connsiteY859" fmla="*/ 15236 h 432191"/>
                    <a:gd name="connsiteX860" fmla="*/ 616439 w 2552202"/>
                    <a:gd name="connsiteY860" fmla="*/ 10011 h 432191"/>
                    <a:gd name="connsiteX861" fmla="*/ 621566 w 2552202"/>
                    <a:gd name="connsiteY861" fmla="*/ 8009 h 432191"/>
                    <a:gd name="connsiteX862" fmla="*/ 247650 w 2552202"/>
                    <a:gd name="connsiteY862" fmla="*/ 8008 h 432191"/>
                    <a:gd name="connsiteX863" fmla="*/ 282713 w 2552202"/>
                    <a:gd name="connsiteY863" fmla="*/ 8008 h 432191"/>
                    <a:gd name="connsiteX864" fmla="*/ 335746 w 2552202"/>
                    <a:gd name="connsiteY864" fmla="*/ 25393 h 432191"/>
                    <a:gd name="connsiteX865" fmla="*/ 353913 w 2552202"/>
                    <a:gd name="connsiteY865" fmla="*/ 76083 h 432191"/>
                    <a:gd name="connsiteX866" fmla="*/ 334428 w 2552202"/>
                    <a:gd name="connsiteY866" fmla="*/ 128091 h 432191"/>
                    <a:gd name="connsiteX867" fmla="*/ 280661 w 2552202"/>
                    <a:gd name="connsiteY867" fmla="*/ 148064 h 432191"/>
                    <a:gd name="connsiteX868" fmla="*/ 247650 w 2552202"/>
                    <a:gd name="connsiteY868" fmla="*/ 148064 h 432191"/>
                    <a:gd name="connsiteX869" fmla="*/ 170710 w 2552202"/>
                    <a:gd name="connsiteY869" fmla="*/ 5664 h 432191"/>
                    <a:gd name="connsiteX870" fmla="*/ 197032 w 2552202"/>
                    <a:gd name="connsiteY870" fmla="*/ 14649 h 432191"/>
                    <a:gd name="connsiteX871" fmla="*/ 206750 w 2552202"/>
                    <a:gd name="connsiteY871" fmla="*/ 38480 h 432191"/>
                    <a:gd name="connsiteX872" fmla="*/ 179500 w 2552202"/>
                    <a:gd name="connsiteY872" fmla="*/ 74618 h 432191"/>
                    <a:gd name="connsiteX873" fmla="*/ 179500 w 2552202"/>
                    <a:gd name="connsiteY873" fmla="*/ 75008 h 432191"/>
                    <a:gd name="connsiteX874" fmla="*/ 202941 w 2552202"/>
                    <a:gd name="connsiteY874" fmla="*/ 85898 h 432191"/>
                    <a:gd name="connsiteX875" fmla="*/ 211731 w 2552202"/>
                    <a:gd name="connsiteY875" fmla="*/ 109681 h 432191"/>
                    <a:gd name="connsiteX876" fmla="*/ 199034 w 2552202"/>
                    <a:gd name="connsiteY876" fmla="*/ 139274 h 432191"/>
                    <a:gd name="connsiteX877" fmla="*/ 166120 w 2552202"/>
                    <a:gd name="connsiteY877" fmla="*/ 150506 h 432191"/>
                    <a:gd name="connsiteX878" fmla="*/ 136135 w 2552202"/>
                    <a:gd name="connsiteY878" fmla="*/ 143083 h 432191"/>
                    <a:gd name="connsiteX879" fmla="*/ 136135 w 2552202"/>
                    <a:gd name="connsiteY879" fmla="*/ 132828 h 432191"/>
                    <a:gd name="connsiteX880" fmla="*/ 166315 w 2552202"/>
                    <a:gd name="connsiteY880" fmla="*/ 142302 h 432191"/>
                    <a:gd name="connsiteX881" fmla="*/ 192783 w 2552202"/>
                    <a:gd name="connsiteY881" fmla="*/ 133658 h 432191"/>
                    <a:gd name="connsiteX882" fmla="*/ 202355 w 2552202"/>
                    <a:gd name="connsiteY882" fmla="*/ 111048 h 432191"/>
                    <a:gd name="connsiteX883" fmla="*/ 191367 w 2552202"/>
                    <a:gd name="connsiteY883" fmla="*/ 87510 h 432191"/>
                    <a:gd name="connsiteX884" fmla="*/ 160064 w 2552202"/>
                    <a:gd name="connsiteY884" fmla="*/ 79501 h 432191"/>
                    <a:gd name="connsiteX885" fmla="*/ 149321 w 2552202"/>
                    <a:gd name="connsiteY885" fmla="*/ 79501 h 432191"/>
                    <a:gd name="connsiteX886" fmla="*/ 149321 w 2552202"/>
                    <a:gd name="connsiteY886" fmla="*/ 71297 h 432191"/>
                    <a:gd name="connsiteX887" fmla="*/ 158892 w 2552202"/>
                    <a:gd name="connsiteY887" fmla="*/ 71297 h 432191"/>
                    <a:gd name="connsiteX888" fmla="*/ 187460 w 2552202"/>
                    <a:gd name="connsiteY888" fmla="*/ 63337 h 432191"/>
                    <a:gd name="connsiteX889" fmla="*/ 197276 w 2552202"/>
                    <a:gd name="connsiteY889" fmla="*/ 40824 h 432191"/>
                    <a:gd name="connsiteX890" fmla="*/ 190146 w 2552202"/>
                    <a:gd name="connsiteY890" fmla="*/ 21046 h 432191"/>
                    <a:gd name="connsiteX891" fmla="*/ 169343 w 2552202"/>
                    <a:gd name="connsiteY891" fmla="*/ 13868 h 432191"/>
                    <a:gd name="connsiteX892" fmla="*/ 141702 w 2552202"/>
                    <a:gd name="connsiteY892" fmla="*/ 23049 h 432191"/>
                    <a:gd name="connsiteX893" fmla="*/ 141702 w 2552202"/>
                    <a:gd name="connsiteY893" fmla="*/ 13477 h 432191"/>
                    <a:gd name="connsiteX894" fmla="*/ 170710 w 2552202"/>
                    <a:gd name="connsiteY894" fmla="*/ 5664 h 432191"/>
                    <a:gd name="connsiteX895" fmla="*/ 1469226 w 2552202"/>
                    <a:gd name="connsiteY895" fmla="*/ 0 h 432191"/>
                    <a:gd name="connsiteX896" fmla="*/ 1478212 w 2552202"/>
                    <a:gd name="connsiteY896" fmla="*/ 0 h 432191"/>
                    <a:gd name="connsiteX897" fmla="*/ 1478212 w 2552202"/>
                    <a:gd name="connsiteY897" fmla="*/ 148065 h 432191"/>
                    <a:gd name="connsiteX898" fmla="*/ 1469226 w 2552202"/>
                    <a:gd name="connsiteY898" fmla="*/ 148065 h 432191"/>
                    <a:gd name="connsiteX899" fmla="*/ 1469226 w 2552202"/>
                    <a:gd name="connsiteY899" fmla="*/ 129899 h 432191"/>
                    <a:gd name="connsiteX900" fmla="*/ 1468836 w 2552202"/>
                    <a:gd name="connsiteY900" fmla="*/ 129899 h 432191"/>
                    <a:gd name="connsiteX901" fmla="*/ 1454380 w 2552202"/>
                    <a:gd name="connsiteY901" fmla="*/ 144940 h 432191"/>
                    <a:gd name="connsiteX902" fmla="*/ 1432796 w 2552202"/>
                    <a:gd name="connsiteY902" fmla="*/ 150507 h 432191"/>
                    <a:gd name="connsiteX903" fmla="*/ 1402664 w 2552202"/>
                    <a:gd name="connsiteY903" fmla="*/ 137029 h 432191"/>
                    <a:gd name="connsiteX904" fmla="*/ 1390994 w 2552202"/>
                    <a:gd name="connsiteY904" fmla="*/ 99817 h 432191"/>
                    <a:gd name="connsiteX905" fmla="*/ 1403740 w 2552202"/>
                    <a:gd name="connsiteY905" fmla="*/ 60603 h 432191"/>
                    <a:gd name="connsiteX906" fmla="*/ 1436800 w 2552202"/>
                    <a:gd name="connsiteY906" fmla="*/ 45611 h 432191"/>
                    <a:gd name="connsiteX907" fmla="*/ 1468836 w 2552202"/>
                    <a:gd name="connsiteY907" fmla="*/ 64070 h 432191"/>
                    <a:gd name="connsiteX908" fmla="*/ 1469226 w 2552202"/>
                    <a:gd name="connsiteY908" fmla="*/ 64070 h 432191"/>
                    <a:gd name="connsiteX909" fmla="*/ 992976 w 2552202"/>
                    <a:gd name="connsiteY909" fmla="*/ 0 h 432191"/>
                    <a:gd name="connsiteX910" fmla="*/ 1001962 w 2552202"/>
                    <a:gd name="connsiteY910" fmla="*/ 0 h 432191"/>
                    <a:gd name="connsiteX911" fmla="*/ 1001962 w 2552202"/>
                    <a:gd name="connsiteY911" fmla="*/ 148065 h 432191"/>
                    <a:gd name="connsiteX912" fmla="*/ 992976 w 2552202"/>
                    <a:gd name="connsiteY912" fmla="*/ 148065 h 432191"/>
                    <a:gd name="connsiteX913" fmla="*/ 992976 w 2552202"/>
                    <a:gd name="connsiteY913" fmla="*/ 129899 h 432191"/>
                    <a:gd name="connsiteX914" fmla="*/ 992586 w 2552202"/>
                    <a:gd name="connsiteY914" fmla="*/ 129899 h 432191"/>
                    <a:gd name="connsiteX915" fmla="*/ 978131 w 2552202"/>
                    <a:gd name="connsiteY915" fmla="*/ 144940 h 432191"/>
                    <a:gd name="connsiteX916" fmla="*/ 956546 w 2552202"/>
                    <a:gd name="connsiteY916" fmla="*/ 150507 h 432191"/>
                    <a:gd name="connsiteX917" fmla="*/ 926415 w 2552202"/>
                    <a:gd name="connsiteY917" fmla="*/ 137029 h 432191"/>
                    <a:gd name="connsiteX918" fmla="*/ 914744 w 2552202"/>
                    <a:gd name="connsiteY918" fmla="*/ 99817 h 432191"/>
                    <a:gd name="connsiteX919" fmla="*/ 927489 w 2552202"/>
                    <a:gd name="connsiteY919" fmla="*/ 60603 h 432191"/>
                    <a:gd name="connsiteX920" fmla="*/ 960550 w 2552202"/>
                    <a:gd name="connsiteY920" fmla="*/ 45611 h 432191"/>
                    <a:gd name="connsiteX921" fmla="*/ 992586 w 2552202"/>
                    <a:gd name="connsiteY921" fmla="*/ 64070 h 432191"/>
                    <a:gd name="connsiteX922" fmla="*/ 992976 w 2552202"/>
                    <a:gd name="connsiteY922" fmla="*/ 64070 h 4321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  <a:cxn ang="0">
                      <a:pos x="connsiteX864" y="connsiteY864"/>
                    </a:cxn>
                    <a:cxn ang="0">
                      <a:pos x="connsiteX865" y="connsiteY865"/>
                    </a:cxn>
                    <a:cxn ang="0">
                      <a:pos x="connsiteX866" y="connsiteY866"/>
                    </a:cxn>
                    <a:cxn ang="0">
                      <a:pos x="connsiteX867" y="connsiteY867"/>
                    </a:cxn>
                    <a:cxn ang="0">
                      <a:pos x="connsiteX868" y="connsiteY868"/>
                    </a:cxn>
                    <a:cxn ang="0">
                      <a:pos x="connsiteX869" y="connsiteY869"/>
                    </a:cxn>
                    <a:cxn ang="0">
                      <a:pos x="connsiteX870" y="connsiteY870"/>
                    </a:cxn>
                    <a:cxn ang="0">
                      <a:pos x="connsiteX871" y="connsiteY871"/>
                    </a:cxn>
                    <a:cxn ang="0">
                      <a:pos x="connsiteX872" y="connsiteY872"/>
                    </a:cxn>
                    <a:cxn ang="0">
                      <a:pos x="connsiteX873" y="connsiteY873"/>
                    </a:cxn>
                    <a:cxn ang="0">
                      <a:pos x="connsiteX874" y="connsiteY874"/>
                    </a:cxn>
                    <a:cxn ang="0">
                      <a:pos x="connsiteX875" y="connsiteY875"/>
                    </a:cxn>
                    <a:cxn ang="0">
                      <a:pos x="connsiteX876" y="connsiteY876"/>
                    </a:cxn>
                    <a:cxn ang="0">
                      <a:pos x="connsiteX877" y="connsiteY877"/>
                    </a:cxn>
                    <a:cxn ang="0">
                      <a:pos x="connsiteX878" y="connsiteY878"/>
                    </a:cxn>
                    <a:cxn ang="0">
                      <a:pos x="connsiteX879" y="connsiteY879"/>
                    </a:cxn>
                    <a:cxn ang="0">
                      <a:pos x="connsiteX880" y="connsiteY880"/>
                    </a:cxn>
                    <a:cxn ang="0">
                      <a:pos x="connsiteX881" y="connsiteY881"/>
                    </a:cxn>
                    <a:cxn ang="0">
                      <a:pos x="connsiteX882" y="connsiteY882"/>
                    </a:cxn>
                    <a:cxn ang="0">
                      <a:pos x="connsiteX883" y="connsiteY883"/>
                    </a:cxn>
                    <a:cxn ang="0">
                      <a:pos x="connsiteX884" y="connsiteY884"/>
                    </a:cxn>
                    <a:cxn ang="0">
                      <a:pos x="connsiteX885" y="connsiteY885"/>
                    </a:cxn>
                    <a:cxn ang="0">
                      <a:pos x="connsiteX886" y="connsiteY886"/>
                    </a:cxn>
                    <a:cxn ang="0">
                      <a:pos x="connsiteX887" y="connsiteY887"/>
                    </a:cxn>
                    <a:cxn ang="0">
                      <a:pos x="connsiteX888" y="connsiteY888"/>
                    </a:cxn>
                    <a:cxn ang="0">
                      <a:pos x="connsiteX889" y="connsiteY889"/>
                    </a:cxn>
                    <a:cxn ang="0">
                      <a:pos x="connsiteX890" y="connsiteY890"/>
                    </a:cxn>
                    <a:cxn ang="0">
                      <a:pos x="connsiteX891" y="connsiteY891"/>
                    </a:cxn>
                    <a:cxn ang="0">
                      <a:pos x="connsiteX892" y="connsiteY892"/>
                    </a:cxn>
                    <a:cxn ang="0">
                      <a:pos x="connsiteX893" y="connsiteY893"/>
                    </a:cxn>
                    <a:cxn ang="0">
                      <a:pos x="connsiteX894" y="connsiteY894"/>
                    </a:cxn>
                    <a:cxn ang="0">
                      <a:pos x="connsiteX895" y="connsiteY895"/>
                    </a:cxn>
                    <a:cxn ang="0">
                      <a:pos x="connsiteX896" y="connsiteY896"/>
                    </a:cxn>
                    <a:cxn ang="0">
                      <a:pos x="connsiteX897" y="connsiteY897"/>
                    </a:cxn>
                    <a:cxn ang="0">
                      <a:pos x="connsiteX898" y="connsiteY898"/>
                    </a:cxn>
                    <a:cxn ang="0">
                      <a:pos x="connsiteX899" y="connsiteY899"/>
                    </a:cxn>
                    <a:cxn ang="0">
                      <a:pos x="connsiteX900" y="connsiteY900"/>
                    </a:cxn>
                    <a:cxn ang="0">
                      <a:pos x="connsiteX901" y="connsiteY901"/>
                    </a:cxn>
                    <a:cxn ang="0">
                      <a:pos x="connsiteX902" y="connsiteY902"/>
                    </a:cxn>
                    <a:cxn ang="0">
                      <a:pos x="connsiteX903" y="connsiteY903"/>
                    </a:cxn>
                    <a:cxn ang="0">
                      <a:pos x="connsiteX904" y="connsiteY904"/>
                    </a:cxn>
                    <a:cxn ang="0">
                      <a:pos x="connsiteX905" y="connsiteY905"/>
                    </a:cxn>
                    <a:cxn ang="0">
                      <a:pos x="connsiteX906" y="connsiteY906"/>
                    </a:cxn>
                    <a:cxn ang="0">
                      <a:pos x="connsiteX907" y="connsiteY907"/>
                    </a:cxn>
                    <a:cxn ang="0">
                      <a:pos x="connsiteX908" y="connsiteY908"/>
                    </a:cxn>
                    <a:cxn ang="0">
                      <a:pos x="connsiteX909" y="connsiteY909"/>
                    </a:cxn>
                    <a:cxn ang="0">
                      <a:pos x="connsiteX910" y="connsiteY910"/>
                    </a:cxn>
                    <a:cxn ang="0">
                      <a:pos x="connsiteX911" y="connsiteY911"/>
                    </a:cxn>
                    <a:cxn ang="0">
                      <a:pos x="connsiteX912" y="connsiteY912"/>
                    </a:cxn>
                    <a:cxn ang="0">
                      <a:pos x="connsiteX913" y="connsiteY913"/>
                    </a:cxn>
                    <a:cxn ang="0">
                      <a:pos x="connsiteX914" y="connsiteY914"/>
                    </a:cxn>
                    <a:cxn ang="0">
                      <a:pos x="connsiteX915" y="connsiteY915"/>
                    </a:cxn>
                    <a:cxn ang="0">
                      <a:pos x="connsiteX916" y="connsiteY916"/>
                    </a:cxn>
                    <a:cxn ang="0">
                      <a:pos x="connsiteX917" y="connsiteY917"/>
                    </a:cxn>
                    <a:cxn ang="0">
                      <a:pos x="connsiteX918" y="connsiteY918"/>
                    </a:cxn>
                    <a:cxn ang="0">
                      <a:pos x="connsiteX919" y="connsiteY919"/>
                    </a:cxn>
                    <a:cxn ang="0">
                      <a:pos x="connsiteX920" y="connsiteY920"/>
                    </a:cxn>
                    <a:cxn ang="0">
                      <a:pos x="connsiteX921" y="connsiteY921"/>
                    </a:cxn>
                    <a:cxn ang="0">
                      <a:pos x="connsiteX922" y="connsiteY922"/>
                    </a:cxn>
                  </a:cxnLst>
                  <a:rect l="l" t="t" r="r" b="b"/>
                  <a:pathLst>
                    <a:path w="2552202" h="432191">
                      <a:moveTo>
                        <a:pt x="2372394" y="332374"/>
                      </a:moveTo>
                      <a:lnTo>
                        <a:pt x="2344852" y="336378"/>
                      </a:lnTo>
                      <a:cubicBezTo>
                        <a:pt x="2334368" y="337876"/>
                        <a:pt x="2327012" y="340301"/>
                        <a:pt x="2322778" y="343655"/>
                      </a:cubicBezTo>
                      <a:cubicBezTo>
                        <a:pt x="2318546" y="347008"/>
                        <a:pt x="2316430" y="352461"/>
                        <a:pt x="2316430" y="360014"/>
                      </a:cubicBezTo>
                      <a:cubicBezTo>
                        <a:pt x="2316430" y="365939"/>
                        <a:pt x="2318400" y="370823"/>
                        <a:pt x="2322340" y="374664"/>
                      </a:cubicBezTo>
                      <a:cubicBezTo>
                        <a:pt x="2326278" y="378506"/>
                        <a:pt x="2331764" y="380427"/>
                        <a:pt x="2338796" y="380427"/>
                      </a:cubicBezTo>
                      <a:cubicBezTo>
                        <a:pt x="2348432" y="380427"/>
                        <a:pt x="2356442" y="376862"/>
                        <a:pt x="2362822" y="369732"/>
                      </a:cubicBezTo>
                      <a:cubicBezTo>
                        <a:pt x="2369204" y="362602"/>
                        <a:pt x="2372394" y="353405"/>
                        <a:pt x="2372394" y="342141"/>
                      </a:cubicBezTo>
                      <a:close/>
                      <a:moveTo>
                        <a:pt x="1943770" y="332374"/>
                      </a:moveTo>
                      <a:lnTo>
                        <a:pt x="1916226" y="336378"/>
                      </a:lnTo>
                      <a:cubicBezTo>
                        <a:pt x="1905744" y="337876"/>
                        <a:pt x="1898386" y="340301"/>
                        <a:pt x="1894154" y="343655"/>
                      </a:cubicBezTo>
                      <a:cubicBezTo>
                        <a:pt x="1889922" y="347008"/>
                        <a:pt x="1887806" y="352461"/>
                        <a:pt x="1887806" y="360014"/>
                      </a:cubicBezTo>
                      <a:cubicBezTo>
                        <a:pt x="1887806" y="365939"/>
                        <a:pt x="1889774" y="370823"/>
                        <a:pt x="1893714" y="374664"/>
                      </a:cubicBezTo>
                      <a:cubicBezTo>
                        <a:pt x="1897654" y="378506"/>
                        <a:pt x="1903140" y="380427"/>
                        <a:pt x="1910172" y="380427"/>
                      </a:cubicBezTo>
                      <a:cubicBezTo>
                        <a:pt x="1919808" y="380427"/>
                        <a:pt x="1927816" y="376862"/>
                        <a:pt x="1934198" y="369732"/>
                      </a:cubicBezTo>
                      <a:cubicBezTo>
                        <a:pt x="1940578" y="362602"/>
                        <a:pt x="1943770" y="353405"/>
                        <a:pt x="1943770" y="342141"/>
                      </a:cubicBezTo>
                      <a:close/>
                      <a:moveTo>
                        <a:pt x="1217530" y="291940"/>
                      </a:moveTo>
                      <a:cubicBezTo>
                        <a:pt x="1207047" y="291940"/>
                        <a:pt x="1198387" y="295961"/>
                        <a:pt x="1191550" y="304002"/>
                      </a:cubicBezTo>
                      <a:cubicBezTo>
                        <a:pt x="1184713" y="312044"/>
                        <a:pt x="1181295" y="323096"/>
                        <a:pt x="1181295" y="337161"/>
                      </a:cubicBezTo>
                      <a:cubicBezTo>
                        <a:pt x="1181295" y="350964"/>
                        <a:pt x="1184371" y="361627"/>
                        <a:pt x="1190524" y="369147"/>
                      </a:cubicBezTo>
                      <a:cubicBezTo>
                        <a:pt x="1196678" y="376668"/>
                        <a:pt x="1204605" y="380428"/>
                        <a:pt x="1214307" y="380428"/>
                      </a:cubicBezTo>
                      <a:cubicBezTo>
                        <a:pt x="1225701" y="380428"/>
                        <a:pt x="1234524" y="376895"/>
                        <a:pt x="1240775" y="369831"/>
                      </a:cubicBezTo>
                      <a:cubicBezTo>
                        <a:pt x="1247026" y="362766"/>
                        <a:pt x="1250151" y="354155"/>
                        <a:pt x="1250151" y="343997"/>
                      </a:cubicBezTo>
                      <a:lnTo>
                        <a:pt x="1250151" y="325343"/>
                      </a:lnTo>
                      <a:cubicBezTo>
                        <a:pt x="1250151" y="316032"/>
                        <a:pt x="1247205" y="308137"/>
                        <a:pt x="1241312" y="301658"/>
                      </a:cubicBezTo>
                      <a:cubicBezTo>
                        <a:pt x="1235419" y="295180"/>
                        <a:pt x="1227492" y="291940"/>
                        <a:pt x="1217530" y="291940"/>
                      </a:cubicBezTo>
                      <a:close/>
                      <a:moveTo>
                        <a:pt x="2205832" y="291939"/>
                      </a:moveTo>
                      <a:cubicBezTo>
                        <a:pt x="2194178" y="291939"/>
                        <a:pt x="2185160" y="295846"/>
                        <a:pt x="2178778" y="303659"/>
                      </a:cubicBezTo>
                      <a:cubicBezTo>
                        <a:pt x="2172398" y="311473"/>
                        <a:pt x="2169206" y="320654"/>
                        <a:pt x="2169206" y="331202"/>
                      </a:cubicBezTo>
                      <a:lnTo>
                        <a:pt x="2169206" y="343801"/>
                      </a:lnTo>
                      <a:cubicBezTo>
                        <a:pt x="2169206" y="353828"/>
                        <a:pt x="2172364" y="362440"/>
                        <a:pt x="2178680" y="369634"/>
                      </a:cubicBezTo>
                      <a:cubicBezTo>
                        <a:pt x="2184996" y="376829"/>
                        <a:pt x="2193298" y="380427"/>
                        <a:pt x="2203586" y="380427"/>
                      </a:cubicBezTo>
                      <a:cubicBezTo>
                        <a:pt x="2213808" y="380427"/>
                        <a:pt x="2222110" y="376048"/>
                        <a:pt x="2228492" y="367290"/>
                      </a:cubicBezTo>
                      <a:cubicBezTo>
                        <a:pt x="2234872" y="358533"/>
                        <a:pt x="2238062" y="347024"/>
                        <a:pt x="2238062" y="332765"/>
                      </a:cubicBezTo>
                      <a:cubicBezTo>
                        <a:pt x="2238062" y="320263"/>
                        <a:pt x="2235132" y="310333"/>
                        <a:pt x="2229272" y="302976"/>
                      </a:cubicBezTo>
                      <a:cubicBezTo>
                        <a:pt x="2223412" y="295618"/>
                        <a:pt x="2215600" y="291939"/>
                        <a:pt x="2205832" y="291939"/>
                      </a:cubicBezTo>
                      <a:close/>
                      <a:moveTo>
                        <a:pt x="1568782" y="291939"/>
                      </a:moveTo>
                      <a:cubicBezTo>
                        <a:pt x="1559406" y="291939"/>
                        <a:pt x="1551642" y="295081"/>
                        <a:pt x="1545488" y="301364"/>
                      </a:cubicBezTo>
                      <a:cubicBezTo>
                        <a:pt x="1539336" y="307648"/>
                        <a:pt x="1535542" y="316649"/>
                        <a:pt x="1534110" y="328370"/>
                      </a:cubicBezTo>
                      <a:lnTo>
                        <a:pt x="1598376" y="328370"/>
                      </a:lnTo>
                      <a:cubicBezTo>
                        <a:pt x="1597986" y="316845"/>
                        <a:pt x="1595218" y="307892"/>
                        <a:pt x="1590074" y="301511"/>
                      </a:cubicBezTo>
                      <a:cubicBezTo>
                        <a:pt x="1584930" y="295130"/>
                        <a:pt x="1577834" y="291939"/>
                        <a:pt x="1568782" y="291939"/>
                      </a:cubicBezTo>
                      <a:close/>
                      <a:moveTo>
                        <a:pt x="1111583" y="291939"/>
                      </a:moveTo>
                      <a:cubicBezTo>
                        <a:pt x="1102207" y="291939"/>
                        <a:pt x="1094442" y="295081"/>
                        <a:pt x="1088289" y="301364"/>
                      </a:cubicBezTo>
                      <a:cubicBezTo>
                        <a:pt x="1082136" y="307648"/>
                        <a:pt x="1078343" y="316649"/>
                        <a:pt x="1076911" y="328370"/>
                      </a:cubicBezTo>
                      <a:lnTo>
                        <a:pt x="1141176" y="328370"/>
                      </a:lnTo>
                      <a:cubicBezTo>
                        <a:pt x="1140786" y="316845"/>
                        <a:pt x="1138018" y="307892"/>
                        <a:pt x="1132875" y="301511"/>
                      </a:cubicBezTo>
                      <a:cubicBezTo>
                        <a:pt x="1127731" y="295130"/>
                        <a:pt x="1120634" y="291939"/>
                        <a:pt x="1111583" y="291939"/>
                      </a:cubicBezTo>
                      <a:close/>
                      <a:moveTo>
                        <a:pt x="738982" y="291939"/>
                      </a:moveTo>
                      <a:cubicBezTo>
                        <a:pt x="727327" y="291939"/>
                        <a:pt x="718309" y="295846"/>
                        <a:pt x="711928" y="303659"/>
                      </a:cubicBezTo>
                      <a:cubicBezTo>
                        <a:pt x="705547" y="311473"/>
                        <a:pt x="702357" y="320654"/>
                        <a:pt x="702357" y="331202"/>
                      </a:cubicBezTo>
                      <a:lnTo>
                        <a:pt x="702357" y="343801"/>
                      </a:lnTo>
                      <a:cubicBezTo>
                        <a:pt x="702357" y="353828"/>
                        <a:pt x="705515" y="362440"/>
                        <a:pt x="711831" y="369634"/>
                      </a:cubicBezTo>
                      <a:cubicBezTo>
                        <a:pt x="718146" y="376829"/>
                        <a:pt x="726448" y="380427"/>
                        <a:pt x="736736" y="380427"/>
                      </a:cubicBezTo>
                      <a:cubicBezTo>
                        <a:pt x="746959" y="380427"/>
                        <a:pt x="755260" y="376048"/>
                        <a:pt x="761641" y="367290"/>
                      </a:cubicBezTo>
                      <a:cubicBezTo>
                        <a:pt x="768022" y="358533"/>
                        <a:pt x="771213" y="347024"/>
                        <a:pt x="771213" y="332765"/>
                      </a:cubicBezTo>
                      <a:cubicBezTo>
                        <a:pt x="771213" y="320263"/>
                        <a:pt x="768283" y="310333"/>
                        <a:pt x="762423" y="302976"/>
                      </a:cubicBezTo>
                      <a:cubicBezTo>
                        <a:pt x="756563" y="295618"/>
                        <a:pt x="748749" y="291939"/>
                        <a:pt x="738982" y="291939"/>
                      </a:cubicBezTo>
                      <a:close/>
                      <a:moveTo>
                        <a:pt x="1422256" y="286177"/>
                      </a:moveTo>
                      <a:lnTo>
                        <a:pt x="1432316" y="286177"/>
                      </a:lnTo>
                      <a:lnTo>
                        <a:pt x="1462106" y="365777"/>
                      </a:lnTo>
                      <a:cubicBezTo>
                        <a:pt x="1463538" y="369618"/>
                        <a:pt x="1464548" y="373102"/>
                        <a:pt x="1465134" y="376227"/>
                      </a:cubicBezTo>
                      <a:lnTo>
                        <a:pt x="1465524" y="376227"/>
                      </a:lnTo>
                      <a:cubicBezTo>
                        <a:pt x="1466370" y="372125"/>
                        <a:pt x="1467314" y="368772"/>
                        <a:pt x="1468356" y="366167"/>
                      </a:cubicBezTo>
                      <a:lnTo>
                        <a:pt x="1499122" y="286177"/>
                      </a:lnTo>
                      <a:lnTo>
                        <a:pt x="1508888" y="286177"/>
                      </a:lnTo>
                      <a:lnTo>
                        <a:pt x="1469138" y="386189"/>
                      </a:lnTo>
                      <a:lnTo>
                        <a:pt x="1460934" y="386189"/>
                      </a:lnTo>
                      <a:close/>
                      <a:moveTo>
                        <a:pt x="1398222" y="286177"/>
                      </a:moveTo>
                      <a:lnTo>
                        <a:pt x="1407206" y="286177"/>
                      </a:lnTo>
                      <a:lnTo>
                        <a:pt x="1407206" y="386189"/>
                      </a:lnTo>
                      <a:lnTo>
                        <a:pt x="1398222" y="386189"/>
                      </a:lnTo>
                      <a:close/>
                      <a:moveTo>
                        <a:pt x="874346" y="286177"/>
                      </a:moveTo>
                      <a:lnTo>
                        <a:pt x="883332" y="286177"/>
                      </a:lnTo>
                      <a:lnTo>
                        <a:pt x="883332" y="386189"/>
                      </a:lnTo>
                      <a:lnTo>
                        <a:pt x="874346" y="386189"/>
                      </a:lnTo>
                      <a:close/>
                      <a:moveTo>
                        <a:pt x="93296" y="286177"/>
                      </a:moveTo>
                      <a:lnTo>
                        <a:pt x="102282" y="286177"/>
                      </a:lnTo>
                      <a:lnTo>
                        <a:pt x="102282" y="386189"/>
                      </a:lnTo>
                      <a:lnTo>
                        <a:pt x="93296" y="386189"/>
                      </a:lnTo>
                      <a:close/>
                      <a:moveTo>
                        <a:pt x="1854532" y="284223"/>
                      </a:moveTo>
                      <a:cubicBezTo>
                        <a:pt x="1858244" y="284223"/>
                        <a:pt x="1861564" y="284809"/>
                        <a:pt x="1864496" y="285981"/>
                      </a:cubicBezTo>
                      <a:lnTo>
                        <a:pt x="1864496" y="295553"/>
                      </a:lnTo>
                      <a:cubicBezTo>
                        <a:pt x="1861500" y="293404"/>
                        <a:pt x="1857984" y="292330"/>
                        <a:pt x="1853946" y="292330"/>
                      </a:cubicBezTo>
                      <a:cubicBezTo>
                        <a:pt x="1846068" y="292330"/>
                        <a:pt x="1839460" y="296399"/>
                        <a:pt x="1834120" y="304538"/>
                      </a:cubicBezTo>
                      <a:cubicBezTo>
                        <a:pt x="1828780" y="312677"/>
                        <a:pt x="1826112" y="324235"/>
                        <a:pt x="1826112" y="339211"/>
                      </a:cubicBezTo>
                      <a:lnTo>
                        <a:pt x="1826112" y="386189"/>
                      </a:lnTo>
                      <a:lnTo>
                        <a:pt x="1817322" y="386189"/>
                      </a:lnTo>
                      <a:lnTo>
                        <a:pt x="1817322" y="286177"/>
                      </a:lnTo>
                      <a:lnTo>
                        <a:pt x="1826112" y="286177"/>
                      </a:lnTo>
                      <a:lnTo>
                        <a:pt x="1826112" y="308347"/>
                      </a:lnTo>
                      <a:lnTo>
                        <a:pt x="1826502" y="308347"/>
                      </a:lnTo>
                      <a:cubicBezTo>
                        <a:pt x="1828780" y="300729"/>
                        <a:pt x="1832394" y="294804"/>
                        <a:pt x="1837344" y="290572"/>
                      </a:cubicBezTo>
                      <a:cubicBezTo>
                        <a:pt x="1842292" y="286340"/>
                        <a:pt x="1848022" y="284223"/>
                        <a:pt x="1854532" y="284223"/>
                      </a:cubicBezTo>
                      <a:close/>
                      <a:moveTo>
                        <a:pt x="1673558" y="284223"/>
                      </a:moveTo>
                      <a:cubicBezTo>
                        <a:pt x="1677270" y="284223"/>
                        <a:pt x="1680590" y="284809"/>
                        <a:pt x="1683520" y="285981"/>
                      </a:cubicBezTo>
                      <a:lnTo>
                        <a:pt x="1683520" y="295553"/>
                      </a:lnTo>
                      <a:cubicBezTo>
                        <a:pt x="1680524" y="293404"/>
                        <a:pt x="1677008" y="292330"/>
                        <a:pt x="1672972" y="292330"/>
                      </a:cubicBezTo>
                      <a:cubicBezTo>
                        <a:pt x="1665092" y="292330"/>
                        <a:pt x="1658484" y="296399"/>
                        <a:pt x="1653144" y="304538"/>
                      </a:cubicBezTo>
                      <a:cubicBezTo>
                        <a:pt x="1647806" y="312677"/>
                        <a:pt x="1645136" y="324235"/>
                        <a:pt x="1645136" y="339211"/>
                      </a:cubicBezTo>
                      <a:lnTo>
                        <a:pt x="1645136" y="386189"/>
                      </a:lnTo>
                      <a:lnTo>
                        <a:pt x="1636346" y="386189"/>
                      </a:lnTo>
                      <a:lnTo>
                        <a:pt x="1636346" y="286177"/>
                      </a:lnTo>
                      <a:lnTo>
                        <a:pt x="1645136" y="286177"/>
                      </a:lnTo>
                      <a:lnTo>
                        <a:pt x="1645136" y="308347"/>
                      </a:lnTo>
                      <a:lnTo>
                        <a:pt x="1645526" y="308347"/>
                      </a:lnTo>
                      <a:cubicBezTo>
                        <a:pt x="1647806" y="300729"/>
                        <a:pt x="1651420" y="294804"/>
                        <a:pt x="1656368" y="290572"/>
                      </a:cubicBezTo>
                      <a:cubicBezTo>
                        <a:pt x="1661316" y="286340"/>
                        <a:pt x="1667046" y="284223"/>
                        <a:pt x="1673558" y="284223"/>
                      </a:cubicBezTo>
                      <a:close/>
                      <a:moveTo>
                        <a:pt x="844883" y="284223"/>
                      </a:moveTo>
                      <a:cubicBezTo>
                        <a:pt x="848594" y="284223"/>
                        <a:pt x="851915" y="284809"/>
                        <a:pt x="854845" y="285981"/>
                      </a:cubicBezTo>
                      <a:lnTo>
                        <a:pt x="854845" y="295553"/>
                      </a:lnTo>
                      <a:cubicBezTo>
                        <a:pt x="851850" y="293404"/>
                        <a:pt x="848334" y="292330"/>
                        <a:pt x="844297" y="292330"/>
                      </a:cubicBezTo>
                      <a:cubicBezTo>
                        <a:pt x="836418" y="292330"/>
                        <a:pt x="829809" y="296399"/>
                        <a:pt x="824470" y="304538"/>
                      </a:cubicBezTo>
                      <a:cubicBezTo>
                        <a:pt x="819131" y="312677"/>
                        <a:pt x="816461" y="324235"/>
                        <a:pt x="816461" y="339211"/>
                      </a:cubicBezTo>
                      <a:lnTo>
                        <a:pt x="816461" y="386189"/>
                      </a:lnTo>
                      <a:lnTo>
                        <a:pt x="807671" y="386189"/>
                      </a:lnTo>
                      <a:lnTo>
                        <a:pt x="807671" y="286177"/>
                      </a:lnTo>
                      <a:lnTo>
                        <a:pt x="816461" y="286177"/>
                      </a:lnTo>
                      <a:lnTo>
                        <a:pt x="816461" y="308347"/>
                      </a:lnTo>
                      <a:lnTo>
                        <a:pt x="816852" y="308347"/>
                      </a:lnTo>
                      <a:cubicBezTo>
                        <a:pt x="819131" y="300729"/>
                        <a:pt x="822745" y="294804"/>
                        <a:pt x="827693" y="290572"/>
                      </a:cubicBezTo>
                      <a:cubicBezTo>
                        <a:pt x="832642" y="286340"/>
                        <a:pt x="838372" y="284223"/>
                        <a:pt x="844883" y="284223"/>
                      </a:cubicBezTo>
                      <a:close/>
                      <a:moveTo>
                        <a:pt x="168608" y="284223"/>
                      </a:moveTo>
                      <a:cubicBezTo>
                        <a:pt x="172319" y="284223"/>
                        <a:pt x="175640" y="284809"/>
                        <a:pt x="178570" y="285981"/>
                      </a:cubicBezTo>
                      <a:lnTo>
                        <a:pt x="178570" y="295553"/>
                      </a:lnTo>
                      <a:cubicBezTo>
                        <a:pt x="175575" y="293404"/>
                        <a:pt x="172059" y="292330"/>
                        <a:pt x="168022" y="292330"/>
                      </a:cubicBezTo>
                      <a:cubicBezTo>
                        <a:pt x="160143" y="292330"/>
                        <a:pt x="153534" y="296399"/>
                        <a:pt x="148195" y="304538"/>
                      </a:cubicBezTo>
                      <a:cubicBezTo>
                        <a:pt x="142856" y="312677"/>
                        <a:pt x="140186" y="324235"/>
                        <a:pt x="140186" y="339211"/>
                      </a:cubicBezTo>
                      <a:lnTo>
                        <a:pt x="140186" y="386189"/>
                      </a:lnTo>
                      <a:lnTo>
                        <a:pt x="131396" y="386189"/>
                      </a:lnTo>
                      <a:lnTo>
                        <a:pt x="131396" y="286177"/>
                      </a:lnTo>
                      <a:lnTo>
                        <a:pt x="140186" y="286177"/>
                      </a:lnTo>
                      <a:lnTo>
                        <a:pt x="140186" y="308347"/>
                      </a:lnTo>
                      <a:lnTo>
                        <a:pt x="140577" y="308347"/>
                      </a:lnTo>
                      <a:cubicBezTo>
                        <a:pt x="142856" y="300729"/>
                        <a:pt x="146470" y="294804"/>
                        <a:pt x="151418" y="290572"/>
                      </a:cubicBezTo>
                      <a:cubicBezTo>
                        <a:pt x="156367" y="286340"/>
                        <a:pt x="162097" y="284223"/>
                        <a:pt x="168608" y="284223"/>
                      </a:cubicBezTo>
                      <a:close/>
                      <a:moveTo>
                        <a:pt x="2451432" y="283735"/>
                      </a:moveTo>
                      <a:cubicBezTo>
                        <a:pt x="2462240" y="283735"/>
                        <a:pt x="2470508" y="287332"/>
                        <a:pt x="2476240" y="294527"/>
                      </a:cubicBezTo>
                      <a:cubicBezTo>
                        <a:pt x="2481968" y="301722"/>
                        <a:pt x="2484834" y="311994"/>
                        <a:pt x="2484834" y="325342"/>
                      </a:cubicBezTo>
                      <a:lnTo>
                        <a:pt x="2484834" y="386189"/>
                      </a:lnTo>
                      <a:lnTo>
                        <a:pt x="2475848" y="386189"/>
                      </a:lnTo>
                      <a:lnTo>
                        <a:pt x="2475848" y="327979"/>
                      </a:lnTo>
                      <a:cubicBezTo>
                        <a:pt x="2475848" y="303952"/>
                        <a:pt x="2467188" y="291939"/>
                        <a:pt x="2449868" y="291939"/>
                      </a:cubicBezTo>
                      <a:cubicBezTo>
                        <a:pt x="2440232" y="291939"/>
                        <a:pt x="2432320" y="295472"/>
                        <a:pt x="2426136" y="302536"/>
                      </a:cubicBezTo>
                      <a:cubicBezTo>
                        <a:pt x="2419950" y="309601"/>
                        <a:pt x="2416856" y="318342"/>
                        <a:pt x="2416856" y="328760"/>
                      </a:cubicBezTo>
                      <a:lnTo>
                        <a:pt x="2416856" y="386189"/>
                      </a:lnTo>
                      <a:lnTo>
                        <a:pt x="2407872" y="386189"/>
                      </a:lnTo>
                      <a:lnTo>
                        <a:pt x="2407872" y="286177"/>
                      </a:lnTo>
                      <a:lnTo>
                        <a:pt x="2416856" y="286177"/>
                      </a:lnTo>
                      <a:lnTo>
                        <a:pt x="2416856" y="304343"/>
                      </a:lnTo>
                      <a:lnTo>
                        <a:pt x="2417248" y="304343"/>
                      </a:lnTo>
                      <a:cubicBezTo>
                        <a:pt x="2424540" y="290604"/>
                        <a:pt x="2435934" y="283735"/>
                        <a:pt x="2451432" y="283735"/>
                      </a:cubicBezTo>
                      <a:close/>
                      <a:moveTo>
                        <a:pt x="2349052" y="283735"/>
                      </a:moveTo>
                      <a:cubicBezTo>
                        <a:pt x="2359340" y="283735"/>
                        <a:pt x="2367300" y="286926"/>
                        <a:pt x="2372932" y="293307"/>
                      </a:cubicBezTo>
                      <a:cubicBezTo>
                        <a:pt x="2378564" y="299688"/>
                        <a:pt x="2381380" y="308966"/>
                        <a:pt x="2381380" y="321142"/>
                      </a:cubicBezTo>
                      <a:lnTo>
                        <a:pt x="2381380" y="386189"/>
                      </a:lnTo>
                      <a:lnTo>
                        <a:pt x="2372394" y="386189"/>
                      </a:lnTo>
                      <a:lnTo>
                        <a:pt x="2372394" y="366167"/>
                      </a:lnTo>
                      <a:lnTo>
                        <a:pt x="2372004" y="366167"/>
                      </a:lnTo>
                      <a:cubicBezTo>
                        <a:pt x="2368812" y="373004"/>
                        <a:pt x="2364174" y="378457"/>
                        <a:pt x="2358086" y="382527"/>
                      </a:cubicBezTo>
                      <a:cubicBezTo>
                        <a:pt x="2351998" y="386596"/>
                        <a:pt x="2345242" y="388631"/>
                        <a:pt x="2337820" y="388631"/>
                      </a:cubicBezTo>
                      <a:cubicBezTo>
                        <a:pt x="2328314" y="388631"/>
                        <a:pt x="2320792" y="385961"/>
                        <a:pt x="2315258" y="380622"/>
                      </a:cubicBezTo>
                      <a:cubicBezTo>
                        <a:pt x="2309724" y="375283"/>
                        <a:pt x="2306956" y="368544"/>
                        <a:pt x="2306956" y="360405"/>
                      </a:cubicBezTo>
                      <a:cubicBezTo>
                        <a:pt x="2306956" y="342955"/>
                        <a:pt x="2318514" y="332406"/>
                        <a:pt x="2341628" y="328760"/>
                      </a:cubicBezTo>
                      <a:lnTo>
                        <a:pt x="2372394" y="324170"/>
                      </a:lnTo>
                      <a:cubicBezTo>
                        <a:pt x="2372394" y="302683"/>
                        <a:pt x="2364320" y="291939"/>
                        <a:pt x="2348172" y="291939"/>
                      </a:cubicBezTo>
                      <a:cubicBezTo>
                        <a:pt x="2337168" y="291939"/>
                        <a:pt x="2326458" y="296367"/>
                        <a:pt x="2316040" y="305222"/>
                      </a:cubicBezTo>
                      <a:lnTo>
                        <a:pt x="2316040" y="294381"/>
                      </a:lnTo>
                      <a:cubicBezTo>
                        <a:pt x="2319750" y="291451"/>
                        <a:pt x="2324780" y="288944"/>
                        <a:pt x="2331130" y="286860"/>
                      </a:cubicBezTo>
                      <a:cubicBezTo>
                        <a:pt x="2337478" y="284777"/>
                        <a:pt x="2343452" y="283735"/>
                        <a:pt x="2349052" y="283735"/>
                      </a:cubicBezTo>
                      <a:close/>
                      <a:moveTo>
                        <a:pt x="2207004" y="283735"/>
                      </a:moveTo>
                      <a:cubicBezTo>
                        <a:pt x="2219702" y="283735"/>
                        <a:pt x="2229614" y="288114"/>
                        <a:pt x="2236744" y="296871"/>
                      </a:cubicBezTo>
                      <a:cubicBezTo>
                        <a:pt x="2243874" y="305629"/>
                        <a:pt x="2247440" y="317528"/>
                        <a:pt x="2247440" y="332569"/>
                      </a:cubicBezTo>
                      <a:cubicBezTo>
                        <a:pt x="2247440" y="349303"/>
                        <a:pt x="2243354" y="362830"/>
                        <a:pt x="2235182" y="373150"/>
                      </a:cubicBezTo>
                      <a:cubicBezTo>
                        <a:pt x="2227010" y="383471"/>
                        <a:pt x="2216218" y="388631"/>
                        <a:pt x="2202804" y="388631"/>
                      </a:cubicBezTo>
                      <a:cubicBezTo>
                        <a:pt x="2187828" y="388631"/>
                        <a:pt x="2176760" y="381892"/>
                        <a:pt x="2169598" y="368414"/>
                      </a:cubicBezTo>
                      <a:lnTo>
                        <a:pt x="2169206" y="368414"/>
                      </a:lnTo>
                      <a:lnTo>
                        <a:pt x="2169206" y="432191"/>
                      </a:lnTo>
                      <a:lnTo>
                        <a:pt x="2160220" y="432191"/>
                      </a:lnTo>
                      <a:lnTo>
                        <a:pt x="2160220" y="286177"/>
                      </a:lnTo>
                      <a:lnTo>
                        <a:pt x="2169206" y="286177"/>
                      </a:lnTo>
                      <a:lnTo>
                        <a:pt x="2169206" y="306785"/>
                      </a:lnTo>
                      <a:lnTo>
                        <a:pt x="2169598" y="306785"/>
                      </a:lnTo>
                      <a:cubicBezTo>
                        <a:pt x="2173178" y="299427"/>
                        <a:pt x="2178306" y="293746"/>
                        <a:pt x="2184980" y="289742"/>
                      </a:cubicBezTo>
                      <a:cubicBezTo>
                        <a:pt x="2191654" y="285737"/>
                        <a:pt x="2198996" y="283735"/>
                        <a:pt x="2207004" y="283735"/>
                      </a:cubicBezTo>
                      <a:close/>
                      <a:moveTo>
                        <a:pt x="2111564" y="283735"/>
                      </a:moveTo>
                      <a:cubicBezTo>
                        <a:pt x="2120158" y="283735"/>
                        <a:pt x="2127516" y="285493"/>
                        <a:pt x="2133636" y="289009"/>
                      </a:cubicBezTo>
                      <a:lnTo>
                        <a:pt x="2133636" y="299167"/>
                      </a:lnTo>
                      <a:cubicBezTo>
                        <a:pt x="2126214" y="294348"/>
                        <a:pt x="2118530" y="291939"/>
                        <a:pt x="2110588" y="291939"/>
                      </a:cubicBezTo>
                      <a:cubicBezTo>
                        <a:pt x="2104010" y="291939"/>
                        <a:pt x="2098704" y="293648"/>
                        <a:pt x="2094668" y="297067"/>
                      </a:cubicBezTo>
                      <a:cubicBezTo>
                        <a:pt x="2090630" y="300485"/>
                        <a:pt x="2088612" y="304929"/>
                        <a:pt x="2088612" y="310399"/>
                      </a:cubicBezTo>
                      <a:cubicBezTo>
                        <a:pt x="2088612" y="315152"/>
                        <a:pt x="2089882" y="319010"/>
                        <a:pt x="2092420" y="321972"/>
                      </a:cubicBezTo>
                      <a:cubicBezTo>
                        <a:pt x="2094960" y="324935"/>
                        <a:pt x="2100560" y="328337"/>
                        <a:pt x="2109220" y="332179"/>
                      </a:cubicBezTo>
                      <a:cubicBezTo>
                        <a:pt x="2119638" y="336867"/>
                        <a:pt x="2126800" y="341213"/>
                        <a:pt x="2130706" y="345217"/>
                      </a:cubicBezTo>
                      <a:cubicBezTo>
                        <a:pt x="2134614" y="349222"/>
                        <a:pt x="2136566" y="354545"/>
                        <a:pt x="2136566" y="361186"/>
                      </a:cubicBezTo>
                      <a:cubicBezTo>
                        <a:pt x="2136566" y="369130"/>
                        <a:pt x="2133588" y="375690"/>
                        <a:pt x="2127630" y="380866"/>
                      </a:cubicBezTo>
                      <a:cubicBezTo>
                        <a:pt x="2121672" y="386043"/>
                        <a:pt x="2113452" y="388631"/>
                        <a:pt x="2102968" y="388631"/>
                      </a:cubicBezTo>
                      <a:cubicBezTo>
                        <a:pt x="2093332" y="388631"/>
                        <a:pt x="2085290" y="386352"/>
                        <a:pt x="2078844" y="381794"/>
                      </a:cubicBezTo>
                      <a:lnTo>
                        <a:pt x="2078844" y="370953"/>
                      </a:lnTo>
                      <a:cubicBezTo>
                        <a:pt x="2082230" y="373883"/>
                        <a:pt x="2086332" y="376194"/>
                        <a:pt x="2091150" y="377887"/>
                      </a:cubicBezTo>
                      <a:cubicBezTo>
                        <a:pt x="2095970" y="379580"/>
                        <a:pt x="2100136" y="380427"/>
                        <a:pt x="2103652" y="380427"/>
                      </a:cubicBezTo>
                      <a:cubicBezTo>
                        <a:pt x="2119344" y="380427"/>
                        <a:pt x="2127190" y="374013"/>
                        <a:pt x="2127190" y="361186"/>
                      </a:cubicBezTo>
                      <a:cubicBezTo>
                        <a:pt x="2127190" y="356758"/>
                        <a:pt x="2125464" y="352982"/>
                        <a:pt x="2122014" y="349857"/>
                      </a:cubicBezTo>
                      <a:cubicBezTo>
                        <a:pt x="2118564" y="346731"/>
                        <a:pt x="2112964" y="343508"/>
                        <a:pt x="2105216" y="340187"/>
                      </a:cubicBezTo>
                      <a:cubicBezTo>
                        <a:pt x="2095644" y="336020"/>
                        <a:pt x="2088920" y="331707"/>
                        <a:pt x="2085046" y="327246"/>
                      </a:cubicBezTo>
                      <a:cubicBezTo>
                        <a:pt x="2081172" y="322786"/>
                        <a:pt x="2079236" y="317366"/>
                        <a:pt x="2079236" y="310985"/>
                      </a:cubicBezTo>
                      <a:cubicBezTo>
                        <a:pt x="2079236" y="302845"/>
                        <a:pt x="2082344" y="296269"/>
                        <a:pt x="2088562" y="291255"/>
                      </a:cubicBezTo>
                      <a:cubicBezTo>
                        <a:pt x="2094780" y="286242"/>
                        <a:pt x="2102448" y="283735"/>
                        <a:pt x="2111564" y="283735"/>
                      </a:cubicBezTo>
                      <a:close/>
                      <a:moveTo>
                        <a:pt x="2022806" y="283735"/>
                      </a:moveTo>
                      <a:cubicBezTo>
                        <a:pt x="2033614" y="283735"/>
                        <a:pt x="2041884" y="287332"/>
                        <a:pt x="2047614" y="294527"/>
                      </a:cubicBezTo>
                      <a:cubicBezTo>
                        <a:pt x="2053344" y="301722"/>
                        <a:pt x="2056208" y="311994"/>
                        <a:pt x="2056208" y="325342"/>
                      </a:cubicBezTo>
                      <a:lnTo>
                        <a:pt x="2056208" y="386189"/>
                      </a:lnTo>
                      <a:lnTo>
                        <a:pt x="2047224" y="386189"/>
                      </a:lnTo>
                      <a:lnTo>
                        <a:pt x="2047224" y="327979"/>
                      </a:lnTo>
                      <a:cubicBezTo>
                        <a:pt x="2047224" y="303952"/>
                        <a:pt x="2038564" y="291939"/>
                        <a:pt x="2021244" y="291939"/>
                      </a:cubicBezTo>
                      <a:cubicBezTo>
                        <a:pt x="2011608" y="291939"/>
                        <a:pt x="2003696" y="295472"/>
                        <a:pt x="1997510" y="302536"/>
                      </a:cubicBezTo>
                      <a:cubicBezTo>
                        <a:pt x="1991324" y="309601"/>
                        <a:pt x="1988232" y="318342"/>
                        <a:pt x="1988232" y="328760"/>
                      </a:cubicBezTo>
                      <a:lnTo>
                        <a:pt x="1988232" y="386189"/>
                      </a:lnTo>
                      <a:lnTo>
                        <a:pt x="1979246" y="386189"/>
                      </a:lnTo>
                      <a:lnTo>
                        <a:pt x="1979246" y="286177"/>
                      </a:lnTo>
                      <a:lnTo>
                        <a:pt x="1988232" y="286177"/>
                      </a:lnTo>
                      <a:lnTo>
                        <a:pt x="1988232" y="304343"/>
                      </a:lnTo>
                      <a:lnTo>
                        <a:pt x="1988622" y="304343"/>
                      </a:lnTo>
                      <a:cubicBezTo>
                        <a:pt x="1995914" y="290604"/>
                        <a:pt x="2007310" y="283735"/>
                        <a:pt x="2022806" y="283735"/>
                      </a:cubicBezTo>
                      <a:close/>
                      <a:moveTo>
                        <a:pt x="1920426" y="283735"/>
                      </a:moveTo>
                      <a:cubicBezTo>
                        <a:pt x="1930714" y="283735"/>
                        <a:pt x="1938674" y="286926"/>
                        <a:pt x="1944306" y="293307"/>
                      </a:cubicBezTo>
                      <a:cubicBezTo>
                        <a:pt x="1949938" y="299688"/>
                        <a:pt x="1952754" y="308966"/>
                        <a:pt x="1952754" y="321142"/>
                      </a:cubicBezTo>
                      <a:lnTo>
                        <a:pt x="1952754" y="386189"/>
                      </a:lnTo>
                      <a:lnTo>
                        <a:pt x="1943770" y="386189"/>
                      </a:lnTo>
                      <a:lnTo>
                        <a:pt x="1943770" y="366167"/>
                      </a:lnTo>
                      <a:lnTo>
                        <a:pt x="1943378" y="366167"/>
                      </a:lnTo>
                      <a:cubicBezTo>
                        <a:pt x="1940188" y="373004"/>
                        <a:pt x="1935548" y="378457"/>
                        <a:pt x="1929460" y="382527"/>
                      </a:cubicBezTo>
                      <a:cubicBezTo>
                        <a:pt x="1923372" y="386596"/>
                        <a:pt x="1916618" y="388631"/>
                        <a:pt x="1909194" y="388631"/>
                      </a:cubicBezTo>
                      <a:cubicBezTo>
                        <a:pt x="1899688" y="388631"/>
                        <a:pt x="1892168" y="385961"/>
                        <a:pt x="1886634" y="380622"/>
                      </a:cubicBezTo>
                      <a:cubicBezTo>
                        <a:pt x="1881098" y="375283"/>
                        <a:pt x="1878332" y="368544"/>
                        <a:pt x="1878332" y="360405"/>
                      </a:cubicBezTo>
                      <a:cubicBezTo>
                        <a:pt x="1878332" y="342955"/>
                        <a:pt x="1889888" y="332406"/>
                        <a:pt x="1913004" y="328760"/>
                      </a:cubicBezTo>
                      <a:lnTo>
                        <a:pt x="1943770" y="324170"/>
                      </a:lnTo>
                      <a:cubicBezTo>
                        <a:pt x="1943770" y="302683"/>
                        <a:pt x="1935696" y="291939"/>
                        <a:pt x="1919548" y="291939"/>
                      </a:cubicBezTo>
                      <a:cubicBezTo>
                        <a:pt x="1908544" y="291939"/>
                        <a:pt x="1897832" y="296367"/>
                        <a:pt x="1887414" y="305222"/>
                      </a:cubicBezTo>
                      <a:lnTo>
                        <a:pt x="1887414" y="294381"/>
                      </a:lnTo>
                      <a:cubicBezTo>
                        <a:pt x="1891126" y="291451"/>
                        <a:pt x="1896156" y="288944"/>
                        <a:pt x="1902504" y="286860"/>
                      </a:cubicBezTo>
                      <a:cubicBezTo>
                        <a:pt x="1908852" y="284777"/>
                        <a:pt x="1914826" y="283735"/>
                        <a:pt x="1920426" y="283735"/>
                      </a:cubicBezTo>
                      <a:close/>
                      <a:moveTo>
                        <a:pt x="1569174" y="283735"/>
                      </a:moveTo>
                      <a:cubicBezTo>
                        <a:pt x="1581610" y="283735"/>
                        <a:pt x="1591148" y="288098"/>
                        <a:pt x="1597790" y="296823"/>
                      </a:cubicBezTo>
                      <a:cubicBezTo>
                        <a:pt x="1604432" y="305548"/>
                        <a:pt x="1607752" y="317463"/>
                        <a:pt x="1607752" y="332569"/>
                      </a:cubicBezTo>
                      <a:lnTo>
                        <a:pt x="1607752" y="336574"/>
                      </a:lnTo>
                      <a:lnTo>
                        <a:pt x="1533720" y="336574"/>
                      </a:lnTo>
                      <a:cubicBezTo>
                        <a:pt x="1533720" y="350312"/>
                        <a:pt x="1536894" y="361056"/>
                        <a:pt x="1543242" y="368804"/>
                      </a:cubicBezTo>
                      <a:cubicBezTo>
                        <a:pt x="1549590" y="376553"/>
                        <a:pt x="1558300" y="380427"/>
                        <a:pt x="1569368" y="380427"/>
                      </a:cubicBezTo>
                      <a:cubicBezTo>
                        <a:pt x="1580568" y="380427"/>
                        <a:pt x="1591508" y="376292"/>
                        <a:pt x="1602186" y="368023"/>
                      </a:cubicBezTo>
                      <a:lnTo>
                        <a:pt x="1602186" y="377594"/>
                      </a:lnTo>
                      <a:cubicBezTo>
                        <a:pt x="1591832" y="384952"/>
                        <a:pt x="1580276" y="388631"/>
                        <a:pt x="1567514" y="388631"/>
                      </a:cubicBezTo>
                      <a:cubicBezTo>
                        <a:pt x="1554620" y="388631"/>
                        <a:pt x="1544202" y="384008"/>
                        <a:pt x="1536260" y="374762"/>
                      </a:cubicBezTo>
                      <a:cubicBezTo>
                        <a:pt x="1528316" y="365516"/>
                        <a:pt x="1524344" y="352461"/>
                        <a:pt x="1524344" y="335597"/>
                      </a:cubicBezTo>
                      <a:cubicBezTo>
                        <a:pt x="1524344" y="321012"/>
                        <a:pt x="1528494" y="308722"/>
                        <a:pt x="1536796" y="298727"/>
                      </a:cubicBezTo>
                      <a:cubicBezTo>
                        <a:pt x="1545098" y="288732"/>
                        <a:pt x="1555890" y="283735"/>
                        <a:pt x="1569174" y="283735"/>
                      </a:cubicBezTo>
                      <a:close/>
                      <a:moveTo>
                        <a:pt x="1111973" y="283735"/>
                      </a:moveTo>
                      <a:cubicBezTo>
                        <a:pt x="1124410" y="283735"/>
                        <a:pt x="1133949" y="288098"/>
                        <a:pt x="1140590" y="296823"/>
                      </a:cubicBezTo>
                      <a:cubicBezTo>
                        <a:pt x="1147232" y="305548"/>
                        <a:pt x="1150552" y="317463"/>
                        <a:pt x="1150552" y="332569"/>
                      </a:cubicBezTo>
                      <a:lnTo>
                        <a:pt x="1150552" y="336574"/>
                      </a:lnTo>
                      <a:lnTo>
                        <a:pt x="1076520" y="336574"/>
                      </a:lnTo>
                      <a:cubicBezTo>
                        <a:pt x="1076520" y="350312"/>
                        <a:pt x="1079694" y="361056"/>
                        <a:pt x="1086042" y="368804"/>
                      </a:cubicBezTo>
                      <a:cubicBezTo>
                        <a:pt x="1092391" y="376553"/>
                        <a:pt x="1101100" y="380427"/>
                        <a:pt x="1112169" y="380427"/>
                      </a:cubicBezTo>
                      <a:cubicBezTo>
                        <a:pt x="1123368" y="380427"/>
                        <a:pt x="1134307" y="376292"/>
                        <a:pt x="1144985" y="368023"/>
                      </a:cubicBezTo>
                      <a:lnTo>
                        <a:pt x="1144985" y="377594"/>
                      </a:lnTo>
                      <a:cubicBezTo>
                        <a:pt x="1134632" y="384952"/>
                        <a:pt x="1123075" y="388631"/>
                        <a:pt x="1110313" y="388631"/>
                      </a:cubicBezTo>
                      <a:cubicBezTo>
                        <a:pt x="1097421" y="388631"/>
                        <a:pt x="1087003" y="384008"/>
                        <a:pt x="1079059" y="374762"/>
                      </a:cubicBezTo>
                      <a:cubicBezTo>
                        <a:pt x="1071116" y="365516"/>
                        <a:pt x="1067144" y="352461"/>
                        <a:pt x="1067144" y="335597"/>
                      </a:cubicBezTo>
                      <a:cubicBezTo>
                        <a:pt x="1067144" y="321012"/>
                        <a:pt x="1071295" y="308722"/>
                        <a:pt x="1079596" y="298727"/>
                      </a:cubicBezTo>
                      <a:cubicBezTo>
                        <a:pt x="1087898" y="288732"/>
                        <a:pt x="1098691" y="283735"/>
                        <a:pt x="1111973" y="283735"/>
                      </a:cubicBezTo>
                      <a:close/>
                      <a:moveTo>
                        <a:pt x="956006" y="283735"/>
                      </a:moveTo>
                      <a:cubicBezTo>
                        <a:pt x="966815" y="283735"/>
                        <a:pt x="975084" y="287332"/>
                        <a:pt x="980814" y="294527"/>
                      </a:cubicBezTo>
                      <a:cubicBezTo>
                        <a:pt x="986544" y="301722"/>
                        <a:pt x="989409" y="311994"/>
                        <a:pt x="989409" y="325342"/>
                      </a:cubicBezTo>
                      <a:lnTo>
                        <a:pt x="989409" y="386189"/>
                      </a:lnTo>
                      <a:lnTo>
                        <a:pt x="980424" y="386189"/>
                      </a:lnTo>
                      <a:lnTo>
                        <a:pt x="980424" y="327979"/>
                      </a:lnTo>
                      <a:cubicBezTo>
                        <a:pt x="980424" y="303952"/>
                        <a:pt x="971764" y="291939"/>
                        <a:pt x="954444" y="291939"/>
                      </a:cubicBezTo>
                      <a:cubicBezTo>
                        <a:pt x="944807" y="291939"/>
                        <a:pt x="936896" y="295472"/>
                        <a:pt x="930710" y="302536"/>
                      </a:cubicBezTo>
                      <a:cubicBezTo>
                        <a:pt x="924524" y="309601"/>
                        <a:pt x="921432" y="318342"/>
                        <a:pt x="921432" y="328760"/>
                      </a:cubicBezTo>
                      <a:lnTo>
                        <a:pt x="921432" y="386189"/>
                      </a:lnTo>
                      <a:lnTo>
                        <a:pt x="912446" y="386189"/>
                      </a:lnTo>
                      <a:lnTo>
                        <a:pt x="912446" y="286177"/>
                      </a:lnTo>
                      <a:lnTo>
                        <a:pt x="921432" y="286177"/>
                      </a:lnTo>
                      <a:lnTo>
                        <a:pt x="921432" y="304343"/>
                      </a:lnTo>
                      <a:lnTo>
                        <a:pt x="921822" y="304343"/>
                      </a:lnTo>
                      <a:cubicBezTo>
                        <a:pt x="929115" y="290604"/>
                        <a:pt x="940510" y="283735"/>
                        <a:pt x="956006" y="283735"/>
                      </a:cubicBezTo>
                      <a:close/>
                      <a:moveTo>
                        <a:pt x="740154" y="283735"/>
                      </a:moveTo>
                      <a:cubicBezTo>
                        <a:pt x="752851" y="283735"/>
                        <a:pt x="762765" y="288114"/>
                        <a:pt x="769894" y="296871"/>
                      </a:cubicBezTo>
                      <a:cubicBezTo>
                        <a:pt x="777024" y="305629"/>
                        <a:pt x="780589" y="317528"/>
                        <a:pt x="780589" y="332569"/>
                      </a:cubicBezTo>
                      <a:cubicBezTo>
                        <a:pt x="780589" y="349303"/>
                        <a:pt x="776503" y="362830"/>
                        <a:pt x="768332" y="373150"/>
                      </a:cubicBezTo>
                      <a:cubicBezTo>
                        <a:pt x="760160" y="383471"/>
                        <a:pt x="749368" y="388631"/>
                        <a:pt x="735955" y="388631"/>
                      </a:cubicBezTo>
                      <a:cubicBezTo>
                        <a:pt x="720979" y="388631"/>
                        <a:pt x="709910" y="381892"/>
                        <a:pt x="702747" y="368414"/>
                      </a:cubicBezTo>
                      <a:lnTo>
                        <a:pt x="702357" y="368414"/>
                      </a:lnTo>
                      <a:lnTo>
                        <a:pt x="702357" y="432191"/>
                      </a:lnTo>
                      <a:lnTo>
                        <a:pt x="693371" y="432191"/>
                      </a:lnTo>
                      <a:lnTo>
                        <a:pt x="693371" y="286177"/>
                      </a:lnTo>
                      <a:lnTo>
                        <a:pt x="702357" y="286177"/>
                      </a:lnTo>
                      <a:lnTo>
                        <a:pt x="702357" y="306785"/>
                      </a:lnTo>
                      <a:lnTo>
                        <a:pt x="702747" y="306785"/>
                      </a:lnTo>
                      <a:cubicBezTo>
                        <a:pt x="706329" y="299427"/>
                        <a:pt x="711456" y="293746"/>
                        <a:pt x="718130" y="289742"/>
                      </a:cubicBezTo>
                      <a:cubicBezTo>
                        <a:pt x="724804" y="285737"/>
                        <a:pt x="732146" y="283735"/>
                        <a:pt x="740154" y="283735"/>
                      </a:cubicBezTo>
                      <a:close/>
                      <a:moveTo>
                        <a:pt x="225614" y="283735"/>
                      </a:moveTo>
                      <a:cubicBezTo>
                        <a:pt x="234208" y="283735"/>
                        <a:pt x="241566" y="285493"/>
                        <a:pt x="247687" y="289009"/>
                      </a:cubicBezTo>
                      <a:lnTo>
                        <a:pt x="247687" y="299167"/>
                      </a:lnTo>
                      <a:cubicBezTo>
                        <a:pt x="240264" y="294348"/>
                        <a:pt x="232581" y="291939"/>
                        <a:pt x="224637" y="291939"/>
                      </a:cubicBezTo>
                      <a:cubicBezTo>
                        <a:pt x="218061" y="291939"/>
                        <a:pt x="212754" y="293648"/>
                        <a:pt x="208717" y="297067"/>
                      </a:cubicBezTo>
                      <a:cubicBezTo>
                        <a:pt x="204680" y="300485"/>
                        <a:pt x="202662" y="304929"/>
                        <a:pt x="202662" y="310399"/>
                      </a:cubicBezTo>
                      <a:cubicBezTo>
                        <a:pt x="202662" y="315152"/>
                        <a:pt x="203931" y="319010"/>
                        <a:pt x="206471" y="321972"/>
                      </a:cubicBezTo>
                      <a:cubicBezTo>
                        <a:pt x="209010" y="324935"/>
                        <a:pt x="214610" y="328337"/>
                        <a:pt x="223270" y="332179"/>
                      </a:cubicBezTo>
                      <a:cubicBezTo>
                        <a:pt x="233688" y="336867"/>
                        <a:pt x="240850" y="341213"/>
                        <a:pt x="244757" y="345217"/>
                      </a:cubicBezTo>
                      <a:cubicBezTo>
                        <a:pt x="248663" y="349222"/>
                        <a:pt x="250617" y="354545"/>
                        <a:pt x="250617" y="361186"/>
                      </a:cubicBezTo>
                      <a:cubicBezTo>
                        <a:pt x="250617" y="369130"/>
                        <a:pt x="247638" y="375690"/>
                        <a:pt x="241680" y="380866"/>
                      </a:cubicBezTo>
                      <a:cubicBezTo>
                        <a:pt x="235722" y="386043"/>
                        <a:pt x="227502" y="388631"/>
                        <a:pt x="217019" y="388631"/>
                      </a:cubicBezTo>
                      <a:cubicBezTo>
                        <a:pt x="207382" y="388631"/>
                        <a:pt x="199341" y="386352"/>
                        <a:pt x="192895" y="381794"/>
                      </a:cubicBezTo>
                      <a:lnTo>
                        <a:pt x="192895" y="370953"/>
                      </a:lnTo>
                      <a:cubicBezTo>
                        <a:pt x="196281" y="373883"/>
                        <a:pt x="200383" y="376194"/>
                        <a:pt x="205201" y="377887"/>
                      </a:cubicBezTo>
                      <a:cubicBezTo>
                        <a:pt x="210019" y="379580"/>
                        <a:pt x="214186" y="380427"/>
                        <a:pt x="217703" y="380427"/>
                      </a:cubicBezTo>
                      <a:cubicBezTo>
                        <a:pt x="233395" y="380427"/>
                        <a:pt x="241241" y="374013"/>
                        <a:pt x="241241" y="361186"/>
                      </a:cubicBezTo>
                      <a:cubicBezTo>
                        <a:pt x="241241" y="356758"/>
                        <a:pt x="239515" y="352982"/>
                        <a:pt x="236064" y="349857"/>
                      </a:cubicBezTo>
                      <a:cubicBezTo>
                        <a:pt x="232613" y="346731"/>
                        <a:pt x="227014" y="343508"/>
                        <a:pt x="219265" y="340187"/>
                      </a:cubicBezTo>
                      <a:cubicBezTo>
                        <a:pt x="209694" y="336020"/>
                        <a:pt x="202971" y="331707"/>
                        <a:pt x="199097" y="327246"/>
                      </a:cubicBezTo>
                      <a:cubicBezTo>
                        <a:pt x="195222" y="322786"/>
                        <a:pt x="193285" y="317366"/>
                        <a:pt x="193285" y="310985"/>
                      </a:cubicBezTo>
                      <a:cubicBezTo>
                        <a:pt x="193285" y="302845"/>
                        <a:pt x="196395" y="296269"/>
                        <a:pt x="202613" y="291255"/>
                      </a:cubicBezTo>
                      <a:cubicBezTo>
                        <a:pt x="208831" y="286242"/>
                        <a:pt x="216498" y="283735"/>
                        <a:pt x="225614" y="283735"/>
                      </a:cubicBezTo>
                      <a:close/>
                      <a:moveTo>
                        <a:pt x="2525832" y="257169"/>
                      </a:moveTo>
                      <a:lnTo>
                        <a:pt x="2525832" y="286177"/>
                      </a:lnTo>
                      <a:lnTo>
                        <a:pt x="2552202" y="286177"/>
                      </a:lnTo>
                      <a:lnTo>
                        <a:pt x="2552202" y="294381"/>
                      </a:lnTo>
                      <a:lnTo>
                        <a:pt x="2525832" y="294381"/>
                      </a:lnTo>
                      <a:lnTo>
                        <a:pt x="2525832" y="360405"/>
                      </a:lnTo>
                      <a:cubicBezTo>
                        <a:pt x="2525832" y="367307"/>
                        <a:pt x="2526922" y="372304"/>
                        <a:pt x="2529104" y="375397"/>
                      </a:cubicBezTo>
                      <a:cubicBezTo>
                        <a:pt x="2531284" y="378490"/>
                        <a:pt x="2534980" y="380036"/>
                        <a:pt x="2540188" y="380036"/>
                      </a:cubicBezTo>
                      <a:cubicBezTo>
                        <a:pt x="2543900" y="380036"/>
                        <a:pt x="2547904" y="378832"/>
                        <a:pt x="2552202" y="376422"/>
                      </a:cubicBezTo>
                      <a:lnTo>
                        <a:pt x="2552202" y="384822"/>
                      </a:lnTo>
                      <a:cubicBezTo>
                        <a:pt x="2547514" y="387036"/>
                        <a:pt x="2543118" y="388143"/>
                        <a:pt x="2539016" y="388143"/>
                      </a:cubicBezTo>
                      <a:cubicBezTo>
                        <a:pt x="2524236" y="388143"/>
                        <a:pt x="2516846" y="379287"/>
                        <a:pt x="2516846" y="361577"/>
                      </a:cubicBezTo>
                      <a:lnTo>
                        <a:pt x="2516846" y="294381"/>
                      </a:lnTo>
                      <a:lnTo>
                        <a:pt x="2498874" y="294381"/>
                      </a:lnTo>
                      <a:lnTo>
                        <a:pt x="2498874" y="286177"/>
                      </a:lnTo>
                      <a:lnTo>
                        <a:pt x="2516846" y="286177"/>
                      </a:lnTo>
                      <a:lnTo>
                        <a:pt x="2516846" y="260197"/>
                      </a:lnTo>
                      <a:cubicBezTo>
                        <a:pt x="2518278" y="259676"/>
                        <a:pt x="2519776" y="259155"/>
                        <a:pt x="2521338" y="258634"/>
                      </a:cubicBezTo>
                      <a:cubicBezTo>
                        <a:pt x="2522902" y="258178"/>
                        <a:pt x="2524398" y="257690"/>
                        <a:pt x="2525832" y="257169"/>
                      </a:cubicBezTo>
                      <a:close/>
                      <a:moveTo>
                        <a:pt x="1773356" y="257169"/>
                      </a:moveTo>
                      <a:lnTo>
                        <a:pt x="1773356" y="286177"/>
                      </a:lnTo>
                      <a:lnTo>
                        <a:pt x="1799726" y="286177"/>
                      </a:lnTo>
                      <a:lnTo>
                        <a:pt x="1799726" y="294381"/>
                      </a:lnTo>
                      <a:lnTo>
                        <a:pt x="1773356" y="294381"/>
                      </a:lnTo>
                      <a:lnTo>
                        <a:pt x="1773356" y="360405"/>
                      </a:lnTo>
                      <a:cubicBezTo>
                        <a:pt x="1773356" y="367307"/>
                        <a:pt x="1774448" y="372304"/>
                        <a:pt x="1776628" y="375397"/>
                      </a:cubicBezTo>
                      <a:cubicBezTo>
                        <a:pt x="1778810" y="378490"/>
                        <a:pt x="1782504" y="380036"/>
                        <a:pt x="1787714" y="380036"/>
                      </a:cubicBezTo>
                      <a:cubicBezTo>
                        <a:pt x="1791424" y="380036"/>
                        <a:pt x="1795430" y="378832"/>
                        <a:pt x="1799726" y="376422"/>
                      </a:cubicBezTo>
                      <a:lnTo>
                        <a:pt x="1799726" y="384822"/>
                      </a:lnTo>
                      <a:cubicBezTo>
                        <a:pt x="1795038" y="387036"/>
                        <a:pt x="1790644" y="388143"/>
                        <a:pt x="1786542" y="388143"/>
                      </a:cubicBezTo>
                      <a:cubicBezTo>
                        <a:pt x="1771762" y="388143"/>
                        <a:pt x="1764370" y="379287"/>
                        <a:pt x="1764370" y="361577"/>
                      </a:cubicBezTo>
                      <a:lnTo>
                        <a:pt x="1764370" y="294381"/>
                      </a:lnTo>
                      <a:lnTo>
                        <a:pt x="1746400" y="294381"/>
                      </a:lnTo>
                      <a:lnTo>
                        <a:pt x="1746400" y="286177"/>
                      </a:lnTo>
                      <a:lnTo>
                        <a:pt x="1764370" y="286177"/>
                      </a:lnTo>
                      <a:lnTo>
                        <a:pt x="1764370" y="260197"/>
                      </a:lnTo>
                      <a:cubicBezTo>
                        <a:pt x="1765804" y="259676"/>
                        <a:pt x="1767300" y="259155"/>
                        <a:pt x="1768864" y="258634"/>
                      </a:cubicBezTo>
                      <a:cubicBezTo>
                        <a:pt x="1770426" y="258178"/>
                        <a:pt x="1771924" y="257690"/>
                        <a:pt x="1773356" y="257169"/>
                      </a:cubicBezTo>
                      <a:close/>
                      <a:moveTo>
                        <a:pt x="1030406" y="257169"/>
                      </a:moveTo>
                      <a:lnTo>
                        <a:pt x="1030406" y="286177"/>
                      </a:lnTo>
                      <a:lnTo>
                        <a:pt x="1056777" y="286177"/>
                      </a:lnTo>
                      <a:lnTo>
                        <a:pt x="1056777" y="294381"/>
                      </a:lnTo>
                      <a:lnTo>
                        <a:pt x="1030406" y="294381"/>
                      </a:lnTo>
                      <a:lnTo>
                        <a:pt x="1030406" y="360405"/>
                      </a:lnTo>
                      <a:cubicBezTo>
                        <a:pt x="1030406" y="367307"/>
                        <a:pt x="1031497" y="372304"/>
                        <a:pt x="1033678" y="375397"/>
                      </a:cubicBezTo>
                      <a:cubicBezTo>
                        <a:pt x="1035860" y="378490"/>
                        <a:pt x="1039555" y="380036"/>
                        <a:pt x="1044764" y="380036"/>
                      </a:cubicBezTo>
                      <a:cubicBezTo>
                        <a:pt x="1048475" y="380036"/>
                        <a:pt x="1052480" y="378832"/>
                        <a:pt x="1056777" y="376422"/>
                      </a:cubicBezTo>
                      <a:lnTo>
                        <a:pt x="1056777" y="384822"/>
                      </a:lnTo>
                      <a:cubicBezTo>
                        <a:pt x="1052089" y="387036"/>
                        <a:pt x="1047694" y="388143"/>
                        <a:pt x="1043592" y="388143"/>
                      </a:cubicBezTo>
                      <a:cubicBezTo>
                        <a:pt x="1028811" y="388143"/>
                        <a:pt x="1021421" y="379287"/>
                        <a:pt x="1021421" y="361577"/>
                      </a:cubicBezTo>
                      <a:lnTo>
                        <a:pt x="1021421" y="294381"/>
                      </a:lnTo>
                      <a:lnTo>
                        <a:pt x="1003450" y="294381"/>
                      </a:lnTo>
                      <a:lnTo>
                        <a:pt x="1003450" y="286177"/>
                      </a:lnTo>
                      <a:lnTo>
                        <a:pt x="1021421" y="286177"/>
                      </a:lnTo>
                      <a:lnTo>
                        <a:pt x="1021421" y="260197"/>
                      </a:lnTo>
                      <a:cubicBezTo>
                        <a:pt x="1022853" y="259676"/>
                        <a:pt x="1024351" y="259155"/>
                        <a:pt x="1025914" y="258634"/>
                      </a:cubicBezTo>
                      <a:cubicBezTo>
                        <a:pt x="1027476" y="258178"/>
                        <a:pt x="1028974" y="257690"/>
                        <a:pt x="1030406" y="257169"/>
                      </a:cubicBezTo>
                      <a:close/>
                      <a:moveTo>
                        <a:pt x="287456" y="257169"/>
                      </a:moveTo>
                      <a:lnTo>
                        <a:pt x="287456" y="286177"/>
                      </a:lnTo>
                      <a:lnTo>
                        <a:pt x="313827" y="286177"/>
                      </a:lnTo>
                      <a:lnTo>
                        <a:pt x="313827" y="294381"/>
                      </a:lnTo>
                      <a:lnTo>
                        <a:pt x="287456" y="294381"/>
                      </a:lnTo>
                      <a:lnTo>
                        <a:pt x="287456" y="360405"/>
                      </a:lnTo>
                      <a:cubicBezTo>
                        <a:pt x="287456" y="367307"/>
                        <a:pt x="288547" y="372304"/>
                        <a:pt x="290728" y="375397"/>
                      </a:cubicBezTo>
                      <a:cubicBezTo>
                        <a:pt x="292910" y="378490"/>
                        <a:pt x="296605" y="380036"/>
                        <a:pt x="301814" y="380036"/>
                      </a:cubicBezTo>
                      <a:cubicBezTo>
                        <a:pt x="305525" y="380036"/>
                        <a:pt x="309529" y="378832"/>
                        <a:pt x="313827" y="376422"/>
                      </a:cubicBezTo>
                      <a:lnTo>
                        <a:pt x="313827" y="384822"/>
                      </a:lnTo>
                      <a:cubicBezTo>
                        <a:pt x="309139" y="387036"/>
                        <a:pt x="304744" y="388143"/>
                        <a:pt x="300642" y="388143"/>
                      </a:cubicBezTo>
                      <a:cubicBezTo>
                        <a:pt x="285861" y="388143"/>
                        <a:pt x="278471" y="379287"/>
                        <a:pt x="278471" y="361577"/>
                      </a:cubicBezTo>
                      <a:lnTo>
                        <a:pt x="278471" y="294381"/>
                      </a:lnTo>
                      <a:lnTo>
                        <a:pt x="260500" y="294381"/>
                      </a:lnTo>
                      <a:lnTo>
                        <a:pt x="260500" y="286177"/>
                      </a:lnTo>
                      <a:lnTo>
                        <a:pt x="278471" y="286177"/>
                      </a:lnTo>
                      <a:lnTo>
                        <a:pt x="278471" y="260197"/>
                      </a:lnTo>
                      <a:cubicBezTo>
                        <a:pt x="279903" y="259676"/>
                        <a:pt x="281401" y="259155"/>
                        <a:pt x="282964" y="258634"/>
                      </a:cubicBezTo>
                      <a:cubicBezTo>
                        <a:pt x="284526" y="258178"/>
                        <a:pt x="286024" y="257690"/>
                        <a:pt x="287456" y="257169"/>
                      </a:cubicBezTo>
                      <a:close/>
                      <a:moveTo>
                        <a:pt x="514494" y="255020"/>
                      </a:moveTo>
                      <a:lnTo>
                        <a:pt x="514494" y="377399"/>
                      </a:lnTo>
                      <a:lnTo>
                        <a:pt x="536469" y="377399"/>
                      </a:lnTo>
                      <a:cubicBezTo>
                        <a:pt x="557240" y="377399"/>
                        <a:pt x="573192" y="372011"/>
                        <a:pt x="584327" y="361235"/>
                      </a:cubicBezTo>
                      <a:cubicBezTo>
                        <a:pt x="595461" y="350459"/>
                        <a:pt x="601028" y="334913"/>
                        <a:pt x="601028" y="314598"/>
                      </a:cubicBezTo>
                      <a:cubicBezTo>
                        <a:pt x="601028" y="274880"/>
                        <a:pt x="580159" y="255020"/>
                        <a:pt x="538422" y="255020"/>
                      </a:cubicBezTo>
                      <a:close/>
                      <a:moveTo>
                        <a:pt x="1402616" y="246134"/>
                      </a:moveTo>
                      <a:cubicBezTo>
                        <a:pt x="1404634" y="246134"/>
                        <a:pt x="1406408" y="246785"/>
                        <a:pt x="1407940" y="248087"/>
                      </a:cubicBezTo>
                      <a:cubicBezTo>
                        <a:pt x="1409470" y="249389"/>
                        <a:pt x="1410234" y="251147"/>
                        <a:pt x="1410234" y="253361"/>
                      </a:cubicBezTo>
                      <a:cubicBezTo>
                        <a:pt x="1410234" y="255445"/>
                        <a:pt x="1409486" y="257235"/>
                        <a:pt x="1407988" y="258733"/>
                      </a:cubicBezTo>
                      <a:cubicBezTo>
                        <a:pt x="1406490" y="260230"/>
                        <a:pt x="1404700" y="260979"/>
                        <a:pt x="1402616" y="260979"/>
                      </a:cubicBezTo>
                      <a:cubicBezTo>
                        <a:pt x="1400662" y="260979"/>
                        <a:pt x="1398938" y="260263"/>
                        <a:pt x="1397440" y="258831"/>
                      </a:cubicBezTo>
                      <a:cubicBezTo>
                        <a:pt x="1395942" y="257398"/>
                        <a:pt x="1395194" y="255575"/>
                        <a:pt x="1395194" y="253361"/>
                      </a:cubicBezTo>
                      <a:cubicBezTo>
                        <a:pt x="1395194" y="251212"/>
                        <a:pt x="1395958" y="249471"/>
                        <a:pt x="1397488" y="248136"/>
                      </a:cubicBezTo>
                      <a:cubicBezTo>
                        <a:pt x="1399018" y="246801"/>
                        <a:pt x="1400728" y="246134"/>
                        <a:pt x="1402616" y="246134"/>
                      </a:cubicBezTo>
                      <a:close/>
                      <a:moveTo>
                        <a:pt x="878741" y="246134"/>
                      </a:moveTo>
                      <a:cubicBezTo>
                        <a:pt x="880760" y="246134"/>
                        <a:pt x="882534" y="246785"/>
                        <a:pt x="884064" y="248087"/>
                      </a:cubicBezTo>
                      <a:cubicBezTo>
                        <a:pt x="885594" y="249389"/>
                        <a:pt x="886359" y="251147"/>
                        <a:pt x="886359" y="253361"/>
                      </a:cubicBezTo>
                      <a:cubicBezTo>
                        <a:pt x="886359" y="255445"/>
                        <a:pt x="885611" y="257235"/>
                        <a:pt x="884113" y="258733"/>
                      </a:cubicBezTo>
                      <a:cubicBezTo>
                        <a:pt x="882616" y="260230"/>
                        <a:pt x="880825" y="260979"/>
                        <a:pt x="878741" y="260979"/>
                      </a:cubicBezTo>
                      <a:cubicBezTo>
                        <a:pt x="876788" y="260979"/>
                        <a:pt x="875062" y="260263"/>
                        <a:pt x="873565" y="258831"/>
                      </a:cubicBezTo>
                      <a:cubicBezTo>
                        <a:pt x="872067" y="257398"/>
                        <a:pt x="871318" y="255575"/>
                        <a:pt x="871318" y="253361"/>
                      </a:cubicBezTo>
                      <a:cubicBezTo>
                        <a:pt x="871318" y="251212"/>
                        <a:pt x="872084" y="249471"/>
                        <a:pt x="873614" y="248136"/>
                      </a:cubicBezTo>
                      <a:cubicBezTo>
                        <a:pt x="875144" y="246801"/>
                        <a:pt x="876853" y="246134"/>
                        <a:pt x="878741" y="246134"/>
                      </a:cubicBezTo>
                      <a:close/>
                      <a:moveTo>
                        <a:pt x="97691" y="246134"/>
                      </a:moveTo>
                      <a:cubicBezTo>
                        <a:pt x="99710" y="246134"/>
                        <a:pt x="101484" y="246785"/>
                        <a:pt x="103014" y="248087"/>
                      </a:cubicBezTo>
                      <a:cubicBezTo>
                        <a:pt x="104544" y="249389"/>
                        <a:pt x="105309" y="251147"/>
                        <a:pt x="105309" y="253361"/>
                      </a:cubicBezTo>
                      <a:cubicBezTo>
                        <a:pt x="105309" y="255445"/>
                        <a:pt x="104561" y="257235"/>
                        <a:pt x="103063" y="258733"/>
                      </a:cubicBezTo>
                      <a:cubicBezTo>
                        <a:pt x="101565" y="260230"/>
                        <a:pt x="99775" y="260979"/>
                        <a:pt x="97691" y="260979"/>
                      </a:cubicBezTo>
                      <a:cubicBezTo>
                        <a:pt x="95738" y="260979"/>
                        <a:pt x="94012" y="260263"/>
                        <a:pt x="92515" y="258831"/>
                      </a:cubicBezTo>
                      <a:cubicBezTo>
                        <a:pt x="91017" y="257398"/>
                        <a:pt x="90268" y="255575"/>
                        <a:pt x="90268" y="253361"/>
                      </a:cubicBezTo>
                      <a:cubicBezTo>
                        <a:pt x="90268" y="251212"/>
                        <a:pt x="91034" y="249471"/>
                        <a:pt x="92564" y="248136"/>
                      </a:cubicBezTo>
                      <a:cubicBezTo>
                        <a:pt x="94094" y="246801"/>
                        <a:pt x="95803" y="246134"/>
                        <a:pt x="97691" y="246134"/>
                      </a:cubicBezTo>
                      <a:close/>
                      <a:moveTo>
                        <a:pt x="504824" y="246133"/>
                      </a:moveTo>
                      <a:lnTo>
                        <a:pt x="539888" y="246133"/>
                      </a:lnTo>
                      <a:cubicBezTo>
                        <a:pt x="563133" y="246133"/>
                        <a:pt x="580811" y="251928"/>
                        <a:pt x="592922" y="263518"/>
                      </a:cubicBezTo>
                      <a:cubicBezTo>
                        <a:pt x="605032" y="275108"/>
                        <a:pt x="611088" y="292004"/>
                        <a:pt x="611088" y="314208"/>
                      </a:cubicBezTo>
                      <a:cubicBezTo>
                        <a:pt x="611088" y="335564"/>
                        <a:pt x="604593" y="352901"/>
                        <a:pt x="591603" y="366216"/>
                      </a:cubicBezTo>
                      <a:cubicBezTo>
                        <a:pt x="578613" y="379531"/>
                        <a:pt x="560691" y="386189"/>
                        <a:pt x="537836" y="386189"/>
                      </a:cubicBezTo>
                      <a:lnTo>
                        <a:pt x="504824" y="386189"/>
                      </a:lnTo>
                      <a:close/>
                      <a:moveTo>
                        <a:pt x="0" y="246133"/>
                      </a:moveTo>
                      <a:lnTo>
                        <a:pt x="65437" y="246133"/>
                      </a:lnTo>
                      <a:lnTo>
                        <a:pt x="65437" y="255020"/>
                      </a:lnTo>
                      <a:lnTo>
                        <a:pt x="9669" y="255020"/>
                      </a:lnTo>
                      <a:lnTo>
                        <a:pt x="9669" y="312157"/>
                      </a:lnTo>
                      <a:lnTo>
                        <a:pt x="61433" y="312157"/>
                      </a:lnTo>
                      <a:lnTo>
                        <a:pt x="61433" y="320947"/>
                      </a:lnTo>
                      <a:lnTo>
                        <a:pt x="9669" y="320947"/>
                      </a:lnTo>
                      <a:lnTo>
                        <a:pt x="9669" y="386189"/>
                      </a:lnTo>
                      <a:lnTo>
                        <a:pt x="0" y="386189"/>
                      </a:lnTo>
                      <a:close/>
                      <a:moveTo>
                        <a:pt x="427885" y="243789"/>
                      </a:moveTo>
                      <a:cubicBezTo>
                        <a:pt x="438954" y="243789"/>
                        <a:pt x="447728" y="246784"/>
                        <a:pt x="454207" y="252774"/>
                      </a:cubicBezTo>
                      <a:cubicBezTo>
                        <a:pt x="460685" y="258764"/>
                        <a:pt x="463925" y="266708"/>
                        <a:pt x="463925" y="276605"/>
                      </a:cubicBezTo>
                      <a:cubicBezTo>
                        <a:pt x="463925" y="295553"/>
                        <a:pt x="454842" y="307599"/>
                        <a:pt x="436675" y="312743"/>
                      </a:cubicBezTo>
                      <a:lnTo>
                        <a:pt x="436675" y="313133"/>
                      </a:lnTo>
                      <a:cubicBezTo>
                        <a:pt x="446442" y="314110"/>
                        <a:pt x="454256" y="317740"/>
                        <a:pt x="460116" y="324023"/>
                      </a:cubicBezTo>
                      <a:cubicBezTo>
                        <a:pt x="465976" y="330307"/>
                        <a:pt x="468906" y="338234"/>
                        <a:pt x="468906" y="347806"/>
                      </a:cubicBezTo>
                      <a:cubicBezTo>
                        <a:pt x="468906" y="360047"/>
                        <a:pt x="464674" y="369911"/>
                        <a:pt x="456209" y="377399"/>
                      </a:cubicBezTo>
                      <a:cubicBezTo>
                        <a:pt x="447744" y="384887"/>
                        <a:pt x="436773" y="388631"/>
                        <a:pt x="423295" y="388631"/>
                      </a:cubicBezTo>
                      <a:cubicBezTo>
                        <a:pt x="412877" y="388631"/>
                        <a:pt x="402882" y="386157"/>
                        <a:pt x="393310" y="381208"/>
                      </a:cubicBezTo>
                      <a:lnTo>
                        <a:pt x="393310" y="370953"/>
                      </a:lnTo>
                      <a:cubicBezTo>
                        <a:pt x="403989" y="377269"/>
                        <a:pt x="414049" y="380427"/>
                        <a:pt x="423490" y="380427"/>
                      </a:cubicBezTo>
                      <a:cubicBezTo>
                        <a:pt x="434754" y="380427"/>
                        <a:pt x="443577" y="377546"/>
                        <a:pt x="449958" y="371783"/>
                      </a:cubicBezTo>
                      <a:cubicBezTo>
                        <a:pt x="456339" y="366021"/>
                        <a:pt x="459530" y="358484"/>
                        <a:pt x="459530" y="349173"/>
                      </a:cubicBezTo>
                      <a:cubicBezTo>
                        <a:pt x="459530" y="338820"/>
                        <a:pt x="455867" y="330974"/>
                        <a:pt x="448542" y="325635"/>
                      </a:cubicBezTo>
                      <a:cubicBezTo>
                        <a:pt x="441217" y="320296"/>
                        <a:pt x="430782" y="317626"/>
                        <a:pt x="417239" y="317626"/>
                      </a:cubicBezTo>
                      <a:lnTo>
                        <a:pt x="406496" y="317626"/>
                      </a:lnTo>
                      <a:lnTo>
                        <a:pt x="406496" y="309422"/>
                      </a:lnTo>
                      <a:lnTo>
                        <a:pt x="416067" y="309422"/>
                      </a:lnTo>
                      <a:cubicBezTo>
                        <a:pt x="428569" y="309422"/>
                        <a:pt x="438091" y="306768"/>
                        <a:pt x="444635" y="301462"/>
                      </a:cubicBezTo>
                      <a:cubicBezTo>
                        <a:pt x="451179" y="296155"/>
                        <a:pt x="454451" y="288651"/>
                        <a:pt x="454451" y="278949"/>
                      </a:cubicBezTo>
                      <a:cubicBezTo>
                        <a:pt x="454451" y="270550"/>
                        <a:pt x="452074" y="263957"/>
                        <a:pt x="447321" y="259171"/>
                      </a:cubicBezTo>
                      <a:cubicBezTo>
                        <a:pt x="442568" y="254386"/>
                        <a:pt x="435633" y="251993"/>
                        <a:pt x="426518" y="251993"/>
                      </a:cubicBezTo>
                      <a:cubicBezTo>
                        <a:pt x="417728" y="251993"/>
                        <a:pt x="408514" y="255053"/>
                        <a:pt x="398878" y="261174"/>
                      </a:cubicBezTo>
                      <a:lnTo>
                        <a:pt x="398878" y="251602"/>
                      </a:lnTo>
                      <a:cubicBezTo>
                        <a:pt x="409426" y="246393"/>
                        <a:pt x="419095" y="243789"/>
                        <a:pt x="427885" y="243789"/>
                      </a:cubicBezTo>
                      <a:close/>
                      <a:moveTo>
                        <a:pt x="2274522" y="238125"/>
                      </a:moveTo>
                      <a:lnTo>
                        <a:pt x="2283506" y="238125"/>
                      </a:lnTo>
                      <a:lnTo>
                        <a:pt x="2283506" y="386190"/>
                      </a:lnTo>
                      <a:lnTo>
                        <a:pt x="2274522" y="386190"/>
                      </a:lnTo>
                      <a:close/>
                      <a:moveTo>
                        <a:pt x="1360121" y="238125"/>
                      </a:moveTo>
                      <a:lnTo>
                        <a:pt x="1369107" y="238125"/>
                      </a:lnTo>
                      <a:lnTo>
                        <a:pt x="1369107" y="386190"/>
                      </a:lnTo>
                      <a:lnTo>
                        <a:pt x="1360121" y="386190"/>
                      </a:lnTo>
                      <a:close/>
                      <a:moveTo>
                        <a:pt x="1250151" y="238125"/>
                      </a:moveTo>
                      <a:lnTo>
                        <a:pt x="1259136" y="238125"/>
                      </a:lnTo>
                      <a:lnTo>
                        <a:pt x="1259136" y="386190"/>
                      </a:lnTo>
                      <a:lnTo>
                        <a:pt x="1250151" y="386190"/>
                      </a:lnTo>
                      <a:lnTo>
                        <a:pt x="1250151" y="368024"/>
                      </a:lnTo>
                      <a:lnTo>
                        <a:pt x="1249760" y="368024"/>
                      </a:lnTo>
                      <a:cubicBezTo>
                        <a:pt x="1246505" y="374340"/>
                        <a:pt x="1241686" y="379353"/>
                        <a:pt x="1235305" y="383065"/>
                      </a:cubicBezTo>
                      <a:cubicBezTo>
                        <a:pt x="1228924" y="386776"/>
                        <a:pt x="1221730" y="388632"/>
                        <a:pt x="1213721" y="388632"/>
                      </a:cubicBezTo>
                      <a:cubicBezTo>
                        <a:pt x="1201414" y="388632"/>
                        <a:pt x="1191371" y="384139"/>
                        <a:pt x="1183590" y="375154"/>
                      </a:cubicBezTo>
                      <a:cubicBezTo>
                        <a:pt x="1175809" y="366168"/>
                        <a:pt x="1171919" y="353764"/>
                        <a:pt x="1171919" y="337942"/>
                      </a:cubicBezTo>
                      <a:cubicBezTo>
                        <a:pt x="1171919" y="321794"/>
                        <a:pt x="1176167" y="308723"/>
                        <a:pt x="1184664" y="298728"/>
                      </a:cubicBezTo>
                      <a:cubicBezTo>
                        <a:pt x="1193162" y="288733"/>
                        <a:pt x="1204182" y="283736"/>
                        <a:pt x="1217725" y="283736"/>
                      </a:cubicBezTo>
                      <a:cubicBezTo>
                        <a:pt x="1232701" y="283736"/>
                        <a:pt x="1243379" y="289889"/>
                        <a:pt x="1249760" y="302195"/>
                      </a:cubicBezTo>
                      <a:lnTo>
                        <a:pt x="1250151" y="302195"/>
                      </a:lnTo>
                      <a:close/>
                      <a:moveTo>
                        <a:pt x="2239044" y="94249"/>
                      </a:moveTo>
                      <a:lnTo>
                        <a:pt x="2211502" y="98253"/>
                      </a:lnTo>
                      <a:cubicBezTo>
                        <a:pt x="2201018" y="99751"/>
                        <a:pt x="2193660" y="102176"/>
                        <a:pt x="2189428" y="105530"/>
                      </a:cubicBezTo>
                      <a:cubicBezTo>
                        <a:pt x="2185196" y="108883"/>
                        <a:pt x="2183080" y="114336"/>
                        <a:pt x="2183080" y="121889"/>
                      </a:cubicBezTo>
                      <a:cubicBezTo>
                        <a:pt x="2183080" y="127814"/>
                        <a:pt x="2185050" y="132698"/>
                        <a:pt x="2188988" y="136539"/>
                      </a:cubicBezTo>
                      <a:cubicBezTo>
                        <a:pt x="2192928" y="140381"/>
                        <a:pt x="2198414" y="142302"/>
                        <a:pt x="2205446" y="142302"/>
                      </a:cubicBezTo>
                      <a:cubicBezTo>
                        <a:pt x="2215082" y="142302"/>
                        <a:pt x="2223092" y="138737"/>
                        <a:pt x="2229472" y="131607"/>
                      </a:cubicBezTo>
                      <a:cubicBezTo>
                        <a:pt x="2235854" y="124477"/>
                        <a:pt x="2239044" y="115280"/>
                        <a:pt x="2239044" y="104016"/>
                      </a:cubicBezTo>
                      <a:close/>
                      <a:moveTo>
                        <a:pt x="1436604" y="53815"/>
                      </a:moveTo>
                      <a:cubicBezTo>
                        <a:pt x="1426122" y="53815"/>
                        <a:pt x="1417462" y="57836"/>
                        <a:pt x="1410624" y="65877"/>
                      </a:cubicBezTo>
                      <a:cubicBezTo>
                        <a:pt x="1403788" y="73919"/>
                        <a:pt x="1400370" y="84971"/>
                        <a:pt x="1400370" y="99036"/>
                      </a:cubicBezTo>
                      <a:cubicBezTo>
                        <a:pt x="1400370" y="112839"/>
                        <a:pt x="1403446" y="123502"/>
                        <a:pt x="1409600" y="131022"/>
                      </a:cubicBezTo>
                      <a:cubicBezTo>
                        <a:pt x="1415752" y="138543"/>
                        <a:pt x="1423680" y="142303"/>
                        <a:pt x="1433382" y="142303"/>
                      </a:cubicBezTo>
                      <a:cubicBezTo>
                        <a:pt x="1444776" y="142303"/>
                        <a:pt x="1453600" y="138770"/>
                        <a:pt x="1459850" y="131706"/>
                      </a:cubicBezTo>
                      <a:cubicBezTo>
                        <a:pt x="1466100" y="124641"/>
                        <a:pt x="1469226" y="116030"/>
                        <a:pt x="1469226" y="105872"/>
                      </a:cubicBezTo>
                      <a:lnTo>
                        <a:pt x="1469226" y="87218"/>
                      </a:lnTo>
                      <a:cubicBezTo>
                        <a:pt x="1469226" y="77907"/>
                        <a:pt x="1466280" y="70012"/>
                        <a:pt x="1460388" y="63533"/>
                      </a:cubicBezTo>
                      <a:cubicBezTo>
                        <a:pt x="1454494" y="57055"/>
                        <a:pt x="1446568" y="53815"/>
                        <a:pt x="1436604" y="53815"/>
                      </a:cubicBezTo>
                      <a:close/>
                      <a:moveTo>
                        <a:pt x="960355" y="53815"/>
                      </a:moveTo>
                      <a:cubicBezTo>
                        <a:pt x="949872" y="53815"/>
                        <a:pt x="941212" y="57836"/>
                        <a:pt x="934375" y="65877"/>
                      </a:cubicBezTo>
                      <a:cubicBezTo>
                        <a:pt x="927538" y="73919"/>
                        <a:pt x="924120" y="84971"/>
                        <a:pt x="924120" y="99036"/>
                      </a:cubicBezTo>
                      <a:cubicBezTo>
                        <a:pt x="924120" y="112839"/>
                        <a:pt x="927196" y="123502"/>
                        <a:pt x="933350" y="131022"/>
                      </a:cubicBezTo>
                      <a:cubicBezTo>
                        <a:pt x="939503" y="138543"/>
                        <a:pt x="947430" y="142303"/>
                        <a:pt x="957132" y="142303"/>
                      </a:cubicBezTo>
                      <a:cubicBezTo>
                        <a:pt x="968526" y="142303"/>
                        <a:pt x="977349" y="138770"/>
                        <a:pt x="983600" y="131706"/>
                      </a:cubicBezTo>
                      <a:cubicBezTo>
                        <a:pt x="989851" y="124641"/>
                        <a:pt x="992976" y="116030"/>
                        <a:pt x="992976" y="105872"/>
                      </a:cubicBezTo>
                      <a:lnTo>
                        <a:pt x="992976" y="87218"/>
                      </a:lnTo>
                      <a:cubicBezTo>
                        <a:pt x="992976" y="77907"/>
                        <a:pt x="990030" y="70012"/>
                        <a:pt x="984137" y="63533"/>
                      </a:cubicBezTo>
                      <a:cubicBezTo>
                        <a:pt x="978244" y="57055"/>
                        <a:pt x="970317" y="53815"/>
                        <a:pt x="960355" y="53815"/>
                      </a:cubicBezTo>
                      <a:close/>
                      <a:moveTo>
                        <a:pt x="1839096" y="53814"/>
                      </a:moveTo>
                      <a:cubicBezTo>
                        <a:pt x="1827312" y="53814"/>
                        <a:pt x="1817918" y="57786"/>
                        <a:pt x="1810920" y="65730"/>
                      </a:cubicBezTo>
                      <a:cubicBezTo>
                        <a:pt x="1803920" y="73673"/>
                        <a:pt x="1800420" y="84710"/>
                        <a:pt x="1800420" y="98839"/>
                      </a:cubicBezTo>
                      <a:cubicBezTo>
                        <a:pt x="1800420" y="111927"/>
                        <a:pt x="1803838" y="122443"/>
                        <a:pt x="1810676" y="130386"/>
                      </a:cubicBezTo>
                      <a:cubicBezTo>
                        <a:pt x="1817512" y="138330"/>
                        <a:pt x="1826856" y="142302"/>
                        <a:pt x="1838706" y="142302"/>
                      </a:cubicBezTo>
                      <a:cubicBezTo>
                        <a:pt x="1850752" y="142302"/>
                        <a:pt x="1860030" y="138395"/>
                        <a:pt x="1866542" y="130582"/>
                      </a:cubicBezTo>
                      <a:cubicBezTo>
                        <a:pt x="1873052" y="122768"/>
                        <a:pt x="1876308" y="111927"/>
                        <a:pt x="1876308" y="98058"/>
                      </a:cubicBezTo>
                      <a:cubicBezTo>
                        <a:pt x="1876308" y="83798"/>
                        <a:pt x="1873068" y="72860"/>
                        <a:pt x="1866590" y="65241"/>
                      </a:cubicBezTo>
                      <a:cubicBezTo>
                        <a:pt x="1860112" y="57623"/>
                        <a:pt x="1850946" y="53814"/>
                        <a:pt x="1839096" y="53814"/>
                      </a:cubicBezTo>
                      <a:close/>
                      <a:moveTo>
                        <a:pt x="1324746" y="53814"/>
                      </a:moveTo>
                      <a:cubicBezTo>
                        <a:pt x="1312961" y="53814"/>
                        <a:pt x="1303569" y="57786"/>
                        <a:pt x="1296569" y="65730"/>
                      </a:cubicBezTo>
                      <a:cubicBezTo>
                        <a:pt x="1289570" y="73673"/>
                        <a:pt x="1286070" y="84710"/>
                        <a:pt x="1286070" y="98839"/>
                      </a:cubicBezTo>
                      <a:cubicBezTo>
                        <a:pt x="1286070" y="111927"/>
                        <a:pt x="1289488" y="122443"/>
                        <a:pt x="1296325" y="130386"/>
                      </a:cubicBezTo>
                      <a:cubicBezTo>
                        <a:pt x="1303162" y="138330"/>
                        <a:pt x="1312505" y="142302"/>
                        <a:pt x="1324356" y="142302"/>
                      </a:cubicBezTo>
                      <a:cubicBezTo>
                        <a:pt x="1336402" y="142302"/>
                        <a:pt x="1345680" y="138395"/>
                        <a:pt x="1352191" y="130582"/>
                      </a:cubicBezTo>
                      <a:cubicBezTo>
                        <a:pt x="1358702" y="122768"/>
                        <a:pt x="1361958" y="111927"/>
                        <a:pt x="1361958" y="98058"/>
                      </a:cubicBezTo>
                      <a:cubicBezTo>
                        <a:pt x="1361958" y="83798"/>
                        <a:pt x="1358719" y="72860"/>
                        <a:pt x="1352240" y="65241"/>
                      </a:cubicBezTo>
                      <a:cubicBezTo>
                        <a:pt x="1345762" y="57623"/>
                        <a:pt x="1336597" y="53814"/>
                        <a:pt x="1324746" y="53814"/>
                      </a:cubicBezTo>
                      <a:close/>
                      <a:moveTo>
                        <a:pt x="1148557" y="53814"/>
                      </a:moveTo>
                      <a:cubicBezTo>
                        <a:pt x="1136902" y="53814"/>
                        <a:pt x="1127884" y="57721"/>
                        <a:pt x="1121503" y="65534"/>
                      </a:cubicBezTo>
                      <a:cubicBezTo>
                        <a:pt x="1115122" y="73348"/>
                        <a:pt x="1111932" y="82529"/>
                        <a:pt x="1111932" y="93077"/>
                      </a:cubicBezTo>
                      <a:lnTo>
                        <a:pt x="1111932" y="105676"/>
                      </a:lnTo>
                      <a:cubicBezTo>
                        <a:pt x="1111932" y="115703"/>
                        <a:pt x="1115090" y="124315"/>
                        <a:pt x="1121405" y="131509"/>
                      </a:cubicBezTo>
                      <a:cubicBezTo>
                        <a:pt x="1127721" y="138704"/>
                        <a:pt x="1136023" y="142302"/>
                        <a:pt x="1146311" y="142302"/>
                      </a:cubicBezTo>
                      <a:cubicBezTo>
                        <a:pt x="1156534" y="142302"/>
                        <a:pt x="1164835" y="137923"/>
                        <a:pt x="1171216" y="129165"/>
                      </a:cubicBezTo>
                      <a:cubicBezTo>
                        <a:pt x="1177598" y="120408"/>
                        <a:pt x="1180788" y="108899"/>
                        <a:pt x="1180788" y="94640"/>
                      </a:cubicBezTo>
                      <a:cubicBezTo>
                        <a:pt x="1180788" y="82138"/>
                        <a:pt x="1177858" y="72208"/>
                        <a:pt x="1171998" y="64851"/>
                      </a:cubicBezTo>
                      <a:cubicBezTo>
                        <a:pt x="1166138" y="57493"/>
                        <a:pt x="1158324" y="53814"/>
                        <a:pt x="1148557" y="53814"/>
                      </a:cubicBezTo>
                      <a:close/>
                      <a:moveTo>
                        <a:pt x="854408" y="53814"/>
                      </a:moveTo>
                      <a:cubicBezTo>
                        <a:pt x="845032" y="53814"/>
                        <a:pt x="837267" y="56956"/>
                        <a:pt x="831114" y="63239"/>
                      </a:cubicBezTo>
                      <a:cubicBezTo>
                        <a:pt x="824961" y="69523"/>
                        <a:pt x="821168" y="78524"/>
                        <a:pt x="819736" y="90245"/>
                      </a:cubicBezTo>
                      <a:lnTo>
                        <a:pt x="884001" y="90245"/>
                      </a:lnTo>
                      <a:cubicBezTo>
                        <a:pt x="883611" y="78720"/>
                        <a:pt x="880844" y="69767"/>
                        <a:pt x="875700" y="63386"/>
                      </a:cubicBezTo>
                      <a:cubicBezTo>
                        <a:pt x="870556" y="57005"/>
                        <a:pt x="863458" y="53814"/>
                        <a:pt x="854408" y="53814"/>
                      </a:cubicBezTo>
                      <a:close/>
                      <a:moveTo>
                        <a:pt x="481807" y="53814"/>
                      </a:moveTo>
                      <a:cubicBezTo>
                        <a:pt x="470152" y="53814"/>
                        <a:pt x="461134" y="57721"/>
                        <a:pt x="454753" y="65534"/>
                      </a:cubicBezTo>
                      <a:cubicBezTo>
                        <a:pt x="448372" y="73348"/>
                        <a:pt x="445182" y="82529"/>
                        <a:pt x="445182" y="93077"/>
                      </a:cubicBezTo>
                      <a:lnTo>
                        <a:pt x="445182" y="105676"/>
                      </a:lnTo>
                      <a:cubicBezTo>
                        <a:pt x="445182" y="115703"/>
                        <a:pt x="448340" y="124315"/>
                        <a:pt x="454656" y="131509"/>
                      </a:cubicBezTo>
                      <a:cubicBezTo>
                        <a:pt x="460971" y="138704"/>
                        <a:pt x="469273" y="142302"/>
                        <a:pt x="479561" y="142302"/>
                      </a:cubicBezTo>
                      <a:cubicBezTo>
                        <a:pt x="489784" y="142302"/>
                        <a:pt x="498085" y="137923"/>
                        <a:pt x="504466" y="129165"/>
                      </a:cubicBezTo>
                      <a:cubicBezTo>
                        <a:pt x="510847" y="120408"/>
                        <a:pt x="514038" y="108899"/>
                        <a:pt x="514038" y="94640"/>
                      </a:cubicBezTo>
                      <a:cubicBezTo>
                        <a:pt x="514038" y="82138"/>
                        <a:pt x="511108" y="72208"/>
                        <a:pt x="505248" y="64851"/>
                      </a:cubicBezTo>
                      <a:cubicBezTo>
                        <a:pt x="499388" y="57493"/>
                        <a:pt x="491574" y="53814"/>
                        <a:pt x="481807" y="53814"/>
                      </a:cubicBezTo>
                      <a:close/>
                      <a:moveTo>
                        <a:pt x="1760172" y="48052"/>
                      </a:moveTo>
                      <a:lnTo>
                        <a:pt x="1769156" y="48052"/>
                      </a:lnTo>
                      <a:lnTo>
                        <a:pt x="1769156" y="148064"/>
                      </a:lnTo>
                      <a:lnTo>
                        <a:pt x="1760172" y="148064"/>
                      </a:lnTo>
                      <a:close/>
                      <a:moveTo>
                        <a:pt x="1510470" y="48052"/>
                      </a:moveTo>
                      <a:lnTo>
                        <a:pt x="1519554" y="48052"/>
                      </a:lnTo>
                      <a:lnTo>
                        <a:pt x="1519554" y="103625"/>
                      </a:lnTo>
                      <a:cubicBezTo>
                        <a:pt x="1519554" y="117168"/>
                        <a:pt x="1521784" y="127000"/>
                        <a:pt x="1526244" y="133121"/>
                      </a:cubicBezTo>
                      <a:cubicBezTo>
                        <a:pt x="1530704" y="139242"/>
                        <a:pt x="1537720" y="142302"/>
                        <a:pt x="1547292" y="142302"/>
                      </a:cubicBezTo>
                      <a:cubicBezTo>
                        <a:pt x="1556602" y="142302"/>
                        <a:pt x="1564138" y="138883"/>
                        <a:pt x="1569902" y="132047"/>
                      </a:cubicBezTo>
                      <a:cubicBezTo>
                        <a:pt x="1575664" y="125210"/>
                        <a:pt x="1578544" y="116094"/>
                        <a:pt x="1578544" y="104699"/>
                      </a:cubicBezTo>
                      <a:lnTo>
                        <a:pt x="1578544" y="48052"/>
                      </a:lnTo>
                      <a:lnTo>
                        <a:pt x="1587530" y="48052"/>
                      </a:lnTo>
                      <a:lnTo>
                        <a:pt x="1587530" y="148064"/>
                      </a:lnTo>
                      <a:lnTo>
                        <a:pt x="1578544" y="148064"/>
                      </a:lnTo>
                      <a:lnTo>
                        <a:pt x="1578544" y="129898"/>
                      </a:lnTo>
                      <a:lnTo>
                        <a:pt x="1578154" y="129898"/>
                      </a:lnTo>
                      <a:cubicBezTo>
                        <a:pt x="1571188" y="143637"/>
                        <a:pt x="1560444" y="150506"/>
                        <a:pt x="1545924" y="150506"/>
                      </a:cubicBezTo>
                      <a:cubicBezTo>
                        <a:pt x="1522288" y="150506"/>
                        <a:pt x="1510470" y="135628"/>
                        <a:pt x="1510470" y="105871"/>
                      </a:cubicBezTo>
                      <a:close/>
                      <a:moveTo>
                        <a:pt x="617171" y="48052"/>
                      </a:moveTo>
                      <a:lnTo>
                        <a:pt x="626157" y="48052"/>
                      </a:lnTo>
                      <a:lnTo>
                        <a:pt x="626157" y="148064"/>
                      </a:lnTo>
                      <a:lnTo>
                        <a:pt x="617171" y="148064"/>
                      </a:lnTo>
                      <a:close/>
                      <a:moveTo>
                        <a:pt x="2311732" y="46098"/>
                      </a:moveTo>
                      <a:cubicBezTo>
                        <a:pt x="2315444" y="46098"/>
                        <a:pt x="2318764" y="46684"/>
                        <a:pt x="2321696" y="47856"/>
                      </a:cubicBezTo>
                      <a:lnTo>
                        <a:pt x="2321696" y="57428"/>
                      </a:lnTo>
                      <a:cubicBezTo>
                        <a:pt x="2318700" y="55279"/>
                        <a:pt x="2315184" y="54205"/>
                        <a:pt x="2311146" y="54205"/>
                      </a:cubicBezTo>
                      <a:cubicBezTo>
                        <a:pt x="2303268" y="54205"/>
                        <a:pt x="2296660" y="58274"/>
                        <a:pt x="2291320" y="66413"/>
                      </a:cubicBezTo>
                      <a:cubicBezTo>
                        <a:pt x="2285980" y="74552"/>
                        <a:pt x="2283312" y="86110"/>
                        <a:pt x="2283312" y="101086"/>
                      </a:cubicBezTo>
                      <a:lnTo>
                        <a:pt x="2283312" y="148064"/>
                      </a:lnTo>
                      <a:lnTo>
                        <a:pt x="2274520" y="148064"/>
                      </a:lnTo>
                      <a:lnTo>
                        <a:pt x="2274520" y="48052"/>
                      </a:lnTo>
                      <a:lnTo>
                        <a:pt x="2283312" y="48052"/>
                      </a:lnTo>
                      <a:lnTo>
                        <a:pt x="2283312" y="70222"/>
                      </a:lnTo>
                      <a:lnTo>
                        <a:pt x="2283702" y="70222"/>
                      </a:lnTo>
                      <a:cubicBezTo>
                        <a:pt x="2285980" y="62604"/>
                        <a:pt x="2289594" y="56679"/>
                        <a:pt x="2294544" y="52447"/>
                      </a:cubicBezTo>
                      <a:cubicBezTo>
                        <a:pt x="2299492" y="48215"/>
                        <a:pt x="2305222" y="46098"/>
                        <a:pt x="2311732" y="46098"/>
                      </a:cubicBezTo>
                      <a:close/>
                      <a:moveTo>
                        <a:pt x="1254458" y="46098"/>
                      </a:moveTo>
                      <a:cubicBezTo>
                        <a:pt x="1258169" y="46098"/>
                        <a:pt x="1261490" y="46684"/>
                        <a:pt x="1264420" y="47856"/>
                      </a:cubicBezTo>
                      <a:lnTo>
                        <a:pt x="1264420" y="57428"/>
                      </a:lnTo>
                      <a:cubicBezTo>
                        <a:pt x="1261425" y="55279"/>
                        <a:pt x="1257909" y="54205"/>
                        <a:pt x="1253872" y="54205"/>
                      </a:cubicBezTo>
                      <a:cubicBezTo>
                        <a:pt x="1245993" y="54205"/>
                        <a:pt x="1239384" y="58274"/>
                        <a:pt x="1234045" y="66413"/>
                      </a:cubicBezTo>
                      <a:cubicBezTo>
                        <a:pt x="1228706" y="74552"/>
                        <a:pt x="1226036" y="86110"/>
                        <a:pt x="1226036" y="101086"/>
                      </a:cubicBezTo>
                      <a:lnTo>
                        <a:pt x="1226036" y="148064"/>
                      </a:lnTo>
                      <a:lnTo>
                        <a:pt x="1217246" y="148064"/>
                      </a:lnTo>
                      <a:lnTo>
                        <a:pt x="1217246" y="48052"/>
                      </a:lnTo>
                      <a:lnTo>
                        <a:pt x="1226036" y="48052"/>
                      </a:lnTo>
                      <a:lnTo>
                        <a:pt x="1226036" y="70222"/>
                      </a:lnTo>
                      <a:lnTo>
                        <a:pt x="1226427" y="70222"/>
                      </a:lnTo>
                      <a:cubicBezTo>
                        <a:pt x="1228706" y="62604"/>
                        <a:pt x="1232320" y="56679"/>
                        <a:pt x="1237268" y="52447"/>
                      </a:cubicBezTo>
                      <a:cubicBezTo>
                        <a:pt x="1242217" y="48215"/>
                        <a:pt x="1247947" y="46098"/>
                        <a:pt x="1254458" y="46098"/>
                      </a:cubicBezTo>
                      <a:close/>
                      <a:moveTo>
                        <a:pt x="587708" y="46098"/>
                      </a:moveTo>
                      <a:cubicBezTo>
                        <a:pt x="591419" y="46098"/>
                        <a:pt x="594740" y="46684"/>
                        <a:pt x="597670" y="47856"/>
                      </a:cubicBezTo>
                      <a:lnTo>
                        <a:pt x="597670" y="57428"/>
                      </a:lnTo>
                      <a:cubicBezTo>
                        <a:pt x="594675" y="55279"/>
                        <a:pt x="591159" y="54205"/>
                        <a:pt x="587122" y="54205"/>
                      </a:cubicBezTo>
                      <a:cubicBezTo>
                        <a:pt x="579243" y="54205"/>
                        <a:pt x="572634" y="58274"/>
                        <a:pt x="567295" y="66413"/>
                      </a:cubicBezTo>
                      <a:cubicBezTo>
                        <a:pt x="561956" y="74552"/>
                        <a:pt x="559286" y="86110"/>
                        <a:pt x="559286" y="101086"/>
                      </a:cubicBezTo>
                      <a:lnTo>
                        <a:pt x="559286" y="148064"/>
                      </a:lnTo>
                      <a:lnTo>
                        <a:pt x="550496" y="148064"/>
                      </a:lnTo>
                      <a:lnTo>
                        <a:pt x="550496" y="48052"/>
                      </a:lnTo>
                      <a:lnTo>
                        <a:pt x="559286" y="48052"/>
                      </a:lnTo>
                      <a:lnTo>
                        <a:pt x="559286" y="70222"/>
                      </a:lnTo>
                      <a:lnTo>
                        <a:pt x="559677" y="70222"/>
                      </a:lnTo>
                      <a:cubicBezTo>
                        <a:pt x="561956" y="62604"/>
                        <a:pt x="565570" y="56679"/>
                        <a:pt x="570518" y="52447"/>
                      </a:cubicBezTo>
                      <a:cubicBezTo>
                        <a:pt x="575467" y="48215"/>
                        <a:pt x="581197" y="46098"/>
                        <a:pt x="587708" y="46098"/>
                      </a:cubicBezTo>
                      <a:close/>
                      <a:moveTo>
                        <a:pt x="2368738" y="45610"/>
                      </a:moveTo>
                      <a:cubicBezTo>
                        <a:pt x="2377334" y="45610"/>
                        <a:pt x="2384692" y="47368"/>
                        <a:pt x="2390812" y="50884"/>
                      </a:cubicBezTo>
                      <a:lnTo>
                        <a:pt x="2390812" y="61042"/>
                      </a:lnTo>
                      <a:cubicBezTo>
                        <a:pt x="2383388" y="56223"/>
                        <a:pt x="2375706" y="53814"/>
                        <a:pt x="2367762" y="53814"/>
                      </a:cubicBezTo>
                      <a:cubicBezTo>
                        <a:pt x="2361186" y="53814"/>
                        <a:pt x="2355880" y="55523"/>
                        <a:pt x="2351842" y="58942"/>
                      </a:cubicBezTo>
                      <a:cubicBezTo>
                        <a:pt x="2347804" y="62360"/>
                        <a:pt x="2345786" y="66804"/>
                        <a:pt x="2345786" y="72274"/>
                      </a:cubicBezTo>
                      <a:cubicBezTo>
                        <a:pt x="2345786" y="77027"/>
                        <a:pt x="2347056" y="80885"/>
                        <a:pt x="2349596" y="83847"/>
                      </a:cubicBezTo>
                      <a:cubicBezTo>
                        <a:pt x="2352136" y="86810"/>
                        <a:pt x="2357734" y="90212"/>
                        <a:pt x="2366394" y="94054"/>
                      </a:cubicBezTo>
                      <a:cubicBezTo>
                        <a:pt x="2376812" y="98742"/>
                        <a:pt x="2383974" y="103088"/>
                        <a:pt x="2387882" y="107092"/>
                      </a:cubicBezTo>
                      <a:cubicBezTo>
                        <a:pt x="2391788" y="111097"/>
                        <a:pt x="2393742" y="116420"/>
                        <a:pt x="2393742" y="123061"/>
                      </a:cubicBezTo>
                      <a:cubicBezTo>
                        <a:pt x="2393742" y="131005"/>
                        <a:pt x="2390762" y="137565"/>
                        <a:pt x="2384804" y="142741"/>
                      </a:cubicBezTo>
                      <a:cubicBezTo>
                        <a:pt x="2378848" y="147918"/>
                        <a:pt x="2370626" y="150506"/>
                        <a:pt x="2360144" y="150506"/>
                      </a:cubicBezTo>
                      <a:cubicBezTo>
                        <a:pt x="2350508" y="150506"/>
                        <a:pt x="2342466" y="148227"/>
                        <a:pt x="2336020" y="143669"/>
                      </a:cubicBezTo>
                      <a:lnTo>
                        <a:pt x="2336020" y="132828"/>
                      </a:lnTo>
                      <a:cubicBezTo>
                        <a:pt x="2339406" y="135758"/>
                        <a:pt x="2343508" y="138069"/>
                        <a:pt x="2348326" y="139762"/>
                      </a:cubicBezTo>
                      <a:cubicBezTo>
                        <a:pt x="2353144" y="141455"/>
                        <a:pt x="2357312" y="142302"/>
                        <a:pt x="2360828" y="142302"/>
                      </a:cubicBezTo>
                      <a:cubicBezTo>
                        <a:pt x="2376520" y="142302"/>
                        <a:pt x="2384366" y="135888"/>
                        <a:pt x="2384366" y="123061"/>
                      </a:cubicBezTo>
                      <a:cubicBezTo>
                        <a:pt x="2384366" y="118633"/>
                        <a:pt x="2382640" y="114857"/>
                        <a:pt x="2379188" y="111732"/>
                      </a:cubicBezTo>
                      <a:cubicBezTo>
                        <a:pt x="2375738" y="108606"/>
                        <a:pt x="2370138" y="105383"/>
                        <a:pt x="2362390" y="102062"/>
                      </a:cubicBezTo>
                      <a:cubicBezTo>
                        <a:pt x="2352818" y="97895"/>
                        <a:pt x="2346096" y="93582"/>
                        <a:pt x="2342222" y="89121"/>
                      </a:cubicBezTo>
                      <a:cubicBezTo>
                        <a:pt x="2338348" y="84661"/>
                        <a:pt x="2336410" y="79241"/>
                        <a:pt x="2336410" y="72860"/>
                      </a:cubicBezTo>
                      <a:cubicBezTo>
                        <a:pt x="2336410" y="64720"/>
                        <a:pt x="2339520" y="58144"/>
                        <a:pt x="2345738" y="53131"/>
                      </a:cubicBezTo>
                      <a:cubicBezTo>
                        <a:pt x="2351956" y="48117"/>
                        <a:pt x="2359622" y="45610"/>
                        <a:pt x="2368738" y="45610"/>
                      </a:cubicBezTo>
                      <a:close/>
                      <a:moveTo>
                        <a:pt x="2215702" y="45610"/>
                      </a:moveTo>
                      <a:cubicBezTo>
                        <a:pt x="2225988" y="45610"/>
                        <a:pt x="2233948" y="48801"/>
                        <a:pt x="2239582" y="55182"/>
                      </a:cubicBezTo>
                      <a:cubicBezTo>
                        <a:pt x="2245214" y="61563"/>
                        <a:pt x="2248030" y="70841"/>
                        <a:pt x="2248030" y="83017"/>
                      </a:cubicBezTo>
                      <a:lnTo>
                        <a:pt x="2248030" y="148064"/>
                      </a:lnTo>
                      <a:lnTo>
                        <a:pt x="2239044" y="148064"/>
                      </a:lnTo>
                      <a:lnTo>
                        <a:pt x="2239044" y="128042"/>
                      </a:lnTo>
                      <a:lnTo>
                        <a:pt x="2238654" y="128042"/>
                      </a:lnTo>
                      <a:cubicBezTo>
                        <a:pt x="2235462" y="134879"/>
                        <a:pt x="2230824" y="140332"/>
                        <a:pt x="2224736" y="144402"/>
                      </a:cubicBezTo>
                      <a:cubicBezTo>
                        <a:pt x="2218648" y="148471"/>
                        <a:pt x="2211892" y="150506"/>
                        <a:pt x="2204470" y="150506"/>
                      </a:cubicBezTo>
                      <a:cubicBezTo>
                        <a:pt x="2194964" y="150506"/>
                        <a:pt x="2187442" y="147836"/>
                        <a:pt x="2181908" y="142497"/>
                      </a:cubicBezTo>
                      <a:cubicBezTo>
                        <a:pt x="2176374" y="137158"/>
                        <a:pt x="2173606" y="130419"/>
                        <a:pt x="2173606" y="122280"/>
                      </a:cubicBezTo>
                      <a:cubicBezTo>
                        <a:pt x="2173606" y="104830"/>
                        <a:pt x="2185164" y="94281"/>
                        <a:pt x="2208278" y="90635"/>
                      </a:cubicBezTo>
                      <a:lnTo>
                        <a:pt x="2239044" y="86045"/>
                      </a:lnTo>
                      <a:cubicBezTo>
                        <a:pt x="2239044" y="64558"/>
                        <a:pt x="2230970" y="53814"/>
                        <a:pt x="2214822" y="53814"/>
                      </a:cubicBezTo>
                      <a:cubicBezTo>
                        <a:pt x="2203818" y="53814"/>
                        <a:pt x="2193108" y="58242"/>
                        <a:pt x="2182690" y="67097"/>
                      </a:cubicBezTo>
                      <a:lnTo>
                        <a:pt x="2182690" y="56256"/>
                      </a:lnTo>
                      <a:cubicBezTo>
                        <a:pt x="2186400" y="53326"/>
                        <a:pt x="2191430" y="50819"/>
                        <a:pt x="2197780" y="48735"/>
                      </a:cubicBezTo>
                      <a:cubicBezTo>
                        <a:pt x="2204128" y="46652"/>
                        <a:pt x="2210102" y="45610"/>
                        <a:pt x="2215702" y="45610"/>
                      </a:cubicBezTo>
                      <a:close/>
                      <a:moveTo>
                        <a:pt x="2136520" y="45610"/>
                      </a:moveTo>
                      <a:cubicBezTo>
                        <a:pt x="2144138" y="45610"/>
                        <a:pt x="2151528" y="47173"/>
                        <a:pt x="2158692" y="50298"/>
                      </a:cubicBezTo>
                      <a:lnTo>
                        <a:pt x="2158692" y="60456"/>
                      </a:lnTo>
                      <a:cubicBezTo>
                        <a:pt x="2151528" y="56028"/>
                        <a:pt x="2143682" y="53814"/>
                        <a:pt x="2135152" y="53814"/>
                      </a:cubicBezTo>
                      <a:cubicBezTo>
                        <a:pt x="2123432" y="53814"/>
                        <a:pt x="2113926" y="58030"/>
                        <a:pt x="2106634" y="66462"/>
                      </a:cubicBezTo>
                      <a:cubicBezTo>
                        <a:pt x="2099340" y="74894"/>
                        <a:pt x="2095694" y="85817"/>
                        <a:pt x="2095694" y="99230"/>
                      </a:cubicBezTo>
                      <a:cubicBezTo>
                        <a:pt x="2095694" y="112187"/>
                        <a:pt x="2099032" y="122605"/>
                        <a:pt x="2105706" y="130484"/>
                      </a:cubicBezTo>
                      <a:cubicBezTo>
                        <a:pt x="2112380" y="138363"/>
                        <a:pt x="2121186" y="142302"/>
                        <a:pt x="2132124" y="142302"/>
                      </a:cubicBezTo>
                      <a:cubicBezTo>
                        <a:pt x="2142152" y="142302"/>
                        <a:pt x="2150878" y="139632"/>
                        <a:pt x="2158300" y="134293"/>
                      </a:cubicBezTo>
                      <a:lnTo>
                        <a:pt x="2158300" y="143669"/>
                      </a:lnTo>
                      <a:cubicBezTo>
                        <a:pt x="2150878" y="148227"/>
                        <a:pt x="2142022" y="150506"/>
                        <a:pt x="2131734" y="150506"/>
                      </a:cubicBezTo>
                      <a:cubicBezTo>
                        <a:pt x="2118126" y="150506"/>
                        <a:pt x="2107154" y="145834"/>
                        <a:pt x="2098820" y="136491"/>
                      </a:cubicBezTo>
                      <a:cubicBezTo>
                        <a:pt x="2090486" y="127147"/>
                        <a:pt x="2086318" y="114922"/>
                        <a:pt x="2086318" y="99816"/>
                      </a:cubicBezTo>
                      <a:cubicBezTo>
                        <a:pt x="2086318" y="83929"/>
                        <a:pt x="2091006" y="70922"/>
                        <a:pt x="2100382" y="60797"/>
                      </a:cubicBezTo>
                      <a:cubicBezTo>
                        <a:pt x="2109760" y="50673"/>
                        <a:pt x="2121804" y="45610"/>
                        <a:pt x="2136520" y="45610"/>
                      </a:cubicBezTo>
                      <a:close/>
                      <a:moveTo>
                        <a:pt x="1956132" y="45610"/>
                      </a:moveTo>
                      <a:cubicBezTo>
                        <a:pt x="1966940" y="45610"/>
                        <a:pt x="1975208" y="49207"/>
                        <a:pt x="1980938" y="56402"/>
                      </a:cubicBezTo>
                      <a:cubicBezTo>
                        <a:pt x="1986668" y="63597"/>
                        <a:pt x="1989534" y="73869"/>
                        <a:pt x="1989534" y="87217"/>
                      </a:cubicBezTo>
                      <a:lnTo>
                        <a:pt x="1989534" y="148064"/>
                      </a:lnTo>
                      <a:lnTo>
                        <a:pt x="1980548" y="148064"/>
                      </a:lnTo>
                      <a:lnTo>
                        <a:pt x="1980548" y="89854"/>
                      </a:lnTo>
                      <a:cubicBezTo>
                        <a:pt x="1980548" y="65827"/>
                        <a:pt x="1971888" y="53814"/>
                        <a:pt x="1954568" y="53814"/>
                      </a:cubicBezTo>
                      <a:cubicBezTo>
                        <a:pt x="1944932" y="53814"/>
                        <a:pt x="1937020" y="57347"/>
                        <a:pt x="1930834" y="64411"/>
                      </a:cubicBezTo>
                      <a:cubicBezTo>
                        <a:pt x="1924650" y="71476"/>
                        <a:pt x="1921556" y="80217"/>
                        <a:pt x="1921556" y="90635"/>
                      </a:cubicBezTo>
                      <a:lnTo>
                        <a:pt x="1921556" y="148064"/>
                      </a:lnTo>
                      <a:lnTo>
                        <a:pt x="1912570" y="148064"/>
                      </a:lnTo>
                      <a:lnTo>
                        <a:pt x="1912570" y="48052"/>
                      </a:lnTo>
                      <a:lnTo>
                        <a:pt x="1921556" y="48052"/>
                      </a:lnTo>
                      <a:lnTo>
                        <a:pt x="1921556" y="66218"/>
                      </a:lnTo>
                      <a:lnTo>
                        <a:pt x="1921948" y="66218"/>
                      </a:lnTo>
                      <a:cubicBezTo>
                        <a:pt x="1929240" y="52479"/>
                        <a:pt x="1940634" y="45610"/>
                        <a:pt x="1956132" y="45610"/>
                      </a:cubicBezTo>
                      <a:close/>
                      <a:moveTo>
                        <a:pt x="1839488" y="45610"/>
                      </a:moveTo>
                      <a:cubicBezTo>
                        <a:pt x="1853746" y="45610"/>
                        <a:pt x="1865012" y="50266"/>
                        <a:pt x="1873280" y="59577"/>
                      </a:cubicBezTo>
                      <a:cubicBezTo>
                        <a:pt x="1881550" y="68888"/>
                        <a:pt x="1885684" y="81780"/>
                        <a:pt x="1885684" y="98253"/>
                      </a:cubicBezTo>
                      <a:cubicBezTo>
                        <a:pt x="1885684" y="113815"/>
                        <a:pt x="1881468" y="126414"/>
                        <a:pt x="1873036" y="136051"/>
                      </a:cubicBezTo>
                      <a:cubicBezTo>
                        <a:pt x="1864604" y="145688"/>
                        <a:pt x="1853064" y="150506"/>
                        <a:pt x="1838412" y="150506"/>
                      </a:cubicBezTo>
                      <a:cubicBezTo>
                        <a:pt x="1823828" y="150506"/>
                        <a:pt x="1812286" y="145704"/>
                        <a:pt x="1803790" y="136100"/>
                      </a:cubicBezTo>
                      <a:cubicBezTo>
                        <a:pt x="1795292" y="126496"/>
                        <a:pt x="1791044" y="114010"/>
                        <a:pt x="1791044" y="98644"/>
                      </a:cubicBezTo>
                      <a:cubicBezTo>
                        <a:pt x="1791044" y="82040"/>
                        <a:pt x="1795488" y="69050"/>
                        <a:pt x="1804376" y="59674"/>
                      </a:cubicBezTo>
                      <a:cubicBezTo>
                        <a:pt x="1813264" y="50298"/>
                        <a:pt x="1824968" y="45610"/>
                        <a:pt x="1839488" y="45610"/>
                      </a:cubicBezTo>
                      <a:close/>
                      <a:moveTo>
                        <a:pt x="1660270" y="45610"/>
                      </a:moveTo>
                      <a:cubicBezTo>
                        <a:pt x="1667888" y="45610"/>
                        <a:pt x="1675278" y="47173"/>
                        <a:pt x="1682440" y="50298"/>
                      </a:cubicBezTo>
                      <a:lnTo>
                        <a:pt x="1682440" y="60456"/>
                      </a:lnTo>
                      <a:cubicBezTo>
                        <a:pt x="1675278" y="56028"/>
                        <a:pt x="1667432" y="53814"/>
                        <a:pt x="1658902" y="53814"/>
                      </a:cubicBezTo>
                      <a:cubicBezTo>
                        <a:pt x="1647182" y="53814"/>
                        <a:pt x="1637676" y="58030"/>
                        <a:pt x="1630384" y="66462"/>
                      </a:cubicBezTo>
                      <a:cubicBezTo>
                        <a:pt x="1623092" y="74894"/>
                        <a:pt x="1619444" y="85817"/>
                        <a:pt x="1619444" y="99230"/>
                      </a:cubicBezTo>
                      <a:cubicBezTo>
                        <a:pt x="1619444" y="112187"/>
                        <a:pt x="1622782" y="122605"/>
                        <a:pt x="1629456" y="130484"/>
                      </a:cubicBezTo>
                      <a:cubicBezTo>
                        <a:pt x="1636130" y="138363"/>
                        <a:pt x="1644936" y="142302"/>
                        <a:pt x="1655876" y="142302"/>
                      </a:cubicBezTo>
                      <a:cubicBezTo>
                        <a:pt x="1665902" y="142302"/>
                        <a:pt x="1674628" y="139632"/>
                        <a:pt x="1682050" y="134293"/>
                      </a:cubicBezTo>
                      <a:lnTo>
                        <a:pt x="1682050" y="143669"/>
                      </a:lnTo>
                      <a:cubicBezTo>
                        <a:pt x="1674628" y="148227"/>
                        <a:pt x="1665772" y="150506"/>
                        <a:pt x="1655484" y="150506"/>
                      </a:cubicBezTo>
                      <a:cubicBezTo>
                        <a:pt x="1641876" y="150506"/>
                        <a:pt x="1630904" y="145834"/>
                        <a:pt x="1622570" y="136491"/>
                      </a:cubicBezTo>
                      <a:cubicBezTo>
                        <a:pt x="1614236" y="127147"/>
                        <a:pt x="1610068" y="114922"/>
                        <a:pt x="1610068" y="99816"/>
                      </a:cubicBezTo>
                      <a:cubicBezTo>
                        <a:pt x="1610068" y="83929"/>
                        <a:pt x="1614756" y="70922"/>
                        <a:pt x="1624132" y="60797"/>
                      </a:cubicBezTo>
                      <a:cubicBezTo>
                        <a:pt x="1633508" y="50673"/>
                        <a:pt x="1645554" y="45610"/>
                        <a:pt x="1660270" y="45610"/>
                      </a:cubicBezTo>
                      <a:close/>
                      <a:moveTo>
                        <a:pt x="1325137" y="45610"/>
                      </a:moveTo>
                      <a:cubicBezTo>
                        <a:pt x="1339397" y="45610"/>
                        <a:pt x="1350661" y="50266"/>
                        <a:pt x="1358930" y="59577"/>
                      </a:cubicBezTo>
                      <a:cubicBezTo>
                        <a:pt x="1367200" y="68888"/>
                        <a:pt x="1371334" y="81780"/>
                        <a:pt x="1371334" y="98253"/>
                      </a:cubicBezTo>
                      <a:cubicBezTo>
                        <a:pt x="1371334" y="113815"/>
                        <a:pt x="1367118" y="126414"/>
                        <a:pt x="1358686" y="136051"/>
                      </a:cubicBezTo>
                      <a:cubicBezTo>
                        <a:pt x="1350254" y="145688"/>
                        <a:pt x="1338713" y="150506"/>
                        <a:pt x="1324063" y="150506"/>
                      </a:cubicBezTo>
                      <a:cubicBezTo>
                        <a:pt x="1309478" y="150506"/>
                        <a:pt x="1297936" y="145704"/>
                        <a:pt x="1289439" y="136100"/>
                      </a:cubicBezTo>
                      <a:cubicBezTo>
                        <a:pt x="1280942" y="126496"/>
                        <a:pt x="1276694" y="114010"/>
                        <a:pt x="1276694" y="98644"/>
                      </a:cubicBezTo>
                      <a:cubicBezTo>
                        <a:pt x="1276694" y="82040"/>
                        <a:pt x="1281138" y="69050"/>
                        <a:pt x="1290025" y="59674"/>
                      </a:cubicBezTo>
                      <a:cubicBezTo>
                        <a:pt x="1298913" y="50298"/>
                        <a:pt x="1310617" y="45610"/>
                        <a:pt x="1325137" y="45610"/>
                      </a:cubicBezTo>
                      <a:close/>
                      <a:moveTo>
                        <a:pt x="1149729" y="45610"/>
                      </a:moveTo>
                      <a:cubicBezTo>
                        <a:pt x="1162426" y="45610"/>
                        <a:pt x="1172340" y="49989"/>
                        <a:pt x="1179469" y="58746"/>
                      </a:cubicBezTo>
                      <a:cubicBezTo>
                        <a:pt x="1186599" y="67504"/>
                        <a:pt x="1190164" y="79403"/>
                        <a:pt x="1190164" y="94444"/>
                      </a:cubicBezTo>
                      <a:cubicBezTo>
                        <a:pt x="1190164" y="111178"/>
                        <a:pt x="1186078" y="124705"/>
                        <a:pt x="1177907" y="135025"/>
                      </a:cubicBezTo>
                      <a:cubicBezTo>
                        <a:pt x="1169735" y="145346"/>
                        <a:pt x="1158943" y="150506"/>
                        <a:pt x="1145530" y="150506"/>
                      </a:cubicBezTo>
                      <a:cubicBezTo>
                        <a:pt x="1130554" y="150506"/>
                        <a:pt x="1119485" y="143767"/>
                        <a:pt x="1112322" y="130289"/>
                      </a:cubicBezTo>
                      <a:lnTo>
                        <a:pt x="1111932" y="130289"/>
                      </a:lnTo>
                      <a:lnTo>
                        <a:pt x="1111932" y="194066"/>
                      </a:lnTo>
                      <a:lnTo>
                        <a:pt x="1102946" y="194066"/>
                      </a:lnTo>
                      <a:lnTo>
                        <a:pt x="1102946" y="48052"/>
                      </a:lnTo>
                      <a:lnTo>
                        <a:pt x="1111932" y="48052"/>
                      </a:lnTo>
                      <a:lnTo>
                        <a:pt x="1111932" y="68660"/>
                      </a:lnTo>
                      <a:lnTo>
                        <a:pt x="1112322" y="68660"/>
                      </a:lnTo>
                      <a:cubicBezTo>
                        <a:pt x="1115903" y="61302"/>
                        <a:pt x="1121031" y="55621"/>
                        <a:pt x="1127705" y="51617"/>
                      </a:cubicBezTo>
                      <a:cubicBezTo>
                        <a:pt x="1134379" y="47612"/>
                        <a:pt x="1141720" y="45610"/>
                        <a:pt x="1149729" y="45610"/>
                      </a:cubicBezTo>
                      <a:close/>
                      <a:moveTo>
                        <a:pt x="854798" y="45610"/>
                      </a:moveTo>
                      <a:cubicBezTo>
                        <a:pt x="867235" y="45610"/>
                        <a:pt x="876774" y="49973"/>
                        <a:pt x="883415" y="58698"/>
                      </a:cubicBezTo>
                      <a:cubicBezTo>
                        <a:pt x="890057" y="67423"/>
                        <a:pt x="893378" y="79338"/>
                        <a:pt x="893378" y="94444"/>
                      </a:cubicBezTo>
                      <a:lnTo>
                        <a:pt x="893378" y="98449"/>
                      </a:lnTo>
                      <a:lnTo>
                        <a:pt x="819345" y="98449"/>
                      </a:lnTo>
                      <a:cubicBezTo>
                        <a:pt x="819345" y="112187"/>
                        <a:pt x="822519" y="122931"/>
                        <a:pt x="828868" y="130679"/>
                      </a:cubicBezTo>
                      <a:cubicBezTo>
                        <a:pt x="835216" y="138428"/>
                        <a:pt x="843925" y="142302"/>
                        <a:pt x="854994" y="142302"/>
                      </a:cubicBezTo>
                      <a:cubicBezTo>
                        <a:pt x="866193" y="142302"/>
                        <a:pt x="877132" y="138167"/>
                        <a:pt x="887810" y="129898"/>
                      </a:cubicBezTo>
                      <a:lnTo>
                        <a:pt x="887810" y="139469"/>
                      </a:lnTo>
                      <a:cubicBezTo>
                        <a:pt x="877458" y="146827"/>
                        <a:pt x="865900" y="150506"/>
                        <a:pt x="853138" y="150506"/>
                      </a:cubicBezTo>
                      <a:cubicBezTo>
                        <a:pt x="840246" y="150506"/>
                        <a:pt x="829828" y="145883"/>
                        <a:pt x="821884" y="136637"/>
                      </a:cubicBezTo>
                      <a:cubicBezTo>
                        <a:pt x="813941" y="127391"/>
                        <a:pt x="809969" y="114336"/>
                        <a:pt x="809969" y="97472"/>
                      </a:cubicBezTo>
                      <a:cubicBezTo>
                        <a:pt x="809969" y="82887"/>
                        <a:pt x="814120" y="70597"/>
                        <a:pt x="822421" y="60602"/>
                      </a:cubicBezTo>
                      <a:cubicBezTo>
                        <a:pt x="830723" y="50607"/>
                        <a:pt x="841516" y="45610"/>
                        <a:pt x="854798" y="45610"/>
                      </a:cubicBezTo>
                      <a:close/>
                      <a:moveTo>
                        <a:pt x="698831" y="45610"/>
                      </a:moveTo>
                      <a:cubicBezTo>
                        <a:pt x="709640" y="45610"/>
                        <a:pt x="717909" y="49207"/>
                        <a:pt x="723639" y="56402"/>
                      </a:cubicBezTo>
                      <a:cubicBezTo>
                        <a:pt x="729369" y="63597"/>
                        <a:pt x="732234" y="73869"/>
                        <a:pt x="732234" y="87217"/>
                      </a:cubicBezTo>
                      <a:lnTo>
                        <a:pt x="732234" y="148064"/>
                      </a:lnTo>
                      <a:lnTo>
                        <a:pt x="723248" y="148064"/>
                      </a:lnTo>
                      <a:lnTo>
                        <a:pt x="723248" y="89854"/>
                      </a:lnTo>
                      <a:cubicBezTo>
                        <a:pt x="723248" y="65827"/>
                        <a:pt x="714588" y="53814"/>
                        <a:pt x="697269" y="53814"/>
                      </a:cubicBezTo>
                      <a:cubicBezTo>
                        <a:pt x="687632" y="53814"/>
                        <a:pt x="679721" y="57347"/>
                        <a:pt x="673535" y="64411"/>
                      </a:cubicBezTo>
                      <a:cubicBezTo>
                        <a:pt x="667350" y="71476"/>
                        <a:pt x="664257" y="80217"/>
                        <a:pt x="664257" y="90635"/>
                      </a:cubicBezTo>
                      <a:lnTo>
                        <a:pt x="664257" y="148064"/>
                      </a:lnTo>
                      <a:lnTo>
                        <a:pt x="655271" y="148064"/>
                      </a:lnTo>
                      <a:lnTo>
                        <a:pt x="655271" y="48052"/>
                      </a:lnTo>
                      <a:lnTo>
                        <a:pt x="664257" y="48052"/>
                      </a:lnTo>
                      <a:lnTo>
                        <a:pt x="664257" y="66218"/>
                      </a:lnTo>
                      <a:lnTo>
                        <a:pt x="664647" y="66218"/>
                      </a:lnTo>
                      <a:cubicBezTo>
                        <a:pt x="671940" y="52479"/>
                        <a:pt x="683335" y="45610"/>
                        <a:pt x="698831" y="45610"/>
                      </a:cubicBezTo>
                      <a:close/>
                      <a:moveTo>
                        <a:pt x="482979" y="45610"/>
                      </a:moveTo>
                      <a:cubicBezTo>
                        <a:pt x="495676" y="45610"/>
                        <a:pt x="505590" y="49989"/>
                        <a:pt x="512719" y="58746"/>
                      </a:cubicBezTo>
                      <a:cubicBezTo>
                        <a:pt x="519849" y="67504"/>
                        <a:pt x="523414" y="79403"/>
                        <a:pt x="523414" y="94444"/>
                      </a:cubicBezTo>
                      <a:cubicBezTo>
                        <a:pt x="523414" y="111178"/>
                        <a:pt x="519328" y="124705"/>
                        <a:pt x="511157" y="135025"/>
                      </a:cubicBezTo>
                      <a:cubicBezTo>
                        <a:pt x="502985" y="145346"/>
                        <a:pt x="492193" y="150506"/>
                        <a:pt x="478780" y="150506"/>
                      </a:cubicBezTo>
                      <a:cubicBezTo>
                        <a:pt x="463804" y="150506"/>
                        <a:pt x="452735" y="143767"/>
                        <a:pt x="445572" y="130289"/>
                      </a:cubicBezTo>
                      <a:lnTo>
                        <a:pt x="445182" y="130289"/>
                      </a:lnTo>
                      <a:lnTo>
                        <a:pt x="445182" y="194066"/>
                      </a:lnTo>
                      <a:lnTo>
                        <a:pt x="436196" y="194066"/>
                      </a:lnTo>
                      <a:lnTo>
                        <a:pt x="436196" y="48052"/>
                      </a:lnTo>
                      <a:lnTo>
                        <a:pt x="445182" y="48052"/>
                      </a:lnTo>
                      <a:lnTo>
                        <a:pt x="445182" y="68660"/>
                      </a:lnTo>
                      <a:lnTo>
                        <a:pt x="445572" y="68660"/>
                      </a:lnTo>
                      <a:cubicBezTo>
                        <a:pt x="449154" y="61302"/>
                        <a:pt x="454281" y="55621"/>
                        <a:pt x="460955" y="51617"/>
                      </a:cubicBezTo>
                      <a:cubicBezTo>
                        <a:pt x="467629" y="47612"/>
                        <a:pt x="474970" y="45610"/>
                        <a:pt x="482979" y="45610"/>
                      </a:cubicBezTo>
                      <a:close/>
                      <a:moveTo>
                        <a:pt x="1716206" y="19044"/>
                      </a:moveTo>
                      <a:lnTo>
                        <a:pt x="1716206" y="48052"/>
                      </a:lnTo>
                      <a:lnTo>
                        <a:pt x="1742576" y="48052"/>
                      </a:lnTo>
                      <a:lnTo>
                        <a:pt x="1742576" y="56256"/>
                      </a:lnTo>
                      <a:lnTo>
                        <a:pt x="1716206" y="56256"/>
                      </a:lnTo>
                      <a:lnTo>
                        <a:pt x="1716206" y="122280"/>
                      </a:lnTo>
                      <a:cubicBezTo>
                        <a:pt x="1716206" y="129182"/>
                        <a:pt x="1717296" y="134179"/>
                        <a:pt x="1719478" y="137272"/>
                      </a:cubicBezTo>
                      <a:cubicBezTo>
                        <a:pt x="1721660" y="140365"/>
                        <a:pt x="1725354" y="141911"/>
                        <a:pt x="1730564" y="141911"/>
                      </a:cubicBezTo>
                      <a:cubicBezTo>
                        <a:pt x="1734276" y="141911"/>
                        <a:pt x="1738280" y="140707"/>
                        <a:pt x="1742576" y="138297"/>
                      </a:cubicBezTo>
                      <a:lnTo>
                        <a:pt x="1742576" y="146697"/>
                      </a:lnTo>
                      <a:cubicBezTo>
                        <a:pt x="1737888" y="148911"/>
                        <a:pt x="1733494" y="150018"/>
                        <a:pt x="1729392" y="150018"/>
                      </a:cubicBezTo>
                      <a:cubicBezTo>
                        <a:pt x="1714612" y="150018"/>
                        <a:pt x="1707220" y="141162"/>
                        <a:pt x="1707220" y="123452"/>
                      </a:cubicBezTo>
                      <a:lnTo>
                        <a:pt x="1707220" y="56256"/>
                      </a:lnTo>
                      <a:lnTo>
                        <a:pt x="1689250" y="56256"/>
                      </a:lnTo>
                      <a:lnTo>
                        <a:pt x="1689250" y="48052"/>
                      </a:lnTo>
                      <a:lnTo>
                        <a:pt x="1707220" y="48052"/>
                      </a:lnTo>
                      <a:lnTo>
                        <a:pt x="1707220" y="22072"/>
                      </a:lnTo>
                      <a:cubicBezTo>
                        <a:pt x="1708654" y="21551"/>
                        <a:pt x="1710150" y="21030"/>
                        <a:pt x="1711714" y="20509"/>
                      </a:cubicBezTo>
                      <a:cubicBezTo>
                        <a:pt x="1713276" y="20053"/>
                        <a:pt x="1714774" y="19565"/>
                        <a:pt x="1716206" y="19044"/>
                      </a:cubicBezTo>
                      <a:close/>
                      <a:moveTo>
                        <a:pt x="773231" y="19044"/>
                      </a:moveTo>
                      <a:lnTo>
                        <a:pt x="773231" y="48052"/>
                      </a:lnTo>
                      <a:lnTo>
                        <a:pt x="799602" y="48052"/>
                      </a:lnTo>
                      <a:lnTo>
                        <a:pt x="799602" y="56256"/>
                      </a:lnTo>
                      <a:lnTo>
                        <a:pt x="773231" y="56256"/>
                      </a:lnTo>
                      <a:lnTo>
                        <a:pt x="773231" y="122280"/>
                      </a:lnTo>
                      <a:cubicBezTo>
                        <a:pt x="773231" y="129182"/>
                        <a:pt x="774322" y="134179"/>
                        <a:pt x="776503" y="137272"/>
                      </a:cubicBezTo>
                      <a:cubicBezTo>
                        <a:pt x="778685" y="140365"/>
                        <a:pt x="782380" y="141911"/>
                        <a:pt x="787589" y="141911"/>
                      </a:cubicBezTo>
                      <a:cubicBezTo>
                        <a:pt x="791300" y="141911"/>
                        <a:pt x="795305" y="140707"/>
                        <a:pt x="799602" y="138297"/>
                      </a:cubicBezTo>
                      <a:lnTo>
                        <a:pt x="799602" y="146697"/>
                      </a:lnTo>
                      <a:cubicBezTo>
                        <a:pt x="794914" y="148911"/>
                        <a:pt x="790519" y="150018"/>
                        <a:pt x="786417" y="150018"/>
                      </a:cubicBezTo>
                      <a:cubicBezTo>
                        <a:pt x="771636" y="150018"/>
                        <a:pt x="764246" y="141162"/>
                        <a:pt x="764246" y="123452"/>
                      </a:cubicBezTo>
                      <a:lnTo>
                        <a:pt x="764246" y="56256"/>
                      </a:lnTo>
                      <a:lnTo>
                        <a:pt x="746275" y="56256"/>
                      </a:lnTo>
                      <a:lnTo>
                        <a:pt x="746275" y="48052"/>
                      </a:lnTo>
                      <a:lnTo>
                        <a:pt x="764246" y="48052"/>
                      </a:lnTo>
                      <a:lnTo>
                        <a:pt x="764246" y="22072"/>
                      </a:lnTo>
                      <a:cubicBezTo>
                        <a:pt x="765678" y="21551"/>
                        <a:pt x="767176" y="21030"/>
                        <a:pt x="768739" y="20509"/>
                      </a:cubicBezTo>
                      <a:cubicBezTo>
                        <a:pt x="770301" y="20053"/>
                        <a:pt x="771799" y="19565"/>
                        <a:pt x="773231" y="19044"/>
                      </a:cubicBezTo>
                      <a:close/>
                      <a:moveTo>
                        <a:pt x="257319" y="16896"/>
                      </a:moveTo>
                      <a:lnTo>
                        <a:pt x="257319" y="139274"/>
                      </a:lnTo>
                      <a:lnTo>
                        <a:pt x="279294" y="139274"/>
                      </a:lnTo>
                      <a:cubicBezTo>
                        <a:pt x="300065" y="139274"/>
                        <a:pt x="316017" y="133886"/>
                        <a:pt x="327152" y="123110"/>
                      </a:cubicBezTo>
                      <a:cubicBezTo>
                        <a:pt x="338286" y="112334"/>
                        <a:pt x="343853" y="96788"/>
                        <a:pt x="343853" y="76473"/>
                      </a:cubicBezTo>
                      <a:cubicBezTo>
                        <a:pt x="343853" y="36755"/>
                        <a:pt x="322984" y="16896"/>
                        <a:pt x="281248" y="16896"/>
                      </a:cubicBezTo>
                      <a:close/>
                      <a:moveTo>
                        <a:pt x="1764566" y="8009"/>
                      </a:moveTo>
                      <a:cubicBezTo>
                        <a:pt x="1766584" y="8009"/>
                        <a:pt x="1768360" y="8660"/>
                        <a:pt x="1769890" y="9962"/>
                      </a:cubicBezTo>
                      <a:cubicBezTo>
                        <a:pt x="1771420" y="11264"/>
                        <a:pt x="1772184" y="13022"/>
                        <a:pt x="1772184" y="15236"/>
                      </a:cubicBezTo>
                      <a:cubicBezTo>
                        <a:pt x="1772184" y="17320"/>
                        <a:pt x="1771436" y="19110"/>
                        <a:pt x="1769938" y="20608"/>
                      </a:cubicBezTo>
                      <a:cubicBezTo>
                        <a:pt x="1768440" y="22105"/>
                        <a:pt x="1766650" y="22854"/>
                        <a:pt x="1764566" y="22854"/>
                      </a:cubicBezTo>
                      <a:cubicBezTo>
                        <a:pt x="1762612" y="22854"/>
                        <a:pt x="1760888" y="22138"/>
                        <a:pt x="1759390" y="20706"/>
                      </a:cubicBezTo>
                      <a:cubicBezTo>
                        <a:pt x="1757892" y="19273"/>
                        <a:pt x="1757144" y="17450"/>
                        <a:pt x="1757144" y="15236"/>
                      </a:cubicBezTo>
                      <a:cubicBezTo>
                        <a:pt x="1757144" y="13087"/>
                        <a:pt x="1757908" y="11346"/>
                        <a:pt x="1759438" y="10011"/>
                      </a:cubicBezTo>
                      <a:cubicBezTo>
                        <a:pt x="1760968" y="8676"/>
                        <a:pt x="1762678" y="8009"/>
                        <a:pt x="1764566" y="8009"/>
                      </a:cubicBezTo>
                      <a:close/>
                      <a:moveTo>
                        <a:pt x="621566" y="8009"/>
                      </a:moveTo>
                      <a:cubicBezTo>
                        <a:pt x="623585" y="8009"/>
                        <a:pt x="625359" y="8660"/>
                        <a:pt x="626889" y="9962"/>
                      </a:cubicBezTo>
                      <a:cubicBezTo>
                        <a:pt x="628419" y="11264"/>
                        <a:pt x="629184" y="13022"/>
                        <a:pt x="629184" y="15236"/>
                      </a:cubicBezTo>
                      <a:cubicBezTo>
                        <a:pt x="629184" y="17320"/>
                        <a:pt x="628436" y="19110"/>
                        <a:pt x="626938" y="20608"/>
                      </a:cubicBezTo>
                      <a:cubicBezTo>
                        <a:pt x="625440" y="22105"/>
                        <a:pt x="623650" y="22854"/>
                        <a:pt x="621566" y="22854"/>
                      </a:cubicBezTo>
                      <a:cubicBezTo>
                        <a:pt x="619613" y="22854"/>
                        <a:pt x="617887" y="22138"/>
                        <a:pt x="616390" y="20706"/>
                      </a:cubicBezTo>
                      <a:cubicBezTo>
                        <a:pt x="614892" y="19273"/>
                        <a:pt x="614143" y="17450"/>
                        <a:pt x="614143" y="15236"/>
                      </a:cubicBezTo>
                      <a:cubicBezTo>
                        <a:pt x="614143" y="13087"/>
                        <a:pt x="614908" y="11346"/>
                        <a:pt x="616439" y="10011"/>
                      </a:cubicBezTo>
                      <a:cubicBezTo>
                        <a:pt x="617969" y="8676"/>
                        <a:pt x="619678" y="8009"/>
                        <a:pt x="621566" y="8009"/>
                      </a:cubicBezTo>
                      <a:close/>
                      <a:moveTo>
                        <a:pt x="247650" y="8008"/>
                      </a:moveTo>
                      <a:lnTo>
                        <a:pt x="282713" y="8008"/>
                      </a:lnTo>
                      <a:cubicBezTo>
                        <a:pt x="305958" y="8008"/>
                        <a:pt x="323636" y="13803"/>
                        <a:pt x="335746" y="25393"/>
                      </a:cubicBezTo>
                      <a:cubicBezTo>
                        <a:pt x="347857" y="36983"/>
                        <a:pt x="353913" y="53879"/>
                        <a:pt x="353913" y="76083"/>
                      </a:cubicBezTo>
                      <a:cubicBezTo>
                        <a:pt x="353913" y="97439"/>
                        <a:pt x="347418" y="114776"/>
                        <a:pt x="334428" y="128091"/>
                      </a:cubicBezTo>
                      <a:cubicBezTo>
                        <a:pt x="321438" y="141407"/>
                        <a:pt x="303516" y="148064"/>
                        <a:pt x="280661" y="148064"/>
                      </a:cubicBezTo>
                      <a:lnTo>
                        <a:pt x="247650" y="148064"/>
                      </a:lnTo>
                      <a:close/>
                      <a:moveTo>
                        <a:pt x="170710" y="5664"/>
                      </a:moveTo>
                      <a:cubicBezTo>
                        <a:pt x="181779" y="5664"/>
                        <a:pt x="190553" y="8659"/>
                        <a:pt x="197032" y="14649"/>
                      </a:cubicBezTo>
                      <a:cubicBezTo>
                        <a:pt x="203510" y="20639"/>
                        <a:pt x="206750" y="28583"/>
                        <a:pt x="206750" y="38480"/>
                      </a:cubicBezTo>
                      <a:cubicBezTo>
                        <a:pt x="206750" y="57428"/>
                        <a:pt x="197667" y="69474"/>
                        <a:pt x="179500" y="74618"/>
                      </a:cubicBezTo>
                      <a:lnTo>
                        <a:pt x="179500" y="75008"/>
                      </a:lnTo>
                      <a:cubicBezTo>
                        <a:pt x="189267" y="75985"/>
                        <a:pt x="197080" y="79615"/>
                        <a:pt x="202941" y="85898"/>
                      </a:cubicBezTo>
                      <a:cubicBezTo>
                        <a:pt x="208801" y="92182"/>
                        <a:pt x="211731" y="100109"/>
                        <a:pt x="211731" y="109681"/>
                      </a:cubicBezTo>
                      <a:cubicBezTo>
                        <a:pt x="211731" y="121922"/>
                        <a:pt x="207498" y="131786"/>
                        <a:pt x="199034" y="139274"/>
                      </a:cubicBezTo>
                      <a:cubicBezTo>
                        <a:pt x="190569" y="146762"/>
                        <a:pt x="179598" y="150506"/>
                        <a:pt x="166120" y="150506"/>
                      </a:cubicBezTo>
                      <a:cubicBezTo>
                        <a:pt x="155702" y="150506"/>
                        <a:pt x="145707" y="148032"/>
                        <a:pt x="136135" y="143083"/>
                      </a:cubicBezTo>
                      <a:lnTo>
                        <a:pt x="136135" y="132828"/>
                      </a:lnTo>
                      <a:cubicBezTo>
                        <a:pt x="146814" y="139144"/>
                        <a:pt x="156874" y="142302"/>
                        <a:pt x="166315" y="142302"/>
                      </a:cubicBezTo>
                      <a:cubicBezTo>
                        <a:pt x="177579" y="142302"/>
                        <a:pt x="186402" y="139421"/>
                        <a:pt x="192783" y="133658"/>
                      </a:cubicBezTo>
                      <a:cubicBezTo>
                        <a:pt x="199164" y="127896"/>
                        <a:pt x="202355" y="120359"/>
                        <a:pt x="202355" y="111048"/>
                      </a:cubicBezTo>
                      <a:cubicBezTo>
                        <a:pt x="202355" y="100695"/>
                        <a:pt x="198692" y="92849"/>
                        <a:pt x="191367" y="87510"/>
                      </a:cubicBezTo>
                      <a:cubicBezTo>
                        <a:pt x="184042" y="82171"/>
                        <a:pt x="173608" y="79501"/>
                        <a:pt x="160064" y="79501"/>
                      </a:cubicBezTo>
                      <a:lnTo>
                        <a:pt x="149321" y="79501"/>
                      </a:lnTo>
                      <a:lnTo>
                        <a:pt x="149321" y="71297"/>
                      </a:lnTo>
                      <a:lnTo>
                        <a:pt x="158892" y="71297"/>
                      </a:lnTo>
                      <a:cubicBezTo>
                        <a:pt x="171394" y="71297"/>
                        <a:pt x="180916" y="68644"/>
                        <a:pt x="187460" y="63337"/>
                      </a:cubicBezTo>
                      <a:cubicBezTo>
                        <a:pt x="194004" y="58030"/>
                        <a:pt x="197276" y="50526"/>
                        <a:pt x="197276" y="40824"/>
                      </a:cubicBezTo>
                      <a:cubicBezTo>
                        <a:pt x="197276" y="32425"/>
                        <a:pt x="194899" y="25832"/>
                        <a:pt x="190146" y="21046"/>
                      </a:cubicBezTo>
                      <a:cubicBezTo>
                        <a:pt x="185393" y="16261"/>
                        <a:pt x="178458" y="13868"/>
                        <a:pt x="169343" y="13868"/>
                      </a:cubicBezTo>
                      <a:cubicBezTo>
                        <a:pt x="160552" y="13868"/>
                        <a:pt x="151339" y="16928"/>
                        <a:pt x="141702" y="23049"/>
                      </a:cubicBezTo>
                      <a:lnTo>
                        <a:pt x="141702" y="13477"/>
                      </a:lnTo>
                      <a:cubicBezTo>
                        <a:pt x="152251" y="8268"/>
                        <a:pt x="161920" y="5664"/>
                        <a:pt x="170710" y="5664"/>
                      </a:cubicBezTo>
                      <a:close/>
                      <a:moveTo>
                        <a:pt x="1469226" y="0"/>
                      </a:moveTo>
                      <a:lnTo>
                        <a:pt x="1478212" y="0"/>
                      </a:lnTo>
                      <a:lnTo>
                        <a:pt x="1478212" y="148065"/>
                      </a:lnTo>
                      <a:lnTo>
                        <a:pt x="1469226" y="148065"/>
                      </a:lnTo>
                      <a:lnTo>
                        <a:pt x="1469226" y="129899"/>
                      </a:lnTo>
                      <a:lnTo>
                        <a:pt x="1468836" y="129899"/>
                      </a:lnTo>
                      <a:cubicBezTo>
                        <a:pt x="1465580" y="136215"/>
                        <a:pt x="1460762" y="141228"/>
                        <a:pt x="1454380" y="144940"/>
                      </a:cubicBezTo>
                      <a:cubicBezTo>
                        <a:pt x="1448000" y="148651"/>
                        <a:pt x="1440804" y="150507"/>
                        <a:pt x="1432796" y="150507"/>
                      </a:cubicBezTo>
                      <a:cubicBezTo>
                        <a:pt x="1420490" y="150507"/>
                        <a:pt x="1410446" y="146014"/>
                        <a:pt x="1402664" y="137029"/>
                      </a:cubicBezTo>
                      <a:cubicBezTo>
                        <a:pt x="1394884" y="128043"/>
                        <a:pt x="1390994" y="115639"/>
                        <a:pt x="1390994" y="99817"/>
                      </a:cubicBezTo>
                      <a:cubicBezTo>
                        <a:pt x="1390994" y="83669"/>
                        <a:pt x="1395242" y="70598"/>
                        <a:pt x="1403740" y="60603"/>
                      </a:cubicBezTo>
                      <a:cubicBezTo>
                        <a:pt x="1412236" y="50608"/>
                        <a:pt x="1423256" y="45611"/>
                        <a:pt x="1436800" y="45611"/>
                      </a:cubicBezTo>
                      <a:cubicBezTo>
                        <a:pt x="1451776" y="45611"/>
                        <a:pt x="1462454" y="51764"/>
                        <a:pt x="1468836" y="64070"/>
                      </a:cubicBezTo>
                      <a:lnTo>
                        <a:pt x="1469226" y="64070"/>
                      </a:lnTo>
                      <a:close/>
                      <a:moveTo>
                        <a:pt x="992976" y="0"/>
                      </a:moveTo>
                      <a:lnTo>
                        <a:pt x="1001962" y="0"/>
                      </a:lnTo>
                      <a:lnTo>
                        <a:pt x="1001962" y="148065"/>
                      </a:lnTo>
                      <a:lnTo>
                        <a:pt x="992976" y="148065"/>
                      </a:lnTo>
                      <a:lnTo>
                        <a:pt x="992976" y="129899"/>
                      </a:lnTo>
                      <a:lnTo>
                        <a:pt x="992586" y="129899"/>
                      </a:lnTo>
                      <a:cubicBezTo>
                        <a:pt x="989330" y="136215"/>
                        <a:pt x="984512" y="141228"/>
                        <a:pt x="978131" y="144940"/>
                      </a:cubicBezTo>
                      <a:cubicBezTo>
                        <a:pt x="971750" y="148651"/>
                        <a:pt x="964555" y="150507"/>
                        <a:pt x="956546" y="150507"/>
                      </a:cubicBezTo>
                      <a:cubicBezTo>
                        <a:pt x="944240" y="150507"/>
                        <a:pt x="934196" y="146014"/>
                        <a:pt x="926415" y="137029"/>
                      </a:cubicBezTo>
                      <a:cubicBezTo>
                        <a:pt x="918634" y="128043"/>
                        <a:pt x="914744" y="115639"/>
                        <a:pt x="914744" y="99817"/>
                      </a:cubicBezTo>
                      <a:cubicBezTo>
                        <a:pt x="914744" y="83669"/>
                        <a:pt x="918992" y="70598"/>
                        <a:pt x="927489" y="60603"/>
                      </a:cubicBezTo>
                      <a:cubicBezTo>
                        <a:pt x="935987" y="50608"/>
                        <a:pt x="947007" y="45611"/>
                        <a:pt x="960550" y="45611"/>
                      </a:cubicBezTo>
                      <a:cubicBezTo>
                        <a:pt x="975526" y="45611"/>
                        <a:pt x="986204" y="51764"/>
                        <a:pt x="992586" y="64070"/>
                      </a:cubicBezTo>
                      <a:lnTo>
                        <a:pt x="992976" y="64070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Текст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426" name="Driverless cars"/>
              <p:cNvGrpSpPr/>
              <p:nvPr/>
            </p:nvGrpSpPr>
            <p:grpSpPr>
              <a:xfrm>
                <a:off x="9502475" y="2430105"/>
                <a:ext cx="3311939" cy="1989080"/>
                <a:chOff x="7141208" y="3305857"/>
                <a:chExt cx="3311939" cy="1989080"/>
              </a:xfrm>
            </p:grpSpPr>
            <p:grpSp>
              <p:nvGrpSpPr>
                <p:cNvPr id="837" name="Group 836"/>
                <p:cNvGrpSpPr/>
                <p:nvPr/>
              </p:nvGrpSpPr>
              <p:grpSpPr>
                <a:xfrm>
                  <a:off x="7853979" y="3305857"/>
                  <a:ext cx="1837549" cy="1246136"/>
                  <a:chOff x="8268466" y="4893414"/>
                  <a:chExt cx="1596986" cy="1082998"/>
                </a:xfrm>
              </p:grpSpPr>
              <p:sp>
                <p:nvSpPr>
                  <p:cNvPr id="839" name="Freeform 33"/>
                  <p:cNvSpPr>
                    <a:spLocks noEditPoints="1"/>
                  </p:cNvSpPr>
                  <p:nvPr/>
                </p:nvSpPr>
                <p:spPr bwMode="auto">
                  <a:xfrm>
                    <a:off x="9338930" y="5660218"/>
                    <a:ext cx="314801" cy="316194"/>
                  </a:xfrm>
                  <a:custGeom>
                    <a:avLst/>
                    <a:gdLst>
                      <a:gd name="T0" fmla="*/ 0 w 241"/>
                      <a:gd name="T1" fmla="*/ 121 h 242"/>
                      <a:gd name="T2" fmla="*/ 120 w 241"/>
                      <a:gd name="T3" fmla="*/ 0 h 242"/>
                      <a:gd name="T4" fmla="*/ 241 w 241"/>
                      <a:gd name="T5" fmla="*/ 121 h 242"/>
                      <a:gd name="T6" fmla="*/ 120 w 241"/>
                      <a:gd name="T7" fmla="*/ 242 h 242"/>
                      <a:gd name="T8" fmla="*/ 0 w 241"/>
                      <a:gd name="T9" fmla="*/ 121 h 242"/>
                      <a:gd name="T10" fmla="*/ 61 w 241"/>
                      <a:gd name="T11" fmla="*/ 121 h 242"/>
                      <a:gd name="T12" fmla="*/ 120 w 241"/>
                      <a:gd name="T13" fmla="*/ 181 h 242"/>
                      <a:gd name="T14" fmla="*/ 180 w 241"/>
                      <a:gd name="T15" fmla="*/ 121 h 242"/>
                      <a:gd name="T16" fmla="*/ 120 w 241"/>
                      <a:gd name="T17" fmla="*/ 62 h 242"/>
                      <a:gd name="T18" fmla="*/ 61 w 241"/>
                      <a:gd name="T19" fmla="*/ 121 h 2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41" h="242">
                        <a:moveTo>
                          <a:pt x="0" y="121"/>
                        </a:moveTo>
                        <a:cubicBezTo>
                          <a:pt x="0" y="54"/>
                          <a:pt x="54" y="0"/>
                          <a:pt x="120" y="0"/>
                        </a:cubicBezTo>
                        <a:cubicBezTo>
                          <a:pt x="187" y="0"/>
                          <a:pt x="241" y="54"/>
                          <a:pt x="241" y="121"/>
                        </a:cubicBezTo>
                        <a:cubicBezTo>
                          <a:pt x="241" y="188"/>
                          <a:pt x="187" y="242"/>
                          <a:pt x="120" y="242"/>
                        </a:cubicBezTo>
                        <a:cubicBezTo>
                          <a:pt x="54" y="242"/>
                          <a:pt x="0" y="188"/>
                          <a:pt x="0" y="121"/>
                        </a:cubicBezTo>
                        <a:close/>
                        <a:moveTo>
                          <a:pt x="61" y="121"/>
                        </a:moveTo>
                        <a:cubicBezTo>
                          <a:pt x="61" y="154"/>
                          <a:pt x="88" y="181"/>
                          <a:pt x="120" y="181"/>
                        </a:cubicBezTo>
                        <a:cubicBezTo>
                          <a:pt x="153" y="181"/>
                          <a:pt x="180" y="154"/>
                          <a:pt x="180" y="121"/>
                        </a:cubicBezTo>
                        <a:cubicBezTo>
                          <a:pt x="180" y="88"/>
                          <a:pt x="153" y="62"/>
                          <a:pt x="120" y="62"/>
                        </a:cubicBezTo>
                        <a:cubicBezTo>
                          <a:pt x="88" y="62"/>
                          <a:pt x="61" y="88"/>
                          <a:pt x="61" y="121"/>
                        </a:cubicBezTo>
                        <a:close/>
                      </a:path>
                    </a:pathLst>
                  </a:custGeom>
                  <a:solidFill>
                    <a:schemeClr val="accent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0" name="Freeform 34"/>
                  <p:cNvSpPr>
                    <a:spLocks noEditPoints="1"/>
                  </p:cNvSpPr>
                  <p:nvPr/>
                </p:nvSpPr>
                <p:spPr bwMode="auto">
                  <a:xfrm>
                    <a:off x="8465561" y="5660218"/>
                    <a:ext cx="316194" cy="316194"/>
                  </a:xfrm>
                  <a:custGeom>
                    <a:avLst/>
                    <a:gdLst>
                      <a:gd name="T0" fmla="*/ 0 w 242"/>
                      <a:gd name="T1" fmla="*/ 121 h 242"/>
                      <a:gd name="T2" fmla="*/ 121 w 242"/>
                      <a:gd name="T3" fmla="*/ 0 h 242"/>
                      <a:gd name="T4" fmla="*/ 242 w 242"/>
                      <a:gd name="T5" fmla="*/ 121 h 242"/>
                      <a:gd name="T6" fmla="*/ 121 w 242"/>
                      <a:gd name="T7" fmla="*/ 242 h 242"/>
                      <a:gd name="T8" fmla="*/ 0 w 242"/>
                      <a:gd name="T9" fmla="*/ 121 h 242"/>
                      <a:gd name="T10" fmla="*/ 62 w 242"/>
                      <a:gd name="T11" fmla="*/ 121 h 242"/>
                      <a:gd name="T12" fmla="*/ 121 w 242"/>
                      <a:gd name="T13" fmla="*/ 181 h 242"/>
                      <a:gd name="T14" fmla="*/ 181 w 242"/>
                      <a:gd name="T15" fmla="*/ 121 h 242"/>
                      <a:gd name="T16" fmla="*/ 121 w 242"/>
                      <a:gd name="T17" fmla="*/ 62 h 242"/>
                      <a:gd name="T18" fmla="*/ 62 w 242"/>
                      <a:gd name="T19" fmla="*/ 121 h 2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42" h="242">
                        <a:moveTo>
                          <a:pt x="0" y="121"/>
                        </a:moveTo>
                        <a:cubicBezTo>
                          <a:pt x="0" y="54"/>
                          <a:pt x="55" y="0"/>
                          <a:pt x="121" y="0"/>
                        </a:cubicBezTo>
                        <a:cubicBezTo>
                          <a:pt x="188" y="0"/>
                          <a:pt x="242" y="54"/>
                          <a:pt x="242" y="121"/>
                        </a:cubicBezTo>
                        <a:cubicBezTo>
                          <a:pt x="242" y="188"/>
                          <a:pt x="188" y="242"/>
                          <a:pt x="121" y="242"/>
                        </a:cubicBezTo>
                        <a:cubicBezTo>
                          <a:pt x="55" y="242"/>
                          <a:pt x="0" y="188"/>
                          <a:pt x="0" y="121"/>
                        </a:cubicBezTo>
                        <a:close/>
                        <a:moveTo>
                          <a:pt x="62" y="121"/>
                        </a:moveTo>
                        <a:cubicBezTo>
                          <a:pt x="62" y="154"/>
                          <a:pt x="89" y="181"/>
                          <a:pt x="121" y="181"/>
                        </a:cubicBezTo>
                        <a:cubicBezTo>
                          <a:pt x="154" y="181"/>
                          <a:pt x="181" y="154"/>
                          <a:pt x="181" y="121"/>
                        </a:cubicBezTo>
                        <a:cubicBezTo>
                          <a:pt x="181" y="88"/>
                          <a:pt x="154" y="62"/>
                          <a:pt x="121" y="62"/>
                        </a:cubicBezTo>
                        <a:cubicBezTo>
                          <a:pt x="89" y="62"/>
                          <a:pt x="62" y="88"/>
                          <a:pt x="62" y="121"/>
                        </a:cubicBezTo>
                        <a:close/>
                      </a:path>
                    </a:pathLst>
                  </a:custGeom>
                  <a:solidFill>
                    <a:schemeClr val="accent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1" name="Freeform 35"/>
                  <p:cNvSpPr>
                    <a:spLocks noEditPoints="1"/>
                  </p:cNvSpPr>
                  <p:nvPr/>
                </p:nvSpPr>
                <p:spPr bwMode="auto">
                  <a:xfrm>
                    <a:off x="8268466" y="5297362"/>
                    <a:ext cx="1596986" cy="530007"/>
                  </a:xfrm>
                  <a:custGeom>
                    <a:avLst/>
                    <a:gdLst>
                      <a:gd name="T0" fmla="*/ 0 w 1223"/>
                      <a:gd name="T1" fmla="*/ 338 h 406"/>
                      <a:gd name="T2" fmla="*/ 0 w 1223"/>
                      <a:gd name="T3" fmla="*/ 367 h 406"/>
                      <a:gd name="T4" fmla="*/ 39 w 1223"/>
                      <a:gd name="T5" fmla="*/ 406 h 406"/>
                      <a:gd name="T6" fmla="*/ 95 w 1223"/>
                      <a:gd name="T7" fmla="*/ 406 h 406"/>
                      <a:gd name="T8" fmla="*/ 114 w 1223"/>
                      <a:gd name="T9" fmla="*/ 388 h 406"/>
                      <a:gd name="T10" fmla="*/ 272 w 1223"/>
                      <a:gd name="T11" fmla="*/ 240 h 406"/>
                      <a:gd name="T12" fmla="*/ 431 w 1223"/>
                      <a:gd name="T13" fmla="*/ 388 h 406"/>
                      <a:gd name="T14" fmla="*/ 450 w 1223"/>
                      <a:gd name="T15" fmla="*/ 406 h 406"/>
                      <a:gd name="T16" fmla="*/ 763 w 1223"/>
                      <a:gd name="T17" fmla="*/ 406 h 406"/>
                      <a:gd name="T18" fmla="*/ 782 w 1223"/>
                      <a:gd name="T19" fmla="*/ 388 h 406"/>
                      <a:gd name="T20" fmla="*/ 940 w 1223"/>
                      <a:gd name="T21" fmla="*/ 240 h 406"/>
                      <a:gd name="T22" fmla="*/ 1099 w 1223"/>
                      <a:gd name="T23" fmla="*/ 388 h 406"/>
                      <a:gd name="T24" fmla="*/ 1118 w 1223"/>
                      <a:gd name="T25" fmla="*/ 406 h 406"/>
                      <a:gd name="T26" fmla="*/ 1185 w 1223"/>
                      <a:gd name="T27" fmla="*/ 406 h 406"/>
                      <a:gd name="T28" fmla="*/ 1223 w 1223"/>
                      <a:gd name="T29" fmla="*/ 367 h 406"/>
                      <a:gd name="T30" fmla="*/ 1223 w 1223"/>
                      <a:gd name="T31" fmla="*/ 338 h 406"/>
                      <a:gd name="T32" fmla="*/ 1185 w 1223"/>
                      <a:gd name="T33" fmla="*/ 300 h 406"/>
                      <a:gd name="T34" fmla="*/ 1161 w 1223"/>
                      <a:gd name="T35" fmla="*/ 185 h 406"/>
                      <a:gd name="T36" fmla="*/ 1123 w 1223"/>
                      <a:gd name="T37" fmla="*/ 154 h 406"/>
                      <a:gd name="T38" fmla="*/ 1055 w 1223"/>
                      <a:gd name="T39" fmla="*/ 154 h 406"/>
                      <a:gd name="T40" fmla="*/ 999 w 1223"/>
                      <a:gd name="T41" fmla="*/ 135 h 406"/>
                      <a:gd name="T42" fmla="*/ 696 w 1223"/>
                      <a:gd name="T43" fmla="*/ 0 h 406"/>
                      <a:gd name="T44" fmla="*/ 375 w 1223"/>
                      <a:gd name="T45" fmla="*/ 132 h 406"/>
                      <a:gd name="T46" fmla="*/ 304 w 1223"/>
                      <a:gd name="T47" fmla="*/ 164 h 406"/>
                      <a:gd name="T48" fmla="*/ 159 w 1223"/>
                      <a:gd name="T49" fmla="*/ 181 h 406"/>
                      <a:gd name="T50" fmla="*/ 70 w 1223"/>
                      <a:gd name="T51" fmla="*/ 228 h 406"/>
                      <a:gd name="T52" fmla="*/ 39 w 1223"/>
                      <a:gd name="T53" fmla="*/ 300 h 406"/>
                      <a:gd name="T54" fmla="*/ 0 w 1223"/>
                      <a:gd name="T55" fmla="*/ 338 h 406"/>
                      <a:gd name="T56" fmla="*/ 727 w 1223"/>
                      <a:gd name="T57" fmla="*/ 63 h 406"/>
                      <a:gd name="T58" fmla="*/ 885 w 1223"/>
                      <a:gd name="T59" fmla="*/ 125 h 406"/>
                      <a:gd name="T60" fmla="*/ 938 w 1223"/>
                      <a:gd name="T61" fmla="*/ 167 h 406"/>
                      <a:gd name="T62" fmla="*/ 727 w 1223"/>
                      <a:gd name="T63" fmla="*/ 167 h 406"/>
                      <a:gd name="T64" fmla="*/ 727 w 1223"/>
                      <a:gd name="T65" fmla="*/ 63 h 406"/>
                      <a:gd name="T66" fmla="*/ 430 w 1223"/>
                      <a:gd name="T67" fmla="*/ 167 h 406"/>
                      <a:gd name="T68" fmla="*/ 666 w 1223"/>
                      <a:gd name="T69" fmla="*/ 63 h 406"/>
                      <a:gd name="T70" fmla="*/ 666 w 1223"/>
                      <a:gd name="T71" fmla="*/ 167 h 406"/>
                      <a:gd name="T72" fmla="*/ 430 w 1223"/>
                      <a:gd name="T73" fmla="*/ 167 h 4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1223" h="406">
                        <a:moveTo>
                          <a:pt x="0" y="338"/>
                        </a:moveTo>
                        <a:cubicBezTo>
                          <a:pt x="0" y="367"/>
                          <a:pt x="0" y="367"/>
                          <a:pt x="0" y="367"/>
                        </a:cubicBezTo>
                        <a:cubicBezTo>
                          <a:pt x="0" y="389"/>
                          <a:pt x="17" y="406"/>
                          <a:pt x="39" y="406"/>
                        </a:cubicBezTo>
                        <a:cubicBezTo>
                          <a:pt x="95" y="406"/>
                          <a:pt x="95" y="406"/>
                          <a:pt x="95" y="406"/>
                        </a:cubicBezTo>
                        <a:cubicBezTo>
                          <a:pt x="105" y="406"/>
                          <a:pt x="113" y="398"/>
                          <a:pt x="114" y="388"/>
                        </a:cubicBezTo>
                        <a:cubicBezTo>
                          <a:pt x="121" y="304"/>
                          <a:pt x="200" y="240"/>
                          <a:pt x="272" y="240"/>
                        </a:cubicBezTo>
                        <a:cubicBezTo>
                          <a:pt x="345" y="240"/>
                          <a:pt x="424" y="304"/>
                          <a:pt x="431" y="388"/>
                        </a:cubicBezTo>
                        <a:cubicBezTo>
                          <a:pt x="432" y="398"/>
                          <a:pt x="440" y="406"/>
                          <a:pt x="450" y="406"/>
                        </a:cubicBezTo>
                        <a:cubicBezTo>
                          <a:pt x="763" y="406"/>
                          <a:pt x="763" y="406"/>
                          <a:pt x="763" y="406"/>
                        </a:cubicBezTo>
                        <a:cubicBezTo>
                          <a:pt x="773" y="406"/>
                          <a:pt x="781" y="398"/>
                          <a:pt x="782" y="388"/>
                        </a:cubicBezTo>
                        <a:cubicBezTo>
                          <a:pt x="789" y="304"/>
                          <a:pt x="868" y="240"/>
                          <a:pt x="940" y="240"/>
                        </a:cubicBezTo>
                        <a:cubicBezTo>
                          <a:pt x="1013" y="240"/>
                          <a:pt x="1092" y="304"/>
                          <a:pt x="1099" y="388"/>
                        </a:cubicBezTo>
                        <a:cubicBezTo>
                          <a:pt x="1100" y="398"/>
                          <a:pt x="1108" y="406"/>
                          <a:pt x="1118" y="406"/>
                        </a:cubicBezTo>
                        <a:cubicBezTo>
                          <a:pt x="1185" y="406"/>
                          <a:pt x="1185" y="406"/>
                          <a:pt x="1185" y="406"/>
                        </a:cubicBezTo>
                        <a:cubicBezTo>
                          <a:pt x="1206" y="406"/>
                          <a:pt x="1223" y="389"/>
                          <a:pt x="1223" y="367"/>
                        </a:cubicBezTo>
                        <a:cubicBezTo>
                          <a:pt x="1223" y="338"/>
                          <a:pt x="1223" y="338"/>
                          <a:pt x="1223" y="338"/>
                        </a:cubicBezTo>
                        <a:cubicBezTo>
                          <a:pt x="1223" y="317"/>
                          <a:pt x="1206" y="300"/>
                          <a:pt x="1185" y="300"/>
                        </a:cubicBezTo>
                        <a:cubicBezTo>
                          <a:pt x="1161" y="185"/>
                          <a:pt x="1161" y="185"/>
                          <a:pt x="1161" y="185"/>
                        </a:cubicBezTo>
                        <a:cubicBezTo>
                          <a:pt x="1157" y="167"/>
                          <a:pt x="1141" y="154"/>
                          <a:pt x="1123" y="154"/>
                        </a:cubicBezTo>
                        <a:cubicBezTo>
                          <a:pt x="1055" y="154"/>
                          <a:pt x="1055" y="154"/>
                          <a:pt x="1055" y="154"/>
                        </a:cubicBezTo>
                        <a:cubicBezTo>
                          <a:pt x="1035" y="154"/>
                          <a:pt x="1015" y="148"/>
                          <a:pt x="999" y="135"/>
                        </a:cubicBezTo>
                        <a:cubicBezTo>
                          <a:pt x="918" y="73"/>
                          <a:pt x="841" y="0"/>
                          <a:pt x="696" y="0"/>
                        </a:cubicBezTo>
                        <a:cubicBezTo>
                          <a:pt x="536" y="0"/>
                          <a:pt x="436" y="77"/>
                          <a:pt x="375" y="132"/>
                        </a:cubicBezTo>
                        <a:cubicBezTo>
                          <a:pt x="355" y="150"/>
                          <a:pt x="330" y="161"/>
                          <a:pt x="304" y="164"/>
                        </a:cubicBezTo>
                        <a:cubicBezTo>
                          <a:pt x="159" y="181"/>
                          <a:pt x="159" y="181"/>
                          <a:pt x="159" y="181"/>
                        </a:cubicBezTo>
                        <a:cubicBezTo>
                          <a:pt x="126" y="185"/>
                          <a:pt x="94" y="201"/>
                          <a:pt x="70" y="228"/>
                        </a:cubicBezTo>
                        <a:cubicBezTo>
                          <a:pt x="55" y="245"/>
                          <a:pt x="44" y="279"/>
                          <a:pt x="39" y="300"/>
                        </a:cubicBezTo>
                        <a:cubicBezTo>
                          <a:pt x="17" y="300"/>
                          <a:pt x="0" y="317"/>
                          <a:pt x="0" y="338"/>
                        </a:cubicBezTo>
                        <a:close/>
                        <a:moveTo>
                          <a:pt x="727" y="63"/>
                        </a:moveTo>
                        <a:cubicBezTo>
                          <a:pt x="784" y="69"/>
                          <a:pt x="839" y="90"/>
                          <a:pt x="885" y="125"/>
                        </a:cubicBezTo>
                        <a:cubicBezTo>
                          <a:pt x="938" y="167"/>
                          <a:pt x="938" y="167"/>
                          <a:pt x="938" y="167"/>
                        </a:cubicBezTo>
                        <a:cubicBezTo>
                          <a:pt x="727" y="167"/>
                          <a:pt x="727" y="167"/>
                          <a:pt x="727" y="167"/>
                        </a:cubicBezTo>
                        <a:lnTo>
                          <a:pt x="727" y="63"/>
                        </a:lnTo>
                        <a:close/>
                        <a:moveTo>
                          <a:pt x="430" y="167"/>
                        </a:moveTo>
                        <a:cubicBezTo>
                          <a:pt x="464" y="136"/>
                          <a:pt x="538" y="63"/>
                          <a:pt x="666" y="63"/>
                        </a:cubicBezTo>
                        <a:cubicBezTo>
                          <a:pt x="666" y="167"/>
                          <a:pt x="666" y="167"/>
                          <a:pt x="666" y="167"/>
                        </a:cubicBezTo>
                        <a:lnTo>
                          <a:pt x="430" y="167"/>
                        </a:lnTo>
                        <a:close/>
                      </a:path>
                    </a:pathLst>
                  </a:custGeom>
                  <a:solidFill>
                    <a:schemeClr val="accent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2" name="Freeform 36"/>
                  <p:cNvSpPr>
                    <a:spLocks/>
                  </p:cNvSpPr>
                  <p:nvPr/>
                </p:nvSpPr>
                <p:spPr bwMode="auto">
                  <a:xfrm>
                    <a:off x="8957961" y="5127425"/>
                    <a:ext cx="219385" cy="91237"/>
                  </a:xfrm>
                  <a:custGeom>
                    <a:avLst/>
                    <a:gdLst>
                      <a:gd name="T0" fmla="*/ 12 w 168"/>
                      <a:gd name="T1" fmla="*/ 22 h 70"/>
                      <a:gd name="T2" fmla="*/ 1 w 168"/>
                      <a:gd name="T3" fmla="*/ 41 h 70"/>
                      <a:gd name="T4" fmla="*/ 8 w 168"/>
                      <a:gd name="T5" fmla="*/ 61 h 70"/>
                      <a:gd name="T6" fmla="*/ 9 w 168"/>
                      <a:gd name="T7" fmla="*/ 61 h 70"/>
                      <a:gd name="T8" fmla="*/ 39 w 168"/>
                      <a:gd name="T9" fmla="*/ 64 h 70"/>
                      <a:gd name="T10" fmla="*/ 84 w 168"/>
                      <a:gd name="T11" fmla="*/ 50 h 70"/>
                      <a:gd name="T12" fmla="*/ 129 w 168"/>
                      <a:gd name="T13" fmla="*/ 64 h 70"/>
                      <a:gd name="T14" fmla="*/ 159 w 168"/>
                      <a:gd name="T15" fmla="*/ 61 h 70"/>
                      <a:gd name="T16" fmla="*/ 159 w 168"/>
                      <a:gd name="T17" fmla="*/ 61 h 70"/>
                      <a:gd name="T18" fmla="*/ 167 w 168"/>
                      <a:gd name="T19" fmla="*/ 41 h 70"/>
                      <a:gd name="T20" fmla="*/ 156 w 168"/>
                      <a:gd name="T21" fmla="*/ 22 h 70"/>
                      <a:gd name="T22" fmla="*/ 84 w 168"/>
                      <a:gd name="T23" fmla="*/ 0 h 70"/>
                      <a:gd name="T24" fmla="*/ 12 w 168"/>
                      <a:gd name="T25" fmla="*/ 22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68" h="70">
                        <a:moveTo>
                          <a:pt x="12" y="22"/>
                        </a:moveTo>
                        <a:cubicBezTo>
                          <a:pt x="5" y="26"/>
                          <a:pt x="1" y="33"/>
                          <a:pt x="1" y="41"/>
                        </a:cubicBezTo>
                        <a:cubicBezTo>
                          <a:pt x="0" y="48"/>
                          <a:pt x="3" y="56"/>
                          <a:pt x="8" y="61"/>
                        </a:cubicBezTo>
                        <a:cubicBezTo>
                          <a:pt x="9" y="61"/>
                          <a:pt x="9" y="61"/>
                          <a:pt x="9" y="61"/>
                        </a:cubicBezTo>
                        <a:cubicBezTo>
                          <a:pt x="17" y="69"/>
                          <a:pt x="29" y="70"/>
                          <a:pt x="39" y="64"/>
                        </a:cubicBezTo>
                        <a:cubicBezTo>
                          <a:pt x="53" y="55"/>
                          <a:pt x="68" y="50"/>
                          <a:pt x="84" y="50"/>
                        </a:cubicBezTo>
                        <a:cubicBezTo>
                          <a:pt x="100" y="50"/>
                          <a:pt x="115" y="55"/>
                          <a:pt x="129" y="64"/>
                        </a:cubicBezTo>
                        <a:cubicBezTo>
                          <a:pt x="138" y="70"/>
                          <a:pt x="151" y="69"/>
                          <a:pt x="159" y="61"/>
                        </a:cubicBezTo>
                        <a:cubicBezTo>
                          <a:pt x="159" y="61"/>
                          <a:pt x="159" y="61"/>
                          <a:pt x="159" y="61"/>
                        </a:cubicBezTo>
                        <a:cubicBezTo>
                          <a:pt x="165" y="56"/>
                          <a:pt x="168" y="48"/>
                          <a:pt x="167" y="41"/>
                        </a:cubicBezTo>
                        <a:cubicBezTo>
                          <a:pt x="166" y="33"/>
                          <a:pt x="162" y="26"/>
                          <a:pt x="156" y="22"/>
                        </a:cubicBezTo>
                        <a:cubicBezTo>
                          <a:pt x="134" y="8"/>
                          <a:pt x="109" y="0"/>
                          <a:pt x="84" y="0"/>
                        </a:cubicBezTo>
                        <a:cubicBezTo>
                          <a:pt x="58" y="0"/>
                          <a:pt x="34" y="8"/>
                          <a:pt x="12" y="2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3" name="Freeform 37"/>
                  <p:cNvSpPr>
                    <a:spLocks/>
                  </p:cNvSpPr>
                  <p:nvPr/>
                </p:nvSpPr>
                <p:spPr bwMode="auto">
                  <a:xfrm>
                    <a:off x="8872994" y="5011116"/>
                    <a:ext cx="387929" cy="129542"/>
                  </a:xfrm>
                  <a:custGeom>
                    <a:avLst/>
                    <a:gdLst>
                      <a:gd name="T0" fmla="*/ 149 w 297"/>
                      <a:gd name="T1" fmla="*/ 0 h 99"/>
                      <a:gd name="T2" fmla="*/ 9 w 297"/>
                      <a:gd name="T3" fmla="*/ 53 h 99"/>
                      <a:gd name="T4" fmla="*/ 0 w 297"/>
                      <a:gd name="T5" fmla="*/ 71 h 99"/>
                      <a:gd name="T6" fmla="*/ 8 w 297"/>
                      <a:gd name="T7" fmla="*/ 90 h 99"/>
                      <a:gd name="T8" fmla="*/ 8 w 297"/>
                      <a:gd name="T9" fmla="*/ 90 h 99"/>
                      <a:gd name="T10" fmla="*/ 41 w 297"/>
                      <a:gd name="T11" fmla="*/ 91 h 99"/>
                      <a:gd name="T12" fmla="*/ 149 w 297"/>
                      <a:gd name="T13" fmla="*/ 49 h 99"/>
                      <a:gd name="T14" fmla="*/ 256 w 297"/>
                      <a:gd name="T15" fmla="*/ 91 h 99"/>
                      <a:gd name="T16" fmla="*/ 289 w 297"/>
                      <a:gd name="T17" fmla="*/ 90 h 99"/>
                      <a:gd name="T18" fmla="*/ 289 w 297"/>
                      <a:gd name="T19" fmla="*/ 90 h 99"/>
                      <a:gd name="T20" fmla="*/ 297 w 297"/>
                      <a:gd name="T21" fmla="*/ 71 h 99"/>
                      <a:gd name="T22" fmla="*/ 288 w 297"/>
                      <a:gd name="T23" fmla="*/ 53 h 99"/>
                      <a:gd name="T24" fmla="*/ 149 w 297"/>
                      <a:gd name="T25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97" h="99">
                        <a:moveTo>
                          <a:pt x="149" y="0"/>
                        </a:moveTo>
                        <a:cubicBezTo>
                          <a:pt x="98" y="0"/>
                          <a:pt x="50" y="18"/>
                          <a:pt x="9" y="53"/>
                        </a:cubicBezTo>
                        <a:cubicBezTo>
                          <a:pt x="4" y="57"/>
                          <a:pt x="1" y="64"/>
                          <a:pt x="0" y="71"/>
                        </a:cubicBezTo>
                        <a:cubicBezTo>
                          <a:pt x="0" y="78"/>
                          <a:pt x="3" y="85"/>
                          <a:pt x="8" y="90"/>
                        </a:cubicBezTo>
                        <a:cubicBezTo>
                          <a:pt x="8" y="90"/>
                          <a:pt x="8" y="90"/>
                          <a:pt x="8" y="90"/>
                        </a:cubicBezTo>
                        <a:cubicBezTo>
                          <a:pt x="18" y="98"/>
                          <a:pt x="32" y="99"/>
                          <a:pt x="41" y="91"/>
                        </a:cubicBezTo>
                        <a:cubicBezTo>
                          <a:pt x="73" y="64"/>
                          <a:pt x="110" y="49"/>
                          <a:pt x="149" y="49"/>
                        </a:cubicBezTo>
                        <a:cubicBezTo>
                          <a:pt x="188" y="49"/>
                          <a:pt x="225" y="64"/>
                          <a:pt x="256" y="91"/>
                        </a:cubicBezTo>
                        <a:cubicBezTo>
                          <a:pt x="266" y="99"/>
                          <a:pt x="280" y="98"/>
                          <a:pt x="289" y="90"/>
                        </a:cubicBezTo>
                        <a:cubicBezTo>
                          <a:pt x="289" y="90"/>
                          <a:pt x="289" y="90"/>
                          <a:pt x="289" y="90"/>
                        </a:cubicBezTo>
                        <a:cubicBezTo>
                          <a:pt x="295" y="85"/>
                          <a:pt x="297" y="78"/>
                          <a:pt x="297" y="71"/>
                        </a:cubicBezTo>
                        <a:cubicBezTo>
                          <a:pt x="297" y="64"/>
                          <a:pt x="294" y="57"/>
                          <a:pt x="288" y="53"/>
                        </a:cubicBezTo>
                        <a:cubicBezTo>
                          <a:pt x="248" y="18"/>
                          <a:pt x="200" y="0"/>
                          <a:pt x="14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4" name="Freeform 38"/>
                  <p:cNvSpPr>
                    <a:spLocks/>
                  </p:cNvSpPr>
                  <p:nvPr/>
                </p:nvSpPr>
                <p:spPr bwMode="auto">
                  <a:xfrm>
                    <a:off x="8788028" y="4893414"/>
                    <a:ext cx="557865" cy="168544"/>
                  </a:xfrm>
                  <a:custGeom>
                    <a:avLst/>
                    <a:gdLst>
                      <a:gd name="T0" fmla="*/ 214 w 427"/>
                      <a:gd name="T1" fmla="*/ 0 h 129"/>
                      <a:gd name="T2" fmla="*/ 8 w 427"/>
                      <a:gd name="T3" fmla="*/ 84 h 129"/>
                      <a:gd name="T4" fmla="*/ 0 w 427"/>
                      <a:gd name="T5" fmla="*/ 102 h 129"/>
                      <a:gd name="T6" fmla="*/ 8 w 427"/>
                      <a:gd name="T7" fmla="*/ 120 h 129"/>
                      <a:gd name="T8" fmla="*/ 9 w 427"/>
                      <a:gd name="T9" fmla="*/ 120 h 129"/>
                      <a:gd name="T10" fmla="*/ 43 w 427"/>
                      <a:gd name="T11" fmla="*/ 120 h 129"/>
                      <a:gd name="T12" fmla="*/ 214 w 427"/>
                      <a:gd name="T13" fmla="*/ 50 h 129"/>
                      <a:gd name="T14" fmla="*/ 385 w 427"/>
                      <a:gd name="T15" fmla="*/ 120 h 129"/>
                      <a:gd name="T16" fmla="*/ 419 w 427"/>
                      <a:gd name="T17" fmla="*/ 120 h 129"/>
                      <a:gd name="T18" fmla="*/ 419 w 427"/>
                      <a:gd name="T19" fmla="*/ 120 h 129"/>
                      <a:gd name="T20" fmla="*/ 427 w 427"/>
                      <a:gd name="T21" fmla="*/ 102 h 129"/>
                      <a:gd name="T22" fmla="*/ 419 w 427"/>
                      <a:gd name="T23" fmla="*/ 84 h 129"/>
                      <a:gd name="T24" fmla="*/ 214 w 427"/>
                      <a:gd name="T25" fmla="*/ 0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27" h="129">
                        <a:moveTo>
                          <a:pt x="214" y="0"/>
                        </a:moveTo>
                        <a:cubicBezTo>
                          <a:pt x="131" y="0"/>
                          <a:pt x="55" y="40"/>
                          <a:pt x="8" y="84"/>
                        </a:cubicBezTo>
                        <a:cubicBezTo>
                          <a:pt x="3" y="88"/>
                          <a:pt x="0" y="95"/>
                          <a:pt x="0" y="102"/>
                        </a:cubicBezTo>
                        <a:cubicBezTo>
                          <a:pt x="1" y="109"/>
                          <a:pt x="3" y="115"/>
                          <a:pt x="8" y="120"/>
                        </a:cubicBezTo>
                        <a:cubicBezTo>
                          <a:pt x="9" y="120"/>
                          <a:pt x="9" y="120"/>
                          <a:pt x="9" y="120"/>
                        </a:cubicBezTo>
                        <a:cubicBezTo>
                          <a:pt x="18" y="129"/>
                          <a:pt x="33" y="129"/>
                          <a:pt x="43" y="120"/>
                        </a:cubicBezTo>
                        <a:cubicBezTo>
                          <a:pt x="78" y="87"/>
                          <a:pt x="141" y="50"/>
                          <a:pt x="214" y="50"/>
                        </a:cubicBezTo>
                        <a:cubicBezTo>
                          <a:pt x="286" y="50"/>
                          <a:pt x="349" y="87"/>
                          <a:pt x="385" y="120"/>
                        </a:cubicBezTo>
                        <a:cubicBezTo>
                          <a:pt x="395" y="129"/>
                          <a:pt x="409" y="129"/>
                          <a:pt x="419" y="120"/>
                        </a:cubicBezTo>
                        <a:cubicBezTo>
                          <a:pt x="419" y="120"/>
                          <a:pt x="419" y="120"/>
                          <a:pt x="419" y="120"/>
                        </a:cubicBezTo>
                        <a:cubicBezTo>
                          <a:pt x="424" y="115"/>
                          <a:pt x="427" y="109"/>
                          <a:pt x="427" y="102"/>
                        </a:cubicBezTo>
                        <a:cubicBezTo>
                          <a:pt x="427" y="95"/>
                          <a:pt x="424" y="88"/>
                          <a:pt x="419" y="84"/>
                        </a:cubicBezTo>
                        <a:cubicBezTo>
                          <a:pt x="372" y="40"/>
                          <a:pt x="297" y="0"/>
                          <a:pt x="214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838" name="Freeform: Shape 837"/>
                <p:cNvSpPr>
                  <a:spLocks noChangeAspect="1"/>
                </p:cNvSpPr>
                <p:nvPr/>
              </p:nvSpPr>
              <p:spPr>
                <a:xfrm>
                  <a:off x="7141208" y="4792017"/>
                  <a:ext cx="3311939" cy="502920"/>
                </a:xfrm>
                <a:custGeom>
                  <a:avLst/>
                  <a:gdLst>
                    <a:gd name="connsiteX0" fmla="*/ 1607224 w 2569598"/>
                    <a:gd name="connsiteY0" fmla="*/ 293503 h 390195"/>
                    <a:gd name="connsiteX1" fmla="*/ 1583930 w 2569598"/>
                    <a:gd name="connsiteY1" fmla="*/ 302928 h 390195"/>
                    <a:gd name="connsiteX2" fmla="*/ 1572552 w 2569598"/>
                    <a:gd name="connsiteY2" fmla="*/ 329934 h 390195"/>
                    <a:gd name="connsiteX3" fmla="*/ 1636816 w 2569598"/>
                    <a:gd name="connsiteY3" fmla="*/ 329934 h 390195"/>
                    <a:gd name="connsiteX4" fmla="*/ 1628516 w 2569598"/>
                    <a:gd name="connsiteY4" fmla="*/ 303075 h 390195"/>
                    <a:gd name="connsiteX5" fmla="*/ 1607224 w 2569598"/>
                    <a:gd name="connsiteY5" fmla="*/ 293503 h 390195"/>
                    <a:gd name="connsiteX6" fmla="*/ 1397674 w 2569598"/>
                    <a:gd name="connsiteY6" fmla="*/ 293503 h 390195"/>
                    <a:gd name="connsiteX7" fmla="*/ 1374380 w 2569598"/>
                    <a:gd name="connsiteY7" fmla="*/ 302928 h 390195"/>
                    <a:gd name="connsiteX8" fmla="*/ 1363000 w 2569598"/>
                    <a:gd name="connsiteY8" fmla="*/ 329934 h 390195"/>
                    <a:gd name="connsiteX9" fmla="*/ 1427266 w 2569598"/>
                    <a:gd name="connsiteY9" fmla="*/ 329934 h 390195"/>
                    <a:gd name="connsiteX10" fmla="*/ 1418964 w 2569598"/>
                    <a:gd name="connsiteY10" fmla="*/ 303075 h 390195"/>
                    <a:gd name="connsiteX11" fmla="*/ 1397674 w 2569598"/>
                    <a:gd name="connsiteY11" fmla="*/ 293503 h 390195"/>
                    <a:gd name="connsiteX12" fmla="*/ 1084520 w 2569598"/>
                    <a:gd name="connsiteY12" fmla="*/ 293503 h 390195"/>
                    <a:gd name="connsiteX13" fmla="*/ 1058540 w 2569598"/>
                    <a:gd name="connsiteY13" fmla="*/ 305565 h 390195"/>
                    <a:gd name="connsiteX14" fmla="*/ 1048286 w 2569598"/>
                    <a:gd name="connsiteY14" fmla="*/ 338724 h 390195"/>
                    <a:gd name="connsiteX15" fmla="*/ 1057516 w 2569598"/>
                    <a:gd name="connsiteY15" fmla="*/ 370710 h 390195"/>
                    <a:gd name="connsiteX16" fmla="*/ 1081298 w 2569598"/>
                    <a:gd name="connsiteY16" fmla="*/ 381991 h 390195"/>
                    <a:gd name="connsiteX17" fmla="*/ 1107766 w 2569598"/>
                    <a:gd name="connsiteY17" fmla="*/ 371394 h 390195"/>
                    <a:gd name="connsiteX18" fmla="*/ 1117142 w 2569598"/>
                    <a:gd name="connsiteY18" fmla="*/ 345560 h 390195"/>
                    <a:gd name="connsiteX19" fmla="*/ 1117142 w 2569598"/>
                    <a:gd name="connsiteY19" fmla="*/ 326906 h 390195"/>
                    <a:gd name="connsiteX20" fmla="*/ 1108302 w 2569598"/>
                    <a:gd name="connsiteY20" fmla="*/ 303221 h 390195"/>
                    <a:gd name="connsiteX21" fmla="*/ 1084520 w 2569598"/>
                    <a:gd name="connsiteY21" fmla="*/ 293503 h 390195"/>
                    <a:gd name="connsiteX22" fmla="*/ 921424 w 2569598"/>
                    <a:gd name="connsiteY22" fmla="*/ 293503 h 390195"/>
                    <a:gd name="connsiteX23" fmla="*/ 898130 w 2569598"/>
                    <a:gd name="connsiteY23" fmla="*/ 302928 h 390195"/>
                    <a:gd name="connsiteX24" fmla="*/ 886752 w 2569598"/>
                    <a:gd name="connsiteY24" fmla="*/ 329934 h 390195"/>
                    <a:gd name="connsiteX25" fmla="*/ 951016 w 2569598"/>
                    <a:gd name="connsiteY25" fmla="*/ 329934 h 390195"/>
                    <a:gd name="connsiteX26" fmla="*/ 942716 w 2569598"/>
                    <a:gd name="connsiteY26" fmla="*/ 303075 h 390195"/>
                    <a:gd name="connsiteX27" fmla="*/ 921424 w 2569598"/>
                    <a:gd name="connsiteY27" fmla="*/ 293503 h 390195"/>
                    <a:gd name="connsiteX28" fmla="*/ 815522 w 2569598"/>
                    <a:gd name="connsiteY28" fmla="*/ 293503 h 390195"/>
                    <a:gd name="connsiteX29" fmla="*/ 788468 w 2569598"/>
                    <a:gd name="connsiteY29" fmla="*/ 305223 h 390195"/>
                    <a:gd name="connsiteX30" fmla="*/ 778898 w 2569598"/>
                    <a:gd name="connsiteY30" fmla="*/ 332766 h 390195"/>
                    <a:gd name="connsiteX31" fmla="*/ 778898 w 2569598"/>
                    <a:gd name="connsiteY31" fmla="*/ 345365 h 390195"/>
                    <a:gd name="connsiteX32" fmla="*/ 788372 w 2569598"/>
                    <a:gd name="connsiteY32" fmla="*/ 371198 h 390195"/>
                    <a:gd name="connsiteX33" fmla="*/ 813276 w 2569598"/>
                    <a:gd name="connsiteY33" fmla="*/ 381991 h 390195"/>
                    <a:gd name="connsiteX34" fmla="*/ 838182 w 2569598"/>
                    <a:gd name="connsiteY34" fmla="*/ 368854 h 390195"/>
                    <a:gd name="connsiteX35" fmla="*/ 847754 w 2569598"/>
                    <a:gd name="connsiteY35" fmla="*/ 334329 h 390195"/>
                    <a:gd name="connsiteX36" fmla="*/ 838964 w 2569598"/>
                    <a:gd name="connsiteY36" fmla="*/ 304540 h 390195"/>
                    <a:gd name="connsiteX37" fmla="*/ 815522 w 2569598"/>
                    <a:gd name="connsiteY37" fmla="*/ 293503 h 390195"/>
                    <a:gd name="connsiteX38" fmla="*/ 1251148 w 2569598"/>
                    <a:gd name="connsiteY38" fmla="*/ 287741 h 390195"/>
                    <a:gd name="connsiteX39" fmla="*/ 1261208 w 2569598"/>
                    <a:gd name="connsiteY39" fmla="*/ 287741 h 390195"/>
                    <a:gd name="connsiteX40" fmla="*/ 1290996 w 2569598"/>
                    <a:gd name="connsiteY40" fmla="*/ 367341 h 390195"/>
                    <a:gd name="connsiteX41" fmla="*/ 1294024 w 2569598"/>
                    <a:gd name="connsiteY41" fmla="*/ 377791 h 390195"/>
                    <a:gd name="connsiteX42" fmla="*/ 1294414 w 2569598"/>
                    <a:gd name="connsiteY42" fmla="*/ 377791 h 390195"/>
                    <a:gd name="connsiteX43" fmla="*/ 1297246 w 2569598"/>
                    <a:gd name="connsiteY43" fmla="*/ 367731 h 390195"/>
                    <a:gd name="connsiteX44" fmla="*/ 1328012 w 2569598"/>
                    <a:gd name="connsiteY44" fmla="*/ 287741 h 390195"/>
                    <a:gd name="connsiteX45" fmla="*/ 1337780 w 2569598"/>
                    <a:gd name="connsiteY45" fmla="*/ 287741 h 390195"/>
                    <a:gd name="connsiteX46" fmla="*/ 1298028 w 2569598"/>
                    <a:gd name="connsiteY46" fmla="*/ 387753 h 390195"/>
                    <a:gd name="connsiteX47" fmla="*/ 1289824 w 2569598"/>
                    <a:gd name="connsiteY47" fmla="*/ 387753 h 390195"/>
                    <a:gd name="connsiteX48" fmla="*/ 1227112 w 2569598"/>
                    <a:gd name="connsiteY48" fmla="*/ 287741 h 390195"/>
                    <a:gd name="connsiteX49" fmla="*/ 1236098 w 2569598"/>
                    <a:gd name="connsiteY49" fmla="*/ 287741 h 390195"/>
                    <a:gd name="connsiteX50" fmla="*/ 1236098 w 2569598"/>
                    <a:gd name="connsiteY50" fmla="*/ 387753 h 390195"/>
                    <a:gd name="connsiteX51" fmla="*/ 1227112 w 2569598"/>
                    <a:gd name="connsiteY51" fmla="*/ 387753 h 390195"/>
                    <a:gd name="connsiteX52" fmla="*/ 1502448 w 2569598"/>
                    <a:gd name="connsiteY52" fmla="*/ 285787 h 390195"/>
                    <a:gd name="connsiteX53" fmla="*/ 1512410 w 2569598"/>
                    <a:gd name="connsiteY53" fmla="*/ 287545 h 390195"/>
                    <a:gd name="connsiteX54" fmla="*/ 1512410 w 2569598"/>
                    <a:gd name="connsiteY54" fmla="*/ 297117 h 390195"/>
                    <a:gd name="connsiteX55" fmla="*/ 1501862 w 2569598"/>
                    <a:gd name="connsiteY55" fmla="*/ 293894 h 390195"/>
                    <a:gd name="connsiteX56" fmla="*/ 1482036 w 2569598"/>
                    <a:gd name="connsiteY56" fmla="*/ 306102 h 390195"/>
                    <a:gd name="connsiteX57" fmla="*/ 1474026 w 2569598"/>
                    <a:gd name="connsiteY57" fmla="*/ 340775 h 390195"/>
                    <a:gd name="connsiteX58" fmla="*/ 1474026 w 2569598"/>
                    <a:gd name="connsiteY58" fmla="*/ 387753 h 390195"/>
                    <a:gd name="connsiteX59" fmla="*/ 1465236 w 2569598"/>
                    <a:gd name="connsiteY59" fmla="*/ 387753 h 390195"/>
                    <a:gd name="connsiteX60" fmla="*/ 1465236 w 2569598"/>
                    <a:gd name="connsiteY60" fmla="*/ 287741 h 390195"/>
                    <a:gd name="connsiteX61" fmla="*/ 1474026 w 2569598"/>
                    <a:gd name="connsiteY61" fmla="*/ 287741 h 390195"/>
                    <a:gd name="connsiteX62" fmla="*/ 1474026 w 2569598"/>
                    <a:gd name="connsiteY62" fmla="*/ 309911 h 390195"/>
                    <a:gd name="connsiteX63" fmla="*/ 1474418 w 2569598"/>
                    <a:gd name="connsiteY63" fmla="*/ 309911 h 390195"/>
                    <a:gd name="connsiteX64" fmla="*/ 1485258 w 2569598"/>
                    <a:gd name="connsiteY64" fmla="*/ 292136 h 390195"/>
                    <a:gd name="connsiteX65" fmla="*/ 1502448 w 2569598"/>
                    <a:gd name="connsiteY65" fmla="*/ 285787 h 390195"/>
                    <a:gd name="connsiteX66" fmla="*/ 1197648 w 2569598"/>
                    <a:gd name="connsiteY66" fmla="*/ 285787 h 390195"/>
                    <a:gd name="connsiteX67" fmla="*/ 1207610 w 2569598"/>
                    <a:gd name="connsiteY67" fmla="*/ 287545 h 390195"/>
                    <a:gd name="connsiteX68" fmla="*/ 1207610 w 2569598"/>
                    <a:gd name="connsiteY68" fmla="*/ 297117 h 390195"/>
                    <a:gd name="connsiteX69" fmla="*/ 1197062 w 2569598"/>
                    <a:gd name="connsiteY69" fmla="*/ 293894 h 390195"/>
                    <a:gd name="connsiteX70" fmla="*/ 1177236 w 2569598"/>
                    <a:gd name="connsiteY70" fmla="*/ 306102 h 390195"/>
                    <a:gd name="connsiteX71" fmla="*/ 1169226 w 2569598"/>
                    <a:gd name="connsiteY71" fmla="*/ 340775 h 390195"/>
                    <a:gd name="connsiteX72" fmla="*/ 1169226 w 2569598"/>
                    <a:gd name="connsiteY72" fmla="*/ 387753 h 390195"/>
                    <a:gd name="connsiteX73" fmla="*/ 1160436 w 2569598"/>
                    <a:gd name="connsiteY73" fmla="*/ 387753 h 390195"/>
                    <a:gd name="connsiteX74" fmla="*/ 1160436 w 2569598"/>
                    <a:gd name="connsiteY74" fmla="*/ 287741 h 390195"/>
                    <a:gd name="connsiteX75" fmla="*/ 1169226 w 2569598"/>
                    <a:gd name="connsiteY75" fmla="*/ 287741 h 390195"/>
                    <a:gd name="connsiteX76" fmla="*/ 1169226 w 2569598"/>
                    <a:gd name="connsiteY76" fmla="*/ 309911 h 390195"/>
                    <a:gd name="connsiteX77" fmla="*/ 1169618 w 2569598"/>
                    <a:gd name="connsiteY77" fmla="*/ 309911 h 390195"/>
                    <a:gd name="connsiteX78" fmla="*/ 1180458 w 2569598"/>
                    <a:gd name="connsiteY78" fmla="*/ 292136 h 390195"/>
                    <a:gd name="connsiteX79" fmla="*/ 1197648 w 2569598"/>
                    <a:gd name="connsiteY79" fmla="*/ 285787 h 390195"/>
                    <a:gd name="connsiteX80" fmla="*/ 1778530 w 2569598"/>
                    <a:gd name="connsiteY80" fmla="*/ 285299 h 390195"/>
                    <a:gd name="connsiteX81" fmla="*/ 1800602 w 2569598"/>
                    <a:gd name="connsiteY81" fmla="*/ 290573 h 390195"/>
                    <a:gd name="connsiteX82" fmla="*/ 1800602 w 2569598"/>
                    <a:gd name="connsiteY82" fmla="*/ 300731 h 390195"/>
                    <a:gd name="connsiteX83" fmla="*/ 1777552 w 2569598"/>
                    <a:gd name="connsiteY83" fmla="*/ 293503 h 390195"/>
                    <a:gd name="connsiteX84" fmla="*/ 1761632 w 2569598"/>
                    <a:gd name="connsiteY84" fmla="*/ 298631 h 390195"/>
                    <a:gd name="connsiteX85" fmla="*/ 1755578 w 2569598"/>
                    <a:gd name="connsiteY85" fmla="*/ 311963 h 390195"/>
                    <a:gd name="connsiteX86" fmla="*/ 1759386 w 2569598"/>
                    <a:gd name="connsiteY86" fmla="*/ 323536 h 390195"/>
                    <a:gd name="connsiteX87" fmla="*/ 1776186 w 2569598"/>
                    <a:gd name="connsiteY87" fmla="*/ 333743 h 390195"/>
                    <a:gd name="connsiteX88" fmla="*/ 1797672 w 2569598"/>
                    <a:gd name="connsiteY88" fmla="*/ 346781 h 390195"/>
                    <a:gd name="connsiteX89" fmla="*/ 1803532 w 2569598"/>
                    <a:gd name="connsiteY89" fmla="*/ 362750 h 390195"/>
                    <a:gd name="connsiteX90" fmla="*/ 1794596 w 2569598"/>
                    <a:gd name="connsiteY90" fmla="*/ 382430 h 390195"/>
                    <a:gd name="connsiteX91" fmla="*/ 1769934 w 2569598"/>
                    <a:gd name="connsiteY91" fmla="*/ 390195 h 390195"/>
                    <a:gd name="connsiteX92" fmla="*/ 1745810 w 2569598"/>
                    <a:gd name="connsiteY92" fmla="*/ 383358 h 390195"/>
                    <a:gd name="connsiteX93" fmla="*/ 1745810 w 2569598"/>
                    <a:gd name="connsiteY93" fmla="*/ 372517 h 390195"/>
                    <a:gd name="connsiteX94" fmla="*/ 1758116 w 2569598"/>
                    <a:gd name="connsiteY94" fmla="*/ 379451 h 390195"/>
                    <a:gd name="connsiteX95" fmla="*/ 1770618 w 2569598"/>
                    <a:gd name="connsiteY95" fmla="*/ 381991 h 390195"/>
                    <a:gd name="connsiteX96" fmla="*/ 1794156 w 2569598"/>
                    <a:gd name="connsiteY96" fmla="*/ 362750 h 390195"/>
                    <a:gd name="connsiteX97" fmla="*/ 1788980 w 2569598"/>
                    <a:gd name="connsiteY97" fmla="*/ 351421 h 390195"/>
                    <a:gd name="connsiteX98" fmla="*/ 1772180 w 2569598"/>
                    <a:gd name="connsiteY98" fmla="*/ 341751 h 390195"/>
                    <a:gd name="connsiteX99" fmla="*/ 1752012 w 2569598"/>
                    <a:gd name="connsiteY99" fmla="*/ 328810 h 390195"/>
                    <a:gd name="connsiteX100" fmla="*/ 1746200 w 2569598"/>
                    <a:gd name="connsiteY100" fmla="*/ 312549 h 390195"/>
                    <a:gd name="connsiteX101" fmla="*/ 1755528 w 2569598"/>
                    <a:gd name="connsiteY101" fmla="*/ 292819 h 390195"/>
                    <a:gd name="connsiteX102" fmla="*/ 1778530 w 2569598"/>
                    <a:gd name="connsiteY102" fmla="*/ 285299 h 390195"/>
                    <a:gd name="connsiteX103" fmla="*/ 1702330 w 2569598"/>
                    <a:gd name="connsiteY103" fmla="*/ 285299 h 390195"/>
                    <a:gd name="connsiteX104" fmla="*/ 1724402 w 2569598"/>
                    <a:gd name="connsiteY104" fmla="*/ 290573 h 390195"/>
                    <a:gd name="connsiteX105" fmla="*/ 1724402 w 2569598"/>
                    <a:gd name="connsiteY105" fmla="*/ 300731 h 390195"/>
                    <a:gd name="connsiteX106" fmla="*/ 1701352 w 2569598"/>
                    <a:gd name="connsiteY106" fmla="*/ 293503 h 390195"/>
                    <a:gd name="connsiteX107" fmla="*/ 1685432 w 2569598"/>
                    <a:gd name="connsiteY107" fmla="*/ 298631 h 390195"/>
                    <a:gd name="connsiteX108" fmla="*/ 1679378 w 2569598"/>
                    <a:gd name="connsiteY108" fmla="*/ 311963 h 390195"/>
                    <a:gd name="connsiteX109" fmla="*/ 1683186 w 2569598"/>
                    <a:gd name="connsiteY109" fmla="*/ 323536 h 390195"/>
                    <a:gd name="connsiteX110" fmla="*/ 1699986 w 2569598"/>
                    <a:gd name="connsiteY110" fmla="*/ 333743 h 390195"/>
                    <a:gd name="connsiteX111" fmla="*/ 1721472 w 2569598"/>
                    <a:gd name="connsiteY111" fmla="*/ 346781 h 390195"/>
                    <a:gd name="connsiteX112" fmla="*/ 1727332 w 2569598"/>
                    <a:gd name="connsiteY112" fmla="*/ 362750 h 390195"/>
                    <a:gd name="connsiteX113" fmla="*/ 1718396 w 2569598"/>
                    <a:gd name="connsiteY113" fmla="*/ 382430 h 390195"/>
                    <a:gd name="connsiteX114" fmla="*/ 1693734 w 2569598"/>
                    <a:gd name="connsiteY114" fmla="*/ 390195 h 390195"/>
                    <a:gd name="connsiteX115" fmla="*/ 1669610 w 2569598"/>
                    <a:gd name="connsiteY115" fmla="*/ 383358 h 390195"/>
                    <a:gd name="connsiteX116" fmla="*/ 1669610 w 2569598"/>
                    <a:gd name="connsiteY116" fmla="*/ 372517 h 390195"/>
                    <a:gd name="connsiteX117" fmla="*/ 1681916 w 2569598"/>
                    <a:gd name="connsiteY117" fmla="*/ 379451 h 390195"/>
                    <a:gd name="connsiteX118" fmla="*/ 1694418 w 2569598"/>
                    <a:gd name="connsiteY118" fmla="*/ 381991 h 390195"/>
                    <a:gd name="connsiteX119" fmla="*/ 1717956 w 2569598"/>
                    <a:gd name="connsiteY119" fmla="*/ 362750 h 390195"/>
                    <a:gd name="connsiteX120" fmla="*/ 1712780 w 2569598"/>
                    <a:gd name="connsiteY120" fmla="*/ 351421 h 390195"/>
                    <a:gd name="connsiteX121" fmla="*/ 1695980 w 2569598"/>
                    <a:gd name="connsiteY121" fmla="*/ 341751 h 390195"/>
                    <a:gd name="connsiteX122" fmla="*/ 1675812 w 2569598"/>
                    <a:gd name="connsiteY122" fmla="*/ 328810 h 390195"/>
                    <a:gd name="connsiteX123" fmla="*/ 1670000 w 2569598"/>
                    <a:gd name="connsiteY123" fmla="*/ 312549 h 390195"/>
                    <a:gd name="connsiteX124" fmla="*/ 1679328 w 2569598"/>
                    <a:gd name="connsiteY124" fmla="*/ 292819 h 390195"/>
                    <a:gd name="connsiteX125" fmla="*/ 1702330 w 2569598"/>
                    <a:gd name="connsiteY125" fmla="*/ 285299 h 390195"/>
                    <a:gd name="connsiteX126" fmla="*/ 1607614 w 2569598"/>
                    <a:gd name="connsiteY126" fmla="*/ 285299 h 390195"/>
                    <a:gd name="connsiteX127" fmla="*/ 1636230 w 2569598"/>
                    <a:gd name="connsiteY127" fmla="*/ 298387 h 390195"/>
                    <a:gd name="connsiteX128" fmla="*/ 1646192 w 2569598"/>
                    <a:gd name="connsiteY128" fmla="*/ 334133 h 390195"/>
                    <a:gd name="connsiteX129" fmla="*/ 1646192 w 2569598"/>
                    <a:gd name="connsiteY129" fmla="*/ 338138 h 390195"/>
                    <a:gd name="connsiteX130" fmla="*/ 1572160 w 2569598"/>
                    <a:gd name="connsiteY130" fmla="*/ 338138 h 390195"/>
                    <a:gd name="connsiteX131" fmla="*/ 1581684 w 2569598"/>
                    <a:gd name="connsiteY131" fmla="*/ 370368 h 390195"/>
                    <a:gd name="connsiteX132" fmla="*/ 1607810 w 2569598"/>
                    <a:gd name="connsiteY132" fmla="*/ 381991 h 390195"/>
                    <a:gd name="connsiteX133" fmla="*/ 1640626 w 2569598"/>
                    <a:gd name="connsiteY133" fmla="*/ 369587 h 390195"/>
                    <a:gd name="connsiteX134" fmla="*/ 1640626 w 2569598"/>
                    <a:gd name="connsiteY134" fmla="*/ 379158 h 390195"/>
                    <a:gd name="connsiteX135" fmla="*/ 1605954 w 2569598"/>
                    <a:gd name="connsiteY135" fmla="*/ 390195 h 390195"/>
                    <a:gd name="connsiteX136" fmla="*/ 1574700 w 2569598"/>
                    <a:gd name="connsiteY136" fmla="*/ 376326 h 390195"/>
                    <a:gd name="connsiteX137" fmla="*/ 1562784 w 2569598"/>
                    <a:gd name="connsiteY137" fmla="*/ 337161 h 390195"/>
                    <a:gd name="connsiteX138" fmla="*/ 1575236 w 2569598"/>
                    <a:gd name="connsiteY138" fmla="*/ 300291 h 390195"/>
                    <a:gd name="connsiteX139" fmla="*/ 1607614 w 2569598"/>
                    <a:gd name="connsiteY139" fmla="*/ 285299 h 390195"/>
                    <a:gd name="connsiteX140" fmla="*/ 1398064 w 2569598"/>
                    <a:gd name="connsiteY140" fmla="*/ 285299 h 390195"/>
                    <a:gd name="connsiteX141" fmla="*/ 1426680 w 2569598"/>
                    <a:gd name="connsiteY141" fmla="*/ 298387 h 390195"/>
                    <a:gd name="connsiteX142" fmla="*/ 1436644 w 2569598"/>
                    <a:gd name="connsiteY142" fmla="*/ 334133 h 390195"/>
                    <a:gd name="connsiteX143" fmla="*/ 1436644 w 2569598"/>
                    <a:gd name="connsiteY143" fmla="*/ 338138 h 390195"/>
                    <a:gd name="connsiteX144" fmla="*/ 1362610 w 2569598"/>
                    <a:gd name="connsiteY144" fmla="*/ 338138 h 390195"/>
                    <a:gd name="connsiteX145" fmla="*/ 1372132 w 2569598"/>
                    <a:gd name="connsiteY145" fmla="*/ 370368 h 390195"/>
                    <a:gd name="connsiteX146" fmla="*/ 1398260 w 2569598"/>
                    <a:gd name="connsiteY146" fmla="*/ 381991 h 390195"/>
                    <a:gd name="connsiteX147" fmla="*/ 1431076 w 2569598"/>
                    <a:gd name="connsiteY147" fmla="*/ 369587 h 390195"/>
                    <a:gd name="connsiteX148" fmla="*/ 1431076 w 2569598"/>
                    <a:gd name="connsiteY148" fmla="*/ 379158 h 390195"/>
                    <a:gd name="connsiteX149" fmla="*/ 1396404 w 2569598"/>
                    <a:gd name="connsiteY149" fmla="*/ 390195 h 390195"/>
                    <a:gd name="connsiteX150" fmla="*/ 1365150 w 2569598"/>
                    <a:gd name="connsiteY150" fmla="*/ 376326 h 390195"/>
                    <a:gd name="connsiteX151" fmla="*/ 1353234 w 2569598"/>
                    <a:gd name="connsiteY151" fmla="*/ 337161 h 390195"/>
                    <a:gd name="connsiteX152" fmla="*/ 1365686 w 2569598"/>
                    <a:gd name="connsiteY152" fmla="*/ 300291 h 390195"/>
                    <a:gd name="connsiteX153" fmla="*/ 1398064 w 2569598"/>
                    <a:gd name="connsiteY153" fmla="*/ 285299 h 390195"/>
                    <a:gd name="connsiteX154" fmla="*/ 921814 w 2569598"/>
                    <a:gd name="connsiteY154" fmla="*/ 285299 h 390195"/>
                    <a:gd name="connsiteX155" fmla="*/ 950430 w 2569598"/>
                    <a:gd name="connsiteY155" fmla="*/ 298387 h 390195"/>
                    <a:gd name="connsiteX156" fmla="*/ 960392 w 2569598"/>
                    <a:gd name="connsiteY156" fmla="*/ 334133 h 390195"/>
                    <a:gd name="connsiteX157" fmla="*/ 960392 w 2569598"/>
                    <a:gd name="connsiteY157" fmla="*/ 338138 h 390195"/>
                    <a:gd name="connsiteX158" fmla="*/ 886360 w 2569598"/>
                    <a:gd name="connsiteY158" fmla="*/ 338138 h 390195"/>
                    <a:gd name="connsiteX159" fmla="*/ 895884 w 2569598"/>
                    <a:gd name="connsiteY159" fmla="*/ 370368 h 390195"/>
                    <a:gd name="connsiteX160" fmla="*/ 922010 w 2569598"/>
                    <a:gd name="connsiteY160" fmla="*/ 381991 h 390195"/>
                    <a:gd name="connsiteX161" fmla="*/ 954826 w 2569598"/>
                    <a:gd name="connsiteY161" fmla="*/ 369587 h 390195"/>
                    <a:gd name="connsiteX162" fmla="*/ 954826 w 2569598"/>
                    <a:gd name="connsiteY162" fmla="*/ 379158 h 390195"/>
                    <a:gd name="connsiteX163" fmla="*/ 920154 w 2569598"/>
                    <a:gd name="connsiteY163" fmla="*/ 390195 h 390195"/>
                    <a:gd name="connsiteX164" fmla="*/ 888900 w 2569598"/>
                    <a:gd name="connsiteY164" fmla="*/ 376326 h 390195"/>
                    <a:gd name="connsiteX165" fmla="*/ 876984 w 2569598"/>
                    <a:gd name="connsiteY165" fmla="*/ 337161 h 390195"/>
                    <a:gd name="connsiteX166" fmla="*/ 889436 w 2569598"/>
                    <a:gd name="connsiteY166" fmla="*/ 300291 h 390195"/>
                    <a:gd name="connsiteX167" fmla="*/ 921814 w 2569598"/>
                    <a:gd name="connsiteY167" fmla="*/ 285299 h 390195"/>
                    <a:gd name="connsiteX168" fmla="*/ 1231506 w 2569598"/>
                    <a:gd name="connsiteY168" fmla="*/ 247697 h 390195"/>
                    <a:gd name="connsiteX169" fmla="*/ 1236830 w 2569598"/>
                    <a:gd name="connsiteY169" fmla="*/ 249650 h 390195"/>
                    <a:gd name="connsiteX170" fmla="*/ 1239124 w 2569598"/>
                    <a:gd name="connsiteY170" fmla="*/ 254924 h 390195"/>
                    <a:gd name="connsiteX171" fmla="*/ 1236878 w 2569598"/>
                    <a:gd name="connsiteY171" fmla="*/ 260296 h 390195"/>
                    <a:gd name="connsiteX172" fmla="*/ 1231506 w 2569598"/>
                    <a:gd name="connsiteY172" fmla="*/ 262542 h 390195"/>
                    <a:gd name="connsiteX173" fmla="*/ 1226330 w 2569598"/>
                    <a:gd name="connsiteY173" fmla="*/ 260394 h 390195"/>
                    <a:gd name="connsiteX174" fmla="*/ 1224084 w 2569598"/>
                    <a:gd name="connsiteY174" fmla="*/ 254924 h 390195"/>
                    <a:gd name="connsiteX175" fmla="*/ 1226380 w 2569598"/>
                    <a:gd name="connsiteY175" fmla="*/ 249699 h 390195"/>
                    <a:gd name="connsiteX176" fmla="*/ 1231506 w 2569598"/>
                    <a:gd name="connsiteY176" fmla="*/ 247697 h 390195"/>
                    <a:gd name="connsiteX177" fmla="*/ 1531912 w 2569598"/>
                    <a:gd name="connsiteY177" fmla="*/ 239688 h 390195"/>
                    <a:gd name="connsiteX178" fmla="*/ 1540898 w 2569598"/>
                    <a:gd name="connsiteY178" fmla="*/ 239688 h 390195"/>
                    <a:gd name="connsiteX179" fmla="*/ 1540898 w 2569598"/>
                    <a:gd name="connsiteY179" fmla="*/ 387753 h 390195"/>
                    <a:gd name="connsiteX180" fmla="*/ 1531912 w 2569598"/>
                    <a:gd name="connsiteY180" fmla="*/ 387753 h 390195"/>
                    <a:gd name="connsiteX181" fmla="*/ 1117142 w 2569598"/>
                    <a:gd name="connsiteY181" fmla="*/ 239688 h 390195"/>
                    <a:gd name="connsiteX182" fmla="*/ 1126128 w 2569598"/>
                    <a:gd name="connsiteY182" fmla="*/ 239688 h 390195"/>
                    <a:gd name="connsiteX183" fmla="*/ 1126128 w 2569598"/>
                    <a:gd name="connsiteY183" fmla="*/ 387753 h 390195"/>
                    <a:gd name="connsiteX184" fmla="*/ 1117142 w 2569598"/>
                    <a:gd name="connsiteY184" fmla="*/ 387753 h 390195"/>
                    <a:gd name="connsiteX185" fmla="*/ 1117142 w 2569598"/>
                    <a:gd name="connsiteY185" fmla="*/ 369587 h 390195"/>
                    <a:gd name="connsiteX186" fmla="*/ 1116752 w 2569598"/>
                    <a:gd name="connsiteY186" fmla="*/ 369587 h 390195"/>
                    <a:gd name="connsiteX187" fmla="*/ 1102296 w 2569598"/>
                    <a:gd name="connsiteY187" fmla="*/ 384628 h 390195"/>
                    <a:gd name="connsiteX188" fmla="*/ 1080712 w 2569598"/>
                    <a:gd name="connsiteY188" fmla="*/ 390195 h 390195"/>
                    <a:gd name="connsiteX189" fmla="*/ 1050580 w 2569598"/>
                    <a:gd name="connsiteY189" fmla="*/ 376717 h 390195"/>
                    <a:gd name="connsiteX190" fmla="*/ 1038910 w 2569598"/>
                    <a:gd name="connsiteY190" fmla="*/ 339505 h 390195"/>
                    <a:gd name="connsiteX191" fmla="*/ 1051654 w 2569598"/>
                    <a:gd name="connsiteY191" fmla="*/ 300291 h 390195"/>
                    <a:gd name="connsiteX192" fmla="*/ 1084716 w 2569598"/>
                    <a:gd name="connsiteY192" fmla="*/ 285299 h 390195"/>
                    <a:gd name="connsiteX193" fmla="*/ 1116752 w 2569598"/>
                    <a:gd name="connsiteY193" fmla="*/ 303758 h 390195"/>
                    <a:gd name="connsiteX194" fmla="*/ 1117142 w 2569598"/>
                    <a:gd name="connsiteY194" fmla="*/ 303758 h 390195"/>
                    <a:gd name="connsiteX195" fmla="*/ 769912 w 2569598"/>
                    <a:gd name="connsiteY195" fmla="*/ 239688 h 390195"/>
                    <a:gd name="connsiteX196" fmla="*/ 778898 w 2569598"/>
                    <a:gd name="connsiteY196" fmla="*/ 239688 h 390195"/>
                    <a:gd name="connsiteX197" fmla="*/ 778898 w 2569598"/>
                    <a:gd name="connsiteY197" fmla="*/ 308349 h 390195"/>
                    <a:gd name="connsiteX198" fmla="*/ 779288 w 2569598"/>
                    <a:gd name="connsiteY198" fmla="*/ 308349 h 390195"/>
                    <a:gd name="connsiteX199" fmla="*/ 794670 w 2569598"/>
                    <a:gd name="connsiteY199" fmla="*/ 291306 h 390195"/>
                    <a:gd name="connsiteX200" fmla="*/ 816694 w 2569598"/>
                    <a:gd name="connsiteY200" fmla="*/ 285299 h 390195"/>
                    <a:gd name="connsiteX201" fmla="*/ 846434 w 2569598"/>
                    <a:gd name="connsiteY201" fmla="*/ 298435 h 390195"/>
                    <a:gd name="connsiteX202" fmla="*/ 857130 w 2569598"/>
                    <a:gd name="connsiteY202" fmla="*/ 334133 h 390195"/>
                    <a:gd name="connsiteX203" fmla="*/ 844726 w 2569598"/>
                    <a:gd name="connsiteY203" fmla="*/ 374714 h 390195"/>
                    <a:gd name="connsiteX204" fmla="*/ 812496 w 2569598"/>
                    <a:gd name="connsiteY204" fmla="*/ 390195 h 390195"/>
                    <a:gd name="connsiteX205" fmla="*/ 779288 w 2569598"/>
                    <a:gd name="connsiteY205" fmla="*/ 369978 h 390195"/>
                    <a:gd name="connsiteX206" fmla="*/ 778898 w 2569598"/>
                    <a:gd name="connsiteY206" fmla="*/ 369978 h 390195"/>
                    <a:gd name="connsiteX207" fmla="*/ 778898 w 2569598"/>
                    <a:gd name="connsiteY207" fmla="*/ 387753 h 390195"/>
                    <a:gd name="connsiteX208" fmla="*/ 769912 w 2569598"/>
                    <a:gd name="connsiteY208" fmla="*/ 387753 h 390195"/>
                    <a:gd name="connsiteX209" fmla="*/ 2058410 w 2569598"/>
                    <a:gd name="connsiteY209" fmla="*/ 95813 h 390195"/>
                    <a:gd name="connsiteX210" fmla="*/ 2030868 w 2569598"/>
                    <a:gd name="connsiteY210" fmla="*/ 99817 h 390195"/>
                    <a:gd name="connsiteX211" fmla="*/ 2008794 w 2569598"/>
                    <a:gd name="connsiteY211" fmla="*/ 107094 h 390195"/>
                    <a:gd name="connsiteX212" fmla="*/ 2002446 w 2569598"/>
                    <a:gd name="connsiteY212" fmla="*/ 123453 h 390195"/>
                    <a:gd name="connsiteX213" fmla="*/ 2008354 w 2569598"/>
                    <a:gd name="connsiteY213" fmla="*/ 138103 h 390195"/>
                    <a:gd name="connsiteX214" fmla="*/ 2024812 w 2569598"/>
                    <a:gd name="connsiteY214" fmla="*/ 143866 h 390195"/>
                    <a:gd name="connsiteX215" fmla="*/ 2048838 w 2569598"/>
                    <a:gd name="connsiteY215" fmla="*/ 133171 h 390195"/>
                    <a:gd name="connsiteX216" fmla="*/ 2058410 w 2569598"/>
                    <a:gd name="connsiteY216" fmla="*/ 105580 h 390195"/>
                    <a:gd name="connsiteX217" fmla="*/ 1001134 w 2569598"/>
                    <a:gd name="connsiteY217" fmla="*/ 95813 h 390195"/>
                    <a:gd name="connsiteX218" fmla="*/ 973592 w 2569598"/>
                    <a:gd name="connsiteY218" fmla="*/ 99817 h 390195"/>
                    <a:gd name="connsiteX219" fmla="*/ 951520 w 2569598"/>
                    <a:gd name="connsiteY219" fmla="*/ 107094 h 390195"/>
                    <a:gd name="connsiteX220" fmla="*/ 945170 w 2569598"/>
                    <a:gd name="connsiteY220" fmla="*/ 123453 h 390195"/>
                    <a:gd name="connsiteX221" fmla="*/ 951080 w 2569598"/>
                    <a:gd name="connsiteY221" fmla="*/ 138103 h 390195"/>
                    <a:gd name="connsiteX222" fmla="*/ 967536 w 2569598"/>
                    <a:gd name="connsiteY222" fmla="*/ 143866 h 390195"/>
                    <a:gd name="connsiteX223" fmla="*/ 991564 w 2569598"/>
                    <a:gd name="connsiteY223" fmla="*/ 133171 h 390195"/>
                    <a:gd name="connsiteX224" fmla="*/ 1001134 w 2569598"/>
                    <a:gd name="connsiteY224" fmla="*/ 105580 h 390195"/>
                    <a:gd name="connsiteX225" fmla="*/ 677284 w 2569598"/>
                    <a:gd name="connsiteY225" fmla="*/ 95813 h 390195"/>
                    <a:gd name="connsiteX226" fmla="*/ 649742 w 2569598"/>
                    <a:gd name="connsiteY226" fmla="*/ 99817 h 390195"/>
                    <a:gd name="connsiteX227" fmla="*/ 627670 w 2569598"/>
                    <a:gd name="connsiteY227" fmla="*/ 107094 h 390195"/>
                    <a:gd name="connsiteX228" fmla="*/ 621320 w 2569598"/>
                    <a:gd name="connsiteY228" fmla="*/ 123453 h 390195"/>
                    <a:gd name="connsiteX229" fmla="*/ 627230 w 2569598"/>
                    <a:gd name="connsiteY229" fmla="*/ 138103 h 390195"/>
                    <a:gd name="connsiteX230" fmla="*/ 643686 w 2569598"/>
                    <a:gd name="connsiteY230" fmla="*/ 143866 h 390195"/>
                    <a:gd name="connsiteX231" fmla="*/ 667714 w 2569598"/>
                    <a:gd name="connsiteY231" fmla="*/ 133171 h 390195"/>
                    <a:gd name="connsiteX232" fmla="*/ 677284 w 2569598"/>
                    <a:gd name="connsiteY232" fmla="*/ 105580 h 390195"/>
                    <a:gd name="connsiteX233" fmla="*/ 281132 w 2569598"/>
                    <a:gd name="connsiteY233" fmla="*/ 88390 h 390195"/>
                    <a:gd name="connsiteX234" fmla="*/ 263454 w 2569598"/>
                    <a:gd name="connsiteY234" fmla="*/ 96008 h 390195"/>
                    <a:gd name="connsiteX235" fmla="*/ 256910 w 2569598"/>
                    <a:gd name="connsiteY235" fmla="*/ 116812 h 390195"/>
                    <a:gd name="connsiteX236" fmla="*/ 263210 w 2569598"/>
                    <a:gd name="connsiteY236" fmla="*/ 136834 h 390195"/>
                    <a:gd name="connsiteX237" fmla="*/ 280546 w 2569598"/>
                    <a:gd name="connsiteY237" fmla="*/ 144256 h 390195"/>
                    <a:gd name="connsiteX238" fmla="*/ 298078 w 2569598"/>
                    <a:gd name="connsiteY238" fmla="*/ 136687 h 390195"/>
                    <a:gd name="connsiteX239" fmla="*/ 304378 w 2569598"/>
                    <a:gd name="connsiteY239" fmla="*/ 116226 h 390195"/>
                    <a:gd name="connsiteX240" fmla="*/ 298126 w 2569598"/>
                    <a:gd name="connsiteY240" fmla="*/ 95422 h 390195"/>
                    <a:gd name="connsiteX241" fmla="*/ 281132 w 2569598"/>
                    <a:gd name="connsiteY241" fmla="*/ 88390 h 390195"/>
                    <a:gd name="connsiteX242" fmla="*/ 281328 w 2569598"/>
                    <a:gd name="connsiteY242" fmla="*/ 80381 h 390195"/>
                    <a:gd name="connsiteX243" fmla="*/ 304572 w 2569598"/>
                    <a:gd name="connsiteY243" fmla="*/ 89953 h 390195"/>
                    <a:gd name="connsiteX244" fmla="*/ 313168 w 2569598"/>
                    <a:gd name="connsiteY244" fmla="*/ 116421 h 390195"/>
                    <a:gd name="connsiteX245" fmla="*/ 304230 w 2569598"/>
                    <a:gd name="connsiteY245" fmla="*/ 141864 h 390195"/>
                    <a:gd name="connsiteX246" fmla="*/ 280350 w 2569598"/>
                    <a:gd name="connsiteY246" fmla="*/ 152070 h 390195"/>
                    <a:gd name="connsiteX247" fmla="*/ 256666 w 2569598"/>
                    <a:gd name="connsiteY247" fmla="*/ 142205 h 390195"/>
                    <a:gd name="connsiteX248" fmla="*/ 247924 w 2569598"/>
                    <a:gd name="connsiteY248" fmla="*/ 116616 h 390195"/>
                    <a:gd name="connsiteX249" fmla="*/ 257302 w 2569598"/>
                    <a:gd name="connsiteY249" fmla="*/ 89855 h 390195"/>
                    <a:gd name="connsiteX250" fmla="*/ 281328 w 2569598"/>
                    <a:gd name="connsiteY250" fmla="*/ 80381 h 390195"/>
                    <a:gd name="connsiteX251" fmla="*/ 2132270 w 2569598"/>
                    <a:gd name="connsiteY251" fmla="*/ 55378 h 390195"/>
                    <a:gd name="connsiteX252" fmla="*/ 2106290 w 2569598"/>
                    <a:gd name="connsiteY252" fmla="*/ 67440 h 390195"/>
                    <a:gd name="connsiteX253" fmla="*/ 2096036 w 2569598"/>
                    <a:gd name="connsiteY253" fmla="*/ 100599 h 390195"/>
                    <a:gd name="connsiteX254" fmla="*/ 2105264 w 2569598"/>
                    <a:gd name="connsiteY254" fmla="*/ 132585 h 390195"/>
                    <a:gd name="connsiteX255" fmla="*/ 2129048 w 2569598"/>
                    <a:gd name="connsiteY255" fmla="*/ 143866 h 390195"/>
                    <a:gd name="connsiteX256" fmla="*/ 2155516 w 2569598"/>
                    <a:gd name="connsiteY256" fmla="*/ 133269 h 390195"/>
                    <a:gd name="connsiteX257" fmla="*/ 2164892 w 2569598"/>
                    <a:gd name="connsiteY257" fmla="*/ 107435 h 390195"/>
                    <a:gd name="connsiteX258" fmla="*/ 2164892 w 2569598"/>
                    <a:gd name="connsiteY258" fmla="*/ 88781 h 390195"/>
                    <a:gd name="connsiteX259" fmla="*/ 2156052 w 2569598"/>
                    <a:gd name="connsiteY259" fmla="*/ 65096 h 390195"/>
                    <a:gd name="connsiteX260" fmla="*/ 2132270 w 2569598"/>
                    <a:gd name="connsiteY260" fmla="*/ 55378 h 390195"/>
                    <a:gd name="connsiteX261" fmla="*/ 1925162 w 2569598"/>
                    <a:gd name="connsiteY261" fmla="*/ 55378 h 390195"/>
                    <a:gd name="connsiteX262" fmla="*/ 1896984 w 2569598"/>
                    <a:gd name="connsiteY262" fmla="*/ 67294 h 390195"/>
                    <a:gd name="connsiteX263" fmla="*/ 1886486 w 2569598"/>
                    <a:gd name="connsiteY263" fmla="*/ 100403 h 390195"/>
                    <a:gd name="connsiteX264" fmla="*/ 1896740 w 2569598"/>
                    <a:gd name="connsiteY264" fmla="*/ 131950 h 390195"/>
                    <a:gd name="connsiteX265" fmla="*/ 1924772 w 2569598"/>
                    <a:gd name="connsiteY265" fmla="*/ 143866 h 390195"/>
                    <a:gd name="connsiteX266" fmla="*/ 1952608 w 2569598"/>
                    <a:gd name="connsiteY266" fmla="*/ 132146 h 390195"/>
                    <a:gd name="connsiteX267" fmla="*/ 1962374 w 2569598"/>
                    <a:gd name="connsiteY267" fmla="*/ 99622 h 390195"/>
                    <a:gd name="connsiteX268" fmla="*/ 1952656 w 2569598"/>
                    <a:gd name="connsiteY268" fmla="*/ 66805 h 390195"/>
                    <a:gd name="connsiteX269" fmla="*/ 1925162 w 2569598"/>
                    <a:gd name="connsiteY269" fmla="*/ 55378 h 390195"/>
                    <a:gd name="connsiteX270" fmla="*/ 1296512 w 2569598"/>
                    <a:gd name="connsiteY270" fmla="*/ 55378 h 390195"/>
                    <a:gd name="connsiteX271" fmla="*/ 1268334 w 2569598"/>
                    <a:gd name="connsiteY271" fmla="*/ 67294 h 390195"/>
                    <a:gd name="connsiteX272" fmla="*/ 1257836 w 2569598"/>
                    <a:gd name="connsiteY272" fmla="*/ 100403 h 390195"/>
                    <a:gd name="connsiteX273" fmla="*/ 1268090 w 2569598"/>
                    <a:gd name="connsiteY273" fmla="*/ 131950 h 390195"/>
                    <a:gd name="connsiteX274" fmla="*/ 1296122 w 2569598"/>
                    <a:gd name="connsiteY274" fmla="*/ 143866 h 390195"/>
                    <a:gd name="connsiteX275" fmla="*/ 1323956 w 2569598"/>
                    <a:gd name="connsiteY275" fmla="*/ 132146 h 390195"/>
                    <a:gd name="connsiteX276" fmla="*/ 1333724 w 2569598"/>
                    <a:gd name="connsiteY276" fmla="*/ 99622 h 390195"/>
                    <a:gd name="connsiteX277" fmla="*/ 1324006 w 2569598"/>
                    <a:gd name="connsiteY277" fmla="*/ 66805 h 390195"/>
                    <a:gd name="connsiteX278" fmla="*/ 1296512 w 2569598"/>
                    <a:gd name="connsiteY278" fmla="*/ 55378 h 390195"/>
                    <a:gd name="connsiteX279" fmla="*/ 439262 w 2569598"/>
                    <a:gd name="connsiteY279" fmla="*/ 55378 h 390195"/>
                    <a:gd name="connsiteX280" fmla="*/ 411084 w 2569598"/>
                    <a:gd name="connsiteY280" fmla="*/ 67294 h 390195"/>
                    <a:gd name="connsiteX281" fmla="*/ 400586 w 2569598"/>
                    <a:gd name="connsiteY281" fmla="*/ 100403 h 390195"/>
                    <a:gd name="connsiteX282" fmla="*/ 410840 w 2569598"/>
                    <a:gd name="connsiteY282" fmla="*/ 131950 h 390195"/>
                    <a:gd name="connsiteX283" fmla="*/ 438872 w 2569598"/>
                    <a:gd name="connsiteY283" fmla="*/ 143866 h 390195"/>
                    <a:gd name="connsiteX284" fmla="*/ 466706 w 2569598"/>
                    <a:gd name="connsiteY284" fmla="*/ 132146 h 390195"/>
                    <a:gd name="connsiteX285" fmla="*/ 476474 w 2569598"/>
                    <a:gd name="connsiteY285" fmla="*/ 99622 h 390195"/>
                    <a:gd name="connsiteX286" fmla="*/ 466756 w 2569598"/>
                    <a:gd name="connsiteY286" fmla="*/ 66805 h 390195"/>
                    <a:gd name="connsiteX287" fmla="*/ 439262 w 2569598"/>
                    <a:gd name="connsiteY287" fmla="*/ 55378 h 390195"/>
                    <a:gd name="connsiteX288" fmla="*/ 2484412 w 2569598"/>
                    <a:gd name="connsiteY288" fmla="*/ 49616 h 390195"/>
                    <a:gd name="connsiteX289" fmla="*/ 2493398 w 2569598"/>
                    <a:gd name="connsiteY289" fmla="*/ 49616 h 390195"/>
                    <a:gd name="connsiteX290" fmla="*/ 2493398 w 2569598"/>
                    <a:gd name="connsiteY290" fmla="*/ 149628 h 390195"/>
                    <a:gd name="connsiteX291" fmla="*/ 2484412 w 2569598"/>
                    <a:gd name="connsiteY291" fmla="*/ 149628 h 390195"/>
                    <a:gd name="connsiteX292" fmla="*/ 2338658 w 2569598"/>
                    <a:gd name="connsiteY292" fmla="*/ 49616 h 390195"/>
                    <a:gd name="connsiteX293" fmla="*/ 2348620 w 2569598"/>
                    <a:gd name="connsiteY293" fmla="*/ 49616 h 390195"/>
                    <a:gd name="connsiteX294" fmla="*/ 2371864 w 2569598"/>
                    <a:gd name="connsiteY294" fmla="*/ 129411 h 390195"/>
                    <a:gd name="connsiteX295" fmla="*/ 2373232 w 2569598"/>
                    <a:gd name="connsiteY295" fmla="*/ 137810 h 390195"/>
                    <a:gd name="connsiteX296" fmla="*/ 2374014 w 2569598"/>
                    <a:gd name="connsiteY296" fmla="*/ 137810 h 390195"/>
                    <a:gd name="connsiteX297" fmla="*/ 2375870 w 2569598"/>
                    <a:gd name="connsiteY297" fmla="*/ 129411 h 390195"/>
                    <a:gd name="connsiteX298" fmla="*/ 2401264 w 2569598"/>
                    <a:gd name="connsiteY298" fmla="*/ 49616 h 390195"/>
                    <a:gd name="connsiteX299" fmla="*/ 2407416 w 2569598"/>
                    <a:gd name="connsiteY299" fmla="*/ 49616 h 390195"/>
                    <a:gd name="connsiteX300" fmla="*/ 2430076 w 2569598"/>
                    <a:gd name="connsiteY300" fmla="*/ 129411 h 390195"/>
                    <a:gd name="connsiteX301" fmla="*/ 2431442 w 2569598"/>
                    <a:gd name="connsiteY301" fmla="*/ 137810 h 390195"/>
                    <a:gd name="connsiteX302" fmla="*/ 2432224 w 2569598"/>
                    <a:gd name="connsiteY302" fmla="*/ 137810 h 390195"/>
                    <a:gd name="connsiteX303" fmla="*/ 2433884 w 2569598"/>
                    <a:gd name="connsiteY303" fmla="*/ 129411 h 390195"/>
                    <a:gd name="connsiteX304" fmla="*/ 2457618 w 2569598"/>
                    <a:gd name="connsiteY304" fmla="*/ 49616 h 390195"/>
                    <a:gd name="connsiteX305" fmla="*/ 2466896 w 2569598"/>
                    <a:gd name="connsiteY305" fmla="*/ 49616 h 390195"/>
                    <a:gd name="connsiteX306" fmla="*/ 2435838 w 2569598"/>
                    <a:gd name="connsiteY306" fmla="*/ 149628 h 390195"/>
                    <a:gd name="connsiteX307" fmla="*/ 2427438 w 2569598"/>
                    <a:gd name="connsiteY307" fmla="*/ 149628 h 390195"/>
                    <a:gd name="connsiteX308" fmla="*/ 2405658 w 2569598"/>
                    <a:gd name="connsiteY308" fmla="*/ 74228 h 390195"/>
                    <a:gd name="connsiteX309" fmla="*/ 2404096 w 2569598"/>
                    <a:gd name="connsiteY309" fmla="*/ 65829 h 390195"/>
                    <a:gd name="connsiteX310" fmla="*/ 2403608 w 2569598"/>
                    <a:gd name="connsiteY310" fmla="*/ 65829 h 390195"/>
                    <a:gd name="connsiteX311" fmla="*/ 2401654 w 2569598"/>
                    <a:gd name="connsiteY311" fmla="*/ 74033 h 390195"/>
                    <a:gd name="connsiteX312" fmla="*/ 2377236 w 2569598"/>
                    <a:gd name="connsiteY312" fmla="*/ 149628 h 390195"/>
                    <a:gd name="connsiteX313" fmla="*/ 2368838 w 2569598"/>
                    <a:gd name="connsiteY313" fmla="*/ 149628 h 390195"/>
                    <a:gd name="connsiteX314" fmla="*/ 1854874 w 2569598"/>
                    <a:gd name="connsiteY314" fmla="*/ 47662 h 390195"/>
                    <a:gd name="connsiteX315" fmla="*/ 1864836 w 2569598"/>
                    <a:gd name="connsiteY315" fmla="*/ 49420 h 390195"/>
                    <a:gd name="connsiteX316" fmla="*/ 1864836 w 2569598"/>
                    <a:gd name="connsiteY316" fmla="*/ 58992 h 390195"/>
                    <a:gd name="connsiteX317" fmla="*/ 1854288 w 2569598"/>
                    <a:gd name="connsiteY317" fmla="*/ 55769 h 390195"/>
                    <a:gd name="connsiteX318" fmla="*/ 1834460 w 2569598"/>
                    <a:gd name="connsiteY318" fmla="*/ 67977 h 390195"/>
                    <a:gd name="connsiteX319" fmla="*/ 1826452 w 2569598"/>
                    <a:gd name="connsiteY319" fmla="*/ 102650 h 390195"/>
                    <a:gd name="connsiteX320" fmla="*/ 1826452 w 2569598"/>
                    <a:gd name="connsiteY320" fmla="*/ 149628 h 390195"/>
                    <a:gd name="connsiteX321" fmla="*/ 1817662 w 2569598"/>
                    <a:gd name="connsiteY321" fmla="*/ 149628 h 390195"/>
                    <a:gd name="connsiteX322" fmla="*/ 1817662 w 2569598"/>
                    <a:gd name="connsiteY322" fmla="*/ 49616 h 390195"/>
                    <a:gd name="connsiteX323" fmla="*/ 1826452 w 2569598"/>
                    <a:gd name="connsiteY323" fmla="*/ 49616 h 390195"/>
                    <a:gd name="connsiteX324" fmla="*/ 1826452 w 2569598"/>
                    <a:gd name="connsiteY324" fmla="*/ 71786 h 390195"/>
                    <a:gd name="connsiteX325" fmla="*/ 1826842 w 2569598"/>
                    <a:gd name="connsiteY325" fmla="*/ 71786 h 390195"/>
                    <a:gd name="connsiteX326" fmla="*/ 1837684 w 2569598"/>
                    <a:gd name="connsiteY326" fmla="*/ 54011 h 390195"/>
                    <a:gd name="connsiteX327" fmla="*/ 1854874 w 2569598"/>
                    <a:gd name="connsiteY327" fmla="*/ 47662 h 390195"/>
                    <a:gd name="connsiteX328" fmla="*/ 1073824 w 2569598"/>
                    <a:gd name="connsiteY328" fmla="*/ 47662 h 390195"/>
                    <a:gd name="connsiteX329" fmla="*/ 1083786 w 2569598"/>
                    <a:gd name="connsiteY329" fmla="*/ 49420 h 390195"/>
                    <a:gd name="connsiteX330" fmla="*/ 1083786 w 2569598"/>
                    <a:gd name="connsiteY330" fmla="*/ 58992 h 390195"/>
                    <a:gd name="connsiteX331" fmla="*/ 1073238 w 2569598"/>
                    <a:gd name="connsiteY331" fmla="*/ 55769 h 390195"/>
                    <a:gd name="connsiteX332" fmla="*/ 1053410 w 2569598"/>
                    <a:gd name="connsiteY332" fmla="*/ 67977 h 390195"/>
                    <a:gd name="connsiteX333" fmla="*/ 1045402 w 2569598"/>
                    <a:gd name="connsiteY333" fmla="*/ 102650 h 390195"/>
                    <a:gd name="connsiteX334" fmla="*/ 1045402 w 2569598"/>
                    <a:gd name="connsiteY334" fmla="*/ 149628 h 390195"/>
                    <a:gd name="connsiteX335" fmla="*/ 1036612 w 2569598"/>
                    <a:gd name="connsiteY335" fmla="*/ 149628 h 390195"/>
                    <a:gd name="connsiteX336" fmla="*/ 1036612 w 2569598"/>
                    <a:gd name="connsiteY336" fmla="*/ 49616 h 390195"/>
                    <a:gd name="connsiteX337" fmla="*/ 1045402 w 2569598"/>
                    <a:gd name="connsiteY337" fmla="*/ 49616 h 390195"/>
                    <a:gd name="connsiteX338" fmla="*/ 1045402 w 2569598"/>
                    <a:gd name="connsiteY338" fmla="*/ 71786 h 390195"/>
                    <a:gd name="connsiteX339" fmla="*/ 1045792 w 2569598"/>
                    <a:gd name="connsiteY339" fmla="*/ 71786 h 390195"/>
                    <a:gd name="connsiteX340" fmla="*/ 1056634 w 2569598"/>
                    <a:gd name="connsiteY340" fmla="*/ 54011 h 390195"/>
                    <a:gd name="connsiteX341" fmla="*/ 1073824 w 2569598"/>
                    <a:gd name="connsiteY341" fmla="*/ 47662 h 390195"/>
                    <a:gd name="connsiteX342" fmla="*/ 2235730 w 2569598"/>
                    <a:gd name="connsiteY342" fmla="*/ 47174 h 390195"/>
                    <a:gd name="connsiteX343" fmla="*/ 2257802 w 2569598"/>
                    <a:gd name="connsiteY343" fmla="*/ 52448 h 390195"/>
                    <a:gd name="connsiteX344" fmla="*/ 2257802 w 2569598"/>
                    <a:gd name="connsiteY344" fmla="*/ 62606 h 390195"/>
                    <a:gd name="connsiteX345" fmla="*/ 2234752 w 2569598"/>
                    <a:gd name="connsiteY345" fmla="*/ 55378 h 390195"/>
                    <a:gd name="connsiteX346" fmla="*/ 2218832 w 2569598"/>
                    <a:gd name="connsiteY346" fmla="*/ 60506 h 390195"/>
                    <a:gd name="connsiteX347" fmla="*/ 2212776 w 2569598"/>
                    <a:gd name="connsiteY347" fmla="*/ 73838 h 390195"/>
                    <a:gd name="connsiteX348" fmla="*/ 2216586 w 2569598"/>
                    <a:gd name="connsiteY348" fmla="*/ 85411 h 390195"/>
                    <a:gd name="connsiteX349" fmla="*/ 2233384 w 2569598"/>
                    <a:gd name="connsiteY349" fmla="*/ 95618 h 390195"/>
                    <a:gd name="connsiteX350" fmla="*/ 2254872 w 2569598"/>
                    <a:gd name="connsiteY350" fmla="*/ 108656 h 390195"/>
                    <a:gd name="connsiteX351" fmla="*/ 2260732 w 2569598"/>
                    <a:gd name="connsiteY351" fmla="*/ 124625 h 390195"/>
                    <a:gd name="connsiteX352" fmla="*/ 2251796 w 2569598"/>
                    <a:gd name="connsiteY352" fmla="*/ 144305 h 390195"/>
                    <a:gd name="connsiteX353" fmla="*/ 2227134 w 2569598"/>
                    <a:gd name="connsiteY353" fmla="*/ 152070 h 390195"/>
                    <a:gd name="connsiteX354" fmla="*/ 2203010 w 2569598"/>
                    <a:gd name="connsiteY354" fmla="*/ 145233 h 390195"/>
                    <a:gd name="connsiteX355" fmla="*/ 2203010 w 2569598"/>
                    <a:gd name="connsiteY355" fmla="*/ 134392 h 390195"/>
                    <a:gd name="connsiteX356" fmla="*/ 2215316 w 2569598"/>
                    <a:gd name="connsiteY356" fmla="*/ 141326 h 390195"/>
                    <a:gd name="connsiteX357" fmla="*/ 2227818 w 2569598"/>
                    <a:gd name="connsiteY357" fmla="*/ 143866 h 390195"/>
                    <a:gd name="connsiteX358" fmla="*/ 2251356 w 2569598"/>
                    <a:gd name="connsiteY358" fmla="*/ 124625 h 390195"/>
                    <a:gd name="connsiteX359" fmla="*/ 2246180 w 2569598"/>
                    <a:gd name="connsiteY359" fmla="*/ 113296 h 390195"/>
                    <a:gd name="connsiteX360" fmla="*/ 2229380 w 2569598"/>
                    <a:gd name="connsiteY360" fmla="*/ 103626 h 390195"/>
                    <a:gd name="connsiteX361" fmla="*/ 2209212 w 2569598"/>
                    <a:gd name="connsiteY361" fmla="*/ 90685 h 390195"/>
                    <a:gd name="connsiteX362" fmla="*/ 2203400 w 2569598"/>
                    <a:gd name="connsiteY362" fmla="*/ 74424 h 390195"/>
                    <a:gd name="connsiteX363" fmla="*/ 2212728 w 2569598"/>
                    <a:gd name="connsiteY363" fmla="*/ 54695 h 390195"/>
                    <a:gd name="connsiteX364" fmla="*/ 2235730 w 2569598"/>
                    <a:gd name="connsiteY364" fmla="*/ 47174 h 390195"/>
                    <a:gd name="connsiteX365" fmla="*/ 2035068 w 2569598"/>
                    <a:gd name="connsiteY365" fmla="*/ 47174 h 390195"/>
                    <a:gd name="connsiteX366" fmla="*/ 2058948 w 2569598"/>
                    <a:gd name="connsiteY366" fmla="*/ 56746 h 390195"/>
                    <a:gd name="connsiteX367" fmla="*/ 2067396 w 2569598"/>
                    <a:gd name="connsiteY367" fmla="*/ 84581 h 390195"/>
                    <a:gd name="connsiteX368" fmla="*/ 2067396 w 2569598"/>
                    <a:gd name="connsiteY368" fmla="*/ 149628 h 390195"/>
                    <a:gd name="connsiteX369" fmla="*/ 2058410 w 2569598"/>
                    <a:gd name="connsiteY369" fmla="*/ 149628 h 390195"/>
                    <a:gd name="connsiteX370" fmla="*/ 2058410 w 2569598"/>
                    <a:gd name="connsiteY370" fmla="*/ 129606 h 390195"/>
                    <a:gd name="connsiteX371" fmla="*/ 2058020 w 2569598"/>
                    <a:gd name="connsiteY371" fmla="*/ 129606 h 390195"/>
                    <a:gd name="connsiteX372" fmla="*/ 2044102 w 2569598"/>
                    <a:gd name="connsiteY372" fmla="*/ 145966 h 390195"/>
                    <a:gd name="connsiteX373" fmla="*/ 2023836 w 2569598"/>
                    <a:gd name="connsiteY373" fmla="*/ 152070 h 390195"/>
                    <a:gd name="connsiteX374" fmla="*/ 2001274 w 2569598"/>
                    <a:gd name="connsiteY374" fmla="*/ 144061 h 390195"/>
                    <a:gd name="connsiteX375" fmla="*/ 1992972 w 2569598"/>
                    <a:gd name="connsiteY375" fmla="*/ 123844 h 390195"/>
                    <a:gd name="connsiteX376" fmla="*/ 2027644 w 2569598"/>
                    <a:gd name="connsiteY376" fmla="*/ 92199 h 390195"/>
                    <a:gd name="connsiteX377" fmla="*/ 2058410 w 2569598"/>
                    <a:gd name="connsiteY377" fmla="*/ 87609 h 390195"/>
                    <a:gd name="connsiteX378" fmla="*/ 2034188 w 2569598"/>
                    <a:gd name="connsiteY378" fmla="*/ 55378 h 390195"/>
                    <a:gd name="connsiteX379" fmla="*/ 2002056 w 2569598"/>
                    <a:gd name="connsiteY379" fmla="*/ 68661 h 390195"/>
                    <a:gd name="connsiteX380" fmla="*/ 2002056 w 2569598"/>
                    <a:gd name="connsiteY380" fmla="*/ 57820 h 390195"/>
                    <a:gd name="connsiteX381" fmla="*/ 2017144 w 2569598"/>
                    <a:gd name="connsiteY381" fmla="*/ 50299 h 390195"/>
                    <a:gd name="connsiteX382" fmla="*/ 2035068 w 2569598"/>
                    <a:gd name="connsiteY382" fmla="*/ 47174 h 390195"/>
                    <a:gd name="connsiteX383" fmla="*/ 1925552 w 2569598"/>
                    <a:gd name="connsiteY383" fmla="*/ 47174 h 390195"/>
                    <a:gd name="connsiteX384" fmla="*/ 1959346 w 2569598"/>
                    <a:gd name="connsiteY384" fmla="*/ 61141 h 390195"/>
                    <a:gd name="connsiteX385" fmla="*/ 1971750 w 2569598"/>
                    <a:gd name="connsiteY385" fmla="*/ 99817 h 390195"/>
                    <a:gd name="connsiteX386" fmla="*/ 1959102 w 2569598"/>
                    <a:gd name="connsiteY386" fmla="*/ 137615 h 390195"/>
                    <a:gd name="connsiteX387" fmla="*/ 1924478 w 2569598"/>
                    <a:gd name="connsiteY387" fmla="*/ 152070 h 390195"/>
                    <a:gd name="connsiteX388" fmla="*/ 1889856 w 2569598"/>
                    <a:gd name="connsiteY388" fmla="*/ 137664 h 390195"/>
                    <a:gd name="connsiteX389" fmla="*/ 1877110 w 2569598"/>
                    <a:gd name="connsiteY389" fmla="*/ 100208 h 390195"/>
                    <a:gd name="connsiteX390" fmla="*/ 1890442 w 2569598"/>
                    <a:gd name="connsiteY390" fmla="*/ 61238 h 390195"/>
                    <a:gd name="connsiteX391" fmla="*/ 1925552 w 2569598"/>
                    <a:gd name="connsiteY391" fmla="*/ 47174 h 390195"/>
                    <a:gd name="connsiteX392" fmla="*/ 1413546 w 2569598"/>
                    <a:gd name="connsiteY392" fmla="*/ 47174 h 390195"/>
                    <a:gd name="connsiteX393" fmla="*/ 1438354 w 2569598"/>
                    <a:gd name="connsiteY393" fmla="*/ 57966 h 390195"/>
                    <a:gd name="connsiteX394" fmla="*/ 1446950 w 2569598"/>
                    <a:gd name="connsiteY394" fmla="*/ 88781 h 390195"/>
                    <a:gd name="connsiteX395" fmla="*/ 1446950 w 2569598"/>
                    <a:gd name="connsiteY395" fmla="*/ 149628 h 390195"/>
                    <a:gd name="connsiteX396" fmla="*/ 1437964 w 2569598"/>
                    <a:gd name="connsiteY396" fmla="*/ 149628 h 390195"/>
                    <a:gd name="connsiteX397" fmla="*/ 1437964 w 2569598"/>
                    <a:gd name="connsiteY397" fmla="*/ 91418 h 390195"/>
                    <a:gd name="connsiteX398" fmla="*/ 1411984 w 2569598"/>
                    <a:gd name="connsiteY398" fmla="*/ 55378 h 390195"/>
                    <a:gd name="connsiteX399" fmla="*/ 1388250 w 2569598"/>
                    <a:gd name="connsiteY399" fmla="*/ 65975 h 390195"/>
                    <a:gd name="connsiteX400" fmla="*/ 1378972 w 2569598"/>
                    <a:gd name="connsiteY400" fmla="*/ 92199 h 390195"/>
                    <a:gd name="connsiteX401" fmla="*/ 1378972 w 2569598"/>
                    <a:gd name="connsiteY401" fmla="*/ 149628 h 390195"/>
                    <a:gd name="connsiteX402" fmla="*/ 1369986 w 2569598"/>
                    <a:gd name="connsiteY402" fmla="*/ 149628 h 390195"/>
                    <a:gd name="connsiteX403" fmla="*/ 1369986 w 2569598"/>
                    <a:gd name="connsiteY403" fmla="*/ 49616 h 390195"/>
                    <a:gd name="connsiteX404" fmla="*/ 1378972 w 2569598"/>
                    <a:gd name="connsiteY404" fmla="*/ 49616 h 390195"/>
                    <a:gd name="connsiteX405" fmla="*/ 1378972 w 2569598"/>
                    <a:gd name="connsiteY405" fmla="*/ 67782 h 390195"/>
                    <a:gd name="connsiteX406" fmla="*/ 1379362 w 2569598"/>
                    <a:gd name="connsiteY406" fmla="*/ 67782 h 390195"/>
                    <a:gd name="connsiteX407" fmla="*/ 1413546 w 2569598"/>
                    <a:gd name="connsiteY407" fmla="*/ 47174 h 390195"/>
                    <a:gd name="connsiteX408" fmla="*/ 1296902 w 2569598"/>
                    <a:gd name="connsiteY408" fmla="*/ 47174 h 390195"/>
                    <a:gd name="connsiteX409" fmla="*/ 1330696 w 2569598"/>
                    <a:gd name="connsiteY409" fmla="*/ 61141 h 390195"/>
                    <a:gd name="connsiteX410" fmla="*/ 1343100 w 2569598"/>
                    <a:gd name="connsiteY410" fmla="*/ 99817 h 390195"/>
                    <a:gd name="connsiteX411" fmla="*/ 1330452 w 2569598"/>
                    <a:gd name="connsiteY411" fmla="*/ 137615 h 390195"/>
                    <a:gd name="connsiteX412" fmla="*/ 1295828 w 2569598"/>
                    <a:gd name="connsiteY412" fmla="*/ 152070 h 390195"/>
                    <a:gd name="connsiteX413" fmla="*/ 1261204 w 2569598"/>
                    <a:gd name="connsiteY413" fmla="*/ 137664 h 390195"/>
                    <a:gd name="connsiteX414" fmla="*/ 1248460 w 2569598"/>
                    <a:gd name="connsiteY414" fmla="*/ 100208 h 390195"/>
                    <a:gd name="connsiteX415" fmla="*/ 1261790 w 2569598"/>
                    <a:gd name="connsiteY415" fmla="*/ 61238 h 390195"/>
                    <a:gd name="connsiteX416" fmla="*/ 1296902 w 2569598"/>
                    <a:gd name="connsiteY416" fmla="*/ 47174 h 390195"/>
                    <a:gd name="connsiteX417" fmla="*/ 1130830 w 2569598"/>
                    <a:gd name="connsiteY417" fmla="*/ 47174 h 390195"/>
                    <a:gd name="connsiteX418" fmla="*/ 1152902 w 2569598"/>
                    <a:gd name="connsiteY418" fmla="*/ 52448 h 390195"/>
                    <a:gd name="connsiteX419" fmla="*/ 1152902 w 2569598"/>
                    <a:gd name="connsiteY419" fmla="*/ 62606 h 390195"/>
                    <a:gd name="connsiteX420" fmla="*/ 1129852 w 2569598"/>
                    <a:gd name="connsiteY420" fmla="*/ 55378 h 390195"/>
                    <a:gd name="connsiteX421" fmla="*/ 1113932 w 2569598"/>
                    <a:gd name="connsiteY421" fmla="*/ 60506 h 390195"/>
                    <a:gd name="connsiteX422" fmla="*/ 1107878 w 2569598"/>
                    <a:gd name="connsiteY422" fmla="*/ 73838 h 390195"/>
                    <a:gd name="connsiteX423" fmla="*/ 1111686 w 2569598"/>
                    <a:gd name="connsiteY423" fmla="*/ 85411 h 390195"/>
                    <a:gd name="connsiteX424" fmla="*/ 1128486 w 2569598"/>
                    <a:gd name="connsiteY424" fmla="*/ 95618 h 390195"/>
                    <a:gd name="connsiteX425" fmla="*/ 1149972 w 2569598"/>
                    <a:gd name="connsiteY425" fmla="*/ 108656 h 390195"/>
                    <a:gd name="connsiteX426" fmla="*/ 1155832 w 2569598"/>
                    <a:gd name="connsiteY426" fmla="*/ 124625 h 390195"/>
                    <a:gd name="connsiteX427" fmla="*/ 1146896 w 2569598"/>
                    <a:gd name="connsiteY427" fmla="*/ 144305 h 390195"/>
                    <a:gd name="connsiteX428" fmla="*/ 1122234 w 2569598"/>
                    <a:gd name="connsiteY428" fmla="*/ 152070 h 390195"/>
                    <a:gd name="connsiteX429" fmla="*/ 1098110 w 2569598"/>
                    <a:gd name="connsiteY429" fmla="*/ 145233 h 390195"/>
                    <a:gd name="connsiteX430" fmla="*/ 1098110 w 2569598"/>
                    <a:gd name="connsiteY430" fmla="*/ 134392 h 390195"/>
                    <a:gd name="connsiteX431" fmla="*/ 1110416 w 2569598"/>
                    <a:gd name="connsiteY431" fmla="*/ 141326 h 390195"/>
                    <a:gd name="connsiteX432" fmla="*/ 1122918 w 2569598"/>
                    <a:gd name="connsiteY432" fmla="*/ 143866 h 390195"/>
                    <a:gd name="connsiteX433" fmla="*/ 1146456 w 2569598"/>
                    <a:gd name="connsiteY433" fmla="*/ 124625 h 390195"/>
                    <a:gd name="connsiteX434" fmla="*/ 1141280 w 2569598"/>
                    <a:gd name="connsiteY434" fmla="*/ 113296 h 390195"/>
                    <a:gd name="connsiteX435" fmla="*/ 1124480 w 2569598"/>
                    <a:gd name="connsiteY435" fmla="*/ 103626 h 390195"/>
                    <a:gd name="connsiteX436" fmla="*/ 1104312 w 2569598"/>
                    <a:gd name="connsiteY436" fmla="*/ 90685 h 390195"/>
                    <a:gd name="connsiteX437" fmla="*/ 1098500 w 2569598"/>
                    <a:gd name="connsiteY437" fmla="*/ 74424 h 390195"/>
                    <a:gd name="connsiteX438" fmla="*/ 1107828 w 2569598"/>
                    <a:gd name="connsiteY438" fmla="*/ 54695 h 390195"/>
                    <a:gd name="connsiteX439" fmla="*/ 1130830 w 2569598"/>
                    <a:gd name="connsiteY439" fmla="*/ 47174 h 390195"/>
                    <a:gd name="connsiteX440" fmla="*/ 977792 w 2569598"/>
                    <a:gd name="connsiteY440" fmla="*/ 47174 h 390195"/>
                    <a:gd name="connsiteX441" fmla="*/ 1001672 w 2569598"/>
                    <a:gd name="connsiteY441" fmla="*/ 56746 h 390195"/>
                    <a:gd name="connsiteX442" fmla="*/ 1010120 w 2569598"/>
                    <a:gd name="connsiteY442" fmla="*/ 84581 h 390195"/>
                    <a:gd name="connsiteX443" fmla="*/ 1010120 w 2569598"/>
                    <a:gd name="connsiteY443" fmla="*/ 149628 h 390195"/>
                    <a:gd name="connsiteX444" fmla="*/ 1001134 w 2569598"/>
                    <a:gd name="connsiteY444" fmla="*/ 149628 h 390195"/>
                    <a:gd name="connsiteX445" fmla="*/ 1001134 w 2569598"/>
                    <a:gd name="connsiteY445" fmla="*/ 129606 h 390195"/>
                    <a:gd name="connsiteX446" fmla="*/ 1000744 w 2569598"/>
                    <a:gd name="connsiteY446" fmla="*/ 129606 h 390195"/>
                    <a:gd name="connsiteX447" fmla="*/ 986826 w 2569598"/>
                    <a:gd name="connsiteY447" fmla="*/ 145966 h 390195"/>
                    <a:gd name="connsiteX448" fmla="*/ 966560 w 2569598"/>
                    <a:gd name="connsiteY448" fmla="*/ 152070 h 390195"/>
                    <a:gd name="connsiteX449" fmla="*/ 943998 w 2569598"/>
                    <a:gd name="connsiteY449" fmla="*/ 144061 h 390195"/>
                    <a:gd name="connsiteX450" fmla="*/ 935696 w 2569598"/>
                    <a:gd name="connsiteY450" fmla="*/ 123844 h 390195"/>
                    <a:gd name="connsiteX451" fmla="*/ 970370 w 2569598"/>
                    <a:gd name="connsiteY451" fmla="*/ 92199 h 390195"/>
                    <a:gd name="connsiteX452" fmla="*/ 1001134 w 2569598"/>
                    <a:gd name="connsiteY452" fmla="*/ 87609 h 390195"/>
                    <a:gd name="connsiteX453" fmla="*/ 976912 w 2569598"/>
                    <a:gd name="connsiteY453" fmla="*/ 55378 h 390195"/>
                    <a:gd name="connsiteX454" fmla="*/ 944780 w 2569598"/>
                    <a:gd name="connsiteY454" fmla="*/ 68661 h 390195"/>
                    <a:gd name="connsiteX455" fmla="*/ 944780 w 2569598"/>
                    <a:gd name="connsiteY455" fmla="*/ 57820 h 390195"/>
                    <a:gd name="connsiteX456" fmla="*/ 959870 w 2569598"/>
                    <a:gd name="connsiteY456" fmla="*/ 50299 h 390195"/>
                    <a:gd name="connsiteX457" fmla="*/ 977792 w 2569598"/>
                    <a:gd name="connsiteY457" fmla="*/ 47174 h 390195"/>
                    <a:gd name="connsiteX458" fmla="*/ 898610 w 2569598"/>
                    <a:gd name="connsiteY458" fmla="*/ 47174 h 390195"/>
                    <a:gd name="connsiteX459" fmla="*/ 920782 w 2569598"/>
                    <a:gd name="connsiteY459" fmla="*/ 51862 h 390195"/>
                    <a:gd name="connsiteX460" fmla="*/ 920782 w 2569598"/>
                    <a:gd name="connsiteY460" fmla="*/ 62020 h 390195"/>
                    <a:gd name="connsiteX461" fmla="*/ 897244 w 2569598"/>
                    <a:gd name="connsiteY461" fmla="*/ 55378 h 390195"/>
                    <a:gd name="connsiteX462" fmla="*/ 868724 w 2569598"/>
                    <a:gd name="connsiteY462" fmla="*/ 68026 h 390195"/>
                    <a:gd name="connsiteX463" fmla="*/ 857786 w 2569598"/>
                    <a:gd name="connsiteY463" fmla="*/ 100794 h 390195"/>
                    <a:gd name="connsiteX464" fmla="*/ 867796 w 2569598"/>
                    <a:gd name="connsiteY464" fmla="*/ 132048 h 390195"/>
                    <a:gd name="connsiteX465" fmla="*/ 894216 w 2569598"/>
                    <a:gd name="connsiteY465" fmla="*/ 143866 h 390195"/>
                    <a:gd name="connsiteX466" fmla="*/ 920390 w 2569598"/>
                    <a:gd name="connsiteY466" fmla="*/ 135857 h 390195"/>
                    <a:gd name="connsiteX467" fmla="*/ 920390 w 2569598"/>
                    <a:gd name="connsiteY467" fmla="*/ 145233 h 390195"/>
                    <a:gd name="connsiteX468" fmla="*/ 893824 w 2569598"/>
                    <a:gd name="connsiteY468" fmla="*/ 152070 h 390195"/>
                    <a:gd name="connsiteX469" fmla="*/ 860910 w 2569598"/>
                    <a:gd name="connsiteY469" fmla="*/ 138055 h 390195"/>
                    <a:gd name="connsiteX470" fmla="*/ 848410 w 2569598"/>
                    <a:gd name="connsiteY470" fmla="*/ 101380 h 390195"/>
                    <a:gd name="connsiteX471" fmla="*/ 862474 w 2569598"/>
                    <a:gd name="connsiteY471" fmla="*/ 62361 h 390195"/>
                    <a:gd name="connsiteX472" fmla="*/ 898610 w 2569598"/>
                    <a:gd name="connsiteY472" fmla="*/ 47174 h 390195"/>
                    <a:gd name="connsiteX473" fmla="*/ 653942 w 2569598"/>
                    <a:gd name="connsiteY473" fmla="*/ 47174 h 390195"/>
                    <a:gd name="connsiteX474" fmla="*/ 677822 w 2569598"/>
                    <a:gd name="connsiteY474" fmla="*/ 56746 h 390195"/>
                    <a:gd name="connsiteX475" fmla="*/ 686270 w 2569598"/>
                    <a:gd name="connsiteY475" fmla="*/ 84581 h 390195"/>
                    <a:gd name="connsiteX476" fmla="*/ 686270 w 2569598"/>
                    <a:gd name="connsiteY476" fmla="*/ 149628 h 390195"/>
                    <a:gd name="connsiteX477" fmla="*/ 677284 w 2569598"/>
                    <a:gd name="connsiteY477" fmla="*/ 149628 h 390195"/>
                    <a:gd name="connsiteX478" fmla="*/ 677284 w 2569598"/>
                    <a:gd name="connsiteY478" fmla="*/ 129606 h 390195"/>
                    <a:gd name="connsiteX479" fmla="*/ 676894 w 2569598"/>
                    <a:gd name="connsiteY479" fmla="*/ 129606 h 390195"/>
                    <a:gd name="connsiteX480" fmla="*/ 662976 w 2569598"/>
                    <a:gd name="connsiteY480" fmla="*/ 145966 h 390195"/>
                    <a:gd name="connsiteX481" fmla="*/ 642710 w 2569598"/>
                    <a:gd name="connsiteY481" fmla="*/ 152070 h 390195"/>
                    <a:gd name="connsiteX482" fmla="*/ 620148 w 2569598"/>
                    <a:gd name="connsiteY482" fmla="*/ 144061 h 390195"/>
                    <a:gd name="connsiteX483" fmla="*/ 611846 w 2569598"/>
                    <a:gd name="connsiteY483" fmla="*/ 123844 h 390195"/>
                    <a:gd name="connsiteX484" fmla="*/ 646520 w 2569598"/>
                    <a:gd name="connsiteY484" fmla="*/ 92199 h 390195"/>
                    <a:gd name="connsiteX485" fmla="*/ 677284 w 2569598"/>
                    <a:gd name="connsiteY485" fmla="*/ 87609 h 390195"/>
                    <a:gd name="connsiteX486" fmla="*/ 653064 w 2569598"/>
                    <a:gd name="connsiteY486" fmla="*/ 55378 h 390195"/>
                    <a:gd name="connsiteX487" fmla="*/ 620930 w 2569598"/>
                    <a:gd name="connsiteY487" fmla="*/ 68661 h 390195"/>
                    <a:gd name="connsiteX488" fmla="*/ 620930 w 2569598"/>
                    <a:gd name="connsiteY488" fmla="*/ 57820 h 390195"/>
                    <a:gd name="connsiteX489" fmla="*/ 636020 w 2569598"/>
                    <a:gd name="connsiteY489" fmla="*/ 50299 h 390195"/>
                    <a:gd name="connsiteX490" fmla="*/ 653942 w 2569598"/>
                    <a:gd name="connsiteY490" fmla="*/ 47174 h 390195"/>
                    <a:gd name="connsiteX491" fmla="*/ 439652 w 2569598"/>
                    <a:gd name="connsiteY491" fmla="*/ 47174 h 390195"/>
                    <a:gd name="connsiteX492" fmla="*/ 473446 w 2569598"/>
                    <a:gd name="connsiteY492" fmla="*/ 61141 h 390195"/>
                    <a:gd name="connsiteX493" fmla="*/ 485850 w 2569598"/>
                    <a:gd name="connsiteY493" fmla="*/ 99817 h 390195"/>
                    <a:gd name="connsiteX494" fmla="*/ 473202 w 2569598"/>
                    <a:gd name="connsiteY494" fmla="*/ 137615 h 390195"/>
                    <a:gd name="connsiteX495" fmla="*/ 438578 w 2569598"/>
                    <a:gd name="connsiteY495" fmla="*/ 152070 h 390195"/>
                    <a:gd name="connsiteX496" fmla="*/ 403954 w 2569598"/>
                    <a:gd name="connsiteY496" fmla="*/ 137664 h 390195"/>
                    <a:gd name="connsiteX497" fmla="*/ 391210 w 2569598"/>
                    <a:gd name="connsiteY497" fmla="*/ 100208 h 390195"/>
                    <a:gd name="connsiteX498" fmla="*/ 404540 w 2569598"/>
                    <a:gd name="connsiteY498" fmla="*/ 61238 h 390195"/>
                    <a:gd name="connsiteX499" fmla="*/ 439652 w 2569598"/>
                    <a:gd name="connsiteY499" fmla="*/ 47174 h 390195"/>
                    <a:gd name="connsiteX500" fmla="*/ 111212 w 2569598"/>
                    <a:gd name="connsiteY500" fmla="*/ 15432 h 390195"/>
                    <a:gd name="connsiteX501" fmla="*/ 86112 w 2569598"/>
                    <a:gd name="connsiteY501" fmla="*/ 31938 h 390195"/>
                    <a:gd name="connsiteX502" fmla="*/ 77126 w 2569598"/>
                    <a:gd name="connsiteY502" fmla="*/ 81456 h 390195"/>
                    <a:gd name="connsiteX503" fmla="*/ 85720 w 2569598"/>
                    <a:gd name="connsiteY503" fmla="*/ 127702 h 390195"/>
                    <a:gd name="connsiteX504" fmla="*/ 110138 w 2569598"/>
                    <a:gd name="connsiteY504" fmla="*/ 143866 h 390195"/>
                    <a:gd name="connsiteX505" fmla="*/ 134310 w 2569598"/>
                    <a:gd name="connsiteY505" fmla="*/ 127409 h 390195"/>
                    <a:gd name="connsiteX506" fmla="*/ 142954 w 2569598"/>
                    <a:gd name="connsiteY506" fmla="*/ 80381 h 390195"/>
                    <a:gd name="connsiteX507" fmla="*/ 111212 w 2569598"/>
                    <a:gd name="connsiteY507" fmla="*/ 15432 h 390195"/>
                    <a:gd name="connsiteX508" fmla="*/ 204560 w 2569598"/>
                    <a:gd name="connsiteY508" fmla="*/ 14846 h 390195"/>
                    <a:gd name="connsiteX509" fmla="*/ 186834 w 2569598"/>
                    <a:gd name="connsiteY509" fmla="*/ 22317 h 390195"/>
                    <a:gd name="connsiteX510" fmla="*/ 180338 w 2569598"/>
                    <a:gd name="connsiteY510" fmla="*/ 43170 h 390195"/>
                    <a:gd name="connsiteX511" fmla="*/ 186638 w 2569598"/>
                    <a:gd name="connsiteY511" fmla="*/ 63192 h 390195"/>
                    <a:gd name="connsiteX512" fmla="*/ 203974 w 2569598"/>
                    <a:gd name="connsiteY512" fmla="*/ 70614 h 390195"/>
                    <a:gd name="connsiteX513" fmla="*/ 221408 w 2569598"/>
                    <a:gd name="connsiteY513" fmla="*/ 62996 h 390195"/>
                    <a:gd name="connsiteX514" fmla="*/ 227708 w 2569598"/>
                    <a:gd name="connsiteY514" fmla="*/ 42584 h 390195"/>
                    <a:gd name="connsiteX515" fmla="*/ 221456 w 2569598"/>
                    <a:gd name="connsiteY515" fmla="*/ 21829 h 390195"/>
                    <a:gd name="connsiteX516" fmla="*/ 204560 w 2569598"/>
                    <a:gd name="connsiteY516" fmla="*/ 14846 h 390195"/>
                    <a:gd name="connsiteX517" fmla="*/ 278592 w 2569598"/>
                    <a:gd name="connsiteY517" fmla="*/ 9767 h 390195"/>
                    <a:gd name="connsiteX518" fmla="*/ 287968 w 2569598"/>
                    <a:gd name="connsiteY518" fmla="*/ 9767 h 390195"/>
                    <a:gd name="connsiteX519" fmla="*/ 203974 w 2569598"/>
                    <a:gd name="connsiteY519" fmla="*/ 152851 h 390195"/>
                    <a:gd name="connsiteX520" fmla="*/ 194304 w 2569598"/>
                    <a:gd name="connsiteY520" fmla="*/ 152851 h 390195"/>
                    <a:gd name="connsiteX521" fmla="*/ 2488806 w 2569598"/>
                    <a:gd name="connsiteY521" fmla="*/ 9572 h 390195"/>
                    <a:gd name="connsiteX522" fmla="*/ 2494130 w 2569598"/>
                    <a:gd name="connsiteY522" fmla="*/ 11525 h 390195"/>
                    <a:gd name="connsiteX523" fmla="*/ 2496424 w 2569598"/>
                    <a:gd name="connsiteY523" fmla="*/ 16799 h 390195"/>
                    <a:gd name="connsiteX524" fmla="*/ 2494178 w 2569598"/>
                    <a:gd name="connsiteY524" fmla="*/ 22171 h 390195"/>
                    <a:gd name="connsiteX525" fmla="*/ 2488806 w 2569598"/>
                    <a:gd name="connsiteY525" fmla="*/ 24417 h 390195"/>
                    <a:gd name="connsiteX526" fmla="*/ 2483630 w 2569598"/>
                    <a:gd name="connsiteY526" fmla="*/ 22269 h 390195"/>
                    <a:gd name="connsiteX527" fmla="*/ 2481384 w 2569598"/>
                    <a:gd name="connsiteY527" fmla="*/ 16799 h 390195"/>
                    <a:gd name="connsiteX528" fmla="*/ 2483680 w 2569598"/>
                    <a:gd name="connsiteY528" fmla="*/ 11574 h 390195"/>
                    <a:gd name="connsiteX529" fmla="*/ 2488806 w 2569598"/>
                    <a:gd name="connsiteY529" fmla="*/ 9572 h 390195"/>
                    <a:gd name="connsiteX530" fmla="*/ 1532108 w 2569598"/>
                    <a:gd name="connsiteY530" fmla="*/ 9572 h 390195"/>
                    <a:gd name="connsiteX531" fmla="*/ 1541678 w 2569598"/>
                    <a:gd name="connsiteY531" fmla="*/ 9572 h 390195"/>
                    <a:gd name="connsiteX532" fmla="*/ 1541678 w 2569598"/>
                    <a:gd name="connsiteY532" fmla="*/ 94446 h 390195"/>
                    <a:gd name="connsiteX533" fmla="*/ 1581332 w 2569598"/>
                    <a:gd name="connsiteY533" fmla="*/ 143182 h 390195"/>
                    <a:gd name="connsiteX534" fmla="*/ 1619716 w 2569598"/>
                    <a:gd name="connsiteY534" fmla="*/ 95813 h 390195"/>
                    <a:gd name="connsiteX535" fmla="*/ 1619716 w 2569598"/>
                    <a:gd name="connsiteY535" fmla="*/ 9572 h 390195"/>
                    <a:gd name="connsiteX536" fmla="*/ 1629288 w 2569598"/>
                    <a:gd name="connsiteY536" fmla="*/ 9572 h 390195"/>
                    <a:gd name="connsiteX537" fmla="*/ 1629288 w 2569598"/>
                    <a:gd name="connsiteY537" fmla="*/ 93664 h 390195"/>
                    <a:gd name="connsiteX538" fmla="*/ 1579476 w 2569598"/>
                    <a:gd name="connsiteY538" fmla="*/ 152070 h 390195"/>
                    <a:gd name="connsiteX539" fmla="*/ 1532108 w 2569598"/>
                    <a:gd name="connsiteY539" fmla="*/ 95813 h 390195"/>
                    <a:gd name="connsiteX540" fmla="*/ 1705892 w 2569598"/>
                    <a:gd name="connsiteY540" fmla="*/ 7228 h 390195"/>
                    <a:gd name="connsiteX541" fmla="*/ 1730894 w 2569598"/>
                    <a:gd name="connsiteY541" fmla="*/ 11427 h 390195"/>
                    <a:gd name="connsiteX542" fmla="*/ 1730894 w 2569598"/>
                    <a:gd name="connsiteY542" fmla="*/ 21585 h 390195"/>
                    <a:gd name="connsiteX543" fmla="*/ 1704622 w 2569598"/>
                    <a:gd name="connsiteY543" fmla="*/ 16018 h 390195"/>
                    <a:gd name="connsiteX544" fmla="*/ 1682012 w 2569598"/>
                    <a:gd name="connsiteY544" fmla="*/ 23245 h 390195"/>
                    <a:gd name="connsiteX545" fmla="*/ 1673662 w 2569598"/>
                    <a:gd name="connsiteY545" fmla="*/ 41607 h 390195"/>
                    <a:gd name="connsiteX546" fmla="*/ 1679374 w 2569598"/>
                    <a:gd name="connsiteY546" fmla="*/ 58699 h 390195"/>
                    <a:gd name="connsiteX547" fmla="*/ 1704036 w 2569598"/>
                    <a:gd name="connsiteY547" fmla="*/ 75986 h 390195"/>
                    <a:gd name="connsiteX548" fmla="*/ 1730162 w 2569598"/>
                    <a:gd name="connsiteY548" fmla="*/ 95764 h 390195"/>
                    <a:gd name="connsiteX549" fmla="*/ 1736658 w 2569598"/>
                    <a:gd name="connsiteY549" fmla="*/ 115640 h 390195"/>
                    <a:gd name="connsiteX550" fmla="*/ 1725474 w 2569598"/>
                    <a:gd name="connsiteY550" fmla="*/ 141912 h 390195"/>
                    <a:gd name="connsiteX551" fmla="*/ 1693878 w 2569598"/>
                    <a:gd name="connsiteY551" fmla="*/ 152070 h 390195"/>
                    <a:gd name="connsiteX552" fmla="*/ 1677226 w 2569598"/>
                    <a:gd name="connsiteY552" fmla="*/ 149824 h 390195"/>
                    <a:gd name="connsiteX553" fmla="*/ 1662820 w 2569598"/>
                    <a:gd name="connsiteY553" fmla="*/ 144647 h 390195"/>
                    <a:gd name="connsiteX554" fmla="*/ 1662820 w 2569598"/>
                    <a:gd name="connsiteY554" fmla="*/ 133611 h 390195"/>
                    <a:gd name="connsiteX555" fmla="*/ 1693292 w 2569598"/>
                    <a:gd name="connsiteY555" fmla="*/ 143182 h 390195"/>
                    <a:gd name="connsiteX556" fmla="*/ 1718198 w 2569598"/>
                    <a:gd name="connsiteY556" fmla="*/ 136394 h 390195"/>
                    <a:gd name="connsiteX557" fmla="*/ 1726696 w 2569598"/>
                    <a:gd name="connsiteY557" fmla="*/ 117398 h 390195"/>
                    <a:gd name="connsiteX558" fmla="*/ 1720982 w 2569598"/>
                    <a:gd name="connsiteY558" fmla="*/ 100257 h 390195"/>
                    <a:gd name="connsiteX559" fmla="*/ 1696222 w 2569598"/>
                    <a:gd name="connsiteY559" fmla="*/ 82823 h 390195"/>
                    <a:gd name="connsiteX560" fmla="*/ 1669266 w 2569598"/>
                    <a:gd name="connsiteY560" fmla="*/ 62068 h 390195"/>
                    <a:gd name="connsiteX561" fmla="*/ 1663602 w 2569598"/>
                    <a:gd name="connsiteY561" fmla="*/ 42779 h 390195"/>
                    <a:gd name="connsiteX562" fmla="*/ 1675126 w 2569598"/>
                    <a:gd name="connsiteY562" fmla="*/ 17580 h 390195"/>
                    <a:gd name="connsiteX563" fmla="*/ 1705892 w 2569598"/>
                    <a:gd name="connsiteY563" fmla="*/ 7228 h 390195"/>
                    <a:gd name="connsiteX564" fmla="*/ 111994 w 2569598"/>
                    <a:gd name="connsiteY564" fmla="*/ 7228 h 390195"/>
                    <a:gd name="connsiteX565" fmla="*/ 152428 w 2569598"/>
                    <a:gd name="connsiteY565" fmla="*/ 79014 h 390195"/>
                    <a:gd name="connsiteX566" fmla="*/ 141002 w 2569598"/>
                    <a:gd name="connsiteY566" fmla="*/ 133415 h 390195"/>
                    <a:gd name="connsiteX567" fmla="*/ 108966 w 2569598"/>
                    <a:gd name="connsiteY567" fmla="*/ 152070 h 390195"/>
                    <a:gd name="connsiteX568" fmla="*/ 78688 w 2569598"/>
                    <a:gd name="connsiteY568" fmla="*/ 134294 h 390195"/>
                    <a:gd name="connsiteX569" fmla="*/ 67750 w 2569598"/>
                    <a:gd name="connsiteY569" fmla="*/ 82628 h 390195"/>
                    <a:gd name="connsiteX570" fmla="*/ 79226 w 2569598"/>
                    <a:gd name="connsiteY570" fmla="*/ 26224 h 390195"/>
                    <a:gd name="connsiteX571" fmla="*/ 111994 w 2569598"/>
                    <a:gd name="connsiteY571" fmla="*/ 7228 h 390195"/>
                    <a:gd name="connsiteX572" fmla="*/ 204756 w 2569598"/>
                    <a:gd name="connsiteY572" fmla="*/ 6837 h 390195"/>
                    <a:gd name="connsiteX573" fmla="*/ 228000 w 2569598"/>
                    <a:gd name="connsiteY573" fmla="*/ 16311 h 390195"/>
                    <a:gd name="connsiteX574" fmla="*/ 236596 w 2569598"/>
                    <a:gd name="connsiteY574" fmla="*/ 42779 h 390195"/>
                    <a:gd name="connsiteX575" fmla="*/ 227658 w 2569598"/>
                    <a:gd name="connsiteY575" fmla="*/ 68222 h 390195"/>
                    <a:gd name="connsiteX576" fmla="*/ 203778 w 2569598"/>
                    <a:gd name="connsiteY576" fmla="*/ 78428 h 390195"/>
                    <a:gd name="connsiteX577" fmla="*/ 180046 w 2569598"/>
                    <a:gd name="connsiteY577" fmla="*/ 68563 h 390195"/>
                    <a:gd name="connsiteX578" fmla="*/ 171352 w 2569598"/>
                    <a:gd name="connsiteY578" fmla="*/ 42974 h 390195"/>
                    <a:gd name="connsiteX579" fmla="*/ 180582 w 2569598"/>
                    <a:gd name="connsiteY579" fmla="*/ 16360 h 390195"/>
                    <a:gd name="connsiteX580" fmla="*/ 204756 w 2569598"/>
                    <a:gd name="connsiteY580" fmla="*/ 6837 h 390195"/>
                    <a:gd name="connsiteX581" fmla="*/ 40142 w 2569598"/>
                    <a:gd name="connsiteY581" fmla="*/ 6446 h 390195"/>
                    <a:gd name="connsiteX582" fmla="*/ 43268 w 2569598"/>
                    <a:gd name="connsiteY582" fmla="*/ 6446 h 390195"/>
                    <a:gd name="connsiteX583" fmla="*/ 43268 w 2569598"/>
                    <a:gd name="connsiteY583" fmla="*/ 149628 h 390195"/>
                    <a:gd name="connsiteX584" fmla="*/ 34282 w 2569598"/>
                    <a:gd name="connsiteY584" fmla="*/ 149628 h 390195"/>
                    <a:gd name="connsiteX585" fmla="*/ 34282 w 2569598"/>
                    <a:gd name="connsiteY585" fmla="*/ 20608 h 390195"/>
                    <a:gd name="connsiteX586" fmla="*/ 18900 w 2569598"/>
                    <a:gd name="connsiteY586" fmla="*/ 31742 h 390195"/>
                    <a:gd name="connsiteX587" fmla="*/ 0 w 2569598"/>
                    <a:gd name="connsiteY587" fmla="*/ 40044 h 390195"/>
                    <a:gd name="connsiteX588" fmla="*/ 0 w 2569598"/>
                    <a:gd name="connsiteY588" fmla="*/ 31840 h 390195"/>
                    <a:gd name="connsiteX589" fmla="*/ 11428 w 2569598"/>
                    <a:gd name="connsiteY589" fmla="*/ 27201 h 390195"/>
                    <a:gd name="connsiteX590" fmla="*/ 21536 w 2569598"/>
                    <a:gd name="connsiteY590" fmla="*/ 21487 h 390195"/>
                    <a:gd name="connsiteX591" fmla="*/ 30912 w 2569598"/>
                    <a:gd name="connsiteY591" fmla="*/ 14602 h 390195"/>
                    <a:gd name="connsiteX592" fmla="*/ 40142 w 2569598"/>
                    <a:gd name="connsiteY592" fmla="*/ 6446 h 390195"/>
                    <a:gd name="connsiteX593" fmla="*/ 2560612 w 2569598"/>
                    <a:gd name="connsiteY593" fmla="*/ 1563 h 390195"/>
                    <a:gd name="connsiteX594" fmla="*/ 2569598 w 2569598"/>
                    <a:gd name="connsiteY594" fmla="*/ 1563 h 390195"/>
                    <a:gd name="connsiteX595" fmla="*/ 2569598 w 2569598"/>
                    <a:gd name="connsiteY595" fmla="*/ 149628 h 390195"/>
                    <a:gd name="connsiteX596" fmla="*/ 2560612 w 2569598"/>
                    <a:gd name="connsiteY596" fmla="*/ 149628 h 390195"/>
                    <a:gd name="connsiteX597" fmla="*/ 2522512 w 2569598"/>
                    <a:gd name="connsiteY597" fmla="*/ 1563 h 390195"/>
                    <a:gd name="connsiteX598" fmla="*/ 2531498 w 2569598"/>
                    <a:gd name="connsiteY598" fmla="*/ 1563 h 390195"/>
                    <a:gd name="connsiteX599" fmla="*/ 2531498 w 2569598"/>
                    <a:gd name="connsiteY599" fmla="*/ 149628 h 390195"/>
                    <a:gd name="connsiteX600" fmla="*/ 2522512 w 2569598"/>
                    <a:gd name="connsiteY600" fmla="*/ 149628 h 390195"/>
                    <a:gd name="connsiteX601" fmla="*/ 2164892 w 2569598"/>
                    <a:gd name="connsiteY601" fmla="*/ 1563 h 390195"/>
                    <a:gd name="connsiteX602" fmla="*/ 2173876 w 2569598"/>
                    <a:gd name="connsiteY602" fmla="*/ 1563 h 390195"/>
                    <a:gd name="connsiteX603" fmla="*/ 2173876 w 2569598"/>
                    <a:gd name="connsiteY603" fmla="*/ 149628 h 390195"/>
                    <a:gd name="connsiteX604" fmla="*/ 2164892 w 2569598"/>
                    <a:gd name="connsiteY604" fmla="*/ 149628 h 390195"/>
                    <a:gd name="connsiteX605" fmla="*/ 2164892 w 2569598"/>
                    <a:gd name="connsiteY605" fmla="*/ 131462 h 390195"/>
                    <a:gd name="connsiteX606" fmla="*/ 2164500 w 2569598"/>
                    <a:gd name="connsiteY606" fmla="*/ 131462 h 390195"/>
                    <a:gd name="connsiteX607" fmla="*/ 2150046 w 2569598"/>
                    <a:gd name="connsiteY607" fmla="*/ 146503 h 390195"/>
                    <a:gd name="connsiteX608" fmla="*/ 2128462 w 2569598"/>
                    <a:gd name="connsiteY608" fmla="*/ 152070 h 390195"/>
                    <a:gd name="connsiteX609" fmla="*/ 2098330 w 2569598"/>
                    <a:gd name="connsiteY609" fmla="*/ 138592 h 390195"/>
                    <a:gd name="connsiteX610" fmla="*/ 2086660 w 2569598"/>
                    <a:gd name="connsiteY610" fmla="*/ 101380 h 390195"/>
                    <a:gd name="connsiteX611" fmla="*/ 2099404 w 2569598"/>
                    <a:gd name="connsiteY611" fmla="*/ 62166 h 390195"/>
                    <a:gd name="connsiteX612" fmla="*/ 2132466 w 2569598"/>
                    <a:gd name="connsiteY612" fmla="*/ 47174 h 390195"/>
                    <a:gd name="connsiteX613" fmla="*/ 2164500 w 2569598"/>
                    <a:gd name="connsiteY613" fmla="*/ 65633 h 390195"/>
                    <a:gd name="connsiteX614" fmla="*/ 2164892 w 2569598"/>
                    <a:gd name="connsiteY614" fmla="*/ 65633 h 390195"/>
                    <a:gd name="connsiteX615" fmla="*/ 750862 w 2569598"/>
                    <a:gd name="connsiteY615" fmla="*/ 1563 h 390195"/>
                    <a:gd name="connsiteX616" fmla="*/ 759848 w 2569598"/>
                    <a:gd name="connsiteY616" fmla="*/ 1563 h 390195"/>
                    <a:gd name="connsiteX617" fmla="*/ 759848 w 2569598"/>
                    <a:gd name="connsiteY617" fmla="*/ 149628 h 390195"/>
                    <a:gd name="connsiteX618" fmla="*/ 750862 w 2569598"/>
                    <a:gd name="connsiteY618" fmla="*/ 149628 h 390195"/>
                    <a:gd name="connsiteX619" fmla="*/ 712762 w 2569598"/>
                    <a:gd name="connsiteY619" fmla="*/ 1563 h 390195"/>
                    <a:gd name="connsiteX620" fmla="*/ 721748 w 2569598"/>
                    <a:gd name="connsiteY620" fmla="*/ 1563 h 390195"/>
                    <a:gd name="connsiteX621" fmla="*/ 721748 w 2569598"/>
                    <a:gd name="connsiteY621" fmla="*/ 149628 h 390195"/>
                    <a:gd name="connsiteX622" fmla="*/ 712762 w 2569598"/>
                    <a:gd name="connsiteY622" fmla="*/ 149628 h 390195"/>
                    <a:gd name="connsiteX623" fmla="*/ 536418 w 2569598"/>
                    <a:gd name="connsiteY623" fmla="*/ 0 h 390195"/>
                    <a:gd name="connsiteX624" fmla="*/ 546968 w 2569598"/>
                    <a:gd name="connsiteY624" fmla="*/ 1856 h 390195"/>
                    <a:gd name="connsiteX625" fmla="*/ 546968 w 2569598"/>
                    <a:gd name="connsiteY625" fmla="*/ 11037 h 390195"/>
                    <a:gd name="connsiteX626" fmla="*/ 536028 w 2569598"/>
                    <a:gd name="connsiteY626" fmla="*/ 8204 h 390195"/>
                    <a:gd name="connsiteX627" fmla="*/ 517568 w 2569598"/>
                    <a:gd name="connsiteY627" fmla="*/ 33012 h 390195"/>
                    <a:gd name="connsiteX628" fmla="*/ 517568 w 2569598"/>
                    <a:gd name="connsiteY628" fmla="*/ 49616 h 390195"/>
                    <a:gd name="connsiteX629" fmla="*/ 544038 w 2569598"/>
                    <a:gd name="connsiteY629" fmla="*/ 49616 h 390195"/>
                    <a:gd name="connsiteX630" fmla="*/ 544038 w 2569598"/>
                    <a:gd name="connsiteY630" fmla="*/ 57820 h 390195"/>
                    <a:gd name="connsiteX631" fmla="*/ 517568 w 2569598"/>
                    <a:gd name="connsiteY631" fmla="*/ 57820 h 390195"/>
                    <a:gd name="connsiteX632" fmla="*/ 517568 w 2569598"/>
                    <a:gd name="connsiteY632" fmla="*/ 149628 h 390195"/>
                    <a:gd name="connsiteX633" fmla="*/ 508584 w 2569598"/>
                    <a:gd name="connsiteY633" fmla="*/ 149628 h 390195"/>
                    <a:gd name="connsiteX634" fmla="*/ 508584 w 2569598"/>
                    <a:gd name="connsiteY634" fmla="*/ 57820 h 390195"/>
                    <a:gd name="connsiteX635" fmla="*/ 490612 w 2569598"/>
                    <a:gd name="connsiteY635" fmla="*/ 57820 h 390195"/>
                    <a:gd name="connsiteX636" fmla="*/ 490612 w 2569598"/>
                    <a:gd name="connsiteY636" fmla="*/ 49616 h 390195"/>
                    <a:gd name="connsiteX637" fmla="*/ 508584 w 2569598"/>
                    <a:gd name="connsiteY637" fmla="*/ 49616 h 390195"/>
                    <a:gd name="connsiteX638" fmla="*/ 508584 w 2569598"/>
                    <a:gd name="connsiteY638" fmla="*/ 32231 h 390195"/>
                    <a:gd name="connsiteX639" fmla="*/ 516544 w 2569598"/>
                    <a:gd name="connsiteY639" fmla="*/ 8204 h 390195"/>
                    <a:gd name="connsiteX640" fmla="*/ 536418 w 2569598"/>
                    <a:gd name="connsiteY640" fmla="*/ 0 h 390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</a:cxnLst>
                  <a:rect l="l" t="t" r="r" b="b"/>
                  <a:pathLst>
                    <a:path w="2569598" h="390195">
                      <a:moveTo>
                        <a:pt x="1607224" y="293503"/>
                      </a:moveTo>
                      <a:cubicBezTo>
                        <a:pt x="1597848" y="293503"/>
                        <a:pt x="1590082" y="296645"/>
                        <a:pt x="1583930" y="302928"/>
                      </a:cubicBezTo>
                      <a:cubicBezTo>
                        <a:pt x="1577776" y="309212"/>
                        <a:pt x="1573984" y="318213"/>
                        <a:pt x="1572552" y="329934"/>
                      </a:cubicBezTo>
                      <a:lnTo>
                        <a:pt x="1636816" y="329934"/>
                      </a:lnTo>
                      <a:cubicBezTo>
                        <a:pt x="1636426" y="318409"/>
                        <a:pt x="1633658" y="309456"/>
                        <a:pt x="1628516" y="303075"/>
                      </a:cubicBezTo>
                      <a:cubicBezTo>
                        <a:pt x="1623372" y="296694"/>
                        <a:pt x="1616274" y="293503"/>
                        <a:pt x="1607224" y="293503"/>
                      </a:cubicBezTo>
                      <a:close/>
                      <a:moveTo>
                        <a:pt x="1397674" y="293503"/>
                      </a:moveTo>
                      <a:cubicBezTo>
                        <a:pt x="1388298" y="293503"/>
                        <a:pt x="1380532" y="296645"/>
                        <a:pt x="1374380" y="302928"/>
                      </a:cubicBezTo>
                      <a:cubicBezTo>
                        <a:pt x="1368226" y="309212"/>
                        <a:pt x="1364434" y="318213"/>
                        <a:pt x="1363000" y="329934"/>
                      </a:cubicBezTo>
                      <a:lnTo>
                        <a:pt x="1427266" y="329934"/>
                      </a:lnTo>
                      <a:cubicBezTo>
                        <a:pt x="1426876" y="318409"/>
                        <a:pt x="1424108" y="309456"/>
                        <a:pt x="1418964" y="303075"/>
                      </a:cubicBezTo>
                      <a:cubicBezTo>
                        <a:pt x="1413822" y="296694"/>
                        <a:pt x="1406724" y="293503"/>
                        <a:pt x="1397674" y="293503"/>
                      </a:cubicBezTo>
                      <a:close/>
                      <a:moveTo>
                        <a:pt x="1084520" y="293503"/>
                      </a:moveTo>
                      <a:cubicBezTo>
                        <a:pt x="1074038" y="293503"/>
                        <a:pt x="1065378" y="297524"/>
                        <a:pt x="1058540" y="305565"/>
                      </a:cubicBezTo>
                      <a:cubicBezTo>
                        <a:pt x="1051704" y="313607"/>
                        <a:pt x="1048286" y="324659"/>
                        <a:pt x="1048286" y="338724"/>
                      </a:cubicBezTo>
                      <a:cubicBezTo>
                        <a:pt x="1048286" y="352527"/>
                        <a:pt x="1051362" y="363190"/>
                        <a:pt x="1057516" y="370710"/>
                      </a:cubicBezTo>
                      <a:cubicBezTo>
                        <a:pt x="1063668" y="378231"/>
                        <a:pt x="1071596" y="381991"/>
                        <a:pt x="1081298" y="381991"/>
                      </a:cubicBezTo>
                      <a:cubicBezTo>
                        <a:pt x="1092692" y="381991"/>
                        <a:pt x="1101514" y="378458"/>
                        <a:pt x="1107766" y="371394"/>
                      </a:cubicBezTo>
                      <a:cubicBezTo>
                        <a:pt x="1114016" y="364329"/>
                        <a:pt x="1117142" y="355718"/>
                        <a:pt x="1117142" y="345560"/>
                      </a:cubicBezTo>
                      <a:lnTo>
                        <a:pt x="1117142" y="326906"/>
                      </a:lnTo>
                      <a:cubicBezTo>
                        <a:pt x="1117142" y="317595"/>
                        <a:pt x="1114196" y="309700"/>
                        <a:pt x="1108302" y="303221"/>
                      </a:cubicBezTo>
                      <a:cubicBezTo>
                        <a:pt x="1102410" y="296743"/>
                        <a:pt x="1094482" y="293503"/>
                        <a:pt x="1084520" y="293503"/>
                      </a:cubicBezTo>
                      <a:close/>
                      <a:moveTo>
                        <a:pt x="921424" y="293503"/>
                      </a:moveTo>
                      <a:cubicBezTo>
                        <a:pt x="912048" y="293503"/>
                        <a:pt x="904282" y="296645"/>
                        <a:pt x="898130" y="302928"/>
                      </a:cubicBezTo>
                      <a:cubicBezTo>
                        <a:pt x="891976" y="309212"/>
                        <a:pt x="888184" y="318213"/>
                        <a:pt x="886752" y="329934"/>
                      </a:cubicBezTo>
                      <a:lnTo>
                        <a:pt x="951016" y="329934"/>
                      </a:lnTo>
                      <a:cubicBezTo>
                        <a:pt x="950626" y="318409"/>
                        <a:pt x="947858" y="309456"/>
                        <a:pt x="942716" y="303075"/>
                      </a:cubicBezTo>
                      <a:cubicBezTo>
                        <a:pt x="937572" y="296694"/>
                        <a:pt x="930474" y="293503"/>
                        <a:pt x="921424" y="293503"/>
                      </a:cubicBezTo>
                      <a:close/>
                      <a:moveTo>
                        <a:pt x="815522" y="293503"/>
                      </a:moveTo>
                      <a:cubicBezTo>
                        <a:pt x="803868" y="293503"/>
                        <a:pt x="794850" y="297410"/>
                        <a:pt x="788468" y="305223"/>
                      </a:cubicBezTo>
                      <a:cubicBezTo>
                        <a:pt x="782088" y="313037"/>
                        <a:pt x="778898" y="322218"/>
                        <a:pt x="778898" y="332766"/>
                      </a:cubicBezTo>
                      <a:lnTo>
                        <a:pt x="778898" y="345365"/>
                      </a:lnTo>
                      <a:cubicBezTo>
                        <a:pt x="778898" y="355392"/>
                        <a:pt x="782056" y="364004"/>
                        <a:pt x="788372" y="371198"/>
                      </a:cubicBezTo>
                      <a:cubicBezTo>
                        <a:pt x="794686" y="378393"/>
                        <a:pt x="802988" y="381991"/>
                        <a:pt x="813276" y="381991"/>
                      </a:cubicBezTo>
                      <a:cubicBezTo>
                        <a:pt x="823500" y="381991"/>
                        <a:pt x="831800" y="377612"/>
                        <a:pt x="838182" y="368854"/>
                      </a:cubicBezTo>
                      <a:cubicBezTo>
                        <a:pt x="844562" y="360097"/>
                        <a:pt x="847754" y="348588"/>
                        <a:pt x="847754" y="334329"/>
                      </a:cubicBezTo>
                      <a:cubicBezTo>
                        <a:pt x="847754" y="321827"/>
                        <a:pt x="844824" y="311897"/>
                        <a:pt x="838964" y="304540"/>
                      </a:cubicBezTo>
                      <a:cubicBezTo>
                        <a:pt x="833104" y="297182"/>
                        <a:pt x="825290" y="293503"/>
                        <a:pt x="815522" y="293503"/>
                      </a:cubicBezTo>
                      <a:close/>
                      <a:moveTo>
                        <a:pt x="1251148" y="287741"/>
                      </a:moveTo>
                      <a:lnTo>
                        <a:pt x="1261208" y="287741"/>
                      </a:lnTo>
                      <a:lnTo>
                        <a:pt x="1290996" y="367341"/>
                      </a:lnTo>
                      <a:cubicBezTo>
                        <a:pt x="1292428" y="371182"/>
                        <a:pt x="1293438" y="374666"/>
                        <a:pt x="1294024" y="377791"/>
                      </a:cubicBezTo>
                      <a:lnTo>
                        <a:pt x="1294414" y="377791"/>
                      </a:lnTo>
                      <a:cubicBezTo>
                        <a:pt x="1295260" y="373689"/>
                        <a:pt x="1296206" y="370336"/>
                        <a:pt x="1297246" y="367731"/>
                      </a:cubicBezTo>
                      <a:lnTo>
                        <a:pt x="1328012" y="287741"/>
                      </a:lnTo>
                      <a:lnTo>
                        <a:pt x="1337780" y="287741"/>
                      </a:lnTo>
                      <a:lnTo>
                        <a:pt x="1298028" y="387753"/>
                      </a:lnTo>
                      <a:lnTo>
                        <a:pt x="1289824" y="387753"/>
                      </a:lnTo>
                      <a:close/>
                      <a:moveTo>
                        <a:pt x="1227112" y="287741"/>
                      </a:moveTo>
                      <a:lnTo>
                        <a:pt x="1236098" y="287741"/>
                      </a:lnTo>
                      <a:lnTo>
                        <a:pt x="1236098" y="387753"/>
                      </a:lnTo>
                      <a:lnTo>
                        <a:pt x="1227112" y="387753"/>
                      </a:lnTo>
                      <a:close/>
                      <a:moveTo>
                        <a:pt x="1502448" y="285787"/>
                      </a:moveTo>
                      <a:cubicBezTo>
                        <a:pt x="1506160" y="285787"/>
                        <a:pt x="1509480" y="286373"/>
                        <a:pt x="1512410" y="287545"/>
                      </a:cubicBezTo>
                      <a:lnTo>
                        <a:pt x="1512410" y="297117"/>
                      </a:lnTo>
                      <a:cubicBezTo>
                        <a:pt x="1509416" y="294968"/>
                        <a:pt x="1505900" y="293894"/>
                        <a:pt x="1501862" y="293894"/>
                      </a:cubicBezTo>
                      <a:cubicBezTo>
                        <a:pt x="1493984" y="293894"/>
                        <a:pt x="1487374" y="297963"/>
                        <a:pt x="1482036" y="306102"/>
                      </a:cubicBezTo>
                      <a:cubicBezTo>
                        <a:pt x="1476696" y="314241"/>
                        <a:pt x="1474026" y="325799"/>
                        <a:pt x="1474026" y="340775"/>
                      </a:cubicBezTo>
                      <a:lnTo>
                        <a:pt x="1474026" y="387753"/>
                      </a:lnTo>
                      <a:lnTo>
                        <a:pt x="1465236" y="387753"/>
                      </a:lnTo>
                      <a:lnTo>
                        <a:pt x="1465236" y="287741"/>
                      </a:lnTo>
                      <a:lnTo>
                        <a:pt x="1474026" y="287741"/>
                      </a:lnTo>
                      <a:lnTo>
                        <a:pt x="1474026" y="309911"/>
                      </a:lnTo>
                      <a:lnTo>
                        <a:pt x="1474418" y="309911"/>
                      </a:lnTo>
                      <a:cubicBezTo>
                        <a:pt x="1476696" y="302293"/>
                        <a:pt x="1480310" y="296368"/>
                        <a:pt x="1485258" y="292136"/>
                      </a:cubicBezTo>
                      <a:cubicBezTo>
                        <a:pt x="1490208" y="287904"/>
                        <a:pt x="1495938" y="285787"/>
                        <a:pt x="1502448" y="285787"/>
                      </a:cubicBezTo>
                      <a:close/>
                      <a:moveTo>
                        <a:pt x="1197648" y="285787"/>
                      </a:moveTo>
                      <a:cubicBezTo>
                        <a:pt x="1201360" y="285787"/>
                        <a:pt x="1204680" y="286373"/>
                        <a:pt x="1207610" y="287545"/>
                      </a:cubicBezTo>
                      <a:lnTo>
                        <a:pt x="1207610" y="297117"/>
                      </a:lnTo>
                      <a:cubicBezTo>
                        <a:pt x="1204616" y="294968"/>
                        <a:pt x="1201100" y="293894"/>
                        <a:pt x="1197062" y="293894"/>
                      </a:cubicBezTo>
                      <a:cubicBezTo>
                        <a:pt x="1189184" y="293894"/>
                        <a:pt x="1182574" y="297963"/>
                        <a:pt x="1177236" y="306102"/>
                      </a:cubicBezTo>
                      <a:cubicBezTo>
                        <a:pt x="1171896" y="314241"/>
                        <a:pt x="1169226" y="325799"/>
                        <a:pt x="1169226" y="340775"/>
                      </a:cubicBezTo>
                      <a:lnTo>
                        <a:pt x="1169226" y="387753"/>
                      </a:lnTo>
                      <a:lnTo>
                        <a:pt x="1160436" y="387753"/>
                      </a:lnTo>
                      <a:lnTo>
                        <a:pt x="1160436" y="287741"/>
                      </a:lnTo>
                      <a:lnTo>
                        <a:pt x="1169226" y="287741"/>
                      </a:lnTo>
                      <a:lnTo>
                        <a:pt x="1169226" y="309911"/>
                      </a:lnTo>
                      <a:lnTo>
                        <a:pt x="1169618" y="309911"/>
                      </a:lnTo>
                      <a:cubicBezTo>
                        <a:pt x="1171896" y="302293"/>
                        <a:pt x="1175510" y="296368"/>
                        <a:pt x="1180458" y="292136"/>
                      </a:cubicBezTo>
                      <a:cubicBezTo>
                        <a:pt x="1185408" y="287904"/>
                        <a:pt x="1191138" y="285787"/>
                        <a:pt x="1197648" y="285787"/>
                      </a:cubicBezTo>
                      <a:close/>
                      <a:moveTo>
                        <a:pt x="1778530" y="285299"/>
                      </a:moveTo>
                      <a:cubicBezTo>
                        <a:pt x="1787124" y="285299"/>
                        <a:pt x="1794482" y="287057"/>
                        <a:pt x="1800602" y="290573"/>
                      </a:cubicBezTo>
                      <a:lnTo>
                        <a:pt x="1800602" y="300731"/>
                      </a:lnTo>
                      <a:cubicBezTo>
                        <a:pt x="1793180" y="295912"/>
                        <a:pt x="1785496" y="293503"/>
                        <a:pt x="1777552" y="293503"/>
                      </a:cubicBezTo>
                      <a:cubicBezTo>
                        <a:pt x="1770976" y="293503"/>
                        <a:pt x="1765670" y="295212"/>
                        <a:pt x="1761632" y="298631"/>
                      </a:cubicBezTo>
                      <a:cubicBezTo>
                        <a:pt x="1757596" y="302049"/>
                        <a:pt x="1755578" y="306493"/>
                        <a:pt x="1755578" y="311963"/>
                      </a:cubicBezTo>
                      <a:cubicBezTo>
                        <a:pt x="1755578" y="316716"/>
                        <a:pt x="1756846" y="320574"/>
                        <a:pt x="1759386" y="323536"/>
                      </a:cubicBezTo>
                      <a:cubicBezTo>
                        <a:pt x="1761926" y="326499"/>
                        <a:pt x="1767526" y="329901"/>
                        <a:pt x="1776186" y="333743"/>
                      </a:cubicBezTo>
                      <a:cubicBezTo>
                        <a:pt x="1786604" y="338431"/>
                        <a:pt x="1793766" y="342777"/>
                        <a:pt x="1797672" y="346781"/>
                      </a:cubicBezTo>
                      <a:cubicBezTo>
                        <a:pt x="1801578" y="350786"/>
                        <a:pt x="1803532" y="356109"/>
                        <a:pt x="1803532" y="362750"/>
                      </a:cubicBezTo>
                      <a:cubicBezTo>
                        <a:pt x="1803532" y="370694"/>
                        <a:pt x="1800554" y="377254"/>
                        <a:pt x="1794596" y="382430"/>
                      </a:cubicBezTo>
                      <a:cubicBezTo>
                        <a:pt x="1788638" y="387607"/>
                        <a:pt x="1780418" y="390195"/>
                        <a:pt x="1769934" y="390195"/>
                      </a:cubicBezTo>
                      <a:cubicBezTo>
                        <a:pt x="1760298" y="390195"/>
                        <a:pt x="1752256" y="387916"/>
                        <a:pt x="1745810" y="383358"/>
                      </a:cubicBezTo>
                      <a:lnTo>
                        <a:pt x="1745810" y="372517"/>
                      </a:lnTo>
                      <a:cubicBezTo>
                        <a:pt x="1749196" y="375447"/>
                        <a:pt x="1753298" y="377758"/>
                        <a:pt x="1758116" y="379451"/>
                      </a:cubicBezTo>
                      <a:cubicBezTo>
                        <a:pt x="1762934" y="381144"/>
                        <a:pt x="1767102" y="381991"/>
                        <a:pt x="1770618" y="381991"/>
                      </a:cubicBezTo>
                      <a:cubicBezTo>
                        <a:pt x="1786310" y="381991"/>
                        <a:pt x="1794156" y="375577"/>
                        <a:pt x="1794156" y="362750"/>
                      </a:cubicBezTo>
                      <a:cubicBezTo>
                        <a:pt x="1794156" y="358322"/>
                        <a:pt x="1792430" y="354546"/>
                        <a:pt x="1788980" y="351421"/>
                      </a:cubicBezTo>
                      <a:cubicBezTo>
                        <a:pt x="1785528" y="348295"/>
                        <a:pt x="1779930" y="345072"/>
                        <a:pt x="1772180" y="341751"/>
                      </a:cubicBezTo>
                      <a:cubicBezTo>
                        <a:pt x="1762610" y="337584"/>
                        <a:pt x="1755886" y="333271"/>
                        <a:pt x="1752012" y="328810"/>
                      </a:cubicBezTo>
                      <a:cubicBezTo>
                        <a:pt x="1748138" y="324350"/>
                        <a:pt x="1746200" y="318930"/>
                        <a:pt x="1746200" y="312549"/>
                      </a:cubicBezTo>
                      <a:cubicBezTo>
                        <a:pt x="1746200" y="304409"/>
                        <a:pt x="1749310" y="297833"/>
                        <a:pt x="1755528" y="292819"/>
                      </a:cubicBezTo>
                      <a:cubicBezTo>
                        <a:pt x="1761746" y="287806"/>
                        <a:pt x="1769414" y="285299"/>
                        <a:pt x="1778530" y="285299"/>
                      </a:cubicBezTo>
                      <a:close/>
                      <a:moveTo>
                        <a:pt x="1702330" y="285299"/>
                      </a:moveTo>
                      <a:cubicBezTo>
                        <a:pt x="1710924" y="285299"/>
                        <a:pt x="1718282" y="287057"/>
                        <a:pt x="1724402" y="290573"/>
                      </a:cubicBezTo>
                      <a:lnTo>
                        <a:pt x="1724402" y="300731"/>
                      </a:lnTo>
                      <a:cubicBezTo>
                        <a:pt x="1716980" y="295912"/>
                        <a:pt x="1709296" y="293503"/>
                        <a:pt x="1701352" y="293503"/>
                      </a:cubicBezTo>
                      <a:cubicBezTo>
                        <a:pt x="1694776" y="293503"/>
                        <a:pt x="1689470" y="295212"/>
                        <a:pt x="1685432" y="298631"/>
                      </a:cubicBezTo>
                      <a:cubicBezTo>
                        <a:pt x="1681396" y="302049"/>
                        <a:pt x="1679378" y="306493"/>
                        <a:pt x="1679378" y="311963"/>
                      </a:cubicBezTo>
                      <a:cubicBezTo>
                        <a:pt x="1679378" y="316716"/>
                        <a:pt x="1680646" y="320574"/>
                        <a:pt x="1683186" y="323536"/>
                      </a:cubicBezTo>
                      <a:cubicBezTo>
                        <a:pt x="1685726" y="326499"/>
                        <a:pt x="1691326" y="329901"/>
                        <a:pt x="1699986" y="333743"/>
                      </a:cubicBezTo>
                      <a:cubicBezTo>
                        <a:pt x="1710404" y="338431"/>
                        <a:pt x="1717566" y="342777"/>
                        <a:pt x="1721472" y="346781"/>
                      </a:cubicBezTo>
                      <a:cubicBezTo>
                        <a:pt x="1725378" y="350786"/>
                        <a:pt x="1727332" y="356109"/>
                        <a:pt x="1727332" y="362750"/>
                      </a:cubicBezTo>
                      <a:cubicBezTo>
                        <a:pt x="1727332" y="370694"/>
                        <a:pt x="1724354" y="377254"/>
                        <a:pt x="1718396" y="382430"/>
                      </a:cubicBezTo>
                      <a:cubicBezTo>
                        <a:pt x="1712438" y="387607"/>
                        <a:pt x="1704218" y="390195"/>
                        <a:pt x="1693734" y="390195"/>
                      </a:cubicBezTo>
                      <a:cubicBezTo>
                        <a:pt x="1684098" y="390195"/>
                        <a:pt x="1676056" y="387916"/>
                        <a:pt x="1669610" y="383358"/>
                      </a:cubicBezTo>
                      <a:lnTo>
                        <a:pt x="1669610" y="372517"/>
                      </a:lnTo>
                      <a:cubicBezTo>
                        <a:pt x="1672996" y="375447"/>
                        <a:pt x="1677098" y="377758"/>
                        <a:pt x="1681916" y="379451"/>
                      </a:cubicBezTo>
                      <a:cubicBezTo>
                        <a:pt x="1686734" y="381144"/>
                        <a:pt x="1690902" y="381991"/>
                        <a:pt x="1694418" y="381991"/>
                      </a:cubicBezTo>
                      <a:cubicBezTo>
                        <a:pt x="1710110" y="381991"/>
                        <a:pt x="1717956" y="375577"/>
                        <a:pt x="1717956" y="362750"/>
                      </a:cubicBezTo>
                      <a:cubicBezTo>
                        <a:pt x="1717956" y="358322"/>
                        <a:pt x="1716230" y="354546"/>
                        <a:pt x="1712780" y="351421"/>
                      </a:cubicBezTo>
                      <a:cubicBezTo>
                        <a:pt x="1709328" y="348295"/>
                        <a:pt x="1703730" y="345072"/>
                        <a:pt x="1695980" y="341751"/>
                      </a:cubicBezTo>
                      <a:cubicBezTo>
                        <a:pt x="1686410" y="337584"/>
                        <a:pt x="1679686" y="333271"/>
                        <a:pt x="1675812" y="328810"/>
                      </a:cubicBezTo>
                      <a:cubicBezTo>
                        <a:pt x="1671938" y="324350"/>
                        <a:pt x="1670000" y="318930"/>
                        <a:pt x="1670000" y="312549"/>
                      </a:cubicBezTo>
                      <a:cubicBezTo>
                        <a:pt x="1670000" y="304409"/>
                        <a:pt x="1673110" y="297833"/>
                        <a:pt x="1679328" y="292819"/>
                      </a:cubicBezTo>
                      <a:cubicBezTo>
                        <a:pt x="1685546" y="287806"/>
                        <a:pt x="1693214" y="285299"/>
                        <a:pt x="1702330" y="285299"/>
                      </a:cubicBezTo>
                      <a:close/>
                      <a:moveTo>
                        <a:pt x="1607614" y="285299"/>
                      </a:moveTo>
                      <a:cubicBezTo>
                        <a:pt x="1620050" y="285299"/>
                        <a:pt x="1629590" y="289662"/>
                        <a:pt x="1636230" y="298387"/>
                      </a:cubicBezTo>
                      <a:cubicBezTo>
                        <a:pt x="1642872" y="307112"/>
                        <a:pt x="1646192" y="319027"/>
                        <a:pt x="1646192" y="334133"/>
                      </a:cubicBezTo>
                      <a:lnTo>
                        <a:pt x="1646192" y="338138"/>
                      </a:lnTo>
                      <a:lnTo>
                        <a:pt x="1572160" y="338138"/>
                      </a:lnTo>
                      <a:cubicBezTo>
                        <a:pt x="1572160" y="351876"/>
                        <a:pt x="1575334" y="362620"/>
                        <a:pt x="1581684" y="370368"/>
                      </a:cubicBezTo>
                      <a:cubicBezTo>
                        <a:pt x="1588032" y="378117"/>
                        <a:pt x="1596740" y="381991"/>
                        <a:pt x="1607810" y="381991"/>
                      </a:cubicBezTo>
                      <a:cubicBezTo>
                        <a:pt x="1619008" y="381991"/>
                        <a:pt x="1629948" y="377856"/>
                        <a:pt x="1640626" y="369587"/>
                      </a:cubicBezTo>
                      <a:lnTo>
                        <a:pt x="1640626" y="379158"/>
                      </a:lnTo>
                      <a:cubicBezTo>
                        <a:pt x="1630274" y="386516"/>
                        <a:pt x="1618716" y="390195"/>
                        <a:pt x="1605954" y="390195"/>
                      </a:cubicBezTo>
                      <a:cubicBezTo>
                        <a:pt x="1593062" y="390195"/>
                        <a:pt x="1582644" y="385572"/>
                        <a:pt x="1574700" y="376326"/>
                      </a:cubicBezTo>
                      <a:cubicBezTo>
                        <a:pt x="1566756" y="367080"/>
                        <a:pt x="1562784" y="354025"/>
                        <a:pt x="1562784" y="337161"/>
                      </a:cubicBezTo>
                      <a:cubicBezTo>
                        <a:pt x="1562784" y="322576"/>
                        <a:pt x="1566936" y="310286"/>
                        <a:pt x="1575236" y="300291"/>
                      </a:cubicBezTo>
                      <a:cubicBezTo>
                        <a:pt x="1583538" y="290296"/>
                        <a:pt x="1594332" y="285299"/>
                        <a:pt x="1607614" y="285299"/>
                      </a:cubicBezTo>
                      <a:close/>
                      <a:moveTo>
                        <a:pt x="1398064" y="285299"/>
                      </a:moveTo>
                      <a:cubicBezTo>
                        <a:pt x="1410500" y="285299"/>
                        <a:pt x="1420040" y="289662"/>
                        <a:pt x="1426680" y="298387"/>
                      </a:cubicBezTo>
                      <a:cubicBezTo>
                        <a:pt x="1433322" y="307112"/>
                        <a:pt x="1436644" y="319027"/>
                        <a:pt x="1436644" y="334133"/>
                      </a:cubicBezTo>
                      <a:lnTo>
                        <a:pt x="1436644" y="338138"/>
                      </a:lnTo>
                      <a:lnTo>
                        <a:pt x="1362610" y="338138"/>
                      </a:lnTo>
                      <a:cubicBezTo>
                        <a:pt x="1362610" y="351876"/>
                        <a:pt x="1365784" y="362620"/>
                        <a:pt x="1372132" y="370368"/>
                      </a:cubicBezTo>
                      <a:cubicBezTo>
                        <a:pt x="1378482" y="378117"/>
                        <a:pt x="1387190" y="381991"/>
                        <a:pt x="1398260" y="381991"/>
                      </a:cubicBezTo>
                      <a:cubicBezTo>
                        <a:pt x="1409458" y="381991"/>
                        <a:pt x="1420398" y="377856"/>
                        <a:pt x="1431076" y="369587"/>
                      </a:cubicBezTo>
                      <a:lnTo>
                        <a:pt x="1431076" y="379158"/>
                      </a:lnTo>
                      <a:cubicBezTo>
                        <a:pt x="1420724" y="386516"/>
                        <a:pt x="1409166" y="390195"/>
                        <a:pt x="1396404" y="390195"/>
                      </a:cubicBezTo>
                      <a:cubicBezTo>
                        <a:pt x="1383512" y="390195"/>
                        <a:pt x="1373094" y="385572"/>
                        <a:pt x="1365150" y="376326"/>
                      </a:cubicBezTo>
                      <a:cubicBezTo>
                        <a:pt x="1357206" y="367080"/>
                        <a:pt x="1353234" y="354025"/>
                        <a:pt x="1353234" y="337161"/>
                      </a:cubicBezTo>
                      <a:cubicBezTo>
                        <a:pt x="1353234" y="322576"/>
                        <a:pt x="1357386" y="310286"/>
                        <a:pt x="1365686" y="300291"/>
                      </a:cubicBezTo>
                      <a:cubicBezTo>
                        <a:pt x="1373988" y="290296"/>
                        <a:pt x="1384782" y="285299"/>
                        <a:pt x="1398064" y="285299"/>
                      </a:cubicBezTo>
                      <a:close/>
                      <a:moveTo>
                        <a:pt x="921814" y="285299"/>
                      </a:moveTo>
                      <a:cubicBezTo>
                        <a:pt x="934250" y="285299"/>
                        <a:pt x="943790" y="289662"/>
                        <a:pt x="950430" y="298387"/>
                      </a:cubicBezTo>
                      <a:cubicBezTo>
                        <a:pt x="957072" y="307112"/>
                        <a:pt x="960392" y="319027"/>
                        <a:pt x="960392" y="334133"/>
                      </a:cubicBezTo>
                      <a:lnTo>
                        <a:pt x="960392" y="338138"/>
                      </a:lnTo>
                      <a:lnTo>
                        <a:pt x="886360" y="338138"/>
                      </a:lnTo>
                      <a:cubicBezTo>
                        <a:pt x="886360" y="351876"/>
                        <a:pt x="889534" y="362620"/>
                        <a:pt x="895884" y="370368"/>
                      </a:cubicBezTo>
                      <a:cubicBezTo>
                        <a:pt x="902232" y="378117"/>
                        <a:pt x="910940" y="381991"/>
                        <a:pt x="922010" y="381991"/>
                      </a:cubicBezTo>
                      <a:cubicBezTo>
                        <a:pt x="933208" y="381991"/>
                        <a:pt x="944148" y="377856"/>
                        <a:pt x="954826" y="369587"/>
                      </a:cubicBezTo>
                      <a:lnTo>
                        <a:pt x="954826" y="379158"/>
                      </a:lnTo>
                      <a:cubicBezTo>
                        <a:pt x="944474" y="386516"/>
                        <a:pt x="932916" y="390195"/>
                        <a:pt x="920154" y="390195"/>
                      </a:cubicBezTo>
                      <a:cubicBezTo>
                        <a:pt x="907262" y="390195"/>
                        <a:pt x="896844" y="385572"/>
                        <a:pt x="888900" y="376326"/>
                      </a:cubicBezTo>
                      <a:cubicBezTo>
                        <a:pt x="880956" y="367080"/>
                        <a:pt x="876984" y="354025"/>
                        <a:pt x="876984" y="337161"/>
                      </a:cubicBezTo>
                      <a:cubicBezTo>
                        <a:pt x="876984" y="322576"/>
                        <a:pt x="881136" y="310286"/>
                        <a:pt x="889436" y="300291"/>
                      </a:cubicBezTo>
                      <a:cubicBezTo>
                        <a:pt x="897738" y="290296"/>
                        <a:pt x="908532" y="285299"/>
                        <a:pt x="921814" y="285299"/>
                      </a:cubicBezTo>
                      <a:close/>
                      <a:moveTo>
                        <a:pt x="1231506" y="247697"/>
                      </a:moveTo>
                      <a:cubicBezTo>
                        <a:pt x="1233526" y="247697"/>
                        <a:pt x="1235300" y="248348"/>
                        <a:pt x="1236830" y="249650"/>
                      </a:cubicBezTo>
                      <a:cubicBezTo>
                        <a:pt x="1238360" y="250952"/>
                        <a:pt x="1239124" y="252710"/>
                        <a:pt x="1239124" y="254924"/>
                      </a:cubicBezTo>
                      <a:cubicBezTo>
                        <a:pt x="1239124" y="257008"/>
                        <a:pt x="1238376" y="258798"/>
                        <a:pt x="1236878" y="260296"/>
                      </a:cubicBezTo>
                      <a:cubicBezTo>
                        <a:pt x="1235380" y="261793"/>
                        <a:pt x="1233590" y="262542"/>
                        <a:pt x="1231506" y="262542"/>
                      </a:cubicBezTo>
                      <a:cubicBezTo>
                        <a:pt x="1229554" y="262542"/>
                        <a:pt x="1227828" y="261826"/>
                        <a:pt x="1226330" y="260394"/>
                      </a:cubicBezTo>
                      <a:cubicBezTo>
                        <a:pt x="1224832" y="258961"/>
                        <a:pt x="1224084" y="257138"/>
                        <a:pt x="1224084" y="254924"/>
                      </a:cubicBezTo>
                      <a:cubicBezTo>
                        <a:pt x="1224084" y="252775"/>
                        <a:pt x="1224848" y="251034"/>
                        <a:pt x="1226380" y="249699"/>
                      </a:cubicBezTo>
                      <a:cubicBezTo>
                        <a:pt x="1227910" y="248364"/>
                        <a:pt x="1229618" y="247697"/>
                        <a:pt x="1231506" y="247697"/>
                      </a:cubicBezTo>
                      <a:close/>
                      <a:moveTo>
                        <a:pt x="1531912" y="239688"/>
                      </a:moveTo>
                      <a:lnTo>
                        <a:pt x="1540898" y="239688"/>
                      </a:lnTo>
                      <a:lnTo>
                        <a:pt x="1540898" y="387753"/>
                      </a:lnTo>
                      <a:lnTo>
                        <a:pt x="1531912" y="387753"/>
                      </a:lnTo>
                      <a:close/>
                      <a:moveTo>
                        <a:pt x="1117142" y="239688"/>
                      </a:moveTo>
                      <a:lnTo>
                        <a:pt x="1126128" y="239688"/>
                      </a:lnTo>
                      <a:lnTo>
                        <a:pt x="1126128" y="387753"/>
                      </a:lnTo>
                      <a:lnTo>
                        <a:pt x="1117142" y="387753"/>
                      </a:lnTo>
                      <a:lnTo>
                        <a:pt x="1117142" y="369587"/>
                      </a:lnTo>
                      <a:lnTo>
                        <a:pt x="1116752" y="369587"/>
                      </a:lnTo>
                      <a:cubicBezTo>
                        <a:pt x="1113496" y="375903"/>
                        <a:pt x="1108676" y="380916"/>
                        <a:pt x="1102296" y="384628"/>
                      </a:cubicBezTo>
                      <a:cubicBezTo>
                        <a:pt x="1095916" y="388339"/>
                        <a:pt x="1088720" y="390195"/>
                        <a:pt x="1080712" y="390195"/>
                      </a:cubicBezTo>
                      <a:cubicBezTo>
                        <a:pt x="1068406" y="390195"/>
                        <a:pt x="1058362" y="385702"/>
                        <a:pt x="1050580" y="376717"/>
                      </a:cubicBezTo>
                      <a:cubicBezTo>
                        <a:pt x="1042800" y="367731"/>
                        <a:pt x="1038910" y="355327"/>
                        <a:pt x="1038910" y="339505"/>
                      </a:cubicBezTo>
                      <a:cubicBezTo>
                        <a:pt x="1038910" y="323357"/>
                        <a:pt x="1043158" y="310286"/>
                        <a:pt x="1051654" y="300291"/>
                      </a:cubicBezTo>
                      <a:cubicBezTo>
                        <a:pt x="1060152" y="290296"/>
                        <a:pt x="1071172" y="285299"/>
                        <a:pt x="1084716" y="285299"/>
                      </a:cubicBezTo>
                      <a:cubicBezTo>
                        <a:pt x="1099692" y="285299"/>
                        <a:pt x="1110370" y="291452"/>
                        <a:pt x="1116752" y="303758"/>
                      </a:cubicBezTo>
                      <a:lnTo>
                        <a:pt x="1117142" y="303758"/>
                      </a:lnTo>
                      <a:close/>
                      <a:moveTo>
                        <a:pt x="769912" y="239688"/>
                      </a:moveTo>
                      <a:lnTo>
                        <a:pt x="778898" y="239688"/>
                      </a:lnTo>
                      <a:lnTo>
                        <a:pt x="778898" y="308349"/>
                      </a:lnTo>
                      <a:lnTo>
                        <a:pt x="779288" y="308349"/>
                      </a:lnTo>
                      <a:cubicBezTo>
                        <a:pt x="782868" y="300991"/>
                        <a:pt x="787996" y="295310"/>
                        <a:pt x="794670" y="291306"/>
                      </a:cubicBezTo>
                      <a:cubicBezTo>
                        <a:pt x="801344" y="287301"/>
                        <a:pt x="808686" y="285299"/>
                        <a:pt x="816694" y="285299"/>
                      </a:cubicBezTo>
                      <a:cubicBezTo>
                        <a:pt x="829392" y="285299"/>
                        <a:pt x="839306" y="289678"/>
                        <a:pt x="846434" y="298435"/>
                      </a:cubicBezTo>
                      <a:cubicBezTo>
                        <a:pt x="853564" y="307193"/>
                        <a:pt x="857130" y="319092"/>
                        <a:pt x="857130" y="334133"/>
                      </a:cubicBezTo>
                      <a:cubicBezTo>
                        <a:pt x="857130" y="350867"/>
                        <a:pt x="852994" y="364394"/>
                        <a:pt x="844726" y="374714"/>
                      </a:cubicBezTo>
                      <a:cubicBezTo>
                        <a:pt x="836456" y="385035"/>
                        <a:pt x="825712" y="390195"/>
                        <a:pt x="812496" y="390195"/>
                      </a:cubicBezTo>
                      <a:cubicBezTo>
                        <a:pt x="797520" y="390195"/>
                        <a:pt x="786450" y="383456"/>
                        <a:pt x="779288" y="369978"/>
                      </a:cubicBezTo>
                      <a:lnTo>
                        <a:pt x="778898" y="369978"/>
                      </a:lnTo>
                      <a:lnTo>
                        <a:pt x="778898" y="387753"/>
                      </a:lnTo>
                      <a:lnTo>
                        <a:pt x="769912" y="387753"/>
                      </a:lnTo>
                      <a:close/>
                      <a:moveTo>
                        <a:pt x="2058410" y="95813"/>
                      </a:moveTo>
                      <a:lnTo>
                        <a:pt x="2030868" y="99817"/>
                      </a:lnTo>
                      <a:cubicBezTo>
                        <a:pt x="2020384" y="101315"/>
                        <a:pt x="2013026" y="103740"/>
                        <a:pt x="2008794" y="107094"/>
                      </a:cubicBezTo>
                      <a:cubicBezTo>
                        <a:pt x="2004562" y="110447"/>
                        <a:pt x="2002446" y="115900"/>
                        <a:pt x="2002446" y="123453"/>
                      </a:cubicBezTo>
                      <a:cubicBezTo>
                        <a:pt x="2002446" y="129378"/>
                        <a:pt x="2004416" y="134262"/>
                        <a:pt x="2008354" y="138103"/>
                      </a:cubicBezTo>
                      <a:cubicBezTo>
                        <a:pt x="2012294" y="141945"/>
                        <a:pt x="2017780" y="143866"/>
                        <a:pt x="2024812" y="143866"/>
                      </a:cubicBezTo>
                      <a:cubicBezTo>
                        <a:pt x="2034448" y="143866"/>
                        <a:pt x="2042458" y="140301"/>
                        <a:pt x="2048838" y="133171"/>
                      </a:cubicBezTo>
                      <a:cubicBezTo>
                        <a:pt x="2055220" y="126041"/>
                        <a:pt x="2058410" y="116844"/>
                        <a:pt x="2058410" y="105580"/>
                      </a:cubicBezTo>
                      <a:close/>
                      <a:moveTo>
                        <a:pt x="1001134" y="95813"/>
                      </a:moveTo>
                      <a:lnTo>
                        <a:pt x="973592" y="99817"/>
                      </a:lnTo>
                      <a:cubicBezTo>
                        <a:pt x="963110" y="101315"/>
                        <a:pt x="955752" y="103740"/>
                        <a:pt x="951520" y="107094"/>
                      </a:cubicBezTo>
                      <a:cubicBezTo>
                        <a:pt x="947288" y="110447"/>
                        <a:pt x="945170" y="115900"/>
                        <a:pt x="945170" y="123453"/>
                      </a:cubicBezTo>
                      <a:cubicBezTo>
                        <a:pt x="945170" y="129378"/>
                        <a:pt x="947140" y="134262"/>
                        <a:pt x="951080" y="138103"/>
                      </a:cubicBezTo>
                      <a:cubicBezTo>
                        <a:pt x="955020" y="141945"/>
                        <a:pt x="960504" y="143866"/>
                        <a:pt x="967536" y="143866"/>
                      </a:cubicBezTo>
                      <a:cubicBezTo>
                        <a:pt x="977174" y="143866"/>
                        <a:pt x="985182" y="140301"/>
                        <a:pt x="991564" y="133171"/>
                      </a:cubicBezTo>
                      <a:cubicBezTo>
                        <a:pt x="997944" y="126041"/>
                        <a:pt x="1001134" y="116844"/>
                        <a:pt x="1001134" y="105580"/>
                      </a:cubicBezTo>
                      <a:close/>
                      <a:moveTo>
                        <a:pt x="677284" y="95813"/>
                      </a:moveTo>
                      <a:lnTo>
                        <a:pt x="649742" y="99817"/>
                      </a:lnTo>
                      <a:cubicBezTo>
                        <a:pt x="639260" y="101315"/>
                        <a:pt x="631902" y="103740"/>
                        <a:pt x="627670" y="107094"/>
                      </a:cubicBezTo>
                      <a:cubicBezTo>
                        <a:pt x="623436" y="110447"/>
                        <a:pt x="621320" y="115900"/>
                        <a:pt x="621320" y="123453"/>
                      </a:cubicBezTo>
                      <a:cubicBezTo>
                        <a:pt x="621320" y="129378"/>
                        <a:pt x="623290" y="134262"/>
                        <a:pt x="627230" y="138103"/>
                      </a:cubicBezTo>
                      <a:cubicBezTo>
                        <a:pt x="631168" y="141945"/>
                        <a:pt x="636654" y="143866"/>
                        <a:pt x="643686" y="143866"/>
                      </a:cubicBezTo>
                      <a:cubicBezTo>
                        <a:pt x="653324" y="143866"/>
                        <a:pt x="661332" y="140301"/>
                        <a:pt x="667714" y="133171"/>
                      </a:cubicBezTo>
                      <a:cubicBezTo>
                        <a:pt x="674094" y="126041"/>
                        <a:pt x="677284" y="116844"/>
                        <a:pt x="677284" y="105580"/>
                      </a:cubicBezTo>
                      <a:close/>
                      <a:moveTo>
                        <a:pt x="281132" y="88390"/>
                      </a:moveTo>
                      <a:cubicBezTo>
                        <a:pt x="273710" y="88390"/>
                        <a:pt x="267816" y="90929"/>
                        <a:pt x="263454" y="96008"/>
                      </a:cubicBezTo>
                      <a:cubicBezTo>
                        <a:pt x="259092" y="101087"/>
                        <a:pt x="256910" y="108021"/>
                        <a:pt x="256910" y="116812"/>
                      </a:cubicBezTo>
                      <a:cubicBezTo>
                        <a:pt x="256910" y="125211"/>
                        <a:pt x="259010" y="131885"/>
                        <a:pt x="263210" y="136834"/>
                      </a:cubicBezTo>
                      <a:cubicBezTo>
                        <a:pt x="267410" y="141782"/>
                        <a:pt x="273188" y="144256"/>
                        <a:pt x="280546" y="144256"/>
                      </a:cubicBezTo>
                      <a:cubicBezTo>
                        <a:pt x="288034" y="144256"/>
                        <a:pt x="293878" y="141733"/>
                        <a:pt x="298078" y="136687"/>
                      </a:cubicBezTo>
                      <a:cubicBezTo>
                        <a:pt x="302278" y="131641"/>
                        <a:pt x="304378" y="124820"/>
                        <a:pt x="304378" y="116226"/>
                      </a:cubicBezTo>
                      <a:cubicBezTo>
                        <a:pt x="304378" y="107045"/>
                        <a:pt x="302294" y="100110"/>
                        <a:pt x="298126" y="95422"/>
                      </a:cubicBezTo>
                      <a:cubicBezTo>
                        <a:pt x="293960" y="90734"/>
                        <a:pt x="288294" y="88390"/>
                        <a:pt x="281132" y="88390"/>
                      </a:cubicBezTo>
                      <a:close/>
                      <a:moveTo>
                        <a:pt x="281328" y="80381"/>
                      </a:moveTo>
                      <a:cubicBezTo>
                        <a:pt x="291094" y="80381"/>
                        <a:pt x="298842" y="83572"/>
                        <a:pt x="304572" y="89953"/>
                      </a:cubicBezTo>
                      <a:cubicBezTo>
                        <a:pt x="310302" y="96334"/>
                        <a:pt x="313168" y="105157"/>
                        <a:pt x="313168" y="116421"/>
                      </a:cubicBezTo>
                      <a:cubicBezTo>
                        <a:pt x="313168" y="126578"/>
                        <a:pt x="310188" y="135059"/>
                        <a:pt x="304230" y="141864"/>
                      </a:cubicBezTo>
                      <a:cubicBezTo>
                        <a:pt x="298272" y="148668"/>
                        <a:pt x="290312" y="152070"/>
                        <a:pt x="280350" y="152070"/>
                      </a:cubicBezTo>
                      <a:cubicBezTo>
                        <a:pt x="270388" y="152070"/>
                        <a:pt x="262494" y="148782"/>
                        <a:pt x="256666" y="142205"/>
                      </a:cubicBezTo>
                      <a:cubicBezTo>
                        <a:pt x="250838" y="135629"/>
                        <a:pt x="247924" y="127099"/>
                        <a:pt x="247924" y="116616"/>
                      </a:cubicBezTo>
                      <a:cubicBezTo>
                        <a:pt x="247924" y="105091"/>
                        <a:pt x="251050" y="96171"/>
                        <a:pt x="257302" y="89855"/>
                      </a:cubicBezTo>
                      <a:cubicBezTo>
                        <a:pt x="263552" y="83539"/>
                        <a:pt x="271560" y="80381"/>
                        <a:pt x="281328" y="80381"/>
                      </a:cubicBezTo>
                      <a:close/>
                      <a:moveTo>
                        <a:pt x="2132270" y="55378"/>
                      </a:moveTo>
                      <a:cubicBezTo>
                        <a:pt x="2121788" y="55378"/>
                        <a:pt x="2113128" y="59399"/>
                        <a:pt x="2106290" y="67440"/>
                      </a:cubicBezTo>
                      <a:cubicBezTo>
                        <a:pt x="2099454" y="75482"/>
                        <a:pt x="2096036" y="86534"/>
                        <a:pt x="2096036" y="100599"/>
                      </a:cubicBezTo>
                      <a:cubicBezTo>
                        <a:pt x="2096036" y="114402"/>
                        <a:pt x="2099112" y="125065"/>
                        <a:pt x="2105264" y="132585"/>
                      </a:cubicBezTo>
                      <a:cubicBezTo>
                        <a:pt x="2111418" y="140106"/>
                        <a:pt x="2119346" y="143866"/>
                        <a:pt x="2129048" y="143866"/>
                      </a:cubicBezTo>
                      <a:cubicBezTo>
                        <a:pt x="2140442" y="143866"/>
                        <a:pt x="2149264" y="140333"/>
                        <a:pt x="2155516" y="133269"/>
                      </a:cubicBezTo>
                      <a:cubicBezTo>
                        <a:pt x="2161766" y="126204"/>
                        <a:pt x="2164892" y="117593"/>
                        <a:pt x="2164892" y="107435"/>
                      </a:cubicBezTo>
                      <a:lnTo>
                        <a:pt x="2164892" y="88781"/>
                      </a:lnTo>
                      <a:cubicBezTo>
                        <a:pt x="2164892" y="79470"/>
                        <a:pt x="2161946" y="71575"/>
                        <a:pt x="2156052" y="65096"/>
                      </a:cubicBezTo>
                      <a:cubicBezTo>
                        <a:pt x="2150160" y="58618"/>
                        <a:pt x="2142232" y="55378"/>
                        <a:pt x="2132270" y="55378"/>
                      </a:cubicBezTo>
                      <a:close/>
                      <a:moveTo>
                        <a:pt x="1925162" y="55378"/>
                      </a:moveTo>
                      <a:cubicBezTo>
                        <a:pt x="1913376" y="55378"/>
                        <a:pt x="1903984" y="59350"/>
                        <a:pt x="1896984" y="67294"/>
                      </a:cubicBezTo>
                      <a:cubicBezTo>
                        <a:pt x="1889986" y="75237"/>
                        <a:pt x="1886486" y="86274"/>
                        <a:pt x="1886486" y="100403"/>
                      </a:cubicBezTo>
                      <a:cubicBezTo>
                        <a:pt x="1886486" y="113491"/>
                        <a:pt x="1889904" y="124007"/>
                        <a:pt x="1896740" y="131950"/>
                      </a:cubicBezTo>
                      <a:cubicBezTo>
                        <a:pt x="1903578" y="139894"/>
                        <a:pt x="1912920" y="143866"/>
                        <a:pt x="1924772" y="143866"/>
                      </a:cubicBezTo>
                      <a:cubicBezTo>
                        <a:pt x="1936818" y="143866"/>
                        <a:pt x="1946096" y="139959"/>
                        <a:pt x="1952608" y="132146"/>
                      </a:cubicBezTo>
                      <a:cubicBezTo>
                        <a:pt x="1959118" y="124332"/>
                        <a:pt x="1962374" y="113491"/>
                        <a:pt x="1962374" y="99622"/>
                      </a:cubicBezTo>
                      <a:cubicBezTo>
                        <a:pt x="1962374" y="85362"/>
                        <a:pt x="1959134" y="74424"/>
                        <a:pt x="1952656" y="66805"/>
                      </a:cubicBezTo>
                      <a:cubicBezTo>
                        <a:pt x="1946178" y="59187"/>
                        <a:pt x="1937012" y="55378"/>
                        <a:pt x="1925162" y="55378"/>
                      </a:cubicBezTo>
                      <a:close/>
                      <a:moveTo>
                        <a:pt x="1296512" y="55378"/>
                      </a:moveTo>
                      <a:cubicBezTo>
                        <a:pt x="1284726" y="55378"/>
                        <a:pt x="1275334" y="59350"/>
                        <a:pt x="1268334" y="67294"/>
                      </a:cubicBezTo>
                      <a:cubicBezTo>
                        <a:pt x="1261336" y="75237"/>
                        <a:pt x="1257836" y="86274"/>
                        <a:pt x="1257836" y="100403"/>
                      </a:cubicBezTo>
                      <a:cubicBezTo>
                        <a:pt x="1257836" y="113491"/>
                        <a:pt x="1261254" y="124007"/>
                        <a:pt x="1268090" y="131950"/>
                      </a:cubicBezTo>
                      <a:cubicBezTo>
                        <a:pt x="1274928" y="139894"/>
                        <a:pt x="1284272" y="143866"/>
                        <a:pt x="1296122" y="143866"/>
                      </a:cubicBezTo>
                      <a:cubicBezTo>
                        <a:pt x="1308168" y="143866"/>
                        <a:pt x="1317446" y="139959"/>
                        <a:pt x="1323956" y="132146"/>
                      </a:cubicBezTo>
                      <a:cubicBezTo>
                        <a:pt x="1330468" y="124332"/>
                        <a:pt x="1333724" y="113491"/>
                        <a:pt x="1333724" y="99622"/>
                      </a:cubicBezTo>
                      <a:cubicBezTo>
                        <a:pt x="1333724" y="85362"/>
                        <a:pt x="1330484" y="74424"/>
                        <a:pt x="1324006" y="66805"/>
                      </a:cubicBezTo>
                      <a:cubicBezTo>
                        <a:pt x="1317528" y="59187"/>
                        <a:pt x="1308362" y="55378"/>
                        <a:pt x="1296512" y="55378"/>
                      </a:cubicBezTo>
                      <a:close/>
                      <a:moveTo>
                        <a:pt x="439262" y="55378"/>
                      </a:moveTo>
                      <a:cubicBezTo>
                        <a:pt x="427476" y="55378"/>
                        <a:pt x="418084" y="59350"/>
                        <a:pt x="411084" y="67294"/>
                      </a:cubicBezTo>
                      <a:cubicBezTo>
                        <a:pt x="404086" y="75237"/>
                        <a:pt x="400586" y="86274"/>
                        <a:pt x="400586" y="100403"/>
                      </a:cubicBezTo>
                      <a:cubicBezTo>
                        <a:pt x="400586" y="113491"/>
                        <a:pt x="404004" y="124007"/>
                        <a:pt x="410840" y="131950"/>
                      </a:cubicBezTo>
                      <a:cubicBezTo>
                        <a:pt x="417678" y="139894"/>
                        <a:pt x="427020" y="143866"/>
                        <a:pt x="438872" y="143866"/>
                      </a:cubicBezTo>
                      <a:cubicBezTo>
                        <a:pt x="450918" y="143866"/>
                        <a:pt x="460196" y="139959"/>
                        <a:pt x="466706" y="132146"/>
                      </a:cubicBezTo>
                      <a:cubicBezTo>
                        <a:pt x="473218" y="124332"/>
                        <a:pt x="476474" y="113491"/>
                        <a:pt x="476474" y="99622"/>
                      </a:cubicBezTo>
                      <a:cubicBezTo>
                        <a:pt x="476474" y="85362"/>
                        <a:pt x="473234" y="74424"/>
                        <a:pt x="466756" y="66805"/>
                      </a:cubicBezTo>
                      <a:cubicBezTo>
                        <a:pt x="460278" y="59187"/>
                        <a:pt x="451112" y="55378"/>
                        <a:pt x="439262" y="55378"/>
                      </a:cubicBezTo>
                      <a:close/>
                      <a:moveTo>
                        <a:pt x="2484412" y="49616"/>
                      </a:moveTo>
                      <a:lnTo>
                        <a:pt x="2493398" y="49616"/>
                      </a:lnTo>
                      <a:lnTo>
                        <a:pt x="2493398" y="149628"/>
                      </a:lnTo>
                      <a:lnTo>
                        <a:pt x="2484412" y="149628"/>
                      </a:lnTo>
                      <a:close/>
                      <a:moveTo>
                        <a:pt x="2338658" y="49616"/>
                      </a:moveTo>
                      <a:lnTo>
                        <a:pt x="2348620" y="49616"/>
                      </a:lnTo>
                      <a:lnTo>
                        <a:pt x="2371864" y="129411"/>
                      </a:lnTo>
                      <a:cubicBezTo>
                        <a:pt x="2372452" y="131494"/>
                        <a:pt x="2372906" y="134294"/>
                        <a:pt x="2373232" y="137810"/>
                      </a:cubicBezTo>
                      <a:lnTo>
                        <a:pt x="2374014" y="137810"/>
                      </a:lnTo>
                      <a:cubicBezTo>
                        <a:pt x="2374144" y="135922"/>
                        <a:pt x="2374762" y="133122"/>
                        <a:pt x="2375870" y="129411"/>
                      </a:cubicBezTo>
                      <a:lnTo>
                        <a:pt x="2401264" y="49616"/>
                      </a:lnTo>
                      <a:lnTo>
                        <a:pt x="2407416" y="49616"/>
                      </a:lnTo>
                      <a:lnTo>
                        <a:pt x="2430076" y="129411"/>
                      </a:lnTo>
                      <a:cubicBezTo>
                        <a:pt x="2430596" y="131299"/>
                        <a:pt x="2431052" y="134099"/>
                        <a:pt x="2431442" y="137810"/>
                      </a:cubicBezTo>
                      <a:lnTo>
                        <a:pt x="2432224" y="137810"/>
                      </a:lnTo>
                      <a:cubicBezTo>
                        <a:pt x="2432224" y="135922"/>
                        <a:pt x="2432778" y="133122"/>
                        <a:pt x="2433884" y="129411"/>
                      </a:cubicBezTo>
                      <a:lnTo>
                        <a:pt x="2457618" y="49616"/>
                      </a:lnTo>
                      <a:lnTo>
                        <a:pt x="2466896" y="49616"/>
                      </a:lnTo>
                      <a:lnTo>
                        <a:pt x="2435838" y="149628"/>
                      </a:lnTo>
                      <a:lnTo>
                        <a:pt x="2427438" y="149628"/>
                      </a:lnTo>
                      <a:lnTo>
                        <a:pt x="2405658" y="74228"/>
                      </a:lnTo>
                      <a:cubicBezTo>
                        <a:pt x="2405072" y="72145"/>
                        <a:pt x="2404552" y="69345"/>
                        <a:pt x="2404096" y="65829"/>
                      </a:cubicBezTo>
                      <a:lnTo>
                        <a:pt x="2403608" y="65829"/>
                      </a:lnTo>
                      <a:cubicBezTo>
                        <a:pt x="2403476" y="67326"/>
                        <a:pt x="2402826" y="70061"/>
                        <a:pt x="2401654" y="74033"/>
                      </a:cubicBezTo>
                      <a:lnTo>
                        <a:pt x="2377236" y="149628"/>
                      </a:lnTo>
                      <a:lnTo>
                        <a:pt x="2368838" y="149628"/>
                      </a:lnTo>
                      <a:close/>
                      <a:moveTo>
                        <a:pt x="1854874" y="47662"/>
                      </a:moveTo>
                      <a:cubicBezTo>
                        <a:pt x="1858584" y="47662"/>
                        <a:pt x="1861906" y="48248"/>
                        <a:pt x="1864836" y="49420"/>
                      </a:cubicBezTo>
                      <a:lnTo>
                        <a:pt x="1864836" y="58992"/>
                      </a:lnTo>
                      <a:cubicBezTo>
                        <a:pt x="1861840" y="56843"/>
                        <a:pt x="1858324" y="55769"/>
                        <a:pt x="1854288" y="55769"/>
                      </a:cubicBezTo>
                      <a:cubicBezTo>
                        <a:pt x="1846408" y="55769"/>
                        <a:pt x="1839800" y="59838"/>
                        <a:pt x="1834460" y="67977"/>
                      </a:cubicBezTo>
                      <a:cubicBezTo>
                        <a:pt x="1829122" y="76116"/>
                        <a:pt x="1826452" y="87674"/>
                        <a:pt x="1826452" y="102650"/>
                      </a:cubicBezTo>
                      <a:lnTo>
                        <a:pt x="1826452" y="149628"/>
                      </a:lnTo>
                      <a:lnTo>
                        <a:pt x="1817662" y="149628"/>
                      </a:lnTo>
                      <a:lnTo>
                        <a:pt x="1817662" y="49616"/>
                      </a:lnTo>
                      <a:lnTo>
                        <a:pt x="1826452" y="49616"/>
                      </a:lnTo>
                      <a:lnTo>
                        <a:pt x="1826452" y="71786"/>
                      </a:lnTo>
                      <a:lnTo>
                        <a:pt x="1826842" y="71786"/>
                      </a:lnTo>
                      <a:cubicBezTo>
                        <a:pt x="1829122" y="64168"/>
                        <a:pt x="1832736" y="58243"/>
                        <a:pt x="1837684" y="54011"/>
                      </a:cubicBezTo>
                      <a:cubicBezTo>
                        <a:pt x="1842632" y="49779"/>
                        <a:pt x="1848362" y="47662"/>
                        <a:pt x="1854874" y="47662"/>
                      </a:cubicBezTo>
                      <a:close/>
                      <a:moveTo>
                        <a:pt x="1073824" y="47662"/>
                      </a:moveTo>
                      <a:cubicBezTo>
                        <a:pt x="1077534" y="47662"/>
                        <a:pt x="1080856" y="48248"/>
                        <a:pt x="1083786" y="49420"/>
                      </a:cubicBezTo>
                      <a:lnTo>
                        <a:pt x="1083786" y="58992"/>
                      </a:lnTo>
                      <a:cubicBezTo>
                        <a:pt x="1080790" y="56843"/>
                        <a:pt x="1077274" y="55769"/>
                        <a:pt x="1073238" y="55769"/>
                      </a:cubicBezTo>
                      <a:cubicBezTo>
                        <a:pt x="1065358" y="55769"/>
                        <a:pt x="1058750" y="59838"/>
                        <a:pt x="1053410" y="67977"/>
                      </a:cubicBezTo>
                      <a:cubicBezTo>
                        <a:pt x="1048072" y="76116"/>
                        <a:pt x="1045402" y="87674"/>
                        <a:pt x="1045402" y="102650"/>
                      </a:cubicBezTo>
                      <a:lnTo>
                        <a:pt x="1045402" y="149628"/>
                      </a:lnTo>
                      <a:lnTo>
                        <a:pt x="1036612" y="149628"/>
                      </a:lnTo>
                      <a:lnTo>
                        <a:pt x="1036612" y="49616"/>
                      </a:lnTo>
                      <a:lnTo>
                        <a:pt x="1045402" y="49616"/>
                      </a:lnTo>
                      <a:lnTo>
                        <a:pt x="1045402" y="71786"/>
                      </a:lnTo>
                      <a:lnTo>
                        <a:pt x="1045792" y="71786"/>
                      </a:lnTo>
                      <a:cubicBezTo>
                        <a:pt x="1048072" y="64168"/>
                        <a:pt x="1051686" y="58243"/>
                        <a:pt x="1056634" y="54011"/>
                      </a:cubicBezTo>
                      <a:cubicBezTo>
                        <a:pt x="1061582" y="49779"/>
                        <a:pt x="1067312" y="47662"/>
                        <a:pt x="1073824" y="47662"/>
                      </a:cubicBezTo>
                      <a:close/>
                      <a:moveTo>
                        <a:pt x="2235730" y="47174"/>
                      </a:moveTo>
                      <a:cubicBezTo>
                        <a:pt x="2244324" y="47174"/>
                        <a:pt x="2251682" y="48932"/>
                        <a:pt x="2257802" y="52448"/>
                      </a:cubicBezTo>
                      <a:lnTo>
                        <a:pt x="2257802" y="62606"/>
                      </a:lnTo>
                      <a:cubicBezTo>
                        <a:pt x="2250380" y="57787"/>
                        <a:pt x="2242696" y="55378"/>
                        <a:pt x="2234752" y="55378"/>
                      </a:cubicBezTo>
                      <a:cubicBezTo>
                        <a:pt x="2228176" y="55378"/>
                        <a:pt x="2222870" y="57087"/>
                        <a:pt x="2218832" y="60506"/>
                      </a:cubicBezTo>
                      <a:cubicBezTo>
                        <a:pt x="2214796" y="63924"/>
                        <a:pt x="2212776" y="68368"/>
                        <a:pt x="2212776" y="73838"/>
                      </a:cubicBezTo>
                      <a:cubicBezTo>
                        <a:pt x="2212776" y="78591"/>
                        <a:pt x="2214046" y="82449"/>
                        <a:pt x="2216586" y="85411"/>
                      </a:cubicBezTo>
                      <a:cubicBezTo>
                        <a:pt x="2219126" y="88374"/>
                        <a:pt x="2224726" y="91776"/>
                        <a:pt x="2233384" y="95618"/>
                      </a:cubicBezTo>
                      <a:cubicBezTo>
                        <a:pt x="2243804" y="100306"/>
                        <a:pt x="2250966" y="104652"/>
                        <a:pt x="2254872" y="108656"/>
                      </a:cubicBezTo>
                      <a:cubicBezTo>
                        <a:pt x="2258780" y="112661"/>
                        <a:pt x="2260732" y="117984"/>
                        <a:pt x="2260732" y="124625"/>
                      </a:cubicBezTo>
                      <a:cubicBezTo>
                        <a:pt x="2260732" y="132569"/>
                        <a:pt x="2257754" y="139129"/>
                        <a:pt x="2251796" y="144305"/>
                      </a:cubicBezTo>
                      <a:cubicBezTo>
                        <a:pt x="2245838" y="149482"/>
                        <a:pt x="2237618" y="152070"/>
                        <a:pt x="2227134" y="152070"/>
                      </a:cubicBezTo>
                      <a:cubicBezTo>
                        <a:pt x="2217498" y="152070"/>
                        <a:pt x="2209456" y="149791"/>
                        <a:pt x="2203010" y="145233"/>
                      </a:cubicBezTo>
                      <a:lnTo>
                        <a:pt x="2203010" y="134392"/>
                      </a:lnTo>
                      <a:cubicBezTo>
                        <a:pt x="2206396" y="137322"/>
                        <a:pt x="2210498" y="139633"/>
                        <a:pt x="2215316" y="141326"/>
                      </a:cubicBezTo>
                      <a:cubicBezTo>
                        <a:pt x="2220134" y="143019"/>
                        <a:pt x="2224302" y="143866"/>
                        <a:pt x="2227818" y="143866"/>
                      </a:cubicBezTo>
                      <a:cubicBezTo>
                        <a:pt x="2243510" y="143866"/>
                        <a:pt x="2251356" y="137452"/>
                        <a:pt x="2251356" y="124625"/>
                      </a:cubicBezTo>
                      <a:cubicBezTo>
                        <a:pt x="2251356" y="120197"/>
                        <a:pt x="2249630" y="116421"/>
                        <a:pt x="2246180" y="113296"/>
                      </a:cubicBezTo>
                      <a:cubicBezTo>
                        <a:pt x="2242728" y="110170"/>
                        <a:pt x="2237128" y="106947"/>
                        <a:pt x="2229380" y="103626"/>
                      </a:cubicBezTo>
                      <a:cubicBezTo>
                        <a:pt x="2219810" y="99459"/>
                        <a:pt x="2213086" y="95146"/>
                        <a:pt x="2209212" y="90685"/>
                      </a:cubicBezTo>
                      <a:cubicBezTo>
                        <a:pt x="2205338" y="86225"/>
                        <a:pt x="2203400" y="80805"/>
                        <a:pt x="2203400" y="74424"/>
                      </a:cubicBezTo>
                      <a:cubicBezTo>
                        <a:pt x="2203400" y="66284"/>
                        <a:pt x="2206510" y="59708"/>
                        <a:pt x="2212728" y="54695"/>
                      </a:cubicBezTo>
                      <a:cubicBezTo>
                        <a:pt x="2218946" y="49681"/>
                        <a:pt x="2226614" y="47174"/>
                        <a:pt x="2235730" y="47174"/>
                      </a:cubicBezTo>
                      <a:close/>
                      <a:moveTo>
                        <a:pt x="2035068" y="47174"/>
                      </a:moveTo>
                      <a:cubicBezTo>
                        <a:pt x="2045354" y="47174"/>
                        <a:pt x="2053314" y="50365"/>
                        <a:pt x="2058948" y="56746"/>
                      </a:cubicBezTo>
                      <a:cubicBezTo>
                        <a:pt x="2064580" y="63127"/>
                        <a:pt x="2067396" y="72405"/>
                        <a:pt x="2067396" y="84581"/>
                      </a:cubicBezTo>
                      <a:lnTo>
                        <a:pt x="2067396" y="149628"/>
                      </a:lnTo>
                      <a:lnTo>
                        <a:pt x="2058410" y="149628"/>
                      </a:lnTo>
                      <a:lnTo>
                        <a:pt x="2058410" y="129606"/>
                      </a:lnTo>
                      <a:lnTo>
                        <a:pt x="2058020" y="129606"/>
                      </a:lnTo>
                      <a:cubicBezTo>
                        <a:pt x="2054828" y="136443"/>
                        <a:pt x="2050190" y="141896"/>
                        <a:pt x="2044102" y="145966"/>
                      </a:cubicBezTo>
                      <a:cubicBezTo>
                        <a:pt x="2038014" y="150035"/>
                        <a:pt x="2031258" y="152070"/>
                        <a:pt x="2023836" y="152070"/>
                      </a:cubicBezTo>
                      <a:cubicBezTo>
                        <a:pt x="2014328" y="152070"/>
                        <a:pt x="2006808" y="149400"/>
                        <a:pt x="2001274" y="144061"/>
                      </a:cubicBezTo>
                      <a:cubicBezTo>
                        <a:pt x="1995740" y="138722"/>
                        <a:pt x="1992972" y="131983"/>
                        <a:pt x="1992972" y="123844"/>
                      </a:cubicBezTo>
                      <a:cubicBezTo>
                        <a:pt x="1992972" y="106394"/>
                        <a:pt x="2004530" y="95845"/>
                        <a:pt x="2027644" y="92199"/>
                      </a:cubicBezTo>
                      <a:lnTo>
                        <a:pt x="2058410" y="87609"/>
                      </a:lnTo>
                      <a:cubicBezTo>
                        <a:pt x="2058410" y="66122"/>
                        <a:pt x="2050336" y="55378"/>
                        <a:pt x="2034188" y="55378"/>
                      </a:cubicBezTo>
                      <a:cubicBezTo>
                        <a:pt x="2023184" y="55378"/>
                        <a:pt x="2012472" y="59806"/>
                        <a:pt x="2002056" y="68661"/>
                      </a:cubicBezTo>
                      <a:lnTo>
                        <a:pt x="2002056" y="57820"/>
                      </a:lnTo>
                      <a:cubicBezTo>
                        <a:pt x="2005766" y="54890"/>
                        <a:pt x="2010796" y="52383"/>
                        <a:pt x="2017144" y="50299"/>
                      </a:cubicBezTo>
                      <a:cubicBezTo>
                        <a:pt x="2023494" y="48216"/>
                        <a:pt x="2029468" y="47174"/>
                        <a:pt x="2035068" y="47174"/>
                      </a:cubicBezTo>
                      <a:close/>
                      <a:moveTo>
                        <a:pt x="1925552" y="47174"/>
                      </a:moveTo>
                      <a:cubicBezTo>
                        <a:pt x="1939812" y="47174"/>
                        <a:pt x="1951076" y="51830"/>
                        <a:pt x="1959346" y="61141"/>
                      </a:cubicBezTo>
                      <a:cubicBezTo>
                        <a:pt x="1967616" y="70452"/>
                        <a:pt x="1971750" y="83344"/>
                        <a:pt x="1971750" y="99817"/>
                      </a:cubicBezTo>
                      <a:cubicBezTo>
                        <a:pt x="1971750" y="115379"/>
                        <a:pt x="1967534" y="127978"/>
                        <a:pt x="1959102" y="137615"/>
                      </a:cubicBezTo>
                      <a:cubicBezTo>
                        <a:pt x="1950670" y="147252"/>
                        <a:pt x="1939128" y="152070"/>
                        <a:pt x="1924478" y="152070"/>
                      </a:cubicBezTo>
                      <a:cubicBezTo>
                        <a:pt x="1909894" y="152070"/>
                        <a:pt x="1898352" y="147268"/>
                        <a:pt x="1889856" y="137664"/>
                      </a:cubicBezTo>
                      <a:cubicBezTo>
                        <a:pt x="1881358" y="128060"/>
                        <a:pt x="1877110" y="115574"/>
                        <a:pt x="1877110" y="100208"/>
                      </a:cubicBezTo>
                      <a:cubicBezTo>
                        <a:pt x="1877110" y="83604"/>
                        <a:pt x="1881554" y="70614"/>
                        <a:pt x="1890442" y="61238"/>
                      </a:cubicBezTo>
                      <a:cubicBezTo>
                        <a:pt x="1899328" y="51862"/>
                        <a:pt x="1911032" y="47174"/>
                        <a:pt x="1925552" y="47174"/>
                      </a:cubicBezTo>
                      <a:close/>
                      <a:moveTo>
                        <a:pt x="1413546" y="47174"/>
                      </a:moveTo>
                      <a:cubicBezTo>
                        <a:pt x="1424356" y="47174"/>
                        <a:pt x="1432624" y="50771"/>
                        <a:pt x="1438354" y="57966"/>
                      </a:cubicBezTo>
                      <a:cubicBezTo>
                        <a:pt x="1444084" y="65161"/>
                        <a:pt x="1446950" y="75433"/>
                        <a:pt x="1446950" y="88781"/>
                      </a:cubicBezTo>
                      <a:lnTo>
                        <a:pt x="1446950" y="149628"/>
                      </a:lnTo>
                      <a:lnTo>
                        <a:pt x="1437964" y="149628"/>
                      </a:lnTo>
                      <a:lnTo>
                        <a:pt x="1437964" y="91418"/>
                      </a:lnTo>
                      <a:cubicBezTo>
                        <a:pt x="1437964" y="67391"/>
                        <a:pt x="1429304" y="55378"/>
                        <a:pt x="1411984" y="55378"/>
                      </a:cubicBezTo>
                      <a:cubicBezTo>
                        <a:pt x="1402348" y="55378"/>
                        <a:pt x="1394436" y="58911"/>
                        <a:pt x="1388250" y="65975"/>
                      </a:cubicBezTo>
                      <a:cubicBezTo>
                        <a:pt x="1382064" y="73040"/>
                        <a:pt x="1378972" y="81781"/>
                        <a:pt x="1378972" y="92199"/>
                      </a:cubicBezTo>
                      <a:lnTo>
                        <a:pt x="1378972" y="149628"/>
                      </a:lnTo>
                      <a:lnTo>
                        <a:pt x="1369986" y="149628"/>
                      </a:lnTo>
                      <a:lnTo>
                        <a:pt x="1369986" y="49616"/>
                      </a:lnTo>
                      <a:lnTo>
                        <a:pt x="1378972" y="49616"/>
                      </a:lnTo>
                      <a:lnTo>
                        <a:pt x="1378972" y="67782"/>
                      </a:lnTo>
                      <a:lnTo>
                        <a:pt x="1379362" y="67782"/>
                      </a:lnTo>
                      <a:cubicBezTo>
                        <a:pt x="1386656" y="54043"/>
                        <a:pt x="1398050" y="47174"/>
                        <a:pt x="1413546" y="47174"/>
                      </a:cubicBezTo>
                      <a:close/>
                      <a:moveTo>
                        <a:pt x="1296902" y="47174"/>
                      </a:moveTo>
                      <a:cubicBezTo>
                        <a:pt x="1311162" y="47174"/>
                        <a:pt x="1322426" y="51830"/>
                        <a:pt x="1330696" y="61141"/>
                      </a:cubicBezTo>
                      <a:cubicBezTo>
                        <a:pt x="1338966" y="70452"/>
                        <a:pt x="1343100" y="83344"/>
                        <a:pt x="1343100" y="99817"/>
                      </a:cubicBezTo>
                      <a:cubicBezTo>
                        <a:pt x="1343100" y="115379"/>
                        <a:pt x="1338884" y="127978"/>
                        <a:pt x="1330452" y="137615"/>
                      </a:cubicBezTo>
                      <a:cubicBezTo>
                        <a:pt x="1322020" y="147252"/>
                        <a:pt x="1310478" y="152070"/>
                        <a:pt x="1295828" y="152070"/>
                      </a:cubicBezTo>
                      <a:cubicBezTo>
                        <a:pt x="1281244" y="152070"/>
                        <a:pt x="1269702" y="147268"/>
                        <a:pt x="1261204" y="137664"/>
                      </a:cubicBezTo>
                      <a:cubicBezTo>
                        <a:pt x="1252708" y="128060"/>
                        <a:pt x="1248460" y="115574"/>
                        <a:pt x="1248460" y="100208"/>
                      </a:cubicBezTo>
                      <a:cubicBezTo>
                        <a:pt x="1248460" y="83604"/>
                        <a:pt x="1252904" y="70614"/>
                        <a:pt x="1261790" y="61238"/>
                      </a:cubicBezTo>
                      <a:cubicBezTo>
                        <a:pt x="1270678" y="51862"/>
                        <a:pt x="1282382" y="47174"/>
                        <a:pt x="1296902" y="47174"/>
                      </a:cubicBezTo>
                      <a:close/>
                      <a:moveTo>
                        <a:pt x="1130830" y="47174"/>
                      </a:moveTo>
                      <a:cubicBezTo>
                        <a:pt x="1139424" y="47174"/>
                        <a:pt x="1146782" y="48932"/>
                        <a:pt x="1152902" y="52448"/>
                      </a:cubicBezTo>
                      <a:lnTo>
                        <a:pt x="1152902" y="62606"/>
                      </a:lnTo>
                      <a:cubicBezTo>
                        <a:pt x="1145480" y="57787"/>
                        <a:pt x="1137796" y="55378"/>
                        <a:pt x="1129852" y="55378"/>
                      </a:cubicBezTo>
                      <a:cubicBezTo>
                        <a:pt x="1123276" y="55378"/>
                        <a:pt x="1117970" y="57087"/>
                        <a:pt x="1113932" y="60506"/>
                      </a:cubicBezTo>
                      <a:cubicBezTo>
                        <a:pt x="1109896" y="63924"/>
                        <a:pt x="1107878" y="68368"/>
                        <a:pt x="1107878" y="73838"/>
                      </a:cubicBezTo>
                      <a:cubicBezTo>
                        <a:pt x="1107878" y="78591"/>
                        <a:pt x="1109146" y="82449"/>
                        <a:pt x="1111686" y="85411"/>
                      </a:cubicBezTo>
                      <a:cubicBezTo>
                        <a:pt x="1114226" y="88374"/>
                        <a:pt x="1119826" y="91776"/>
                        <a:pt x="1128486" y="95618"/>
                      </a:cubicBezTo>
                      <a:cubicBezTo>
                        <a:pt x="1138904" y="100306"/>
                        <a:pt x="1146066" y="104652"/>
                        <a:pt x="1149972" y="108656"/>
                      </a:cubicBezTo>
                      <a:cubicBezTo>
                        <a:pt x="1153878" y="112661"/>
                        <a:pt x="1155832" y="117984"/>
                        <a:pt x="1155832" y="124625"/>
                      </a:cubicBezTo>
                      <a:cubicBezTo>
                        <a:pt x="1155832" y="132569"/>
                        <a:pt x="1152854" y="139129"/>
                        <a:pt x="1146896" y="144305"/>
                      </a:cubicBezTo>
                      <a:cubicBezTo>
                        <a:pt x="1140938" y="149482"/>
                        <a:pt x="1132718" y="152070"/>
                        <a:pt x="1122234" y="152070"/>
                      </a:cubicBezTo>
                      <a:cubicBezTo>
                        <a:pt x="1112598" y="152070"/>
                        <a:pt x="1104556" y="149791"/>
                        <a:pt x="1098110" y="145233"/>
                      </a:cubicBezTo>
                      <a:lnTo>
                        <a:pt x="1098110" y="134392"/>
                      </a:lnTo>
                      <a:cubicBezTo>
                        <a:pt x="1101496" y="137322"/>
                        <a:pt x="1105598" y="139633"/>
                        <a:pt x="1110416" y="141326"/>
                      </a:cubicBezTo>
                      <a:cubicBezTo>
                        <a:pt x="1115234" y="143019"/>
                        <a:pt x="1119402" y="143866"/>
                        <a:pt x="1122918" y="143866"/>
                      </a:cubicBezTo>
                      <a:cubicBezTo>
                        <a:pt x="1138610" y="143866"/>
                        <a:pt x="1146456" y="137452"/>
                        <a:pt x="1146456" y="124625"/>
                      </a:cubicBezTo>
                      <a:cubicBezTo>
                        <a:pt x="1146456" y="120197"/>
                        <a:pt x="1144730" y="116421"/>
                        <a:pt x="1141280" y="113296"/>
                      </a:cubicBezTo>
                      <a:cubicBezTo>
                        <a:pt x="1137828" y="110170"/>
                        <a:pt x="1132230" y="106947"/>
                        <a:pt x="1124480" y="103626"/>
                      </a:cubicBezTo>
                      <a:cubicBezTo>
                        <a:pt x="1114910" y="99459"/>
                        <a:pt x="1108186" y="95146"/>
                        <a:pt x="1104312" y="90685"/>
                      </a:cubicBezTo>
                      <a:cubicBezTo>
                        <a:pt x="1100438" y="86225"/>
                        <a:pt x="1098500" y="80805"/>
                        <a:pt x="1098500" y="74424"/>
                      </a:cubicBezTo>
                      <a:cubicBezTo>
                        <a:pt x="1098500" y="66284"/>
                        <a:pt x="1101610" y="59708"/>
                        <a:pt x="1107828" y="54695"/>
                      </a:cubicBezTo>
                      <a:cubicBezTo>
                        <a:pt x="1114046" y="49681"/>
                        <a:pt x="1121714" y="47174"/>
                        <a:pt x="1130830" y="47174"/>
                      </a:cubicBezTo>
                      <a:close/>
                      <a:moveTo>
                        <a:pt x="977792" y="47174"/>
                      </a:moveTo>
                      <a:cubicBezTo>
                        <a:pt x="988080" y="47174"/>
                        <a:pt x="996040" y="50365"/>
                        <a:pt x="1001672" y="56746"/>
                      </a:cubicBezTo>
                      <a:cubicBezTo>
                        <a:pt x="1007304" y="63127"/>
                        <a:pt x="1010120" y="72405"/>
                        <a:pt x="1010120" y="84581"/>
                      </a:cubicBezTo>
                      <a:lnTo>
                        <a:pt x="1010120" y="149628"/>
                      </a:lnTo>
                      <a:lnTo>
                        <a:pt x="1001134" y="149628"/>
                      </a:lnTo>
                      <a:lnTo>
                        <a:pt x="1001134" y="129606"/>
                      </a:lnTo>
                      <a:lnTo>
                        <a:pt x="1000744" y="129606"/>
                      </a:lnTo>
                      <a:cubicBezTo>
                        <a:pt x="997554" y="136443"/>
                        <a:pt x="992914" y="141896"/>
                        <a:pt x="986826" y="145966"/>
                      </a:cubicBezTo>
                      <a:cubicBezTo>
                        <a:pt x="980738" y="150035"/>
                        <a:pt x="973984" y="152070"/>
                        <a:pt x="966560" y="152070"/>
                      </a:cubicBezTo>
                      <a:cubicBezTo>
                        <a:pt x="957054" y="152070"/>
                        <a:pt x="949534" y="149400"/>
                        <a:pt x="943998" y="144061"/>
                      </a:cubicBezTo>
                      <a:cubicBezTo>
                        <a:pt x="938464" y="138722"/>
                        <a:pt x="935696" y="131983"/>
                        <a:pt x="935696" y="123844"/>
                      </a:cubicBezTo>
                      <a:cubicBezTo>
                        <a:pt x="935696" y="106394"/>
                        <a:pt x="947254" y="95845"/>
                        <a:pt x="970370" y="92199"/>
                      </a:cubicBezTo>
                      <a:lnTo>
                        <a:pt x="1001134" y="87609"/>
                      </a:lnTo>
                      <a:cubicBezTo>
                        <a:pt x="1001134" y="66122"/>
                        <a:pt x="993060" y="55378"/>
                        <a:pt x="976912" y="55378"/>
                      </a:cubicBezTo>
                      <a:cubicBezTo>
                        <a:pt x="965908" y="55378"/>
                        <a:pt x="955198" y="59806"/>
                        <a:pt x="944780" y="68661"/>
                      </a:cubicBezTo>
                      <a:lnTo>
                        <a:pt x="944780" y="57820"/>
                      </a:lnTo>
                      <a:cubicBezTo>
                        <a:pt x="948492" y="54890"/>
                        <a:pt x="953522" y="52383"/>
                        <a:pt x="959870" y="50299"/>
                      </a:cubicBezTo>
                      <a:cubicBezTo>
                        <a:pt x="966218" y="48216"/>
                        <a:pt x="972192" y="47174"/>
                        <a:pt x="977792" y="47174"/>
                      </a:cubicBezTo>
                      <a:close/>
                      <a:moveTo>
                        <a:pt x="898610" y="47174"/>
                      </a:moveTo>
                      <a:cubicBezTo>
                        <a:pt x="906228" y="47174"/>
                        <a:pt x="913620" y="48737"/>
                        <a:pt x="920782" y="51862"/>
                      </a:cubicBezTo>
                      <a:lnTo>
                        <a:pt x="920782" y="62020"/>
                      </a:lnTo>
                      <a:cubicBezTo>
                        <a:pt x="913620" y="57592"/>
                        <a:pt x="905774" y="55378"/>
                        <a:pt x="897244" y="55378"/>
                      </a:cubicBezTo>
                      <a:cubicBezTo>
                        <a:pt x="885524" y="55378"/>
                        <a:pt x="876016" y="59594"/>
                        <a:pt x="868724" y="68026"/>
                      </a:cubicBezTo>
                      <a:cubicBezTo>
                        <a:pt x="861432" y="76458"/>
                        <a:pt x="857786" y="87381"/>
                        <a:pt x="857786" y="100794"/>
                      </a:cubicBezTo>
                      <a:cubicBezTo>
                        <a:pt x="857786" y="113751"/>
                        <a:pt x="861122" y="124169"/>
                        <a:pt x="867796" y="132048"/>
                      </a:cubicBezTo>
                      <a:cubicBezTo>
                        <a:pt x="874470" y="139927"/>
                        <a:pt x="883276" y="143866"/>
                        <a:pt x="894216" y="143866"/>
                      </a:cubicBezTo>
                      <a:cubicBezTo>
                        <a:pt x="904244" y="143866"/>
                        <a:pt x="912968" y="141196"/>
                        <a:pt x="920390" y="135857"/>
                      </a:cubicBezTo>
                      <a:lnTo>
                        <a:pt x="920390" y="145233"/>
                      </a:lnTo>
                      <a:cubicBezTo>
                        <a:pt x="912968" y="149791"/>
                        <a:pt x="904112" y="152070"/>
                        <a:pt x="893824" y="152070"/>
                      </a:cubicBezTo>
                      <a:cubicBezTo>
                        <a:pt x="880216" y="152070"/>
                        <a:pt x="869246" y="147398"/>
                        <a:pt x="860910" y="138055"/>
                      </a:cubicBezTo>
                      <a:cubicBezTo>
                        <a:pt x="852576" y="128711"/>
                        <a:pt x="848410" y="116486"/>
                        <a:pt x="848410" y="101380"/>
                      </a:cubicBezTo>
                      <a:cubicBezTo>
                        <a:pt x="848410" y="85493"/>
                        <a:pt x="853098" y="72486"/>
                        <a:pt x="862474" y="62361"/>
                      </a:cubicBezTo>
                      <a:cubicBezTo>
                        <a:pt x="871850" y="52237"/>
                        <a:pt x="883896" y="47174"/>
                        <a:pt x="898610" y="47174"/>
                      </a:cubicBezTo>
                      <a:close/>
                      <a:moveTo>
                        <a:pt x="653942" y="47174"/>
                      </a:moveTo>
                      <a:cubicBezTo>
                        <a:pt x="664230" y="47174"/>
                        <a:pt x="672190" y="50365"/>
                        <a:pt x="677822" y="56746"/>
                      </a:cubicBezTo>
                      <a:cubicBezTo>
                        <a:pt x="683454" y="63127"/>
                        <a:pt x="686270" y="72405"/>
                        <a:pt x="686270" y="84581"/>
                      </a:cubicBezTo>
                      <a:lnTo>
                        <a:pt x="686270" y="149628"/>
                      </a:lnTo>
                      <a:lnTo>
                        <a:pt x="677284" y="149628"/>
                      </a:lnTo>
                      <a:lnTo>
                        <a:pt x="677284" y="129606"/>
                      </a:lnTo>
                      <a:lnTo>
                        <a:pt x="676894" y="129606"/>
                      </a:lnTo>
                      <a:cubicBezTo>
                        <a:pt x="673704" y="136443"/>
                        <a:pt x="669064" y="141896"/>
                        <a:pt x="662976" y="145966"/>
                      </a:cubicBezTo>
                      <a:cubicBezTo>
                        <a:pt x="656888" y="150035"/>
                        <a:pt x="650132" y="152070"/>
                        <a:pt x="642710" y="152070"/>
                      </a:cubicBezTo>
                      <a:cubicBezTo>
                        <a:pt x="633204" y="152070"/>
                        <a:pt x="625684" y="149400"/>
                        <a:pt x="620148" y="144061"/>
                      </a:cubicBezTo>
                      <a:cubicBezTo>
                        <a:pt x="614614" y="138722"/>
                        <a:pt x="611846" y="131983"/>
                        <a:pt x="611846" y="123844"/>
                      </a:cubicBezTo>
                      <a:cubicBezTo>
                        <a:pt x="611846" y="106394"/>
                        <a:pt x="623404" y="95845"/>
                        <a:pt x="646520" y="92199"/>
                      </a:cubicBezTo>
                      <a:lnTo>
                        <a:pt x="677284" y="87609"/>
                      </a:lnTo>
                      <a:cubicBezTo>
                        <a:pt x="677284" y="66122"/>
                        <a:pt x="669210" y="55378"/>
                        <a:pt x="653064" y="55378"/>
                      </a:cubicBezTo>
                      <a:cubicBezTo>
                        <a:pt x="642060" y="55378"/>
                        <a:pt x="631348" y="59806"/>
                        <a:pt x="620930" y="68661"/>
                      </a:cubicBezTo>
                      <a:lnTo>
                        <a:pt x="620930" y="57820"/>
                      </a:lnTo>
                      <a:cubicBezTo>
                        <a:pt x="624642" y="54890"/>
                        <a:pt x="629672" y="52383"/>
                        <a:pt x="636020" y="50299"/>
                      </a:cubicBezTo>
                      <a:cubicBezTo>
                        <a:pt x="642368" y="48216"/>
                        <a:pt x="648342" y="47174"/>
                        <a:pt x="653942" y="47174"/>
                      </a:cubicBezTo>
                      <a:close/>
                      <a:moveTo>
                        <a:pt x="439652" y="47174"/>
                      </a:moveTo>
                      <a:cubicBezTo>
                        <a:pt x="453912" y="47174"/>
                        <a:pt x="465176" y="51830"/>
                        <a:pt x="473446" y="61141"/>
                      </a:cubicBezTo>
                      <a:cubicBezTo>
                        <a:pt x="481716" y="70452"/>
                        <a:pt x="485850" y="83344"/>
                        <a:pt x="485850" y="99817"/>
                      </a:cubicBezTo>
                      <a:cubicBezTo>
                        <a:pt x="485850" y="115379"/>
                        <a:pt x="481634" y="127978"/>
                        <a:pt x="473202" y="137615"/>
                      </a:cubicBezTo>
                      <a:cubicBezTo>
                        <a:pt x="464770" y="147252"/>
                        <a:pt x="453228" y="152070"/>
                        <a:pt x="438578" y="152070"/>
                      </a:cubicBezTo>
                      <a:cubicBezTo>
                        <a:pt x="423994" y="152070"/>
                        <a:pt x="412452" y="147268"/>
                        <a:pt x="403954" y="137664"/>
                      </a:cubicBezTo>
                      <a:cubicBezTo>
                        <a:pt x="395458" y="128060"/>
                        <a:pt x="391210" y="115574"/>
                        <a:pt x="391210" y="100208"/>
                      </a:cubicBezTo>
                      <a:cubicBezTo>
                        <a:pt x="391210" y="83604"/>
                        <a:pt x="395654" y="70614"/>
                        <a:pt x="404540" y="61238"/>
                      </a:cubicBezTo>
                      <a:cubicBezTo>
                        <a:pt x="413428" y="51862"/>
                        <a:pt x="425132" y="47174"/>
                        <a:pt x="439652" y="47174"/>
                      </a:cubicBezTo>
                      <a:close/>
                      <a:moveTo>
                        <a:pt x="111212" y="15432"/>
                      </a:moveTo>
                      <a:cubicBezTo>
                        <a:pt x="100468" y="15432"/>
                        <a:pt x="92102" y="20934"/>
                        <a:pt x="86112" y="31938"/>
                      </a:cubicBezTo>
                      <a:cubicBezTo>
                        <a:pt x="80122" y="42942"/>
                        <a:pt x="77126" y="59448"/>
                        <a:pt x="77126" y="81456"/>
                      </a:cubicBezTo>
                      <a:cubicBezTo>
                        <a:pt x="77126" y="101510"/>
                        <a:pt x="79992" y="116926"/>
                        <a:pt x="85720" y="127702"/>
                      </a:cubicBezTo>
                      <a:cubicBezTo>
                        <a:pt x="91450" y="138478"/>
                        <a:pt x="99590" y="143866"/>
                        <a:pt x="110138" y="143866"/>
                      </a:cubicBezTo>
                      <a:cubicBezTo>
                        <a:pt x="120490" y="143866"/>
                        <a:pt x="128548" y="138380"/>
                        <a:pt x="134310" y="127409"/>
                      </a:cubicBezTo>
                      <a:cubicBezTo>
                        <a:pt x="140074" y="116437"/>
                        <a:pt x="142954" y="100761"/>
                        <a:pt x="142954" y="80381"/>
                      </a:cubicBezTo>
                      <a:cubicBezTo>
                        <a:pt x="142954" y="37082"/>
                        <a:pt x="132374" y="15432"/>
                        <a:pt x="111212" y="15432"/>
                      </a:cubicBezTo>
                      <a:close/>
                      <a:moveTo>
                        <a:pt x="204560" y="14846"/>
                      </a:moveTo>
                      <a:cubicBezTo>
                        <a:pt x="197072" y="14846"/>
                        <a:pt x="191164" y="17336"/>
                        <a:pt x="186834" y="22317"/>
                      </a:cubicBezTo>
                      <a:cubicBezTo>
                        <a:pt x="182504" y="27299"/>
                        <a:pt x="180338" y="34249"/>
                        <a:pt x="180338" y="43170"/>
                      </a:cubicBezTo>
                      <a:cubicBezTo>
                        <a:pt x="180338" y="51569"/>
                        <a:pt x="182438" y="58243"/>
                        <a:pt x="186638" y="63192"/>
                      </a:cubicBezTo>
                      <a:cubicBezTo>
                        <a:pt x="190838" y="68140"/>
                        <a:pt x="196616" y="70614"/>
                        <a:pt x="203974" y="70614"/>
                      </a:cubicBezTo>
                      <a:cubicBezTo>
                        <a:pt x="211396" y="70614"/>
                        <a:pt x="217208" y="68075"/>
                        <a:pt x="221408" y="62996"/>
                      </a:cubicBezTo>
                      <a:cubicBezTo>
                        <a:pt x="225608" y="57918"/>
                        <a:pt x="227708" y="51113"/>
                        <a:pt x="227708" y="42584"/>
                      </a:cubicBezTo>
                      <a:cubicBezTo>
                        <a:pt x="227708" y="33403"/>
                        <a:pt x="225624" y="26485"/>
                        <a:pt x="221456" y="21829"/>
                      </a:cubicBezTo>
                      <a:cubicBezTo>
                        <a:pt x="217290" y="17174"/>
                        <a:pt x="211658" y="14846"/>
                        <a:pt x="204560" y="14846"/>
                      </a:cubicBezTo>
                      <a:close/>
                      <a:moveTo>
                        <a:pt x="278592" y="9767"/>
                      </a:moveTo>
                      <a:lnTo>
                        <a:pt x="287968" y="9767"/>
                      </a:lnTo>
                      <a:lnTo>
                        <a:pt x="203974" y="152851"/>
                      </a:lnTo>
                      <a:lnTo>
                        <a:pt x="194304" y="152851"/>
                      </a:lnTo>
                      <a:close/>
                      <a:moveTo>
                        <a:pt x="2488806" y="9572"/>
                      </a:moveTo>
                      <a:cubicBezTo>
                        <a:pt x="2490826" y="9572"/>
                        <a:pt x="2492600" y="10223"/>
                        <a:pt x="2494130" y="11525"/>
                      </a:cubicBezTo>
                      <a:cubicBezTo>
                        <a:pt x="2495660" y="12827"/>
                        <a:pt x="2496424" y="14585"/>
                        <a:pt x="2496424" y="16799"/>
                      </a:cubicBezTo>
                      <a:cubicBezTo>
                        <a:pt x="2496424" y="18883"/>
                        <a:pt x="2495676" y="20673"/>
                        <a:pt x="2494178" y="22171"/>
                      </a:cubicBezTo>
                      <a:cubicBezTo>
                        <a:pt x="2492680" y="23668"/>
                        <a:pt x="2490890" y="24417"/>
                        <a:pt x="2488806" y="24417"/>
                      </a:cubicBezTo>
                      <a:cubicBezTo>
                        <a:pt x="2486854" y="24417"/>
                        <a:pt x="2485128" y="23701"/>
                        <a:pt x="2483630" y="22269"/>
                      </a:cubicBezTo>
                      <a:cubicBezTo>
                        <a:pt x="2482132" y="20836"/>
                        <a:pt x="2481384" y="19013"/>
                        <a:pt x="2481384" y="16799"/>
                      </a:cubicBezTo>
                      <a:cubicBezTo>
                        <a:pt x="2481384" y="14650"/>
                        <a:pt x="2482148" y="12909"/>
                        <a:pt x="2483680" y="11574"/>
                      </a:cubicBezTo>
                      <a:cubicBezTo>
                        <a:pt x="2485210" y="10239"/>
                        <a:pt x="2486918" y="9572"/>
                        <a:pt x="2488806" y="9572"/>
                      </a:cubicBezTo>
                      <a:close/>
                      <a:moveTo>
                        <a:pt x="1532108" y="9572"/>
                      </a:moveTo>
                      <a:lnTo>
                        <a:pt x="1541678" y="9572"/>
                      </a:lnTo>
                      <a:lnTo>
                        <a:pt x="1541678" y="94446"/>
                      </a:lnTo>
                      <a:cubicBezTo>
                        <a:pt x="1541678" y="126937"/>
                        <a:pt x="1554896" y="143182"/>
                        <a:pt x="1581332" y="143182"/>
                      </a:cubicBezTo>
                      <a:cubicBezTo>
                        <a:pt x="1606920" y="143182"/>
                        <a:pt x="1619716" y="127392"/>
                        <a:pt x="1619716" y="95813"/>
                      </a:cubicBezTo>
                      <a:lnTo>
                        <a:pt x="1619716" y="9572"/>
                      </a:lnTo>
                      <a:lnTo>
                        <a:pt x="1629288" y="9572"/>
                      </a:lnTo>
                      <a:lnTo>
                        <a:pt x="1629288" y="93664"/>
                      </a:lnTo>
                      <a:cubicBezTo>
                        <a:pt x="1629288" y="132601"/>
                        <a:pt x="1612684" y="152070"/>
                        <a:pt x="1579476" y="152070"/>
                      </a:cubicBezTo>
                      <a:cubicBezTo>
                        <a:pt x="1547896" y="152070"/>
                        <a:pt x="1532108" y="133318"/>
                        <a:pt x="1532108" y="95813"/>
                      </a:cubicBezTo>
                      <a:close/>
                      <a:moveTo>
                        <a:pt x="1705892" y="7228"/>
                      </a:moveTo>
                      <a:cubicBezTo>
                        <a:pt x="1714226" y="7228"/>
                        <a:pt x="1722560" y="8628"/>
                        <a:pt x="1730894" y="11427"/>
                      </a:cubicBezTo>
                      <a:lnTo>
                        <a:pt x="1730894" y="21585"/>
                      </a:lnTo>
                      <a:cubicBezTo>
                        <a:pt x="1722690" y="17873"/>
                        <a:pt x="1713934" y="16018"/>
                        <a:pt x="1704622" y="16018"/>
                      </a:cubicBezTo>
                      <a:cubicBezTo>
                        <a:pt x="1695116" y="16018"/>
                        <a:pt x="1687578" y="18427"/>
                        <a:pt x="1682012" y="23245"/>
                      </a:cubicBezTo>
                      <a:cubicBezTo>
                        <a:pt x="1676444" y="28064"/>
                        <a:pt x="1673662" y="34184"/>
                        <a:pt x="1673662" y="41607"/>
                      </a:cubicBezTo>
                      <a:cubicBezTo>
                        <a:pt x="1673662" y="48769"/>
                        <a:pt x="1675566" y="54467"/>
                        <a:pt x="1679374" y="58699"/>
                      </a:cubicBezTo>
                      <a:cubicBezTo>
                        <a:pt x="1683184" y="62931"/>
                        <a:pt x="1691404" y="68694"/>
                        <a:pt x="1704036" y="75986"/>
                      </a:cubicBezTo>
                      <a:cubicBezTo>
                        <a:pt x="1717124" y="83409"/>
                        <a:pt x="1725832" y="90002"/>
                        <a:pt x="1730162" y="95764"/>
                      </a:cubicBezTo>
                      <a:cubicBezTo>
                        <a:pt x="1734492" y="101527"/>
                        <a:pt x="1736658" y="108152"/>
                        <a:pt x="1736658" y="115640"/>
                      </a:cubicBezTo>
                      <a:cubicBezTo>
                        <a:pt x="1736658" y="126383"/>
                        <a:pt x="1732930" y="135141"/>
                        <a:pt x="1725474" y="141912"/>
                      </a:cubicBezTo>
                      <a:cubicBezTo>
                        <a:pt x="1718018" y="148684"/>
                        <a:pt x="1707488" y="152070"/>
                        <a:pt x="1693878" y="152070"/>
                      </a:cubicBezTo>
                      <a:cubicBezTo>
                        <a:pt x="1689060" y="152070"/>
                        <a:pt x="1683510" y="151321"/>
                        <a:pt x="1677226" y="149824"/>
                      </a:cubicBezTo>
                      <a:cubicBezTo>
                        <a:pt x="1670942" y="148326"/>
                        <a:pt x="1666140" y="146601"/>
                        <a:pt x="1662820" y="144647"/>
                      </a:cubicBezTo>
                      <a:lnTo>
                        <a:pt x="1662820" y="133611"/>
                      </a:lnTo>
                      <a:cubicBezTo>
                        <a:pt x="1672848" y="139992"/>
                        <a:pt x="1683004" y="143182"/>
                        <a:pt x="1693292" y="143182"/>
                      </a:cubicBezTo>
                      <a:cubicBezTo>
                        <a:pt x="1704232" y="143182"/>
                        <a:pt x="1712534" y="140919"/>
                        <a:pt x="1718198" y="136394"/>
                      </a:cubicBezTo>
                      <a:cubicBezTo>
                        <a:pt x="1723862" y="131869"/>
                        <a:pt x="1726696" y="125537"/>
                        <a:pt x="1726696" y="117398"/>
                      </a:cubicBezTo>
                      <a:cubicBezTo>
                        <a:pt x="1726696" y="110235"/>
                        <a:pt x="1724790" y="104522"/>
                        <a:pt x="1720982" y="100257"/>
                      </a:cubicBezTo>
                      <a:cubicBezTo>
                        <a:pt x="1717172" y="95992"/>
                        <a:pt x="1708920" y="90181"/>
                        <a:pt x="1696222" y="82823"/>
                      </a:cubicBezTo>
                      <a:cubicBezTo>
                        <a:pt x="1682028" y="74554"/>
                        <a:pt x="1673042" y="67636"/>
                        <a:pt x="1669266" y="62068"/>
                      </a:cubicBezTo>
                      <a:cubicBezTo>
                        <a:pt x="1665490" y="56501"/>
                        <a:pt x="1663602" y="50072"/>
                        <a:pt x="1663602" y="42779"/>
                      </a:cubicBezTo>
                      <a:cubicBezTo>
                        <a:pt x="1663602" y="32882"/>
                        <a:pt x="1667442" y="24482"/>
                        <a:pt x="1675126" y="17580"/>
                      </a:cubicBezTo>
                      <a:cubicBezTo>
                        <a:pt x="1682810" y="10679"/>
                        <a:pt x="1693064" y="7228"/>
                        <a:pt x="1705892" y="7228"/>
                      </a:cubicBezTo>
                      <a:close/>
                      <a:moveTo>
                        <a:pt x="111994" y="7228"/>
                      </a:moveTo>
                      <a:cubicBezTo>
                        <a:pt x="138950" y="7228"/>
                        <a:pt x="152428" y="31156"/>
                        <a:pt x="152428" y="79014"/>
                      </a:cubicBezTo>
                      <a:cubicBezTo>
                        <a:pt x="152428" y="102845"/>
                        <a:pt x="148620" y="120979"/>
                        <a:pt x="141002" y="133415"/>
                      </a:cubicBezTo>
                      <a:cubicBezTo>
                        <a:pt x="133384" y="145852"/>
                        <a:pt x="122704" y="152070"/>
                        <a:pt x="108966" y="152070"/>
                      </a:cubicBezTo>
                      <a:cubicBezTo>
                        <a:pt x="96074" y="152070"/>
                        <a:pt x="85982" y="146145"/>
                        <a:pt x="78688" y="134294"/>
                      </a:cubicBezTo>
                      <a:cubicBezTo>
                        <a:pt x="71396" y="122444"/>
                        <a:pt x="67750" y="105222"/>
                        <a:pt x="67750" y="82628"/>
                      </a:cubicBezTo>
                      <a:cubicBezTo>
                        <a:pt x="67750" y="57690"/>
                        <a:pt x="71576" y="38888"/>
                        <a:pt x="79226" y="26224"/>
                      </a:cubicBezTo>
                      <a:cubicBezTo>
                        <a:pt x="86876" y="13560"/>
                        <a:pt x="97800" y="7228"/>
                        <a:pt x="111994" y="7228"/>
                      </a:cubicBezTo>
                      <a:close/>
                      <a:moveTo>
                        <a:pt x="204756" y="6837"/>
                      </a:moveTo>
                      <a:cubicBezTo>
                        <a:pt x="214522" y="6837"/>
                        <a:pt x="222270" y="9995"/>
                        <a:pt x="228000" y="16311"/>
                      </a:cubicBezTo>
                      <a:cubicBezTo>
                        <a:pt x="233730" y="22627"/>
                        <a:pt x="236596" y="31449"/>
                        <a:pt x="236596" y="42779"/>
                      </a:cubicBezTo>
                      <a:cubicBezTo>
                        <a:pt x="236596" y="52936"/>
                        <a:pt x="233616" y="61417"/>
                        <a:pt x="227658" y="68222"/>
                      </a:cubicBezTo>
                      <a:cubicBezTo>
                        <a:pt x="221700" y="75026"/>
                        <a:pt x="213740" y="78428"/>
                        <a:pt x="203778" y="78428"/>
                      </a:cubicBezTo>
                      <a:cubicBezTo>
                        <a:pt x="193752" y="78428"/>
                        <a:pt x="185840" y="75140"/>
                        <a:pt x="180046" y="68563"/>
                      </a:cubicBezTo>
                      <a:cubicBezTo>
                        <a:pt x="174250" y="61987"/>
                        <a:pt x="171352" y="53457"/>
                        <a:pt x="171352" y="42974"/>
                      </a:cubicBezTo>
                      <a:cubicBezTo>
                        <a:pt x="171352" y="31580"/>
                        <a:pt x="174430" y="22708"/>
                        <a:pt x="180582" y="16360"/>
                      </a:cubicBezTo>
                      <a:cubicBezTo>
                        <a:pt x="186736" y="10011"/>
                        <a:pt x="194794" y="6837"/>
                        <a:pt x="204756" y="6837"/>
                      </a:cubicBezTo>
                      <a:close/>
                      <a:moveTo>
                        <a:pt x="40142" y="6446"/>
                      </a:moveTo>
                      <a:lnTo>
                        <a:pt x="43268" y="6446"/>
                      </a:lnTo>
                      <a:lnTo>
                        <a:pt x="43268" y="149628"/>
                      </a:lnTo>
                      <a:lnTo>
                        <a:pt x="34282" y="149628"/>
                      </a:lnTo>
                      <a:lnTo>
                        <a:pt x="34282" y="20608"/>
                      </a:lnTo>
                      <a:cubicBezTo>
                        <a:pt x="29790" y="24906"/>
                        <a:pt x="24662" y="28617"/>
                        <a:pt x="18900" y="31742"/>
                      </a:cubicBezTo>
                      <a:cubicBezTo>
                        <a:pt x="13136" y="34868"/>
                        <a:pt x="6838" y="37635"/>
                        <a:pt x="0" y="40044"/>
                      </a:cubicBezTo>
                      <a:lnTo>
                        <a:pt x="0" y="31840"/>
                      </a:lnTo>
                      <a:cubicBezTo>
                        <a:pt x="4102" y="30473"/>
                        <a:pt x="7912" y="28926"/>
                        <a:pt x="11428" y="27201"/>
                      </a:cubicBezTo>
                      <a:cubicBezTo>
                        <a:pt x="14944" y="25475"/>
                        <a:pt x="18314" y="23571"/>
                        <a:pt x="21536" y="21487"/>
                      </a:cubicBezTo>
                      <a:cubicBezTo>
                        <a:pt x="24760" y="19404"/>
                        <a:pt x="27884" y="17108"/>
                        <a:pt x="30912" y="14602"/>
                      </a:cubicBezTo>
                      <a:cubicBezTo>
                        <a:pt x="33940" y="12095"/>
                        <a:pt x="37016" y="9376"/>
                        <a:pt x="40142" y="6446"/>
                      </a:cubicBezTo>
                      <a:close/>
                      <a:moveTo>
                        <a:pt x="2560612" y="1563"/>
                      </a:moveTo>
                      <a:lnTo>
                        <a:pt x="2569598" y="1563"/>
                      </a:lnTo>
                      <a:lnTo>
                        <a:pt x="2569598" y="149628"/>
                      </a:lnTo>
                      <a:lnTo>
                        <a:pt x="2560612" y="149628"/>
                      </a:lnTo>
                      <a:close/>
                      <a:moveTo>
                        <a:pt x="2522512" y="1563"/>
                      </a:moveTo>
                      <a:lnTo>
                        <a:pt x="2531498" y="1563"/>
                      </a:lnTo>
                      <a:lnTo>
                        <a:pt x="2531498" y="149628"/>
                      </a:lnTo>
                      <a:lnTo>
                        <a:pt x="2522512" y="149628"/>
                      </a:lnTo>
                      <a:close/>
                      <a:moveTo>
                        <a:pt x="2164892" y="1563"/>
                      </a:moveTo>
                      <a:lnTo>
                        <a:pt x="2173876" y="1563"/>
                      </a:lnTo>
                      <a:lnTo>
                        <a:pt x="2173876" y="149628"/>
                      </a:lnTo>
                      <a:lnTo>
                        <a:pt x="2164892" y="149628"/>
                      </a:lnTo>
                      <a:lnTo>
                        <a:pt x="2164892" y="131462"/>
                      </a:lnTo>
                      <a:lnTo>
                        <a:pt x="2164500" y="131462"/>
                      </a:lnTo>
                      <a:cubicBezTo>
                        <a:pt x="2161246" y="137778"/>
                        <a:pt x="2156428" y="142791"/>
                        <a:pt x="2150046" y="146503"/>
                      </a:cubicBezTo>
                      <a:cubicBezTo>
                        <a:pt x="2143664" y="150214"/>
                        <a:pt x="2136470" y="152070"/>
                        <a:pt x="2128462" y="152070"/>
                      </a:cubicBezTo>
                      <a:cubicBezTo>
                        <a:pt x="2116156" y="152070"/>
                        <a:pt x="2106112" y="147577"/>
                        <a:pt x="2098330" y="138592"/>
                      </a:cubicBezTo>
                      <a:cubicBezTo>
                        <a:pt x="2090550" y="129606"/>
                        <a:pt x="2086660" y="117202"/>
                        <a:pt x="2086660" y="101380"/>
                      </a:cubicBezTo>
                      <a:cubicBezTo>
                        <a:pt x="2086660" y="85232"/>
                        <a:pt x="2090908" y="72161"/>
                        <a:pt x="2099404" y="62166"/>
                      </a:cubicBezTo>
                      <a:cubicBezTo>
                        <a:pt x="2107902" y="52171"/>
                        <a:pt x="2118922" y="47174"/>
                        <a:pt x="2132466" y="47174"/>
                      </a:cubicBezTo>
                      <a:cubicBezTo>
                        <a:pt x="2147442" y="47174"/>
                        <a:pt x="2158120" y="53327"/>
                        <a:pt x="2164500" y="65633"/>
                      </a:cubicBezTo>
                      <a:lnTo>
                        <a:pt x="2164892" y="65633"/>
                      </a:lnTo>
                      <a:close/>
                      <a:moveTo>
                        <a:pt x="750862" y="1563"/>
                      </a:moveTo>
                      <a:lnTo>
                        <a:pt x="759848" y="1563"/>
                      </a:lnTo>
                      <a:lnTo>
                        <a:pt x="759848" y="149628"/>
                      </a:lnTo>
                      <a:lnTo>
                        <a:pt x="750862" y="149628"/>
                      </a:lnTo>
                      <a:close/>
                      <a:moveTo>
                        <a:pt x="712762" y="1563"/>
                      </a:moveTo>
                      <a:lnTo>
                        <a:pt x="721748" y="1563"/>
                      </a:lnTo>
                      <a:lnTo>
                        <a:pt x="721748" y="149628"/>
                      </a:lnTo>
                      <a:lnTo>
                        <a:pt x="712762" y="149628"/>
                      </a:lnTo>
                      <a:close/>
                      <a:moveTo>
                        <a:pt x="536418" y="0"/>
                      </a:moveTo>
                      <a:cubicBezTo>
                        <a:pt x="540652" y="0"/>
                        <a:pt x="544168" y="619"/>
                        <a:pt x="546968" y="1856"/>
                      </a:cubicBezTo>
                      <a:lnTo>
                        <a:pt x="546968" y="11037"/>
                      </a:lnTo>
                      <a:cubicBezTo>
                        <a:pt x="544558" y="9148"/>
                        <a:pt x="540912" y="8204"/>
                        <a:pt x="536028" y="8204"/>
                      </a:cubicBezTo>
                      <a:cubicBezTo>
                        <a:pt x="523722" y="8204"/>
                        <a:pt x="517568" y="16474"/>
                        <a:pt x="517568" y="33012"/>
                      </a:cubicBezTo>
                      <a:lnTo>
                        <a:pt x="517568" y="49616"/>
                      </a:lnTo>
                      <a:lnTo>
                        <a:pt x="544038" y="49616"/>
                      </a:lnTo>
                      <a:lnTo>
                        <a:pt x="544038" y="57820"/>
                      </a:lnTo>
                      <a:lnTo>
                        <a:pt x="517568" y="57820"/>
                      </a:lnTo>
                      <a:lnTo>
                        <a:pt x="517568" y="149628"/>
                      </a:lnTo>
                      <a:lnTo>
                        <a:pt x="508584" y="149628"/>
                      </a:lnTo>
                      <a:lnTo>
                        <a:pt x="508584" y="57820"/>
                      </a:lnTo>
                      <a:lnTo>
                        <a:pt x="490612" y="57820"/>
                      </a:lnTo>
                      <a:lnTo>
                        <a:pt x="490612" y="49616"/>
                      </a:lnTo>
                      <a:lnTo>
                        <a:pt x="508584" y="49616"/>
                      </a:lnTo>
                      <a:lnTo>
                        <a:pt x="508584" y="32231"/>
                      </a:lnTo>
                      <a:cubicBezTo>
                        <a:pt x="508584" y="21683"/>
                        <a:pt x="511236" y="13674"/>
                        <a:pt x="516544" y="8204"/>
                      </a:cubicBezTo>
                      <a:cubicBezTo>
                        <a:pt x="521850" y="2735"/>
                        <a:pt x="528476" y="0"/>
                        <a:pt x="536418" y="0"/>
                      </a:cubicBez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10% автомобилей будут управляться компьютером без участия человека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427" name="Blockchain taxes"/>
              <p:cNvGrpSpPr/>
              <p:nvPr/>
            </p:nvGrpSpPr>
            <p:grpSpPr>
              <a:xfrm>
                <a:off x="14621345" y="2457875"/>
                <a:ext cx="3214556" cy="1933540"/>
                <a:chOff x="8979294" y="7240017"/>
                <a:chExt cx="3214556" cy="1933540"/>
              </a:xfrm>
            </p:grpSpPr>
            <p:grpSp>
              <p:nvGrpSpPr>
                <p:cNvPr id="772" name="Group 771"/>
                <p:cNvGrpSpPr/>
                <p:nvPr/>
              </p:nvGrpSpPr>
              <p:grpSpPr>
                <a:xfrm>
                  <a:off x="10370729" y="7240017"/>
                  <a:ext cx="1188749" cy="1246136"/>
                  <a:chOff x="12584113" y="1905000"/>
                  <a:chExt cx="3452813" cy="3619500"/>
                </a:xfrm>
              </p:grpSpPr>
              <p:sp>
                <p:nvSpPr>
                  <p:cNvPr id="777" name="Freeform 42"/>
                  <p:cNvSpPr>
                    <a:spLocks noEditPoints="1"/>
                  </p:cNvSpPr>
                  <p:nvPr/>
                </p:nvSpPr>
                <p:spPr bwMode="auto">
                  <a:xfrm>
                    <a:off x="12584113" y="1905000"/>
                    <a:ext cx="2084388" cy="3619500"/>
                  </a:xfrm>
                  <a:custGeom>
                    <a:avLst/>
                    <a:gdLst>
                      <a:gd name="T0" fmla="*/ 622 w 700"/>
                      <a:gd name="T1" fmla="*/ 930 h 1217"/>
                      <a:gd name="T2" fmla="*/ 622 w 700"/>
                      <a:gd name="T3" fmla="*/ 994 h 1217"/>
                      <a:gd name="T4" fmla="*/ 596 w 700"/>
                      <a:gd name="T5" fmla="*/ 1020 h 1217"/>
                      <a:gd name="T6" fmla="*/ 103 w 700"/>
                      <a:gd name="T7" fmla="*/ 1020 h 1217"/>
                      <a:gd name="T8" fmla="*/ 77 w 700"/>
                      <a:gd name="T9" fmla="*/ 994 h 1217"/>
                      <a:gd name="T10" fmla="*/ 77 w 700"/>
                      <a:gd name="T11" fmla="*/ 177 h 1217"/>
                      <a:gd name="T12" fmla="*/ 103 w 700"/>
                      <a:gd name="T13" fmla="*/ 152 h 1217"/>
                      <a:gd name="T14" fmla="*/ 379 w 700"/>
                      <a:gd name="T15" fmla="*/ 152 h 1217"/>
                      <a:gd name="T16" fmla="*/ 596 w 700"/>
                      <a:gd name="T17" fmla="*/ 152 h 1217"/>
                      <a:gd name="T18" fmla="*/ 622 w 700"/>
                      <a:gd name="T19" fmla="*/ 177 h 1217"/>
                      <a:gd name="T20" fmla="*/ 622 w 700"/>
                      <a:gd name="T21" fmla="*/ 235 h 1217"/>
                      <a:gd name="T22" fmla="*/ 627 w 700"/>
                      <a:gd name="T23" fmla="*/ 238 h 1217"/>
                      <a:gd name="T24" fmla="*/ 645 w 700"/>
                      <a:gd name="T25" fmla="*/ 244 h 1217"/>
                      <a:gd name="T26" fmla="*/ 700 w 700"/>
                      <a:gd name="T27" fmla="*/ 274 h 1217"/>
                      <a:gd name="T28" fmla="*/ 700 w 700"/>
                      <a:gd name="T29" fmla="*/ 142 h 1217"/>
                      <a:gd name="T30" fmla="*/ 558 w 700"/>
                      <a:gd name="T31" fmla="*/ 0 h 1217"/>
                      <a:gd name="T32" fmla="*/ 142 w 700"/>
                      <a:gd name="T33" fmla="*/ 0 h 1217"/>
                      <a:gd name="T34" fmla="*/ 0 w 700"/>
                      <a:gd name="T35" fmla="*/ 142 h 1217"/>
                      <a:gd name="T36" fmla="*/ 0 w 700"/>
                      <a:gd name="T37" fmla="*/ 1075 h 1217"/>
                      <a:gd name="T38" fmla="*/ 142 w 700"/>
                      <a:gd name="T39" fmla="*/ 1217 h 1217"/>
                      <a:gd name="T40" fmla="*/ 558 w 700"/>
                      <a:gd name="T41" fmla="*/ 1217 h 1217"/>
                      <a:gd name="T42" fmla="*/ 700 w 700"/>
                      <a:gd name="T43" fmla="*/ 1075 h 1217"/>
                      <a:gd name="T44" fmla="*/ 700 w 700"/>
                      <a:gd name="T45" fmla="*/ 892 h 1217"/>
                      <a:gd name="T46" fmla="*/ 645 w 700"/>
                      <a:gd name="T47" fmla="*/ 922 h 1217"/>
                      <a:gd name="T48" fmla="*/ 622 w 700"/>
                      <a:gd name="T49" fmla="*/ 930 h 1217"/>
                      <a:gd name="T50" fmla="*/ 286 w 700"/>
                      <a:gd name="T51" fmla="*/ 51 h 1217"/>
                      <a:gd name="T52" fmla="*/ 415 w 700"/>
                      <a:gd name="T53" fmla="*/ 51 h 1217"/>
                      <a:gd name="T54" fmla="*/ 441 w 700"/>
                      <a:gd name="T55" fmla="*/ 77 h 1217"/>
                      <a:gd name="T56" fmla="*/ 415 w 700"/>
                      <a:gd name="T57" fmla="*/ 102 h 1217"/>
                      <a:gd name="T58" fmla="*/ 286 w 700"/>
                      <a:gd name="T59" fmla="*/ 102 h 1217"/>
                      <a:gd name="T60" fmla="*/ 260 w 700"/>
                      <a:gd name="T61" fmla="*/ 77 h 1217"/>
                      <a:gd name="T62" fmla="*/ 286 w 700"/>
                      <a:gd name="T63" fmla="*/ 51 h 1217"/>
                      <a:gd name="T64" fmla="*/ 351 w 700"/>
                      <a:gd name="T65" fmla="*/ 1152 h 1217"/>
                      <a:gd name="T66" fmla="*/ 295 w 700"/>
                      <a:gd name="T67" fmla="*/ 1111 h 1217"/>
                      <a:gd name="T68" fmla="*/ 351 w 700"/>
                      <a:gd name="T69" fmla="*/ 1069 h 1217"/>
                      <a:gd name="T70" fmla="*/ 406 w 700"/>
                      <a:gd name="T71" fmla="*/ 1111 h 1217"/>
                      <a:gd name="T72" fmla="*/ 351 w 700"/>
                      <a:gd name="T73" fmla="*/ 1152 h 12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700" h="1217">
                        <a:moveTo>
                          <a:pt x="622" y="930"/>
                        </a:moveTo>
                        <a:cubicBezTo>
                          <a:pt x="622" y="994"/>
                          <a:pt x="622" y="994"/>
                          <a:pt x="622" y="994"/>
                        </a:cubicBezTo>
                        <a:cubicBezTo>
                          <a:pt x="622" y="1008"/>
                          <a:pt x="610" y="1020"/>
                          <a:pt x="596" y="1020"/>
                        </a:cubicBezTo>
                        <a:cubicBezTo>
                          <a:pt x="103" y="1020"/>
                          <a:pt x="103" y="1020"/>
                          <a:pt x="103" y="1020"/>
                        </a:cubicBezTo>
                        <a:cubicBezTo>
                          <a:pt x="88" y="1020"/>
                          <a:pt x="77" y="1008"/>
                          <a:pt x="77" y="994"/>
                        </a:cubicBezTo>
                        <a:cubicBezTo>
                          <a:pt x="77" y="177"/>
                          <a:pt x="77" y="177"/>
                          <a:pt x="77" y="177"/>
                        </a:cubicBezTo>
                        <a:cubicBezTo>
                          <a:pt x="77" y="163"/>
                          <a:pt x="88" y="152"/>
                          <a:pt x="103" y="152"/>
                        </a:cubicBezTo>
                        <a:cubicBezTo>
                          <a:pt x="379" y="152"/>
                          <a:pt x="379" y="152"/>
                          <a:pt x="379" y="152"/>
                        </a:cubicBezTo>
                        <a:cubicBezTo>
                          <a:pt x="596" y="152"/>
                          <a:pt x="596" y="152"/>
                          <a:pt x="596" y="152"/>
                        </a:cubicBezTo>
                        <a:cubicBezTo>
                          <a:pt x="610" y="152"/>
                          <a:pt x="622" y="163"/>
                          <a:pt x="622" y="177"/>
                        </a:cubicBezTo>
                        <a:cubicBezTo>
                          <a:pt x="622" y="235"/>
                          <a:pt x="622" y="235"/>
                          <a:pt x="622" y="235"/>
                        </a:cubicBezTo>
                        <a:cubicBezTo>
                          <a:pt x="624" y="236"/>
                          <a:pt x="625" y="237"/>
                          <a:pt x="627" y="238"/>
                        </a:cubicBezTo>
                        <a:cubicBezTo>
                          <a:pt x="633" y="240"/>
                          <a:pt x="639" y="242"/>
                          <a:pt x="645" y="244"/>
                        </a:cubicBezTo>
                        <a:cubicBezTo>
                          <a:pt x="664" y="252"/>
                          <a:pt x="683" y="262"/>
                          <a:pt x="700" y="274"/>
                        </a:cubicBezTo>
                        <a:cubicBezTo>
                          <a:pt x="700" y="142"/>
                          <a:pt x="700" y="142"/>
                          <a:pt x="700" y="142"/>
                        </a:cubicBezTo>
                        <a:cubicBezTo>
                          <a:pt x="700" y="63"/>
                          <a:pt x="637" y="0"/>
                          <a:pt x="558" y="0"/>
                        </a:cubicBezTo>
                        <a:cubicBezTo>
                          <a:pt x="142" y="0"/>
                          <a:pt x="142" y="0"/>
                          <a:pt x="142" y="0"/>
                        </a:cubicBezTo>
                        <a:cubicBezTo>
                          <a:pt x="64" y="0"/>
                          <a:pt x="0" y="63"/>
                          <a:pt x="0" y="142"/>
                        </a:cubicBezTo>
                        <a:cubicBezTo>
                          <a:pt x="0" y="1075"/>
                          <a:pt x="0" y="1075"/>
                          <a:pt x="0" y="1075"/>
                        </a:cubicBezTo>
                        <a:cubicBezTo>
                          <a:pt x="0" y="1154"/>
                          <a:pt x="64" y="1217"/>
                          <a:pt x="142" y="1217"/>
                        </a:cubicBezTo>
                        <a:cubicBezTo>
                          <a:pt x="558" y="1217"/>
                          <a:pt x="558" y="1217"/>
                          <a:pt x="558" y="1217"/>
                        </a:cubicBezTo>
                        <a:cubicBezTo>
                          <a:pt x="637" y="1217"/>
                          <a:pt x="700" y="1154"/>
                          <a:pt x="700" y="1075"/>
                        </a:cubicBezTo>
                        <a:cubicBezTo>
                          <a:pt x="700" y="892"/>
                          <a:pt x="700" y="892"/>
                          <a:pt x="700" y="892"/>
                        </a:cubicBezTo>
                        <a:cubicBezTo>
                          <a:pt x="683" y="903"/>
                          <a:pt x="664" y="913"/>
                          <a:pt x="645" y="922"/>
                        </a:cubicBezTo>
                        <a:cubicBezTo>
                          <a:pt x="637" y="925"/>
                          <a:pt x="629" y="928"/>
                          <a:pt x="622" y="930"/>
                        </a:cubicBezTo>
                        <a:close/>
                        <a:moveTo>
                          <a:pt x="286" y="51"/>
                        </a:moveTo>
                        <a:cubicBezTo>
                          <a:pt x="415" y="51"/>
                          <a:pt x="415" y="51"/>
                          <a:pt x="415" y="51"/>
                        </a:cubicBezTo>
                        <a:cubicBezTo>
                          <a:pt x="430" y="51"/>
                          <a:pt x="441" y="62"/>
                          <a:pt x="441" y="77"/>
                        </a:cubicBezTo>
                        <a:cubicBezTo>
                          <a:pt x="441" y="91"/>
                          <a:pt x="430" y="102"/>
                          <a:pt x="415" y="102"/>
                        </a:cubicBezTo>
                        <a:cubicBezTo>
                          <a:pt x="286" y="102"/>
                          <a:pt x="286" y="102"/>
                          <a:pt x="286" y="102"/>
                        </a:cubicBezTo>
                        <a:cubicBezTo>
                          <a:pt x="272" y="102"/>
                          <a:pt x="260" y="91"/>
                          <a:pt x="260" y="77"/>
                        </a:cubicBezTo>
                        <a:cubicBezTo>
                          <a:pt x="260" y="62"/>
                          <a:pt x="272" y="51"/>
                          <a:pt x="286" y="51"/>
                        </a:cubicBezTo>
                        <a:close/>
                        <a:moveTo>
                          <a:pt x="351" y="1152"/>
                        </a:moveTo>
                        <a:cubicBezTo>
                          <a:pt x="320" y="1152"/>
                          <a:pt x="295" y="1141"/>
                          <a:pt x="295" y="1111"/>
                        </a:cubicBezTo>
                        <a:cubicBezTo>
                          <a:pt x="295" y="1080"/>
                          <a:pt x="320" y="1069"/>
                          <a:pt x="351" y="1069"/>
                        </a:cubicBezTo>
                        <a:cubicBezTo>
                          <a:pt x="381" y="1069"/>
                          <a:pt x="406" y="1080"/>
                          <a:pt x="406" y="1111"/>
                        </a:cubicBezTo>
                        <a:cubicBezTo>
                          <a:pt x="406" y="1141"/>
                          <a:pt x="381" y="1152"/>
                          <a:pt x="351" y="1152"/>
                        </a:cubicBezTo>
                        <a:close/>
                      </a:path>
                    </a:pathLst>
                  </a:cu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8" name="Freeform 43"/>
                  <p:cNvSpPr>
                    <a:spLocks noEditPoints="1"/>
                  </p:cNvSpPr>
                  <p:nvPr/>
                </p:nvSpPr>
                <p:spPr bwMode="auto">
                  <a:xfrm>
                    <a:off x="13482638" y="2609850"/>
                    <a:ext cx="1471613" cy="2054225"/>
                  </a:xfrm>
                  <a:custGeom>
                    <a:avLst/>
                    <a:gdLst>
                      <a:gd name="T0" fmla="*/ 417 w 494"/>
                      <a:gd name="T1" fmla="*/ 148 h 691"/>
                      <a:gd name="T2" fmla="*/ 101 w 494"/>
                      <a:gd name="T3" fmla="*/ 68 h 691"/>
                      <a:gd name="T4" fmla="*/ 95 w 494"/>
                      <a:gd name="T5" fmla="*/ 46 h 691"/>
                      <a:gd name="T6" fmla="*/ 76 w 494"/>
                      <a:gd name="T7" fmla="*/ 10 h 691"/>
                      <a:gd name="T8" fmla="*/ 46 w 494"/>
                      <a:gd name="T9" fmla="*/ 0 h 691"/>
                      <a:gd name="T10" fmla="*/ 0 w 494"/>
                      <a:gd name="T11" fmla="*/ 646 h 691"/>
                      <a:gd name="T12" fmla="*/ 48 w 494"/>
                      <a:gd name="T13" fmla="*/ 691 h 691"/>
                      <a:gd name="T14" fmla="*/ 77 w 494"/>
                      <a:gd name="T15" fmla="*/ 682 h 691"/>
                      <a:gd name="T16" fmla="*/ 95 w 494"/>
                      <a:gd name="T17" fmla="*/ 622 h 691"/>
                      <a:gd name="T18" fmla="*/ 352 w 494"/>
                      <a:gd name="T19" fmla="*/ 598 h 691"/>
                      <a:gd name="T20" fmla="*/ 398 w 494"/>
                      <a:gd name="T21" fmla="*/ 563 h 691"/>
                      <a:gd name="T22" fmla="*/ 408 w 494"/>
                      <a:gd name="T23" fmla="*/ 554 h 691"/>
                      <a:gd name="T24" fmla="*/ 493 w 494"/>
                      <a:gd name="T25" fmla="*/ 368 h 691"/>
                      <a:gd name="T26" fmla="*/ 442 w 494"/>
                      <a:gd name="T27" fmla="*/ 179 h 691"/>
                      <a:gd name="T28" fmla="*/ 357 w 494"/>
                      <a:gd name="T29" fmla="*/ 504 h 691"/>
                      <a:gd name="T30" fmla="*/ 200 w 494"/>
                      <a:gd name="T31" fmla="*/ 569 h 691"/>
                      <a:gd name="T32" fmla="*/ 101 w 494"/>
                      <a:gd name="T33" fmla="*/ 546 h 691"/>
                      <a:gd name="T34" fmla="*/ 95 w 494"/>
                      <a:gd name="T35" fmla="*/ 491 h 691"/>
                      <a:gd name="T36" fmla="*/ 200 w 494"/>
                      <a:gd name="T37" fmla="*/ 525 h 691"/>
                      <a:gd name="T38" fmla="*/ 233 w 494"/>
                      <a:gd name="T39" fmla="*/ 522 h 691"/>
                      <a:gd name="T40" fmla="*/ 379 w 494"/>
                      <a:gd name="T41" fmla="*/ 346 h 691"/>
                      <a:gd name="T42" fmla="*/ 233 w 494"/>
                      <a:gd name="T43" fmla="*/ 170 h 691"/>
                      <a:gd name="T44" fmla="*/ 200 w 494"/>
                      <a:gd name="T45" fmla="*/ 167 h 691"/>
                      <a:gd name="T46" fmla="*/ 95 w 494"/>
                      <a:gd name="T47" fmla="*/ 200 h 691"/>
                      <a:gd name="T48" fmla="*/ 101 w 494"/>
                      <a:gd name="T49" fmla="*/ 146 h 691"/>
                      <a:gd name="T50" fmla="*/ 200 w 494"/>
                      <a:gd name="T51" fmla="*/ 123 h 691"/>
                      <a:gd name="T52" fmla="*/ 357 w 494"/>
                      <a:gd name="T53" fmla="*/ 188 h 691"/>
                      <a:gd name="T54" fmla="*/ 357 w 494"/>
                      <a:gd name="T55" fmla="*/ 504 h 691"/>
                      <a:gd name="T56" fmla="*/ 153 w 494"/>
                      <a:gd name="T57" fmla="*/ 338 h 691"/>
                      <a:gd name="T58" fmla="*/ 183 w 494"/>
                      <a:gd name="T59" fmla="*/ 240 h 691"/>
                      <a:gd name="T60" fmla="*/ 193 w 494"/>
                      <a:gd name="T61" fmla="*/ 209 h 691"/>
                      <a:gd name="T62" fmla="*/ 223 w 494"/>
                      <a:gd name="T63" fmla="*/ 217 h 691"/>
                      <a:gd name="T64" fmla="*/ 257 w 494"/>
                      <a:gd name="T65" fmla="*/ 249 h 691"/>
                      <a:gd name="T66" fmla="*/ 254 w 494"/>
                      <a:gd name="T67" fmla="*/ 282 h 691"/>
                      <a:gd name="T68" fmla="*/ 239 w 494"/>
                      <a:gd name="T69" fmla="*/ 288 h 691"/>
                      <a:gd name="T70" fmla="*/ 184 w 494"/>
                      <a:gd name="T71" fmla="*/ 294 h 691"/>
                      <a:gd name="T72" fmla="*/ 255 w 494"/>
                      <a:gd name="T73" fmla="*/ 345 h 691"/>
                      <a:gd name="T74" fmla="*/ 223 w 494"/>
                      <a:gd name="T75" fmla="*/ 447 h 691"/>
                      <a:gd name="T76" fmla="*/ 210 w 494"/>
                      <a:gd name="T77" fmla="*/ 479 h 691"/>
                      <a:gd name="T78" fmla="*/ 177 w 494"/>
                      <a:gd name="T79" fmla="*/ 470 h 691"/>
                      <a:gd name="T80" fmla="*/ 136 w 494"/>
                      <a:gd name="T81" fmla="*/ 434 h 691"/>
                      <a:gd name="T82" fmla="*/ 141 w 494"/>
                      <a:gd name="T83" fmla="*/ 401 h 691"/>
                      <a:gd name="T84" fmla="*/ 157 w 494"/>
                      <a:gd name="T85" fmla="*/ 396 h 691"/>
                      <a:gd name="T86" fmla="*/ 221 w 494"/>
                      <a:gd name="T87" fmla="*/ 388 h 6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494" h="691">
                        <a:moveTo>
                          <a:pt x="432" y="165"/>
                        </a:moveTo>
                        <a:cubicBezTo>
                          <a:pt x="427" y="159"/>
                          <a:pt x="422" y="153"/>
                          <a:pt x="417" y="148"/>
                        </a:cubicBezTo>
                        <a:cubicBezTo>
                          <a:pt x="363" y="89"/>
                          <a:pt x="286" y="51"/>
                          <a:pt x="200" y="51"/>
                        </a:cubicBezTo>
                        <a:cubicBezTo>
                          <a:pt x="165" y="51"/>
                          <a:pt x="132" y="57"/>
                          <a:pt x="101" y="68"/>
                        </a:cubicBezTo>
                        <a:cubicBezTo>
                          <a:pt x="99" y="69"/>
                          <a:pt x="97" y="70"/>
                          <a:pt x="95" y="71"/>
                        </a:cubicBezTo>
                        <a:cubicBezTo>
                          <a:pt x="95" y="46"/>
                          <a:pt x="95" y="46"/>
                          <a:pt x="95" y="46"/>
                        </a:cubicBezTo>
                        <a:cubicBezTo>
                          <a:pt x="95" y="31"/>
                          <a:pt x="88" y="19"/>
                          <a:pt x="77" y="10"/>
                        </a:cubicBezTo>
                        <a:cubicBezTo>
                          <a:pt x="77" y="10"/>
                          <a:pt x="77" y="10"/>
                          <a:pt x="76" y="10"/>
                        </a:cubicBezTo>
                        <a:cubicBezTo>
                          <a:pt x="69" y="4"/>
                          <a:pt x="59" y="0"/>
                          <a:pt x="48" y="0"/>
                        </a:cubicBezTo>
                        <a:cubicBezTo>
                          <a:pt x="46" y="0"/>
                          <a:pt x="46" y="0"/>
                          <a:pt x="46" y="0"/>
                        </a:cubicBezTo>
                        <a:cubicBezTo>
                          <a:pt x="21" y="0"/>
                          <a:pt x="0" y="21"/>
                          <a:pt x="0" y="46"/>
                        </a:cubicBezTo>
                        <a:cubicBezTo>
                          <a:pt x="0" y="646"/>
                          <a:pt x="0" y="646"/>
                          <a:pt x="0" y="646"/>
                        </a:cubicBezTo>
                        <a:cubicBezTo>
                          <a:pt x="0" y="671"/>
                          <a:pt x="21" y="691"/>
                          <a:pt x="46" y="691"/>
                        </a:cubicBezTo>
                        <a:cubicBezTo>
                          <a:pt x="48" y="691"/>
                          <a:pt x="48" y="691"/>
                          <a:pt x="48" y="691"/>
                        </a:cubicBezTo>
                        <a:cubicBezTo>
                          <a:pt x="59" y="691"/>
                          <a:pt x="69" y="688"/>
                          <a:pt x="76" y="682"/>
                        </a:cubicBezTo>
                        <a:cubicBezTo>
                          <a:pt x="77" y="682"/>
                          <a:pt x="77" y="682"/>
                          <a:pt x="77" y="682"/>
                        </a:cubicBezTo>
                        <a:cubicBezTo>
                          <a:pt x="88" y="673"/>
                          <a:pt x="95" y="660"/>
                          <a:pt x="95" y="646"/>
                        </a:cubicBezTo>
                        <a:cubicBezTo>
                          <a:pt x="95" y="622"/>
                          <a:pt x="95" y="622"/>
                          <a:pt x="95" y="622"/>
                        </a:cubicBezTo>
                        <a:cubicBezTo>
                          <a:pt x="127" y="633"/>
                          <a:pt x="163" y="641"/>
                          <a:pt x="199" y="641"/>
                        </a:cubicBezTo>
                        <a:cubicBezTo>
                          <a:pt x="255" y="641"/>
                          <a:pt x="308" y="625"/>
                          <a:pt x="352" y="598"/>
                        </a:cubicBezTo>
                        <a:cubicBezTo>
                          <a:pt x="366" y="589"/>
                          <a:pt x="380" y="580"/>
                          <a:pt x="392" y="569"/>
                        </a:cubicBezTo>
                        <a:cubicBezTo>
                          <a:pt x="394" y="567"/>
                          <a:pt x="396" y="565"/>
                          <a:pt x="398" y="563"/>
                        </a:cubicBezTo>
                        <a:cubicBezTo>
                          <a:pt x="398" y="563"/>
                          <a:pt x="398" y="563"/>
                          <a:pt x="398" y="563"/>
                        </a:cubicBezTo>
                        <a:cubicBezTo>
                          <a:pt x="401" y="560"/>
                          <a:pt x="405" y="557"/>
                          <a:pt x="408" y="554"/>
                        </a:cubicBezTo>
                        <a:cubicBezTo>
                          <a:pt x="409" y="553"/>
                          <a:pt x="411" y="551"/>
                          <a:pt x="413" y="549"/>
                        </a:cubicBezTo>
                        <a:cubicBezTo>
                          <a:pt x="458" y="501"/>
                          <a:pt x="488" y="438"/>
                          <a:pt x="493" y="368"/>
                        </a:cubicBezTo>
                        <a:cubicBezTo>
                          <a:pt x="494" y="361"/>
                          <a:pt x="494" y="353"/>
                          <a:pt x="494" y="346"/>
                        </a:cubicBezTo>
                        <a:cubicBezTo>
                          <a:pt x="494" y="284"/>
                          <a:pt x="475" y="226"/>
                          <a:pt x="442" y="179"/>
                        </a:cubicBezTo>
                        <a:cubicBezTo>
                          <a:pt x="439" y="174"/>
                          <a:pt x="435" y="170"/>
                          <a:pt x="432" y="165"/>
                        </a:cubicBezTo>
                        <a:close/>
                        <a:moveTo>
                          <a:pt x="357" y="504"/>
                        </a:moveTo>
                        <a:cubicBezTo>
                          <a:pt x="325" y="536"/>
                          <a:pt x="285" y="557"/>
                          <a:pt x="241" y="565"/>
                        </a:cubicBezTo>
                        <a:cubicBezTo>
                          <a:pt x="228" y="567"/>
                          <a:pt x="214" y="569"/>
                          <a:pt x="200" y="569"/>
                        </a:cubicBezTo>
                        <a:cubicBezTo>
                          <a:pt x="200" y="569"/>
                          <a:pt x="200" y="569"/>
                          <a:pt x="200" y="569"/>
                        </a:cubicBezTo>
                        <a:cubicBezTo>
                          <a:pt x="165" y="569"/>
                          <a:pt x="130" y="561"/>
                          <a:pt x="101" y="546"/>
                        </a:cubicBezTo>
                        <a:cubicBezTo>
                          <a:pt x="99" y="545"/>
                          <a:pt x="97" y="544"/>
                          <a:pt x="95" y="543"/>
                        </a:cubicBezTo>
                        <a:cubicBezTo>
                          <a:pt x="95" y="491"/>
                          <a:pt x="95" y="491"/>
                          <a:pt x="95" y="491"/>
                        </a:cubicBezTo>
                        <a:cubicBezTo>
                          <a:pt x="97" y="493"/>
                          <a:pt x="99" y="494"/>
                          <a:pt x="101" y="495"/>
                        </a:cubicBezTo>
                        <a:cubicBezTo>
                          <a:pt x="130" y="515"/>
                          <a:pt x="164" y="525"/>
                          <a:pt x="200" y="525"/>
                        </a:cubicBezTo>
                        <a:cubicBezTo>
                          <a:pt x="200" y="525"/>
                          <a:pt x="200" y="525"/>
                          <a:pt x="200" y="525"/>
                        </a:cubicBezTo>
                        <a:cubicBezTo>
                          <a:pt x="211" y="525"/>
                          <a:pt x="222" y="524"/>
                          <a:pt x="233" y="522"/>
                        </a:cubicBezTo>
                        <a:cubicBezTo>
                          <a:pt x="268" y="516"/>
                          <a:pt x="300" y="499"/>
                          <a:pt x="326" y="473"/>
                        </a:cubicBezTo>
                        <a:cubicBezTo>
                          <a:pt x="360" y="439"/>
                          <a:pt x="379" y="394"/>
                          <a:pt x="379" y="346"/>
                        </a:cubicBezTo>
                        <a:cubicBezTo>
                          <a:pt x="379" y="298"/>
                          <a:pt x="360" y="253"/>
                          <a:pt x="326" y="219"/>
                        </a:cubicBezTo>
                        <a:cubicBezTo>
                          <a:pt x="300" y="193"/>
                          <a:pt x="268" y="176"/>
                          <a:pt x="233" y="170"/>
                        </a:cubicBezTo>
                        <a:cubicBezTo>
                          <a:pt x="222" y="168"/>
                          <a:pt x="211" y="167"/>
                          <a:pt x="200" y="167"/>
                        </a:cubicBezTo>
                        <a:cubicBezTo>
                          <a:pt x="200" y="167"/>
                          <a:pt x="200" y="167"/>
                          <a:pt x="200" y="167"/>
                        </a:cubicBezTo>
                        <a:cubicBezTo>
                          <a:pt x="164" y="167"/>
                          <a:pt x="130" y="177"/>
                          <a:pt x="101" y="196"/>
                        </a:cubicBezTo>
                        <a:cubicBezTo>
                          <a:pt x="99" y="198"/>
                          <a:pt x="97" y="199"/>
                          <a:pt x="95" y="200"/>
                        </a:cubicBezTo>
                        <a:cubicBezTo>
                          <a:pt x="95" y="149"/>
                          <a:pt x="95" y="149"/>
                          <a:pt x="95" y="149"/>
                        </a:cubicBezTo>
                        <a:cubicBezTo>
                          <a:pt x="97" y="148"/>
                          <a:pt x="99" y="147"/>
                          <a:pt x="101" y="146"/>
                        </a:cubicBezTo>
                        <a:cubicBezTo>
                          <a:pt x="130" y="131"/>
                          <a:pt x="165" y="123"/>
                          <a:pt x="200" y="123"/>
                        </a:cubicBezTo>
                        <a:cubicBezTo>
                          <a:pt x="200" y="123"/>
                          <a:pt x="200" y="123"/>
                          <a:pt x="200" y="123"/>
                        </a:cubicBezTo>
                        <a:cubicBezTo>
                          <a:pt x="214" y="123"/>
                          <a:pt x="228" y="124"/>
                          <a:pt x="241" y="127"/>
                        </a:cubicBezTo>
                        <a:cubicBezTo>
                          <a:pt x="285" y="135"/>
                          <a:pt x="325" y="156"/>
                          <a:pt x="357" y="188"/>
                        </a:cubicBezTo>
                        <a:cubicBezTo>
                          <a:pt x="399" y="230"/>
                          <a:pt x="422" y="286"/>
                          <a:pt x="422" y="346"/>
                        </a:cubicBezTo>
                        <a:cubicBezTo>
                          <a:pt x="422" y="405"/>
                          <a:pt x="399" y="461"/>
                          <a:pt x="357" y="504"/>
                        </a:cubicBezTo>
                        <a:close/>
                        <a:moveTo>
                          <a:pt x="193" y="361"/>
                        </a:moveTo>
                        <a:cubicBezTo>
                          <a:pt x="175" y="354"/>
                          <a:pt x="162" y="346"/>
                          <a:pt x="153" y="338"/>
                        </a:cubicBezTo>
                        <a:cubicBezTo>
                          <a:pt x="141" y="327"/>
                          <a:pt x="136" y="314"/>
                          <a:pt x="136" y="298"/>
                        </a:cubicBezTo>
                        <a:cubicBezTo>
                          <a:pt x="136" y="268"/>
                          <a:pt x="153" y="247"/>
                          <a:pt x="183" y="240"/>
                        </a:cubicBezTo>
                        <a:cubicBezTo>
                          <a:pt x="183" y="217"/>
                          <a:pt x="183" y="217"/>
                          <a:pt x="183" y="217"/>
                        </a:cubicBezTo>
                        <a:cubicBezTo>
                          <a:pt x="183" y="214"/>
                          <a:pt x="184" y="209"/>
                          <a:pt x="193" y="209"/>
                        </a:cubicBezTo>
                        <a:cubicBezTo>
                          <a:pt x="212" y="209"/>
                          <a:pt x="212" y="209"/>
                          <a:pt x="212" y="209"/>
                        </a:cubicBezTo>
                        <a:cubicBezTo>
                          <a:pt x="222" y="209"/>
                          <a:pt x="223" y="215"/>
                          <a:pt x="223" y="217"/>
                        </a:cubicBezTo>
                        <a:cubicBezTo>
                          <a:pt x="223" y="237"/>
                          <a:pt x="223" y="237"/>
                          <a:pt x="223" y="237"/>
                        </a:cubicBezTo>
                        <a:cubicBezTo>
                          <a:pt x="236" y="239"/>
                          <a:pt x="246" y="242"/>
                          <a:pt x="257" y="249"/>
                        </a:cubicBezTo>
                        <a:cubicBezTo>
                          <a:pt x="262" y="251"/>
                          <a:pt x="264" y="257"/>
                          <a:pt x="262" y="262"/>
                        </a:cubicBezTo>
                        <a:cubicBezTo>
                          <a:pt x="254" y="282"/>
                          <a:pt x="254" y="282"/>
                          <a:pt x="254" y="282"/>
                        </a:cubicBezTo>
                        <a:cubicBezTo>
                          <a:pt x="253" y="285"/>
                          <a:pt x="251" y="287"/>
                          <a:pt x="248" y="288"/>
                        </a:cubicBezTo>
                        <a:cubicBezTo>
                          <a:pt x="245" y="289"/>
                          <a:pt x="242" y="289"/>
                          <a:pt x="239" y="288"/>
                        </a:cubicBezTo>
                        <a:cubicBezTo>
                          <a:pt x="234" y="285"/>
                          <a:pt x="223" y="278"/>
                          <a:pt x="206" y="278"/>
                        </a:cubicBezTo>
                        <a:cubicBezTo>
                          <a:pt x="185" y="278"/>
                          <a:pt x="184" y="291"/>
                          <a:pt x="184" y="294"/>
                        </a:cubicBezTo>
                        <a:cubicBezTo>
                          <a:pt x="184" y="302"/>
                          <a:pt x="186" y="307"/>
                          <a:pt x="215" y="319"/>
                        </a:cubicBezTo>
                        <a:cubicBezTo>
                          <a:pt x="233" y="327"/>
                          <a:pt x="246" y="335"/>
                          <a:pt x="255" y="345"/>
                        </a:cubicBezTo>
                        <a:cubicBezTo>
                          <a:pt x="265" y="357"/>
                          <a:pt x="270" y="370"/>
                          <a:pt x="270" y="386"/>
                        </a:cubicBezTo>
                        <a:cubicBezTo>
                          <a:pt x="270" y="414"/>
                          <a:pt x="251" y="438"/>
                          <a:pt x="223" y="447"/>
                        </a:cubicBezTo>
                        <a:cubicBezTo>
                          <a:pt x="223" y="470"/>
                          <a:pt x="223" y="470"/>
                          <a:pt x="223" y="470"/>
                        </a:cubicBezTo>
                        <a:cubicBezTo>
                          <a:pt x="223" y="476"/>
                          <a:pt x="216" y="479"/>
                          <a:pt x="210" y="479"/>
                        </a:cubicBezTo>
                        <a:cubicBezTo>
                          <a:pt x="191" y="479"/>
                          <a:pt x="191" y="479"/>
                          <a:pt x="191" y="479"/>
                        </a:cubicBezTo>
                        <a:cubicBezTo>
                          <a:pt x="185" y="479"/>
                          <a:pt x="177" y="476"/>
                          <a:pt x="177" y="470"/>
                        </a:cubicBezTo>
                        <a:cubicBezTo>
                          <a:pt x="177" y="449"/>
                          <a:pt x="177" y="449"/>
                          <a:pt x="177" y="449"/>
                        </a:cubicBezTo>
                        <a:cubicBezTo>
                          <a:pt x="166" y="447"/>
                          <a:pt x="146" y="442"/>
                          <a:pt x="136" y="434"/>
                        </a:cubicBezTo>
                        <a:cubicBezTo>
                          <a:pt x="132" y="432"/>
                          <a:pt x="131" y="427"/>
                          <a:pt x="133" y="422"/>
                        </a:cubicBezTo>
                        <a:cubicBezTo>
                          <a:pt x="141" y="401"/>
                          <a:pt x="141" y="401"/>
                          <a:pt x="141" y="401"/>
                        </a:cubicBezTo>
                        <a:cubicBezTo>
                          <a:pt x="142" y="398"/>
                          <a:pt x="144" y="396"/>
                          <a:pt x="148" y="395"/>
                        </a:cubicBezTo>
                        <a:cubicBezTo>
                          <a:pt x="151" y="394"/>
                          <a:pt x="154" y="394"/>
                          <a:pt x="157" y="396"/>
                        </a:cubicBezTo>
                        <a:cubicBezTo>
                          <a:pt x="168" y="403"/>
                          <a:pt x="182" y="407"/>
                          <a:pt x="195" y="407"/>
                        </a:cubicBezTo>
                        <a:cubicBezTo>
                          <a:pt x="211" y="407"/>
                          <a:pt x="221" y="399"/>
                          <a:pt x="221" y="388"/>
                        </a:cubicBezTo>
                        <a:cubicBezTo>
                          <a:pt x="221" y="382"/>
                          <a:pt x="221" y="372"/>
                          <a:pt x="193" y="36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5" name="Freeform 44"/>
                  <p:cNvSpPr>
                    <a:spLocks/>
                  </p:cNvSpPr>
                  <p:nvPr/>
                </p:nvSpPr>
                <p:spPr bwMode="auto">
                  <a:xfrm>
                    <a:off x="15165388" y="3748088"/>
                    <a:ext cx="823913" cy="636588"/>
                  </a:xfrm>
                  <a:custGeom>
                    <a:avLst/>
                    <a:gdLst>
                      <a:gd name="T0" fmla="*/ 266 w 277"/>
                      <a:gd name="T1" fmla="*/ 49 h 214"/>
                      <a:gd name="T2" fmla="*/ 133 w 277"/>
                      <a:gd name="T3" fmla="*/ 49 h 214"/>
                      <a:gd name="T4" fmla="*/ 133 w 277"/>
                      <a:gd name="T5" fmla="*/ 18 h 214"/>
                      <a:gd name="T6" fmla="*/ 111 w 277"/>
                      <a:gd name="T7" fmla="*/ 7 h 214"/>
                      <a:gd name="T8" fmla="*/ 10 w 277"/>
                      <a:gd name="T9" fmla="*/ 90 h 214"/>
                      <a:gd name="T10" fmla="*/ 10 w 277"/>
                      <a:gd name="T11" fmla="*/ 123 h 214"/>
                      <a:gd name="T12" fmla="*/ 111 w 277"/>
                      <a:gd name="T13" fmla="*/ 206 h 214"/>
                      <a:gd name="T14" fmla="*/ 133 w 277"/>
                      <a:gd name="T15" fmla="*/ 196 h 214"/>
                      <a:gd name="T16" fmla="*/ 133 w 277"/>
                      <a:gd name="T17" fmla="*/ 166 h 214"/>
                      <a:gd name="T18" fmla="*/ 266 w 277"/>
                      <a:gd name="T19" fmla="*/ 166 h 214"/>
                      <a:gd name="T20" fmla="*/ 277 w 277"/>
                      <a:gd name="T21" fmla="*/ 155 h 214"/>
                      <a:gd name="T22" fmla="*/ 277 w 277"/>
                      <a:gd name="T23" fmla="*/ 61 h 214"/>
                      <a:gd name="T24" fmla="*/ 266 w 277"/>
                      <a:gd name="T25" fmla="*/ 49 h 2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77" h="214">
                        <a:moveTo>
                          <a:pt x="266" y="49"/>
                        </a:moveTo>
                        <a:cubicBezTo>
                          <a:pt x="133" y="49"/>
                          <a:pt x="133" y="49"/>
                          <a:pt x="133" y="49"/>
                        </a:cubicBezTo>
                        <a:cubicBezTo>
                          <a:pt x="133" y="18"/>
                          <a:pt x="133" y="18"/>
                          <a:pt x="133" y="18"/>
                        </a:cubicBezTo>
                        <a:cubicBezTo>
                          <a:pt x="133" y="6"/>
                          <a:pt x="120" y="0"/>
                          <a:pt x="111" y="7"/>
                        </a:cubicBezTo>
                        <a:cubicBezTo>
                          <a:pt x="10" y="90"/>
                          <a:pt x="10" y="90"/>
                          <a:pt x="10" y="90"/>
                        </a:cubicBezTo>
                        <a:cubicBezTo>
                          <a:pt x="0" y="99"/>
                          <a:pt x="0" y="115"/>
                          <a:pt x="10" y="123"/>
                        </a:cubicBezTo>
                        <a:cubicBezTo>
                          <a:pt x="111" y="206"/>
                          <a:pt x="111" y="206"/>
                          <a:pt x="111" y="206"/>
                        </a:cubicBezTo>
                        <a:cubicBezTo>
                          <a:pt x="120" y="214"/>
                          <a:pt x="133" y="207"/>
                          <a:pt x="133" y="196"/>
                        </a:cubicBezTo>
                        <a:cubicBezTo>
                          <a:pt x="133" y="166"/>
                          <a:pt x="133" y="166"/>
                          <a:pt x="133" y="166"/>
                        </a:cubicBezTo>
                        <a:cubicBezTo>
                          <a:pt x="266" y="166"/>
                          <a:pt x="266" y="166"/>
                          <a:pt x="266" y="166"/>
                        </a:cubicBezTo>
                        <a:cubicBezTo>
                          <a:pt x="273" y="166"/>
                          <a:pt x="277" y="161"/>
                          <a:pt x="277" y="155"/>
                        </a:cubicBezTo>
                        <a:cubicBezTo>
                          <a:pt x="277" y="61"/>
                          <a:pt x="277" y="61"/>
                          <a:pt x="277" y="61"/>
                        </a:cubicBezTo>
                        <a:cubicBezTo>
                          <a:pt x="277" y="54"/>
                          <a:pt x="273" y="49"/>
                          <a:pt x="266" y="49"/>
                        </a:cubicBezTo>
                        <a:close/>
                      </a:path>
                    </a:pathLst>
                  </a:cu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6" name="Freeform 45"/>
                  <p:cNvSpPr>
                    <a:spLocks/>
                  </p:cNvSpPr>
                  <p:nvPr/>
                </p:nvSpPr>
                <p:spPr bwMode="auto">
                  <a:xfrm>
                    <a:off x="15206663" y="2909888"/>
                    <a:ext cx="830263" cy="633413"/>
                  </a:xfrm>
                  <a:custGeom>
                    <a:avLst/>
                    <a:gdLst>
                      <a:gd name="T0" fmla="*/ 269 w 279"/>
                      <a:gd name="T1" fmla="*/ 90 h 213"/>
                      <a:gd name="T2" fmla="*/ 167 w 279"/>
                      <a:gd name="T3" fmla="*/ 7 h 213"/>
                      <a:gd name="T4" fmla="*/ 145 w 279"/>
                      <a:gd name="T5" fmla="*/ 18 h 213"/>
                      <a:gd name="T6" fmla="*/ 145 w 279"/>
                      <a:gd name="T7" fmla="*/ 48 h 213"/>
                      <a:gd name="T8" fmla="*/ 13 w 279"/>
                      <a:gd name="T9" fmla="*/ 48 h 213"/>
                      <a:gd name="T10" fmla="*/ 0 w 279"/>
                      <a:gd name="T11" fmla="*/ 59 h 213"/>
                      <a:gd name="T12" fmla="*/ 0 w 279"/>
                      <a:gd name="T13" fmla="*/ 153 h 213"/>
                      <a:gd name="T14" fmla="*/ 13 w 279"/>
                      <a:gd name="T15" fmla="*/ 165 h 213"/>
                      <a:gd name="T16" fmla="*/ 145 w 279"/>
                      <a:gd name="T17" fmla="*/ 165 h 213"/>
                      <a:gd name="T18" fmla="*/ 145 w 279"/>
                      <a:gd name="T19" fmla="*/ 195 h 213"/>
                      <a:gd name="T20" fmla="*/ 167 w 279"/>
                      <a:gd name="T21" fmla="*/ 206 h 213"/>
                      <a:gd name="T22" fmla="*/ 268 w 279"/>
                      <a:gd name="T23" fmla="*/ 123 h 213"/>
                      <a:gd name="T24" fmla="*/ 269 w 279"/>
                      <a:gd name="T25" fmla="*/ 90 h 2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79" h="213">
                        <a:moveTo>
                          <a:pt x="269" y="90"/>
                        </a:moveTo>
                        <a:cubicBezTo>
                          <a:pt x="167" y="7"/>
                          <a:pt x="167" y="7"/>
                          <a:pt x="167" y="7"/>
                        </a:cubicBezTo>
                        <a:cubicBezTo>
                          <a:pt x="158" y="0"/>
                          <a:pt x="145" y="6"/>
                          <a:pt x="145" y="18"/>
                        </a:cubicBezTo>
                        <a:cubicBezTo>
                          <a:pt x="145" y="48"/>
                          <a:pt x="145" y="48"/>
                          <a:pt x="145" y="48"/>
                        </a:cubicBezTo>
                        <a:cubicBezTo>
                          <a:pt x="13" y="48"/>
                          <a:pt x="13" y="48"/>
                          <a:pt x="13" y="48"/>
                        </a:cubicBezTo>
                        <a:cubicBezTo>
                          <a:pt x="7" y="48"/>
                          <a:pt x="0" y="52"/>
                          <a:pt x="0" y="59"/>
                        </a:cubicBezTo>
                        <a:cubicBezTo>
                          <a:pt x="0" y="153"/>
                          <a:pt x="0" y="153"/>
                          <a:pt x="0" y="153"/>
                        </a:cubicBezTo>
                        <a:cubicBezTo>
                          <a:pt x="0" y="159"/>
                          <a:pt x="7" y="165"/>
                          <a:pt x="13" y="165"/>
                        </a:cubicBezTo>
                        <a:cubicBezTo>
                          <a:pt x="145" y="165"/>
                          <a:pt x="145" y="165"/>
                          <a:pt x="145" y="165"/>
                        </a:cubicBezTo>
                        <a:cubicBezTo>
                          <a:pt x="145" y="195"/>
                          <a:pt x="145" y="195"/>
                          <a:pt x="145" y="195"/>
                        </a:cubicBezTo>
                        <a:cubicBezTo>
                          <a:pt x="145" y="207"/>
                          <a:pt x="158" y="213"/>
                          <a:pt x="167" y="206"/>
                        </a:cubicBezTo>
                        <a:cubicBezTo>
                          <a:pt x="268" y="123"/>
                          <a:pt x="268" y="123"/>
                          <a:pt x="268" y="123"/>
                        </a:cubicBezTo>
                        <a:cubicBezTo>
                          <a:pt x="279" y="115"/>
                          <a:pt x="279" y="99"/>
                          <a:pt x="269" y="90"/>
                        </a:cubicBezTo>
                        <a:close/>
                      </a:path>
                    </a:pathLst>
                  </a:cu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75" name="Freeform: Shape 774"/>
                <p:cNvSpPr>
                  <a:spLocks noChangeAspect="1"/>
                </p:cNvSpPr>
                <p:nvPr/>
              </p:nvSpPr>
              <p:spPr>
                <a:xfrm>
                  <a:off x="8979294" y="8670637"/>
                  <a:ext cx="3214556" cy="502920"/>
                </a:xfrm>
                <a:custGeom>
                  <a:avLst/>
                  <a:gdLst>
                    <a:gd name="connsiteX0" fmla="*/ 2172368 w 2484052"/>
                    <a:gd name="connsiteY0" fmla="*/ 332375 h 388632"/>
                    <a:gd name="connsiteX1" fmla="*/ 2144826 w 2484052"/>
                    <a:gd name="connsiteY1" fmla="*/ 336379 h 388632"/>
                    <a:gd name="connsiteX2" fmla="*/ 2122754 w 2484052"/>
                    <a:gd name="connsiteY2" fmla="*/ 343656 h 388632"/>
                    <a:gd name="connsiteX3" fmla="*/ 2116404 w 2484052"/>
                    <a:gd name="connsiteY3" fmla="*/ 360015 h 388632"/>
                    <a:gd name="connsiteX4" fmla="*/ 2122314 w 2484052"/>
                    <a:gd name="connsiteY4" fmla="*/ 374665 h 388632"/>
                    <a:gd name="connsiteX5" fmla="*/ 2138770 w 2484052"/>
                    <a:gd name="connsiteY5" fmla="*/ 380428 h 388632"/>
                    <a:gd name="connsiteX6" fmla="*/ 2162798 w 2484052"/>
                    <a:gd name="connsiteY6" fmla="*/ 369733 h 388632"/>
                    <a:gd name="connsiteX7" fmla="*/ 2172368 w 2484052"/>
                    <a:gd name="connsiteY7" fmla="*/ 342142 h 388632"/>
                    <a:gd name="connsiteX8" fmla="*/ 1324644 w 2484052"/>
                    <a:gd name="connsiteY8" fmla="*/ 332375 h 388632"/>
                    <a:gd name="connsiteX9" fmla="*/ 1297102 w 2484052"/>
                    <a:gd name="connsiteY9" fmla="*/ 336379 h 388632"/>
                    <a:gd name="connsiteX10" fmla="*/ 1275028 w 2484052"/>
                    <a:gd name="connsiteY10" fmla="*/ 343656 h 388632"/>
                    <a:gd name="connsiteX11" fmla="*/ 1268680 w 2484052"/>
                    <a:gd name="connsiteY11" fmla="*/ 360015 h 388632"/>
                    <a:gd name="connsiteX12" fmla="*/ 1274588 w 2484052"/>
                    <a:gd name="connsiteY12" fmla="*/ 374665 h 388632"/>
                    <a:gd name="connsiteX13" fmla="*/ 1291046 w 2484052"/>
                    <a:gd name="connsiteY13" fmla="*/ 380428 h 388632"/>
                    <a:gd name="connsiteX14" fmla="*/ 1315072 w 2484052"/>
                    <a:gd name="connsiteY14" fmla="*/ 369733 h 388632"/>
                    <a:gd name="connsiteX15" fmla="*/ 1324644 w 2484052"/>
                    <a:gd name="connsiteY15" fmla="*/ 342142 h 388632"/>
                    <a:gd name="connsiteX16" fmla="*/ 1162718 w 2484052"/>
                    <a:gd name="connsiteY16" fmla="*/ 332375 h 388632"/>
                    <a:gd name="connsiteX17" fmla="*/ 1135176 w 2484052"/>
                    <a:gd name="connsiteY17" fmla="*/ 336379 h 388632"/>
                    <a:gd name="connsiteX18" fmla="*/ 1113104 w 2484052"/>
                    <a:gd name="connsiteY18" fmla="*/ 343656 h 388632"/>
                    <a:gd name="connsiteX19" fmla="*/ 1106754 w 2484052"/>
                    <a:gd name="connsiteY19" fmla="*/ 360015 h 388632"/>
                    <a:gd name="connsiteX20" fmla="*/ 1112664 w 2484052"/>
                    <a:gd name="connsiteY20" fmla="*/ 374665 h 388632"/>
                    <a:gd name="connsiteX21" fmla="*/ 1129120 w 2484052"/>
                    <a:gd name="connsiteY21" fmla="*/ 380428 h 388632"/>
                    <a:gd name="connsiteX22" fmla="*/ 1153148 w 2484052"/>
                    <a:gd name="connsiteY22" fmla="*/ 369733 h 388632"/>
                    <a:gd name="connsiteX23" fmla="*/ 1162718 w 2484052"/>
                    <a:gd name="connsiteY23" fmla="*/ 342142 h 388632"/>
                    <a:gd name="connsiteX24" fmla="*/ 1610496 w 2484052"/>
                    <a:gd name="connsiteY24" fmla="*/ 291940 h 388632"/>
                    <a:gd name="connsiteX25" fmla="*/ 1582318 w 2484052"/>
                    <a:gd name="connsiteY25" fmla="*/ 303856 h 388632"/>
                    <a:gd name="connsiteX26" fmla="*/ 1571820 w 2484052"/>
                    <a:gd name="connsiteY26" fmla="*/ 336965 h 388632"/>
                    <a:gd name="connsiteX27" fmla="*/ 1582074 w 2484052"/>
                    <a:gd name="connsiteY27" fmla="*/ 368512 h 388632"/>
                    <a:gd name="connsiteX28" fmla="*/ 1610106 w 2484052"/>
                    <a:gd name="connsiteY28" fmla="*/ 380428 h 388632"/>
                    <a:gd name="connsiteX29" fmla="*/ 1637940 w 2484052"/>
                    <a:gd name="connsiteY29" fmla="*/ 368708 h 388632"/>
                    <a:gd name="connsiteX30" fmla="*/ 1647708 w 2484052"/>
                    <a:gd name="connsiteY30" fmla="*/ 336184 h 388632"/>
                    <a:gd name="connsiteX31" fmla="*/ 1637990 w 2484052"/>
                    <a:gd name="connsiteY31" fmla="*/ 303367 h 388632"/>
                    <a:gd name="connsiteX32" fmla="*/ 1610496 w 2484052"/>
                    <a:gd name="connsiteY32" fmla="*/ 291940 h 388632"/>
                    <a:gd name="connsiteX33" fmla="*/ 1462882 w 2484052"/>
                    <a:gd name="connsiteY33" fmla="*/ 291940 h 388632"/>
                    <a:gd name="connsiteX34" fmla="*/ 1435828 w 2484052"/>
                    <a:gd name="connsiteY34" fmla="*/ 303660 h 388632"/>
                    <a:gd name="connsiteX35" fmla="*/ 1426256 w 2484052"/>
                    <a:gd name="connsiteY35" fmla="*/ 331203 h 388632"/>
                    <a:gd name="connsiteX36" fmla="*/ 1426256 w 2484052"/>
                    <a:gd name="connsiteY36" fmla="*/ 343802 h 388632"/>
                    <a:gd name="connsiteX37" fmla="*/ 1435730 w 2484052"/>
                    <a:gd name="connsiteY37" fmla="*/ 369635 h 388632"/>
                    <a:gd name="connsiteX38" fmla="*/ 1460636 w 2484052"/>
                    <a:gd name="connsiteY38" fmla="*/ 380428 h 388632"/>
                    <a:gd name="connsiteX39" fmla="*/ 1485540 w 2484052"/>
                    <a:gd name="connsiteY39" fmla="*/ 367291 h 388632"/>
                    <a:gd name="connsiteX40" fmla="*/ 1495112 w 2484052"/>
                    <a:gd name="connsiteY40" fmla="*/ 332766 h 388632"/>
                    <a:gd name="connsiteX41" fmla="*/ 1486322 w 2484052"/>
                    <a:gd name="connsiteY41" fmla="*/ 302977 h 388632"/>
                    <a:gd name="connsiteX42" fmla="*/ 1462882 w 2484052"/>
                    <a:gd name="connsiteY42" fmla="*/ 291940 h 388632"/>
                    <a:gd name="connsiteX43" fmla="*/ 827004 w 2484052"/>
                    <a:gd name="connsiteY43" fmla="*/ 291940 h 388632"/>
                    <a:gd name="connsiteX44" fmla="*/ 801024 w 2484052"/>
                    <a:gd name="connsiteY44" fmla="*/ 304002 h 388632"/>
                    <a:gd name="connsiteX45" fmla="*/ 790770 w 2484052"/>
                    <a:gd name="connsiteY45" fmla="*/ 337161 h 388632"/>
                    <a:gd name="connsiteX46" fmla="*/ 799998 w 2484052"/>
                    <a:gd name="connsiteY46" fmla="*/ 369147 h 388632"/>
                    <a:gd name="connsiteX47" fmla="*/ 823782 w 2484052"/>
                    <a:gd name="connsiteY47" fmla="*/ 380428 h 388632"/>
                    <a:gd name="connsiteX48" fmla="*/ 850250 w 2484052"/>
                    <a:gd name="connsiteY48" fmla="*/ 369831 h 388632"/>
                    <a:gd name="connsiteX49" fmla="*/ 859626 w 2484052"/>
                    <a:gd name="connsiteY49" fmla="*/ 343997 h 388632"/>
                    <a:gd name="connsiteX50" fmla="*/ 859626 w 2484052"/>
                    <a:gd name="connsiteY50" fmla="*/ 325343 h 388632"/>
                    <a:gd name="connsiteX51" fmla="*/ 850786 w 2484052"/>
                    <a:gd name="connsiteY51" fmla="*/ 301658 h 388632"/>
                    <a:gd name="connsiteX52" fmla="*/ 827004 w 2484052"/>
                    <a:gd name="connsiteY52" fmla="*/ 291940 h 388632"/>
                    <a:gd name="connsiteX53" fmla="*/ 721058 w 2484052"/>
                    <a:gd name="connsiteY53" fmla="*/ 291940 h 388632"/>
                    <a:gd name="connsiteX54" fmla="*/ 697764 w 2484052"/>
                    <a:gd name="connsiteY54" fmla="*/ 301365 h 388632"/>
                    <a:gd name="connsiteX55" fmla="*/ 686386 w 2484052"/>
                    <a:gd name="connsiteY55" fmla="*/ 328371 h 388632"/>
                    <a:gd name="connsiteX56" fmla="*/ 750650 w 2484052"/>
                    <a:gd name="connsiteY56" fmla="*/ 328371 h 388632"/>
                    <a:gd name="connsiteX57" fmla="*/ 742350 w 2484052"/>
                    <a:gd name="connsiteY57" fmla="*/ 301512 h 388632"/>
                    <a:gd name="connsiteX58" fmla="*/ 721058 w 2484052"/>
                    <a:gd name="connsiteY58" fmla="*/ 291940 h 388632"/>
                    <a:gd name="connsiteX59" fmla="*/ 473408 w 2484052"/>
                    <a:gd name="connsiteY59" fmla="*/ 291940 h 388632"/>
                    <a:gd name="connsiteX60" fmla="*/ 450114 w 2484052"/>
                    <a:gd name="connsiteY60" fmla="*/ 301365 h 388632"/>
                    <a:gd name="connsiteX61" fmla="*/ 438736 w 2484052"/>
                    <a:gd name="connsiteY61" fmla="*/ 328371 h 388632"/>
                    <a:gd name="connsiteX62" fmla="*/ 503000 w 2484052"/>
                    <a:gd name="connsiteY62" fmla="*/ 328371 h 388632"/>
                    <a:gd name="connsiteX63" fmla="*/ 494700 w 2484052"/>
                    <a:gd name="connsiteY63" fmla="*/ 301512 h 388632"/>
                    <a:gd name="connsiteX64" fmla="*/ 473408 w 2484052"/>
                    <a:gd name="connsiteY64" fmla="*/ 291940 h 388632"/>
                    <a:gd name="connsiteX65" fmla="*/ 286522 w 2484052"/>
                    <a:gd name="connsiteY65" fmla="*/ 291940 h 388632"/>
                    <a:gd name="connsiteX66" fmla="*/ 258344 w 2484052"/>
                    <a:gd name="connsiteY66" fmla="*/ 303856 h 388632"/>
                    <a:gd name="connsiteX67" fmla="*/ 247844 w 2484052"/>
                    <a:gd name="connsiteY67" fmla="*/ 336965 h 388632"/>
                    <a:gd name="connsiteX68" fmla="*/ 258100 w 2484052"/>
                    <a:gd name="connsiteY68" fmla="*/ 368512 h 388632"/>
                    <a:gd name="connsiteX69" fmla="*/ 286130 w 2484052"/>
                    <a:gd name="connsiteY69" fmla="*/ 380428 h 388632"/>
                    <a:gd name="connsiteX70" fmla="*/ 313966 w 2484052"/>
                    <a:gd name="connsiteY70" fmla="*/ 368708 h 388632"/>
                    <a:gd name="connsiteX71" fmla="*/ 323732 w 2484052"/>
                    <a:gd name="connsiteY71" fmla="*/ 336184 h 388632"/>
                    <a:gd name="connsiteX72" fmla="*/ 314014 w 2484052"/>
                    <a:gd name="connsiteY72" fmla="*/ 303367 h 388632"/>
                    <a:gd name="connsiteX73" fmla="*/ 286522 w 2484052"/>
                    <a:gd name="connsiteY73" fmla="*/ 291940 h 388632"/>
                    <a:gd name="connsiteX74" fmla="*/ 2207846 w 2484052"/>
                    <a:gd name="connsiteY74" fmla="*/ 286178 h 388632"/>
                    <a:gd name="connsiteX75" fmla="*/ 2216832 w 2484052"/>
                    <a:gd name="connsiteY75" fmla="*/ 286178 h 388632"/>
                    <a:gd name="connsiteX76" fmla="*/ 2216832 w 2484052"/>
                    <a:gd name="connsiteY76" fmla="*/ 386190 h 388632"/>
                    <a:gd name="connsiteX77" fmla="*/ 2207846 w 2484052"/>
                    <a:gd name="connsiteY77" fmla="*/ 386190 h 388632"/>
                    <a:gd name="connsiteX78" fmla="*/ 1064846 w 2484052"/>
                    <a:gd name="connsiteY78" fmla="*/ 286178 h 388632"/>
                    <a:gd name="connsiteX79" fmla="*/ 1073832 w 2484052"/>
                    <a:gd name="connsiteY79" fmla="*/ 286178 h 388632"/>
                    <a:gd name="connsiteX80" fmla="*/ 1073832 w 2484052"/>
                    <a:gd name="connsiteY80" fmla="*/ 386190 h 388632"/>
                    <a:gd name="connsiteX81" fmla="*/ 1064846 w 2484052"/>
                    <a:gd name="connsiteY81" fmla="*/ 386190 h 388632"/>
                    <a:gd name="connsiteX82" fmla="*/ 955532 w 2484052"/>
                    <a:gd name="connsiteY82" fmla="*/ 286178 h 388632"/>
                    <a:gd name="connsiteX83" fmla="*/ 965592 w 2484052"/>
                    <a:gd name="connsiteY83" fmla="*/ 286178 h 388632"/>
                    <a:gd name="connsiteX84" fmla="*/ 995380 w 2484052"/>
                    <a:gd name="connsiteY84" fmla="*/ 365778 h 388632"/>
                    <a:gd name="connsiteX85" fmla="*/ 998408 w 2484052"/>
                    <a:gd name="connsiteY85" fmla="*/ 376228 h 388632"/>
                    <a:gd name="connsiteX86" fmla="*/ 998798 w 2484052"/>
                    <a:gd name="connsiteY86" fmla="*/ 376228 h 388632"/>
                    <a:gd name="connsiteX87" fmla="*/ 1001630 w 2484052"/>
                    <a:gd name="connsiteY87" fmla="*/ 366168 h 388632"/>
                    <a:gd name="connsiteX88" fmla="*/ 1032396 w 2484052"/>
                    <a:gd name="connsiteY88" fmla="*/ 286178 h 388632"/>
                    <a:gd name="connsiteX89" fmla="*/ 1042164 w 2484052"/>
                    <a:gd name="connsiteY89" fmla="*/ 286178 h 388632"/>
                    <a:gd name="connsiteX90" fmla="*/ 1002412 w 2484052"/>
                    <a:gd name="connsiteY90" fmla="*/ 386190 h 388632"/>
                    <a:gd name="connsiteX91" fmla="*/ 994208 w 2484052"/>
                    <a:gd name="connsiteY91" fmla="*/ 386190 h 388632"/>
                    <a:gd name="connsiteX92" fmla="*/ 2289506 w 2484052"/>
                    <a:gd name="connsiteY92" fmla="*/ 283736 h 388632"/>
                    <a:gd name="connsiteX93" fmla="*/ 2314314 w 2484052"/>
                    <a:gd name="connsiteY93" fmla="*/ 294528 h 388632"/>
                    <a:gd name="connsiteX94" fmla="*/ 2322908 w 2484052"/>
                    <a:gd name="connsiteY94" fmla="*/ 325343 h 388632"/>
                    <a:gd name="connsiteX95" fmla="*/ 2322908 w 2484052"/>
                    <a:gd name="connsiteY95" fmla="*/ 386190 h 388632"/>
                    <a:gd name="connsiteX96" fmla="*/ 2313922 w 2484052"/>
                    <a:gd name="connsiteY96" fmla="*/ 386190 h 388632"/>
                    <a:gd name="connsiteX97" fmla="*/ 2313922 w 2484052"/>
                    <a:gd name="connsiteY97" fmla="*/ 327980 h 388632"/>
                    <a:gd name="connsiteX98" fmla="*/ 2287942 w 2484052"/>
                    <a:gd name="connsiteY98" fmla="*/ 291940 h 388632"/>
                    <a:gd name="connsiteX99" fmla="*/ 2264210 w 2484052"/>
                    <a:gd name="connsiteY99" fmla="*/ 302537 h 388632"/>
                    <a:gd name="connsiteX100" fmla="*/ 2254932 w 2484052"/>
                    <a:gd name="connsiteY100" fmla="*/ 328761 h 388632"/>
                    <a:gd name="connsiteX101" fmla="*/ 2254932 w 2484052"/>
                    <a:gd name="connsiteY101" fmla="*/ 386190 h 388632"/>
                    <a:gd name="connsiteX102" fmla="*/ 2245946 w 2484052"/>
                    <a:gd name="connsiteY102" fmla="*/ 386190 h 388632"/>
                    <a:gd name="connsiteX103" fmla="*/ 2245946 w 2484052"/>
                    <a:gd name="connsiteY103" fmla="*/ 286178 h 388632"/>
                    <a:gd name="connsiteX104" fmla="*/ 2254932 w 2484052"/>
                    <a:gd name="connsiteY104" fmla="*/ 286178 h 388632"/>
                    <a:gd name="connsiteX105" fmla="*/ 2254932 w 2484052"/>
                    <a:gd name="connsiteY105" fmla="*/ 304344 h 388632"/>
                    <a:gd name="connsiteX106" fmla="*/ 2255322 w 2484052"/>
                    <a:gd name="connsiteY106" fmla="*/ 304344 h 388632"/>
                    <a:gd name="connsiteX107" fmla="*/ 2289506 w 2484052"/>
                    <a:gd name="connsiteY107" fmla="*/ 283736 h 388632"/>
                    <a:gd name="connsiteX108" fmla="*/ 2149026 w 2484052"/>
                    <a:gd name="connsiteY108" fmla="*/ 283736 h 388632"/>
                    <a:gd name="connsiteX109" fmla="*/ 2172906 w 2484052"/>
                    <a:gd name="connsiteY109" fmla="*/ 293308 h 388632"/>
                    <a:gd name="connsiteX110" fmla="*/ 2181354 w 2484052"/>
                    <a:gd name="connsiteY110" fmla="*/ 321143 h 388632"/>
                    <a:gd name="connsiteX111" fmla="*/ 2181354 w 2484052"/>
                    <a:gd name="connsiteY111" fmla="*/ 386190 h 388632"/>
                    <a:gd name="connsiteX112" fmla="*/ 2172368 w 2484052"/>
                    <a:gd name="connsiteY112" fmla="*/ 386190 h 388632"/>
                    <a:gd name="connsiteX113" fmla="*/ 2172368 w 2484052"/>
                    <a:gd name="connsiteY113" fmla="*/ 366168 h 388632"/>
                    <a:gd name="connsiteX114" fmla="*/ 2171978 w 2484052"/>
                    <a:gd name="connsiteY114" fmla="*/ 366168 h 388632"/>
                    <a:gd name="connsiteX115" fmla="*/ 2158060 w 2484052"/>
                    <a:gd name="connsiteY115" fmla="*/ 382528 h 388632"/>
                    <a:gd name="connsiteX116" fmla="*/ 2137794 w 2484052"/>
                    <a:gd name="connsiteY116" fmla="*/ 388632 h 388632"/>
                    <a:gd name="connsiteX117" fmla="*/ 2115232 w 2484052"/>
                    <a:gd name="connsiteY117" fmla="*/ 380623 h 388632"/>
                    <a:gd name="connsiteX118" fmla="*/ 2106930 w 2484052"/>
                    <a:gd name="connsiteY118" fmla="*/ 360406 h 388632"/>
                    <a:gd name="connsiteX119" fmla="*/ 2141604 w 2484052"/>
                    <a:gd name="connsiteY119" fmla="*/ 328761 h 388632"/>
                    <a:gd name="connsiteX120" fmla="*/ 2172368 w 2484052"/>
                    <a:gd name="connsiteY120" fmla="*/ 324171 h 388632"/>
                    <a:gd name="connsiteX121" fmla="*/ 2148146 w 2484052"/>
                    <a:gd name="connsiteY121" fmla="*/ 291940 h 388632"/>
                    <a:gd name="connsiteX122" fmla="*/ 2116014 w 2484052"/>
                    <a:gd name="connsiteY122" fmla="*/ 305223 h 388632"/>
                    <a:gd name="connsiteX123" fmla="*/ 2116014 w 2484052"/>
                    <a:gd name="connsiteY123" fmla="*/ 294382 h 388632"/>
                    <a:gd name="connsiteX124" fmla="*/ 2131104 w 2484052"/>
                    <a:gd name="connsiteY124" fmla="*/ 286861 h 388632"/>
                    <a:gd name="connsiteX125" fmla="*/ 2149026 w 2484052"/>
                    <a:gd name="connsiteY125" fmla="*/ 283736 h 388632"/>
                    <a:gd name="connsiteX126" fmla="*/ 1965070 w 2484052"/>
                    <a:gd name="connsiteY126" fmla="*/ 283736 h 388632"/>
                    <a:gd name="connsiteX127" fmla="*/ 1987240 w 2484052"/>
                    <a:gd name="connsiteY127" fmla="*/ 288424 h 388632"/>
                    <a:gd name="connsiteX128" fmla="*/ 1987240 w 2484052"/>
                    <a:gd name="connsiteY128" fmla="*/ 298582 h 388632"/>
                    <a:gd name="connsiteX129" fmla="*/ 1963702 w 2484052"/>
                    <a:gd name="connsiteY129" fmla="*/ 291940 h 388632"/>
                    <a:gd name="connsiteX130" fmla="*/ 1935184 w 2484052"/>
                    <a:gd name="connsiteY130" fmla="*/ 304588 h 388632"/>
                    <a:gd name="connsiteX131" fmla="*/ 1924244 w 2484052"/>
                    <a:gd name="connsiteY131" fmla="*/ 337356 h 388632"/>
                    <a:gd name="connsiteX132" fmla="*/ 1934256 w 2484052"/>
                    <a:gd name="connsiteY132" fmla="*/ 368610 h 388632"/>
                    <a:gd name="connsiteX133" fmla="*/ 1960674 w 2484052"/>
                    <a:gd name="connsiteY133" fmla="*/ 380428 h 388632"/>
                    <a:gd name="connsiteX134" fmla="*/ 1986850 w 2484052"/>
                    <a:gd name="connsiteY134" fmla="*/ 372419 h 388632"/>
                    <a:gd name="connsiteX135" fmla="*/ 1986850 w 2484052"/>
                    <a:gd name="connsiteY135" fmla="*/ 381795 h 388632"/>
                    <a:gd name="connsiteX136" fmla="*/ 1960284 w 2484052"/>
                    <a:gd name="connsiteY136" fmla="*/ 388632 h 388632"/>
                    <a:gd name="connsiteX137" fmla="*/ 1927370 w 2484052"/>
                    <a:gd name="connsiteY137" fmla="*/ 374617 h 388632"/>
                    <a:gd name="connsiteX138" fmla="*/ 1914868 w 2484052"/>
                    <a:gd name="connsiteY138" fmla="*/ 337942 h 388632"/>
                    <a:gd name="connsiteX139" fmla="*/ 1928932 w 2484052"/>
                    <a:gd name="connsiteY139" fmla="*/ 298923 h 388632"/>
                    <a:gd name="connsiteX140" fmla="*/ 1965070 w 2484052"/>
                    <a:gd name="connsiteY140" fmla="*/ 283736 h 388632"/>
                    <a:gd name="connsiteX141" fmla="*/ 1726944 w 2484052"/>
                    <a:gd name="connsiteY141" fmla="*/ 283736 h 388632"/>
                    <a:gd name="connsiteX142" fmla="*/ 1749116 w 2484052"/>
                    <a:gd name="connsiteY142" fmla="*/ 288424 h 388632"/>
                    <a:gd name="connsiteX143" fmla="*/ 1749116 w 2484052"/>
                    <a:gd name="connsiteY143" fmla="*/ 298582 h 388632"/>
                    <a:gd name="connsiteX144" fmla="*/ 1725578 w 2484052"/>
                    <a:gd name="connsiteY144" fmla="*/ 291940 h 388632"/>
                    <a:gd name="connsiteX145" fmla="*/ 1697058 w 2484052"/>
                    <a:gd name="connsiteY145" fmla="*/ 304588 h 388632"/>
                    <a:gd name="connsiteX146" fmla="*/ 1686120 w 2484052"/>
                    <a:gd name="connsiteY146" fmla="*/ 337356 h 388632"/>
                    <a:gd name="connsiteX147" fmla="*/ 1696130 w 2484052"/>
                    <a:gd name="connsiteY147" fmla="*/ 368610 h 388632"/>
                    <a:gd name="connsiteX148" fmla="*/ 1722550 w 2484052"/>
                    <a:gd name="connsiteY148" fmla="*/ 380428 h 388632"/>
                    <a:gd name="connsiteX149" fmla="*/ 1748724 w 2484052"/>
                    <a:gd name="connsiteY149" fmla="*/ 372419 h 388632"/>
                    <a:gd name="connsiteX150" fmla="*/ 1748724 w 2484052"/>
                    <a:gd name="connsiteY150" fmla="*/ 381795 h 388632"/>
                    <a:gd name="connsiteX151" fmla="*/ 1722158 w 2484052"/>
                    <a:gd name="connsiteY151" fmla="*/ 388632 h 388632"/>
                    <a:gd name="connsiteX152" fmla="*/ 1689244 w 2484052"/>
                    <a:gd name="connsiteY152" fmla="*/ 374617 h 388632"/>
                    <a:gd name="connsiteX153" fmla="*/ 1676744 w 2484052"/>
                    <a:gd name="connsiteY153" fmla="*/ 337942 h 388632"/>
                    <a:gd name="connsiteX154" fmla="*/ 1690808 w 2484052"/>
                    <a:gd name="connsiteY154" fmla="*/ 298923 h 388632"/>
                    <a:gd name="connsiteX155" fmla="*/ 1726944 w 2484052"/>
                    <a:gd name="connsiteY155" fmla="*/ 283736 h 388632"/>
                    <a:gd name="connsiteX156" fmla="*/ 1610886 w 2484052"/>
                    <a:gd name="connsiteY156" fmla="*/ 283736 h 388632"/>
                    <a:gd name="connsiteX157" fmla="*/ 1644680 w 2484052"/>
                    <a:gd name="connsiteY157" fmla="*/ 297703 h 388632"/>
                    <a:gd name="connsiteX158" fmla="*/ 1657084 w 2484052"/>
                    <a:gd name="connsiteY158" fmla="*/ 336379 h 388632"/>
                    <a:gd name="connsiteX159" fmla="*/ 1644436 w 2484052"/>
                    <a:gd name="connsiteY159" fmla="*/ 374177 h 388632"/>
                    <a:gd name="connsiteX160" fmla="*/ 1609812 w 2484052"/>
                    <a:gd name="connsiteY160" fmla="*/ 388632 h 388632"/>
                    <a:gd name="connsiteX161" fmla="*/ 1575190 w 2484052"/>
                    <a:gd name="connsiteY161" fmla="*/ 374226 h 388632"/>
                    <a:gd name="connsiteX162" fmla="*/ 1562444 w 2484052"/>
                    <a:gd name="connsiteY162" fmla="*/ 336770 h 388632"/>
                    <a:gd name="connsiteX163" fmla="*/ 1575774 w 2484052"/>
                    <a:gd name="connsiteY163" fmla="*/ 297800 h 388632"/>
                    <a:gd name="connsiteX164" fmla="*/ 1610886 w 2484052"/>
                    <a:gd name="connsiteY164" fmla="*/ 283736 h 388632"/>
                    <a:gd name="connsiteX165" fmla="*/ 1301302 w 2484052"/>
                    <a:gd name="connsiteY165" fmla="*/ 283736 h 388632"/>
                    <a:gd name="connsiteX166" fmla="*/ 1325182 w 2484052"/>
                    <a:gd name="connsiteY166" fmla="*/ 293308 h 388632"/>
                    <a:gd name="connsiteX167" fmla="*/ 1333630 w 2484052"/>
                    <a:gd name="connsiteY167" fmla="*/ 321143 h 388632"/>
                    <a:gd name="connsiteX168" fmla="*/ 1333630 w 2484052"/>
                    <a:gd name="connsiteY168" fmla="*/ 386190 h 388632"/>
                    <a:gd name="connsiteX169" fmla="*/ 1324644 w 2484052"/>
                    <a:gd name="connsiteY169" fmla="*/ 386190 h 388632"/>
                    <a:gd name="connsiteX170" fmla="*/ 1324644 w 2484052"/>
                    <a:gd name="connsiteY170" fmla="*/ 366168 h 388632"/>
                    <a:gd name="connsiteX171" fmla="*/ 1324254 w 2484052"/>
                    <a:gd name="connsiteY171" fmla="*/ 366168 h 388632"/>
                    <a:gd name="connsiteX172" fmla="*/ 1310336 w 2484052"/>
                    <a:gd name="connsiteY172" fmla="*/ 382528 h 388632"/>
                    <a:gd name="connsiteX173" fmla="*/ 1290070 w 2484052"/>
                    <a:gd name="connsiteY173" fmla="*/ 388632 h 388632"/>
                    <a:gd name="connsiteX174" fmla="*/ 1267508 w 2484052"/>
                    <a:gd name="connsiteY174" fmla="*/ 380623 h 388632"/>
                    <a:gd name="connsiteX175" fmla="*/ 1259206 w 2484052"/>
                    <a:gd name="connsiteY175" fmla="*/ 360406 h 388632"/>
                    <a:gd name="connsiteX176" fmla="*/ 1293878 w 2484052"/>
                    <a:gd name="connsiteY176" fmla="*/ 328761 h 388632"/>
                    <a:gd name="connsiteX177" fmla="*/ 1324644 w 2484052"/>
                    <a:gd name="connsiteY177" fmla="*/ 324171 h 388632"/>
                    <a:gd name="connsiteX178" fmla="*/ 1300422 w 2484052"/>
                    <a:gd name="connsiteY178" fmla="*/ 291940 h 388632"/>
                    <a:gd name="connsiteX179" fmla="*/ 1268290 w 2484052"/>
                    <a:gd name="connsiteY179" fmla="*/ 305223 h 388632"/>
                    <a:gd name="connsiteX180" fmla="*/ 1268290 w 2484052"/>
                    <a:gd name="connsiteY180" fmla="*/ 294382 h 388632"/>
                    <a:gd name="connsiteX181" fmla="*/ 1283378 w 2484052"/>
                    <a:gd name="connsiteY181" fmla="*/ 286861 h 388632"/>
                    <a:gd name="connsiteX182" fmla="*/ 1301302 w 2484052"/>
                    <a:gd name="connsiteY182" fmla="*/ 283736 h 388632"/>
                    <a:gd name="connsiteX183" fmla="*/ 1139376 w 2484052"/>
                    <a:gd name="connsiteY183" fmla="*/ 283736 h 388632"/>
                    <a:gd name="connsiteX184" fmla="*/ 1163256 w 2484052"/>
                    <a:gd name="connsiteY184" fmla="*/ 293308 h 388632"/>
                    <a:gd name="connsiteX185" fmla="*/ 1171704 w 2484052"/>
                    <a:gd name="connsiteY185" fmla="*/ 321143 h 388632"/>
                    <a:gd name="connsiteX186" fmla="*/ 1171704 w 2484052"/>
                    <a:gd name="connsiteY186" fmla="*/ 386190 h 388632"/>
                    <a:gd name="connsiteX187" fmla="*/ 1162718 w 2484052"/>
                    <a:gd name="connsiteY187" fmla="*/ 386190 h 388632"/>
                    <a:gd name="connsiteX188" fmla="*/ 1162718 w 2484052"/>
                    <a:gd name="connsiteY188" fmla="*/ 366168 h 388632"/>
                    <a:gd name="connsiteX189" fmla="*/ 1162328 w 2484052"/>
                    <a:gd name="connsiteY189" fmla="*/ 366168 h 388632"/>
                    <a:gd name="connsiteX190" fmla="*/ 1148410 w 2484052"/>
                    <a:gd name="connsiteY190" fmla="*/ 382528 h 388632"/>
                    <a:gd name="connsiteX191" fmla="*/ 1128144 w 2484052"/>
                    <a:gd name="connsiteY191" fmla="*/ 388632 h 388632"/>
                    <a:gd name="connsiteX192" fmla="*/ 1105582 w 2484052"/>
                    <a:gd name="connsiteY192" fmla="*/ 380623 h 388632"/>
                    <a:gd name="connsiteX193" fmla="*/ 1097280 w 2484052"/>
                    <a:gd name="connsiteY193" fmla="*/ 360406 h 388632"/>
                    <a:gd name="connsiteX194" fmla="*/ 1131954 w 2484052"/>
                    <a:gd name="connsiteY194" fmla="*/ 328761 h 388632"/>
                    <a:gd name="connsiteX195" fmla="*/ 1162718 w 2484052"/>
                    <a:gd name="connsiteY195" fmla="*/ 324171 h 388632"/>
                    <a:gd name="connsiteX196" fmla="*/ 1138498 w 2484052"/>
                    <a:gd name="connsiteY196" fmla="*/ 291940 h 388632"/>
                    <a:gd name="connsiteX197" fmla="*/ 1106364 w 2484052"/>
                    <a:gd name="connsiteY197" fmla="*/ 305223 h 388632"/>
                    <a:gd name="connsiteX198" fmla="*/ 1106364 w 2484052"/>
                    <a:gd name="connsiteY198" fmla="*/ 294382 h 388632"/>
                    <a:gd name="connsiteX199" fmla="*/ 1121454 w 2484052"/>
                    <a:gd name="connsiteY199" fmla="*/ 286861 h 388632"/>
                    <a:gd name="connsiteX200" fmla="*/ 1139376 w 2484052"/>
                    <a:gd name="connsiteY200" fmla="*/ 283736 h 388632"/>
                    <a:gd name="connsiteX201" fmla="*/ 721448 w 2484052"/>
                    <a:gd name="connsiteY201" fmla="*/ 283736 h 388632"/>
                    <a:gd name="connsiteX202" fmla="*/ 750064 w 2484052"/>
                    <a:gd name="connsiteY202" fmla="*/ 296824 h 388632"/>
                    <a:gd name="connsiteX203" fmla="*/ 760026 w 2484052"/>
                    <a:gd name="connsiteY203" fmla="*/ 332570 h 388632"/>
                    <a:gd name="connsiteX204" fmla="*/ 760026 w 2484052"/>
                    <a:gd name="connsiteY204" fmla="*/ 336575 h 388632"/>
                    <a:gd name="connsiteX205" fmla="*/ 685994 w 2484052"/>
                    <a:gd name="connsiteY205" fmla="*/ 336575 h 388632"/>
                    <a:gd name="connsiteX206" fmla="*/ 695518 w 2484052"/>
                    <a:gd name="connsiteY206" fmla="*/ 368805 h 388632"/>
                    <a:gd name="connsiteX207" fmla="*/ 721644 w 2484052"/>
                    <a:gd name="connsiteY207" fmla="*/ 380428 h 388632"/>
                    <a:gd name="connsiteX208" fmla="*/ 754460 w 2484052"/>
                    <a:gd name="connsiteY208" fmla="*/ 368024 h 388632"/>
                    <a:gd name="connsiteX209" fmla="*/ 754460 w 2484052"/>
                    <a:gd name="connsiteY209" fmla="*/ 377595 h 388632"/>
                    <a:gd name="connsiteX210" fmla="*/ 719788 w 2484052"/>
                    <a:gd name="connsiteY210" fmla="*/ 388632 h 388632"/>
                    <a:gd name="connsiteX211" fmla="*/ 688534 w 2484052"/>
                    <a:gd name="connsiteY211" fmla="*/ 374763 h 388632"/>
                    <a:gd name="connsiteX212" fmla="*/ 676618 w 2484052"/>
                    <a:gd name="connsiteY212" fmla="*/ 335598 h 388632"/>
                    <a:gd name="connsiteX213" fmla="*/ 689070 w 2484052"/>
                    <a:gd name="connsiteY213" fmla="*/ 298728 h 388632"/>
                    <a:gd name="connsiteX214" fmla="*/ 721448 w 2484052"/>
                    <a:gd name="connsiteY214" fmla="*/ 283736 h 388632"/>
                    <a:gd name="connsiteX215" fmla="*/ 583944 w 2484052"/>
                    <a:gd name="connsiteY215" fmla="*/ 283736 h 388632"/>
                    <a:gd name="connsiteX216" fmla="*/ 606116 w 2484052"/>
                    <a:gd name="connsiteY216" fmla="*/ 288424 h 388632"/>
                    <a:gd name="connsiteX217" fmla="*/ 606116 w 2484052"/>
                    <a:gd name="connsiteY217" fmla="*/ 298582 h 388632"/>
                    <a:gd name="connsiteX218" fmla="*/ 582578 w 2484052"/>
                    <a:gd name="connsiteY218" fmla="*/ 291940 h 388632"/>
                    <a:gd name="connsiteX219" fmla="*/ 554058 w 2484052"/>
                    <a:gd name="connsiteY219" fmla="*/ 304588 h 388632"/>
                    <a:gd name="connsiteX220" fmla="*/ 543120 w 2484052"/>
                    <a:gd name="connsiteY220" fmla="*/ 337356 h 388632"/>
                    <a:gd name="connsiteX221" fmla="*/ 553130 w 2484052"/>
                    <a:gd name="connsiteY221" fmla="*/ 368610 h 388632"/>
                    <a:gd name="connsiteX222" fmla="*/ 579550 w 2484052"/>
                    <a:gd name="connsiteY222" fmla="*/ 380428 h 388632"/>
                    <a:gd name="connsiteX223" fmla="*/ 605724 w 2484052"/>
                    <a:gd name="connsiteY223" fmla="*/ 372419 h 388632"/>
                    <a:gd name="connsiteX224" fmla="*/ 605724 w 2484052"/>
                    <a:gd name="connsiteY224" fmla="*/ 381795 h 388632"/>
                    <a:gd name="connsiteX225" fmla="*/ 579158 w 2484052"/>
                    <a:gd name="connsiteY225" fmla="*/ 388632 h 388632"/>
                    <a:gd name="connsiteX226" fmla="*/ 546244 w 2484052"/>
                    <a:gd name="connsiteY226" fmla="*/ 374617 h 388632"/>
                    <a:gd name="connsiteX227" fmla="*/ 533744 w 2484052"/>
                    <a:gd name="connsiteY227" fmla="*/ 337942 h 388632"/>
                    <a:gd name="connsiteX228" fmla="*/ 547808 w 2484052"/>
                    <a:gd name="connsiteY228" fmla="*/ 298923 h 388632"/>
                    <a:gd name="connsiteX229" fmla="*/ 583944 w 2484052"/>
                    <a:gd name="connsiteY229" fmla="*/ 283736 h 388632"/>
                    <a:gd name="connsiteX230" fmla="*/ 473798 w 2484052"/>
                    <a:gd name="connsiteY230" fmla="*/ 283736 h 388632"/>
                    <a:gd name="connsiteX231" fmla="*/ 502414 w 2484052"/>
                    <a:gd name="connsiteY231" fmla="*/ 296824 h 388632"/>
                    <a:gd name="connsiteX232" fmla="*/ 512378 w 2484052"/>
                    <a:gd name="connsiteY232" fmla="*/ 332570 h 388632"/>
                    <a:gd name="connsiteX233" fmla="*/ 512378 w 2484052"/>
                    <a:gd name="connsiteY233" fmla="*/ 336575 h 388632"/>
                    <a:gd name="connsiteX234" fmla="*/ 438344 w 2484052"/>
                    <a:gd name="connsiteY234" fmla="*/ 336575 h 388632"/>
                    <a:gd name="connsiteX235" fmla="*/ 447868 w 2484052"/>
                    <a:gd name="connsiteY235" fmla="*/ 368805 h 388632"/>
                    <a:gd name="connsiteX236" fmla="*/ 473994 w 2484052"/>
                    <a:gd name="connsiteY236" fmla="*/ 380428 h 388632"/>
                    <a:gd name="connsiteX237" fmla="*/ 506810 w 2484052"/>
                    <a:gd name="connsiteY237" fmla="*/ 368024 h 388632"/>
                    <a:gd name="connsiteX238" fmla="*/ 506810 w 2484052"/>
                    <a:gd name="connsiteY238" fmla="*/ 377595 h 388632"/>
                    <a:gd name="connsiteX239" fmla="*/ 472138 w 2484052"/>
                    <a:gd name="connsiteY239" fmla="*/ 388632 h 388632"/>
                    <a:gd name="connsiteX240" fmla="*/ 440884 w 2484052"/>
                    <a:gd name="connsiteY240" fmla="*/ 374763 h 388632"/>
                    <a:gd name="connsiteX241" fmla="*/ 428968 w 2484052"/>
                    <a:gd name="connsiteY241" fmla="*/ 335598 h 388632"/>
                    <a:gd name="connsiteX242" fmla="*/ 441420 w 2484052"/>
                    <a:gd name="connsiteY242" fmla="*/ 298728 h 388632"/>
                    <a:gd name="connsiteX243" fmla="*/ 473798 w 2484052"/>
                    <a:gd name="connsiteY243" fmla="*/ 283736 h 388632"/>
                    <a:gd name="connsiteX244" fmla="*/ 286912 w 2484052"/>
                    <a:gd name="connsiteY244" fmla="*/ 283736 h 388632"/>
                    <a:gd name="connsiteX245" fmla="*/ 320706 w 2484052"/>
                    <a:gd name="connsiteY245" fmla="*/ 297703 h 388632"/>
                    <a:gd name="connsiteX246" fmla="*/ 333108 w 2484052"/>
                    <a:gd name="connsiteY246" fmla="*/ 336379 h 388632"/>
                    <a:gd name="connsiteX247" fmla="*/ 320460 w 2484052"/>
                    <a:gd name="connsiteY247" fmla="*/ 374177 h 388632"/>
                    <a:gd name="connsiteX248" fmla="*/ 285838 w 2484052"/>
                    <a:gd name="connsiteY248" fmla="*/ 388632 h 388632"/>
                    <a:gd name="connsiteX249" fmla="*/ 251214 w 2484052"/>
                    <a:gd name="connsiteY249" fmla="*/ 374226 h 388632"/>
                    <a:gd name="connsiteX250" fmla="*/ 238468 w 2484052"/>
                    <a:gd name="connsiteY250" fmla="*/ 336770 h 388632"/>
                    <a:gd name="connsiteX251" fmla="*/ 251800 w 2484052"/>
                    <a:gd name="connsiteY251" fmla="*/ 297800 h 388632"/>
                    <a:gd name="connsiteX252" fmla="*/ 286912 w 2484052"/>
                    <a:gd name="connsiteY252" fmla="*/ 283736 h 388632"/>
                    <a:gd name="connsiteX253" fmla="*/ 202944 w 2484052"/>
                    <a:gd name="connsiteY253" fmla="*/ 283736 h 388632"/>
                    <a:gd name="connsiteX254" fmla="*/ 225116 w 2484052"/>
                    <a:gd name="connsiteY254" fmla="*/ 288424 h 388632"/>
                    <a:gd name="connsiteX255" fmla="*/ 225116 w 2484052"/>
                    <a:gd name="connsiteY255" fmla="*/ 298582 h 388632"/>
                    <a:gd name="connsiteX256" fmla="*/ 201578 w 2484052"/>
                    <a:gd name="connsiteY256" fmla="*/ 291940 h 388632"/>
                    <a:gd name="connsiteX257" fmla="*/ 173058 w 2484052"/>
                    <a:gd name="connsiteY257" fmla="*/ 304588 h 388632"/>
                    <a:gd name="connsiteX258" fmla="*/ 162120 w 2484052"/>
                    <a:gd name="connsiteY258" fmla="*/ 337356 h 388632"/>
                    <a:gd name="connsiteX259" fmla="*/ 172130 w 2484052"/>
                    <a:gd name="connsiteY259" fmla="*/ 368610 h 388632"/>
                    <a:gd name="connsiteX260" fmla="*/ 198550 w 2484052"/>
                    <a:gd name="connsiteY260" fmla="*/ 380428 h 388632"/>
                    <a:gd name="connsiteX261" fmla="*/ 224724 w 2484052"/>
                    <a:gd name="connsiteY261" fmla="*/ 372419 h 388632"/>
                    <a:gd name="connsiteX262" fmla="*/ 224724 w 2484052"/>
                    <a:gd name="connsiteY262" fmla="*/ 381795 h 388632"/>
                    <a:gd name="connsiteX263" fmla="*/ 198158 w 2484052"/>
                    <a:gd name="connsiteY263" fmla="*/ 388632 h 388632"/>
                    <a:gd name="connsiteX264" fmla="*/ 165244 w 2484052"/>
                    <a:gd name="connsiteY264" fmla="*/ 374617 h 388632"/>
                    <a:gd name="connsiteX265" fmla="*/ 152744 w 2484052"/>
                    <a:gd name="connsiteY265" fmla="*/ 337942 h 388632"/>
                    <a:gd name="connsiteX266" fmla="*/ 166808 w 2484052"/>
                    <a:gd name="connsiteY266" fmla="*/ 298923 h 388632"/>
                    <a:gd name="connsiteX267" fmla="*/ 202944 w 2484052"/>
                    <a:gd name="connsiteY267" fmla="*/ 283736 h 388632"/>
                    <a:gd name="connsiteX268" fmla="*/ 639880 w 2484052"/>
                    <a:gd name="connsiteY268" fmla="*/ 257170 h 388632"/>
                    <a:gd name="connsiteX269" fmla="*/ 639880 w 2484052"/>
                    <a:gd name="connsiteY269" fmla="*/ 286178 h 388632"/>
                    <a:gd name="connsiteX270" fmla="*/ 666252 w 2484052"/>
                    <a:gd name="connsiteY270" fmla="*/ 286178 h 388632"/>
                    <a:gd name="connsiteX271" fmla="*/ 666252 w 2484052"/>
                    <a:gd name="connsiteY271" fmla="*/ 294382 h 388632"/>
                    <a:gd name="connsiteX272" fmla="*/ 639880 w 2484052"/>
                    <a:gd name="connsiteY272" fmla="*/ 294382 h 388632"/>
                    <a:gd name="connsiteX273" fmla="*/ 639880 w 2484052"/>
                    <a:gd name="connsiteY273" fmla="*/ 360406 h 388632"/>
                    <a:gd name="connsiteX274" fmla="*/ 643152 w 2484052"/>
                    <a:gd name="connsiteY274" fmla="*/ 375398 h 388632"/>
                    <a:gd name="connsiteX275" fmla="*/ 654238 w 2484052"/>
                    <a:gd name="connsiteY275" fmla="*/ 380037 h 388632"/>
                    <a:gd name="connsiteX276" fmla="*/ 666252 w 2484052"/>
                    <a:gd name="connsiteY276" fmla="*/ 376423 h 388632"/>
                    <a:gd name="connsiteX277" fmla="*/ 666252 w 2484052"/>
                    <a:gd name="connsiteY277" fmla="*/ 384823 h 388632"/>
                    <a:gd name="connsiteX278" fmla="*/ 653066 w 2484052"/>
                    <a:gd name="connsiteY278" fmla="*/ 388144 h 388632"/>
                    <a:gd name="connsiteX279" fmla="*/ 630896 w 2484052"/>
                    <a:gd name="connsiteY279" fmla="*/ 361578 h 388632"/>
                    <a:gd name="connsiteX280" fmla="*/ 630896 w 2484052"/>
                    <a:gd name="connsiteY280" fmla="*/ 294382 h 388632"/>
                    <a:gd name="connsiteX281" fmla="*/ 612924 w 2484052"/>
                    <a:gd name="connsiteY281" fmla="*/ 294382 h 388632"/>
                    <a:gd name="connsiteX282" fmla="*/ 612924 w 2484052"/>
                    <a:gd name="connsiteY282" fmla="*/ 286178 h 388632"/>
                    <a:gd name="connsiteX283" fmla="*/ 630896 w 2484052"/>
                    <a:gd name="connsiteY283" fmla="*/ 286178 h 388632"/>
                    <a:gd name="connsiteX284" fmla="*/ 630896 w 2484052"/>
                    <a:gd name="connsiteY284" fmla="*/ 260198 h 388632"/>
                    <a:gd name="connsiteX285" fmla="*/ 635388 w 2484052"/>
                    <a:gd name="connsiteY285" fmla="*/ 258635 h 388632"/>
                    <a:gd name="connsiteX286" fmla="*/ 639880 w 2484052"/>
                    <a:gd name="connsiteY286" fmla="*/ 257170 h 388632"/>
                    <a:gd name="connsiteX287" fmla="*/ 2212240 w 2484052"/>
                    <a:gd name="connsiteY287" fmla="*/ 246134 h 388632"/>
                    <a:gd name="connsiteX288" fmla="*/ 2217564 w 2484052"/>
                    <a:gd name="connsiteY288" fmla="*/ 248087 h 388632"/>
                    <a:gd name="connsiteX289" fmla="*/ 2219858 w 2484052"/>
                    <a:gd name="connsiteY289" fmla="*/ 253361 h 388632"/>
                    <a:gd name="connsiteX290" fmla="*/ 2217612 w 2484052"/>
                    <a:gd name="connsiteY290" fmla="*/ 258733 h 388632"/>
                    <a:gd name="connsiteX291" fmla="*/ 2212240 w 2484052"/>
                    <a:gd name="connsiteY291" fmla="*/ 260979 h 388632"/>
                    <a:gd name="connsiteX292" fmla="*/ 2207064 w 2484052"/>
                    <a:gd name="connsiteY292" fmla="*/ 258831 h 388632"/>
                    <a:gd name="connsiteX293" fmla="*/ 2204818 w 2484052"/>
                    <a:gd name="connsiteY293" fmla="*/ 253361 h 388632"/>
                    <a:gd name="connsiteX294" fmla="*/ 2207114 w 2484052"/>
                    <a:gd name="connsiteY294" fmla="*/ 248136 h 388632"/>
                    <a:gd name="connsiteX295" fmla="*/ 2212240 w 2484052"/>
                    <a:gd name="connsiteY295" fmla="*/ 246134 h 388632"/>
                    <a:gd name="connsiteX296" fmla="*/ 1069240 w 2484052"/>
                    <a:gd name="connsiteY296" fmla="*/ 246134 h 388632"/>
                    <a:gd name="connsiteX297" fmla="*/ 1074564 w 2484052"/>
                    <a:gd name="connsiteY297" fmla="*/ 248087 h 388632"/>
                    <a:gd name="connsiteX298" fmla="*/ 1076858 w 2484052"/>
                    <a:gd name="connsiteY298" fmla="*/ 253361 h 388632"/>
                    <a:gd name="connsiteX299" fmla="*/ 1074612 w 2484052"/>
                    <a:gd name="connsiteY299" fmla="*/ 258733 h 388632"/>
                    <a:gd name="connsiteX300" fmla="*/ 1069240 w 2484052"/>
                    <a:gd name="connsiteY300" fmla="*/ 260979 h 388632"/>
                    <a:gd name="connsiteX301" fmla="*/ 1064064 w 2484052"/>
                    <a:gd name="connsiteY301" fmla="*/ 258831 h 388632"/>
                    <a:gd name="connsiteX302" fmla="*/ 1061818 w 2484052"/>
                    <a:gd name="connsiteY302" fmla="*/ 253361 h 388632"/>
                    <a:gd name="connsiteX303" fmla="*/ 1064114 w 2484052"/>
                    <a:gd name="connsiteY303" fmla="*/ 248136 h 388632"/>
                    <a:gd name="connsiteX304" fmla="*/ 1069240 w 2484052"/>
                    <a:gd name="connsiteY304" fmla="*/ 246134 h 388632"/>
                    <a:gd name="connsiteX305" fmla="*/ 2007820 w 2484052"/>
                    <a:gd name="connsiteY305" fmla="*/ 238125 h 388632"/>
                    <a:gd name="connsiteX306" fmla="*/ 2016806 w 2484052"/>
                    <a:gd name="connsiteY306" fmla="*/ 238125 h 388632"/>
                    <a:gd name="connsiteX307" fmla="*/ 2016806 w 2484052"/>
                    <a:gd name="connsiteY307" fmla="*/ 304149 h 388632"/>
                    <a:gd name="connsiteX308" fmla="*/ 2017196 w 2484052"/>
                    <a:gd name="connsiteY308" fmla="*/ 304149 h 388632"/>
                    <a:gd name="connsiteX309" fmla="*/ 2051576 w 2484052"/>
                    <a:gd name="connsiteY309" fmla="*/ 283736 h 388632"/>
                    <a:gd name="connsiteX310" fmla="*/ 2076286 w 2484052"/>
                    <a:gd name="connsiteY310" fmla="*/ 294187 h 388632"/>
                    <a:gd name="connsiteX311" fmla="*/ 2084784 w 2484052"/>
                    <a:gd name="connsiteY311" fmla="*/ 324171 h 388632"/>
                    <a:gd name="connsiteX312" fmla="*/ 2084784 w 2484052"/>
                    <a:gd name="connsiteY312" fmla="*/ 386190 h 388632"/>
                    <a:gd name="connsiteX313" fmla="*/ 2075798 w 2484052"/>
                    <a:gd name="connsiteY313" fmla="*/ 386190 h 388632"/>
                    <a:gd name="connsiteX314" fmla="*/ 2075798 w 2484052"/>
                    <a:gd name="connsiteY314" fmla="*/ 326222 h 388632"/>
                    <a:gd name="connsiteX315" fmla="*/ 2069352 w 2484052"/>
                    <a:gd name="connsiteY315" fmla="*/ 300193 h 388632"/>
                    <a:gd name="connsiteX316" fmla="*/ 2049232 w 2484052"/>
                    <a:gd name="connsiteY316" fmla="*/ 291940 h 388632"/>
                    <a:gd name="connsiteX317" fmla="*/ 2026574 w 2484052"/>
                    <a:gd name="connsiteY317" fmla="*/ 302000 h 388632"/>
                    <a:gd name="connsiteX318" fmla="*/ 2016806 w 2484052"/>
                    <a:gd name="connsiteY318" fmla="*/ 330812 h 388632"/>
                    <a:gd name="connsiteX319" fmla="*/ 2016806 w 2484052"/>
                    <a:gd name="connsiteY319" fmla="*/ 386190 h 388632"/>
                    <a:gd name="connsiteX320" fmla="*/ 2007820 w 2484052"/>
                    <a:gd name="connsiteY320" fmla="*/ 386190 h 388632"/>
                    <a:gd name="connsiteX321" fmla="*/ 1769696 w 2484052"/>
                    <a:gd name="connsiteY321" fmla="*/ 238125 h 388632"/>
                    <a:gd name="connsiteX322" fmla="*/ 1778682 w 2484052"/>
                    <a:gd name="connsiteY322" fmla="*/ 238125 h 388632"/>
                    <a:gd name="connsiteX323" fmla="*/ 1778682 w 2484052"/>
                    <a:gd name="connsiteY323" fmla="*/ 333547 h 388632"/>
                    <a:gd name="connsiteX324" fmla="*/ 1779072 w 2484052"/>
                    <a:gd name="connsiteY324" fmla="*/ 333547 h 388632"/>
                    <a:gd name="connsiteX325" fmla="*/ 1824488 w 2484052"/>
                    <a:gd name="connsiteY325" fmla="*/ 286178 h 388632"/>
                    <a:gd name="connsiteX326" fmla="*/ 1836110 w 2484052"/>
                    <a:gd name="connsiteY326" fmla="*/ 286178 h 388632"/>
                    <a:gd name="connsiteX327" fmla="*/ 1788644 w 2484052"/>
                    <a:gd name="connsiteY327" fmla="*/ 334621 h 388632"/>
                    <a:gd name="connsiteX328" fmla="*/ 1839920 w 2484052"/>
                    <a:gd name="connsiteY328" fmla="*/ 386190 h 388632"/>
                    <a:gd name="connsiteX329" fmla="*/ 1826930 w 2484052"/>
                    <a:gd name="connsiteY329" fmla="*/ 386190 h 388632"/>
                    <a:gd name="connsiteX330" fmla="*/ 1779072 w 2484052"/>
                    <a:gd name="connsiteY330" fmla="*/ 336770 h 388632"/>
                    <a:gd name="connsiteX331" fmla="*/ 1778682 w 2484052"/>
                    <a:gd name="connsiteY331" fmla="*/ 336770 h 388632"/>
                    <a:gd name="connsiteX332" fmla="*/ 1778682 w 2484052"/>
                    <a:gd name="connsiteY332" fmla="*/ 386190 h 388632"/>
                    <a:gd name="connsiteX333" fmla="*/ 1769696 w 2484052"/>
                    <a:gd name="connsiteY333" fmla="*/ 386190 h 388632"/>
                    <a:gd name="connsiteX334" fmla="*/ 1531570 w 2484052"/>
                    <a:gd name="connsiteY334" fmla="*/ 238125 h 388632"/>
                    <a:gd name="connsiteX335" fmla="*/ 1540556 w 2484052"/>
                    <a:gd name="connsiteY335" fmla="*/ 238125 h 388632"/>
                    <a:gd name="connsiteX336" fmla="*/ 1540556 w 2484052"/>
                    <a:gd name="connsiteY336" fmla="*/ 386190 h 388632"/>
                    <a:gd name="connsiteX337" fmla="*/ 1531570 w 2484052"/>
                    <a:gd name="connsiteY337" fmla="*/ 386190 h 388632"/>
                    <a:gd name="connsiteX338" fmla="*/ 1417270 w 2484052"/>
                    <a:gd name="connsiteY338" fmla="*/ 238125 h 388632"/>
                    <a:gd name="connsiteX339" fmla="*/ 1426256 w 2484052"/>
                    <a:gd name="connsiteY339" fmla="*/ 238125 h 388632"/>
                    <a:gd name="connsiteX340" fmla="*/ 1426256 w 2484052"/>
                    <a:gd name="connsiteY340" fmla="*/ 306786 h 388632"/>
                    <a:gd name="connsiteX341" fmla="*/ 1426646 w 2484052"/>
                    <a:gd name="connsiteY341" fmla="*/ 306786 h 388632"/>
                    <a:gd name="connsiteX342" fmla="*/ 1442030 w 2484052"/>
                    <a:gd name="connsiteY342" fmla="*/ 289743 h 388632"/>
                    <a:gd name="connsiteX343" fmla="*/ 1464054 w 2484052"/>
                    <a:gd name="connsiteY343" fmla="*/ 283736 h 388632"/>
                    <a:gd name="connsiteX344" fmla="*/ 1493794 w 2484052"/>
                    <a:gd name="connsiteY344" fmla="*/ 296872 h 388632"/>
                    <a:gd name="connsiteX345" fmla="*/ 1504488 w 2484052"/>
                    <a:gd name="connsiteY345" fmla="*/ 332570 h 388632"/>
                    <a:gd name="connsiteX346" fmla="*/ 1492084 w 2484052"/>
                    <a:gd name="connsiteY346" fmla="*/ 373151 h 388632"/>
                    <a:gd name="connsiteX347" fmla="*/ 1459854 w 2484052"/>
                    <a:gd name="connsiteY347" fmla="*/ 388632 h 388632"/>
                    <a:gd name="connsiteX348" fmla="*/ 1426646 w 2484052"/>
                    <a:gd name="connsiteY348" fmla="*/ 368415 h 388632"/>
                    <a:gd name="connsiteX349" fmla="*/ 1426256 w 2484052"/>
                    <a:gd name="connsiteY349" fmla="*/ 368415 h 388632"/>
                    <a:gd name="connsiteX350" fmla="*/ 1426256 w 2484052"/>
                    <a:gd name="connsiteY350" fmla="*/ 386190 h 388632"/>
                    <a:gd name="connsiteX351" fmla="*/ 1417270 w 2484052"/>
                    <a:gd name="connsiteY351" fmla="*/ 386190 h 388632"/>
                    <a:gd name="connsiteX352" fmla="*/ 859626 w 2484052"/>
                    <a:gd name="connsiteY352" fmla="*/ 238125 h 388632"/>
                    <a:gd name="connsiteX353" fmla="*/ 868612 w 2484052"/>
                    <a:gd name="connsiteY353" fmla="*/ 238125 h 388632"/>
                    <a:gd name="connsiteX354" fmla="*/ 868612 w 2484052"/>
                    <a:gd name="connsiteY354" fmla="*/ 386190 h 388632"/>
                    <a:gd name="connsiteX355" fmla="*/ 859626 w 2484052"/>
                    <a:gd name="connsiteY355" fmla="*/ 386190 h 388632"/>
                    <a:gd name="connsiteX356" fmla="*/ 859626 w 2484052"/>
                    <a:gd name="connsiteY356" fmla="*/ 368024 h 388632"/>
                    <a:gd name="connsiteX357" fmla="*/ 859234 w 2484052"/>
                    <a:gd name="connsiteY357" fmla="*/ 368024 h 388632"/>
                    <a:gd name="connsiteX358" fmla="*/ 844780 w 2484052"/>
                    <a:gd name="connsiteY358" fmla="*/ 383065 h 388632"/>
                    <a:gd name="connsiteX359" fmla="*/ 823196 w 2484052"/>
                    <a:gd name="connsiteY359" fmla="*/ 388632 h 388632"/>
                    <a:gd name="connsiteX360" fmla="*/ 793064 w 2484052"/>
                    <a:gd name="connsiteY360" fmla="*/ 375154 h 388632"/>
                    <a:gd name="connsiteX361" fmla="*/ 781394 w 2484052"/>
                    <a:gd name="connsiteY361" fmla="*/ 337942 h 388632"/>
                    <a:gd name="connsiteX362" fmla="*/ 794138 w 2484052"/>
                    <a:gd name="connsiteY362" fmla="*/ 298728 h 388632"/>
                    <a:gd name="connsiteX363" fmla="*/ 827200 w 2484052"/>
                    <a:gd name="connsiteY363" fmla="*/ 283736 h 388632"/>
                    <a:gd name="connsiteX364" fmla="*/ 859234 w 2484052"/>
                    <a:gd name="connsiteY364" fmla="*/ 302195 h 388632"/>
                    <a:gd name="connsiteX365" fmla="*/ 859626 w 2484052"/>
                    <a:gd name="connsiteY365" fmla="*/ 302195 h 388632"/>
                    <a:gd name="connsiteX366" fmla="*/ 398096 w 2484052"/>
                    <a:gd name="connsiteY366" fmla="*/ 238125 h 388632"/>
                    <a:gd name="connsiteX367" fmla="*/ 407082 w 2484052"/>
                    <a:gd name="connsiteY367" fmla="*/ 238125 h 388632"/>
                    <a:gd name="connsiteX368" fmla="*/ 407082 w 2484052"/>
                    <a:gd name="connsiteY368" fmla="*/ 386190 h 388632"/>
                    <a:gd name="connsiteX369" fmla="*/ 398096 w 2484052"/>
                    <a:gd name="connsiteY369" fmla="*/ 386190 h 388632"/>
                    <a:gd name="connsiteX370" fmla="*/ 359996 w 2484052"/>
                    <a:gd name="connsiteY370" fmla="*/ 238125 h 388632"/>
                    <a:gd name="connsiteX371" fmla="*/ 368982 w 2484052"/>
                    <a:gd name="connsiteY371" fmla="*/ 238125 h 388632"/>
                    <a:gd name="connsiteX372" fmla="*/ 368982 w 2484052"/>
                    <a:gd name="connsiteY372" fmla="*/ 386190 h 388632"/>
                    <a:gd name="connsiteX373" fmla="*/ 359996 w 2484052"/>
                    <a:gd name="connsiteY373" fmla="*/ 386190 h 388632"/>
                    <a:gd name="connsiteX374" fmla="*/ 1610394 w 2484052"/>
                    <a:gd name="connsiteY374" fmla="*/ 94250 h 388632"/>
                    <a:gd name="connsiteX375" fmla="*/ 1582852 w 2484052"/>
                    <a:gd name="connsiteY375" fmla="*/ 98254 h 388632"/>
                    <a:gd name="connsiteX376" fmla="*/ 1560778 w 2484052"/>
                    <a:gd name="connsiteY376" fmla="*/ 105531 h 388632"/>
                    <a:gd name="connsiteX377" fmla="*/ 1554430 w 2484052"/>
                    <a:gd name="connsiteY377" fmla="*/ 121890 h 388632"/>
                    <a:gd name="connsiteX378" fmla="*/ 1560338 w 2484052"/>
                    <a:gd name="connsiteY378" fmla="*/ 136540 h 388632"/>
                    <a:gd name="connsiteX379" fmla="*/ 1576796 w 2484052"/>
                    <a:gd name="connsiteY379" fmla="*/ 142303 h 388632"/>
                    <a:gd name="connsiteX380" fmla="*/ 1600822 w 2484052"/>
                    <a:gd name="connsiteY380" fmla="*/ 131608 h 388632"/>
                    <a:gd name="connsiteX381" fmla="*/ 1610394 w 2484052"/>
                    <a:gd name="connsiteY381" fmla="*/ 104017 h 388632"/>
                    <a:gd name="connsiteX382" fmla="*/ 2445082 w 2484052"/>
                    <a:gd name="connsiteY382" fmla="*/ 53815 h 388632"/>
                    <a:gd name="connsiteX383" fmla="*/ 2421788 w 2484052"/>
                    <a:gd name="connsiteY383" fmla="*/ 63240 h 388632"/>
                    <a:gd name="connsiteX384" fmla="*/ 2410410 w 2484052"/>
                    <a:gd name="connsiteY384" fmla="*/ 90246 h 388632"/>
                    <a:gd name="connsiteX385" fmla="*/ 2474676 w 2484052"/>
                    <a:gd name="connsiteY385" fmla="*/ 90246 h 388632"/>
                    <a:gd name="connsiteX386" fmla="*/ 2466374 w 2484052"/>
                    <a:gd name="connsiteY386" fmla="*/ 63387 h 388632"/>
                    <a:gd name="connsiteX387" fmla="*/ 2445082 w 2484052"/>
                    <a:gd name="connsiteY387" fmla="*/ 53815 h 388632"/>
                    <a:gd name="connsiteX388" fmla="*/ 2339182 w 2484052"/>
                    <a:gd name="connsiteY388" fmla="*/ 53815 h 388632"/>
                    <a:gd name="connsiteX389" fmla="*/ 2312128 w 2484052"/>
                    <a:gd name="connsiteY389" fmla="*/ 65535 h 388632"/>
                    <a:gd name="connsiteX390" fmla="*/ 2302556 w 2484052"/>
                    <a:gd name="connsiteY390" fmla="*/ 93078 h 388632"/>
                    <a:gd name="connsiteX391" fmla="*/ 2302556 w 2484052"/>
                    <a:gd name="connsiteY391" fmla="*/ 105677 h 388632"/>
                    <a:gd name="connsiteX392" fmla="*/ 2312030 w 2484052"/>
                    <a:gd name="connsiteY392" fmla="*/ 131510 h 388632"/>
                    <a:gd name="connsiteX393" fmla="*/ 2336936 w 2484052"/>
                    <a:gd name="connsiteY393" fmla="*/ 142303 h 388632"/>
                    <a:gd name="connsiteX394" fmla="*/ 2361842 w 2484052"/>
                    <a:gd name="connsiteY394" fmla="*/ 129166 h 388632"/>
                    <a:gd name="connsiteX395" fmla="*/ 2371412 w 2484052"/>
                    <a:gd name="connsiteY395" fmla="*/ 94641 h 388632"/>
                    <a:gd name="connsiteX396" fmla="*/ 2362622 w 2484052"/>
                    <a:gd name="connsiteY396" fmla="*/ 64852 h 388632"/>
                    <a:gd name="connsiteX397" fmla="*/ 2339182 w 2484052"/>
                    <a:gd name="connsiteY397" fmla="*/ 53815 h 388632"/>
                    <a:gd name="connsiteX398" fmla="*/ 1768808 w 2484052"/>
                    <a:gd name="connsiteY398" fmla="*/ 53815 h 388632"/>
                    <a:gd name="connsiteX399" fmla="*/ 1745514 w 2484052"/>
                    <a:gd name="connsiteY399" fmla="*/ 63240 h 388632"/>
                    <a:gd name="connsiteX400" fmla="*/ 1734134 w 2484052"/>
                    <a:gd name="connsiteY400" fmla="*/ 90246 h 388632"/>
                    <a:gd name="connsiteX401" fmla="*/ 1798400 w 2484052"/>
                    <a:gd name="connsiteY401" fmla="*/ 90246 h 388632"/>
                    <a:gd name="connsiteX402" fmla="*/ 1790100 w 2484052"/>
                    <a:gd name="connsiteY402" fmla="*/ 63387 h 388632"/>
                    <a:gd name="connsiteX403" fmla="*/ 1768808 w 2484052"/>
                    <a:gd name="connsiteY403" fmla="*/ 53815 h 388632"/>
                    <a:gd name="connsiteX404" fmla="*/ 1197308 w 2484052"/>
                    <a:gd name="connsiteY404" fmla="*/ 53815 h 388632"/>
                    <a:gd name="connsiteX405" fmla="*/ 1174014 w 2484052"/>
                    <a:gd name="connsiteY405" fmla="*/ 63240 h 388632"/>
                    <a:gd name="connsiteX406" fmla="*/ 1162634 w 2484052"/>
                    <a:gd name="connsiteY406" fmla="*/ 90246 h 388632"/>
                    <a:gd name="connsiteX407" fmla="*/ 1226900 w 2484052"/>
                    <a:gd name="connsiteY407" fmla="*/ 90246 h 388632"/>
                    <a:gd name="connsiteX408" fmla="*/ 1218600 w 2484052"/>
                    <a:gd name="connsiteY408" fmla="*/ 63387 h 388632"/>
                    <a:gd name="connsiteX409" fmla="*/ 1197308 w 2484052"/>
                    <a:gd name="connsiteY409" fmla="*/ 53815 h 388632"/>
                    <a:gd name="connsiteX410" fmla="*/ 759158 w 2484052"/>
                    <a:gd name="connsiteY410" fmla="*/ 53815 h 388632"/>
                    <a:gd name="connsiteX411" fmla="*/ 735864 w 2484052"/>
                    <a:gd name="connsiteY411" fmla="*/ 63240 h 388632"/>
                    <a:gd name="connsiteX412" fmla="*/ 724486 w 2484052"/>
                    <a:gd name="connsiteY412" fmla="*/ 90246 h 388632"/>
                    <a:gd name="connsiteX413" fmla="*/ 788750 w 2484052"/>
                    <a:gd name="connsiteY413" fmla="*/ 90246 h 388632"/>
                    <a:gd name="connsiteX414" fmla="*/ 780450 w 2484052"/>
                    <a:gd name="connsiteY414" fmla="*/ 63387 h 388632"/>
                    <a:gd name="connsiteX415" fmla="*/ 759158 w 2484052"/>
                    <a:gd name="connsiteY415" fmla="*/ 53815 h 388632"/>
                    <a:gd name="connsiteX416" fmla="*/ 553222 w 2484052"/>
                    <a:gd name="connsiteY416" fmla="*/ 53815 h 388632"/>
                    <a:gd name="connsiteX417" fmla="*/ 525044 w 2484052"/>
                    <a:gd name="connsiteY417" fmla="*/ 65731 h 388632"/>
                    <a:gd name="connsiteX418" fmla="*/ 514544 w 2484052"/>
                    <a:gd name="connsiteY418" fmla="*/ 98840 h 388632"/>
                    <a:gd name="connsiteX419" fmla="*/ 524800 w 2484052"/>
                    <a:gd name="connsiteY419" fmla="*/ 130387 h 388632"/>
                    <a:gd name="connsiteX420" fmla="*/ 552830 w 2484052"/>
                    <a:gd name="connsiteY420" fmla="*/ 142303 h 388632"/>
                    <a:gd name="connsiteX421" fmla="*/ 580666 w 2484052"/>
                    <a:gd name="connsiteY421" fmla="*/ 130583 h 388632"/>
                    <a:gd name="connsiteX422" fmla="*/ 590432 w 2484052"/>
                    <a:gd name="connsiteY422" fmla="*/ 98059 h 388632"/>
                    <a:gd name="connsiteX423" fmla="*/ 580714 w 2484052"/>
                    <a:gd name="connsiteY423" fmla="*/ 65242 h 388632"/>
                    <a:gd name="connsiteX424" fmla="*/ 553222 w 2484052"/>
                    <a:gd name="connsiteY424" fmla="*/ 53815 h 388632"/>
                    <a:gd name="connsiteX425" fmla="*/ 436870 w 2484052"/>
                    <a:gd name="connsiteY425" fmla="*/ 53815 h 388632"/>
                    <a:gd name="connsiteX426" fmla="*/ 410304 w 2484052"/>
                    <a:gd name="connsiteY426" fmla="*/ 66219 h 388632"/>
                    <a:gd name="connsiteX427" fmla="*/ 400244 w 2484052"/>
                    <a:gd name="connsiteY427" fmla="*/ 99036 h 388632"/>
                    <a:gd name="connsiteX428" fmla="*/ 409474 w 2484052"/>
                    <a:gd name="connsiteY428" fmla="*/ 130924 h 388632"/>
                    <a:gd name="connsiteX429" fmla="*/ 433842 w 2484052"/>
                    <a:gd name="connsiteY429" fmla="*/ 142303 h 388632"/>
                    <a:gd name="connsiteX430" fmla="*/ 459530 w 2484052"/>
                    <a:gd name="connsiteY430" fmla="*/ 131852 h 388632"/>
                    <a:gd name="connsiteX431" fmla="*/ 469100 w 2484052"/>
                    <a:gd name="connsiteY431" fmla="*/ 106263 h 388632"/>
                    <a:gd name="connsiteX432" fmla="*/ 469100 w 2484052"/>
                    <a:gd name="connsiteY432" fmla="*/ 86436 h 388632"/>
                    <a:gd name="connsiteX433" fmla="*/ 460164 w 2484052"/>
                    <a:gd name="connsiteY433" fmla="*/ 63484 h 388632"/>
                    <a:gd name="connsiteX434" fmla="*/ 436870 w 2484052"/>
                    <a:gd name="connsiteY434" fmla="*/ 53815 h 388632"/>
                    <a:gd name="connsiteX435" fmla="*/ 2112596 w 2484052"/>
                    <a:gd name="connsiteY435" fmla="*/ 48053 h 388632"/>
                    <a:gd name="connsiteX436" fmla="*/ 2121582 w 2484052"/>
                    <a:gd name="connsiteY436" fmla="*/ 48053 h 388632"/>
                    <a:gd name="connsiteX437" fmla="*/ 2121582 w 2484052"/>
                    <a:gd name="connsiteY437" fmla="*/ 148065 h 388632"/>
                    <a:gd name="connsiteX438" fmla="*/ 2112596 w 2484052"/>
                    <a:gd name="connsiteY438" fmla="*/ 148065 h 388632"/>
                    <a:gd name="connsiteX439" fmla="*/ 1966842 w 2484052"/>
                    <a:gd name="connsiteY439" fmla="*/ 48053 h 388632"/>
                    <a:gd name="connsiteX440" fmla="*/ 1976804 w 2484052"/>
                    <a:gd name="connsiteY440" fmla="*/ 48053 h 388632"/>
                    <a:gd name="connsiteX441" fmla="*/ 2000050 w 2484052"/>
                    <a:gd name="connsiteY441" fmla="*/ 127848 h 388632"/>
                    <a:gd name="connsiteX442" fmla="*/ 2001416 w 2484052"/>
                    <a:gd name="connsiteY442" fmla="*/ 136247 h 388632"/>
                    <a:gd name="connsiteX443" fmla="*/ 2002198 w 2484052"/>
                    <a:gd name="connsiteY443" fmla="*/ 136247 h 388632"/>
                    <a:gd name="connsiteX444" fmla="*/ 2004054 w 2484052"/>
                    <a:gd name="connsiteY444" fmla="*/ 127848 h 388632"/>
                    <a:gd name="connsiteX445" fmla="*/ 2029448 w 2484052"/>
                    <a:gd name="connsiteY445" fmla="*/ 48053 h 388632"/>
                    <a:gd name="connsiteX446" fmla="*/ 2035600 w 2484052"/>
                    <a:gd name="connsiteY446" fmla="*/ 48053 h 388632"/>
                    <a:gd name="connsiteX447" fmla="*/ 2058260 w 2484052"/>
                    <a:gd name="connsiteY447" fmla="*/ 127848 h 388632"/>
                    <a:gd name="connsiteX448" fmla="*/ 2059626 w 2484052"/>
                    <a:gd name="connsiteY448" fmla="*/ 136247 h 388632"/>
                    <a:gd name="connsiteX449" fmla="*/ 2060408 w 2484052"/>
                    <a:gd name="connsiteY449" fmla="*/ 136247 h 388632"/>
                    <a:gd name="connsiteX450" fmla="*/ 2062068 w 2484052"/>
                    <a:gd name="connsiteY450" fmla="*/ 127848 h 388632"/>
                    <a:gd name="connsiteX451" fmla="*/ 2085802 w 2484052"/>
                    <a:gd name="connsiteY451" fmla="*/ 48053 h 388632"/>
                    <a:gd name="connsiteX452" fmla="*/ 2095080 w 2484052"/>
                    <a:gd name="connsiteY452" fmla="*/ 48053 h 388632"/>
                    <a:gd name="connsiteX453" fmla="*/ 2064022 w 2484052"/>
                    <a:gd name="connsiteY453" fmla="*/ 148065 h 388632"/>
                    <a:gd name="connsiteX454" fmla="*/ 2055622 w 2484052"/>
                    <a:gd name="connsiteY454" fmla="*/ 148065 h 388632"/>
                    <a:gd name="connsiteX455" fmla="*/ 2033842 w 2484052"/>
                    <a:gd name="connsiteY455" fmla="*/ 72665 h 388632"/>
                    <a:gd name="connsiteX456" fmla="*/ 2032280 w 2484052"/>
                    <a:gd name="connsiteY456" fmla="*/ 64266 h 388632"/>
                    <a:gd name="connsiteX457" fmla="*/ 2031792 w 2484052"/>
                    <a:gd name="connsiteY457" fmla="*/ 64266 h 388632"/>
                    <a:gd name="connsiteX458" fmla="*/ 2029838 w 2484052"/>
                    <a:gd name="connsiteY458" fmla="*/ 72470 h 388632"/>
                    <a:gd name="connsiteX459" fmla="*/ 2005420 w 2484052"/>
                    <a:gd name="connsiteY459" fmla="*/ 148065 h 388632"/>
                    <a:gd name="connsiteX460" fmla="*/ 1997022 w 2484052"/>
                    <a:gd name="connsiteY460" fmla="*/ 148065 h 388632"/>
                    <a:gd name="connsiteX461" fmla="*/ 1633662 w 2484052"/>
                    <a:gd name="connsiteY461" fmla="*/ 48053 h 388632"/>
                    <a:gd name="connsiteX462" fmla="*/ 1644210 w 2484052"/>
                    <a:gd name="connsiteY462" fmla="*/ 48053 h 388632"/>
                    <a:gd name="connsiteX463" fmla="*/ 1666478 w 2484052"/>
                    <a:gd name="connsiteY463" fmla="*/ 83897 h 388632"/>
                    <a:gd name="connsiteX464" fmla="*/ 1671656 w 2484052"/>
                    <a:gd name="connsiteY464" fmla="*/ 92492 h 388632"/>
                    <a:gd name="connsiteX465" fmla="*/ 1672046 w 2484052"/>
                    <a:gd name="connsiteY465" fmla="*/ 92492 h 388632"/>
                    <a:gd name="connsiteX466" fmla="*/ 1677026 w 2484052"/>
                    <a:gd name="connsiteY466" fmla="*/ 84288 h 388632"/>
                    <a:gd name="connsiteX467" fmla="*/ 1700272 w 2484052"/>
                    <a:gd name="connsiteY467" fmla="*/ 48053 h 388632"/>
                    <a:gd name="connsiteX468" fmla="*/ 1710820 w 2484052"/>
                    <a:gd name="connsiteY468" fmla="*/ 48053 h 388632"/>
                    <a:gd name="connsiteX469" fmla="*/ 1676832 w 2484052"/>
                    <a:gd name="connsiteY469" fmla="*/ 99036 h 388632"/>
                    <a:gd name="connsiteX470" fmla="*/ 1709452 w 2484052"/>
                    <a:gd name="connsiteY470" fmla="*/ 148065 h 388632"/>
                    <a:gd name="connsiteX471" fmla="*/ 1698026 w 2484052"/>
                    <a:gd name="connsiteY471" fmla="*/ 148065 h 388632"/>
                    <a:gd name="connsiteX472" fmla="*/ 1671656 w 2484052"/>
                    <a:gd name="connsiteY472" fmla="*/ 105872 h 388632"/>
                    <a:gd name="connsiteX473" fmla="*/ 1671264 w 2484052"/>
                    <a:gd name="connsiteY473" fmla="*/ 105872 h 388632"/>
                    <a:gd name="connsiteX474" fmla="*/ 1667748 w 2484052"/>
                    <a:gd name="connsiteY474" fmla="*/ 111440 h 388632"/>
                    <a:gd name="connsiteX475" fmla="*/ 1666088 w 2484052"/>
                    <a:gd name="connsiteY475" fmla="*/ 114077 h 388632"/>
                    <a:gd name="connsiteX476" fmla="*/ 1644014 w 2484052"/>
                    <a:gd name="connsiteY476" fmla="*/ 148065 h 388632"/>
                    <a:gd name="connsiteX477" fmla="*/ 1633076 w 2484052"/>
                    <a:gd name="connsiteY477" fmla="*/ 148065 h 388632"/>
                    <a:gd name="connsiteX478" fmla="*/ 1666478 w 2484052"/>
                    <a:gd name="connsiteY478" fmla="*/ 99231 h 388632"/>
                    <a:gd name="connsiteX479" fmla="*/ 612632 w 2484052"/>
                    <a:gd name="connsiteY479" fmla="*/ 48053 h 388632"/>
                    <a:gd name="connsiteX480" fmla="*/ 622692 w 2484052"/>
                    <a:gd name="connsiteY480" fmla="*/ 48053 h 388632"/>
                    <a:gd name="connsiteX481" fmla="*/ 652480 w 2484052"/>
                    <a:gd name="connsiteY481" fmla="*/ 127653 h 388632"/>
                    <a:gd name="connsiteX482" fmla="*/ 655508 w 2484052"/>
                    <a:gd name="connsiteY482" fmla="*/ 138103 h 388632"/>
                    <a:gd name="connsiteX483" fmla="*/ 655898 w 2484052"/>
                    <a:gd name="connsiteY483" fmla="*/ 138103 h 388632"/>
                    <a:gd name="connsiteX484" fmla="*/ 658730 w 2484052"/>
                    <a:gd name="connsiteY484" fmla="*/ 128043 h 388632"/>
                    <a:gd name="connsiteX485" fmla="*/ 689496 w 2484052"/>
                    <a:gd name="connsiteY485" fmla="*/ 48053 h 388632"/>
                    <a:gd name="connsiteX486" fmla="*/ 699264 w 2484052"/>
                    <a:gd name="connsiteY486" fmla="*/ 48053 h 388632"/>
                    <a:gd name="connsiteX487" fmla="*/ 659512 w 2484052"/>
                    <a:gd name="connsiteY487" fmla="*/ 148065 h 388632"/>
                    <a:gd name="connsiteX488" fmla="*/ 651308 w 2484052"/>
                    <a:gd name="connsiteY488" fmla="*/ 148065 h 388632"/>
                    <a:gd name="connsiteX489" fmla="*/ 93296 w 2484052"/>
                    <a:gd name="connsiteY489" fmla="*/ 48053 h 388632"/>
                    <a:gd name="connsiteX490" fmla="*/ 102282 w 2484052"/>
                    <a:gd name="connsiteY490" fmla="*/ 48053 h 388632"/>
                    <a:gd name="connsiteX491" fmla="*/ 102282 w 2484052"/>
                    <a:gd name="connsiteY491" fmla="*/ 148065 h 388632"/>
                    <a:gd name="connsiteX492" fmla="*/ 93296 w 2484052"/>
                    <a:gd name="connsiteY492" fmla="*/ 148065 h 388632"/>
                    <a:gd name="connsiteX493" fmla="*/ 863932 w 2484052"/>
                    <a:gd name="connsiteY493" fmla="*/ 46099 h 388632"/>
                    <a:gd name="connsiteX494" fmla="*/ 873894 w 2484052"/>
                    <a:gd name="connsiteY494" fmla="*/ 47857 h 388632"/>
                    <a:gd name="connsiteX495" fmla="*/ 873894 w 2484052"/>
                    <a:gd name="connsiteY495" fmla="*/ 57429 h 388632"/>
                    <a:gd name="connsiteX496" fmla="*/ 863346 w 2484052"/>
                    <a:gd name="connsiteY496" fmla="*/ 54206 h 388632"/>
                    <a:gd name="connsiteX497" fmla="*/ 843520 w 2484052"/>
                    <a:gd name="connsiteY497" fmla="*/ 66414 h 388632"/>
                    <a:gd name="connsiteX498" fmla="*/ 835510 w 2484052"/>
                    <a:gd name="connsiteY498" fmla="*/ 101087 h 388632"/>
                    <a:gd name="connsiteX499" fmla="*/ 835510 w 2484052"/>
                    <a:gd name="connsiteY499" fmla="*/ 148065 h 388632"/>
                    <a:gd name="connsiteX500" fmla="*/ 826720 w 2484052"/>
                    <a:gd name="connsiteY500" fmla="*/ 148065 h 388632"/>
                    <a:gd name="connsiteX501" fmla="*/ 826720 w 2484052"/>
                    <a:gd name="connsiteY501" fmla="*/ 48053 h 388632"/>
                    <a:gd name="connsiteX502" fmla="*/ 835510 w 2484052"/>
                    <a:gd name="connsiteY502" fmla="*/ 48053 h 388632"/>
                    <a:gd name="connsiteX503" fmla="*/ 835510 w 2484052"/>
                    <a:gd name="connsiteY503" fmla="*/ 70223 h 388632"/>
                    <a:gd name="connsiteX504" fmla="*/ 835902 w 2484052"/>
                    <a:gd name="connsiteY504" fmla="*/ 70223 h 388632"/>
                    <a:gd name="connsiteX505" fmla="*/ 846742 w 2484052"/>
                    <a:gd name="connsiteY505" fmla="*/ 52448 h 388632"/>
                    <a:gd name="connsiteX506" fmla="*/ 863932 w 2484052"/>
                    <a:gd name="connsiteY506" fmla="*/ 46099 h 388632"/>
                    <a:gd name="connsiteX507" fmla="*/ 168608 w 2484052"/>
                    <a:gd name="connsiteY507" fmla="*/ 46099 h 388632"/>
                    <a:gd name="connsiteX508" fmla="*/ 178570 w 2484052"/>
                    <a:gd name="connsiteY508" fmla="*/ 47857 h 388632"/>
                    <a:gd name="connsiteX509" fmla="*/ 178570 w 2484052"/>
                    <a:gd name="connsiteY509" fmla="*/ 57429 h 388632"/>
                    <a:gd name="connsiteX510" fmla="*/ 168022 w 2484052"/>
                    <a:gd name="connsiteY510" fmla="*/ 54206 h 388632"/>
                    <a:gd name="connsiteX511" fmla="*/ 148194 w 2484052"/>
                    <a:gd name="connsiteY511" fmla="*/ 66414 h 388632"/>
                    <a:gd name="connsiteX512" fmla="*/ 140186 w 2484052"/>
                    <a:gd name="connsiteY512" fmla="*/ 101087 h 388632"/>
                    <a:gd name="connsiteX513" fmla="*/ 140186 w 2484052"/>
                    <a:gd name="connsiteY513" fmla="*/ 148065 h 388632"/>
                    <a:gd name="connsiteX514" fmla="*/ 131396 w 2484052"/>
                    <a:gd name="connsiteY514" fmla="*/ 148065 h 388632"/>
                    <a:gd name="connsiteX515" fmla="*/ 131396 w 2484052"/>
                    <a:gd name="connsiteY515" fmla="*/ 48053 h 388632"/>
                    <a:gd name="connsiteX516" fmla="*/ 140186 w 2484052"/>
                    <a:gd name="connsiteY516" fmla="*/ 48053 h 388632"/>
                    <a:gd name="connsiteX517" fmla="*/ 140186 w 2484052"/>
                    <a:gd name="connsiteY517" fmla="*/ 70223 h 388632"/>
                    <a:gd name="connsiteX518" fmla="*/ 140576 w 2484052"/>
                    <a:gd name="connsiteY518" fmla="*/ 70223 h 388632"/>
                    <a:gd name="connsiteX519" fmla="*/ 151418 w 2484052"/>
                    <a:gd name="connsiteY519" fmla="*/ 52448 h 388632"/>
                    <a:gd name="connsiteX520" fmla="*/ 168608 w 2484052"/>
                    <a:gd name="connsiteY520" fmla="*/ 46099 h 388632"/>
                    <a:gd name="connsiteX521" fmla="*/ 2445474 w 2484052"/>
                    <a:gd name="connsiteY521" fmla="*/ 45611 h 388632"/>
                    <a:gd name="connsiteX522" fmla="*/ 2474090 w 2484052"/>
                    <a:gd name="connsiteY522" fmla="*/ 58699 h 388632"/>
                    <a:gd name="connsiteX523" fmla="*/ 2484052 w 2484052"/>
                    <a:gd name="connsiteY523" fmla="*/ 94445 h 388632"/>
                    <a:gd name="connsiteX524" fmla="*/ 2484052 w 2484052"/>
                    <a:gd name="connsiteY524" fmla="*/ 98450 h 388632"/>
                    <a:gd name="connsiteX525" fmla="*/ 2410020 w 2484052"/>
                    <a:gd name="connsiteY525" fmla="*/ 98450 h 388632"/>
                    <a:gd name="connsiteX526" fmla="*/ 2419542 w 2484052"/>
                    <a:gd name="connsiteY526" fmla="*/ 130680 h 388632"/>
                    <a:gd name="connsiteX527" fmla="*/ 2445668 w 2484052"/>
                    <a:gd name="connsiteY527" fmla="*/ 142303 h 388632"/>
                    <a:gd name="connsiteX528" fmla="*/ 2478486 w 2484052"/>
                    <a:gd name="connsiteY528" fmla="*/ 129899 h 388632"/>
                    <a:gd name="connsiteX529" fmla="*/ 2478486 w 2484052"/>
                    <a:gd name="connsiteY529" fmla="*/ 139470 h 388632"/>
                    <a:gd name="connsiteX530" fmla="*/ 2443812 w 2484052"/>
                    <a:gd name="connsiteY530" fmla="*/ 150507 h 388632"/>
                    <a:gd name="connsiteX531" fmla="*/ 2412558 w 2484052"/>
                    <a:gd name="connsiteY531" fmla="*/ 136638 h 388632"/>
                    <a:gd name="connsiteX532" fmla="*/ 2400644 w 2484052"/>
                    <a:gd name="connsiteY532" fmla="*/ 97473 h 388632"/>
                    <a:gd name="connsiteX533" fmla="*/ 2413096 w 2484052"/>
                    <a:gd name="connsiteY533" fmla="*/ 60603 h 388632"/>
                    <a:gd name="connsiteX534" fmla="*/ 2445474 w 2484052"/>
                    <a:gd name="connsiteY534" fmla="*/ 45611 h 388632"/>
                    <a:gd name="connsiteX535" fmla="*/ 1863914 w 2484052"/>
                    <a:gd name="connsiteY535" fmla="*/ 45611 h 388632"/>
                    <a:gd name="connsiteX536" fmla="*/ 1885986 w 2484052"/>
                    <a:gd name="connsiteY536" fmla="*/ 50885 h 388632"/>
                    <a:gd name="connsiteX537" fmla="*/ 1885986 w 2484052"/>
                    <a:gd name="connsiteY537" fmla="*/ 61043 h 388632"/>
                    <a:gd name="connsiteX538" fmla="*/ 1862936 w 2484052"/>
                    <a:gd name="connsiteY538" fmla="*/ 53815 h 388632"/>
                    <a:gd name="connsiteX539" fmla="*/ 1847016 w 2484052"/>
                    <a:gd name="connsiteY539" fmla="*/ 58943 h 388632"/>
                    <a:gd name="connsiteX540" fmla="*/ 1840962 w 2484052"/>
                    <a:gd name="connsiteY540" fmla="*/ 72275 h 388632"/>
                    <a:gd name="connsiteX541" fmla="*/ 1844770 w 2484052"/>
                    <a:gd name="connsiteY541" fmla="*/ 83848 h 388632"/>
                    <a:gd name="connsiteX542" fmla="*/ 1861570 w 2484052"/>
                    <a:gd name="connsiteY542" fmla="*/ 94055 h 388632"/>
                    <a:gd name="connsiteX543" fmla="*/ 1883056 w 2484052"/>
                    <a:gd name="connsiteY543" fmla="*/ 107093 h 388632"/>
                    <a:gd name="connsiteX544" fmla="*/ 1888916 w 2484052"/>
                    <a:gd name="connsiteY544" fmla="*/ 123062 h 388632"/>
                    <a:gd name="connsiteX545" fmla="*/ 1879980 w 2484052"/>
                    <a:gd name="connsiteY545" fmla="*/ 142742 h 388632"/>
                    <a:gd name="connsiteX546" fmla="*/ 1855318 w 2484052"/>
                    <a:gd name="connsiteY546" fmla="*/ 150507 h 388632"/>
                    <a:gd name="connsiteX547" fmla="*/ 1831194 w 2484052"/>
                    <a:gd name="connsiteY547" fmla="*/ 143670 h 388632"/>
                    <a:gd name="connsiteX548" fmla="*/ 1831194 w 2484052"/>
                    <a:gd name="connsiteY548" fmla="*/ 132829 h 388632"/>
                    <a:gd name="connsiteX549" fmla="*/ 1843500 w 2484052"/>
                    <a:gd name="connsiteY549" fmla="*/ 139763 h 388632"/>
                    <a:gd name="connsiteX550" fmla="*/ 1856002 w 2484052"/>
                    <a:gd name="connsiteY550" fmla="*/ 142303 h 388632"/>
                    <a:gd name="connsiteX551" fmla="*/ 1879540 w 2484052"/>
                    <a:gd name="connsiteY551" fmla="*/ 123062 h 388632"/>
                    <a:gd name="connsiteX552" fmla="*/ 1874364 w 2484052"/>
                    <a:gd name="connsiteY552" fmla="*/ 111733 h 388632"/>
                    <a:gd name="connsiteX553" fmla="*/ 1857564 w 2484052"/>
                    <a:gd name="connsiteY553" fmla="*/ 102063 h 388632"/>
                    <a:gd name="connsiteX554" fmla="*/ 1837396 w 2484052"/>
                    <a:gd name="connsiteY554" fmla="*/ 89122 h 388632"/>
                    <a:gd name="connsiteX555" fmla="*/ 1831584 w 2484052"/>
                    <a:gd name="connsiteY555" fmla="*/ 72861 h 388632"/>
                    <a:gd name="connsiteX556" fmla="*/ 1840912 w 2484052"/>
                    <a:gd name="connsiteY556" fmla="*/ 53132 h 388632"/>
                    <a:gd name="connsiteX557" fmla="*/ 1863914 w 2484052"/>
                    <a:gd name="connsiteY557" fmla="*/ 45611 h 388632"/>
                    <a:gd name="connsiteX558" fmla="*/ 1769198 w 2484052"/>
                    <a:gd name="connsiteY558" fmla="*/ 45611 h 388632"/>
                    <a:gd name="connsiteX559" fmla="*/ 1797814 w 2484052"/>
                    <a:gd name="connsiteY559" fmla="*/ 58699 h 388632"/>
                    <a:gd name="connsiteX560" fmla="*/ 1807778 w 2484052"/>
                    <a:gd name="connsiteY560" fmla="*/ 94445 h 388632"/>
                    <a:gd name="connsiteX561" fmla="*/ 1807778 w 2484052"/>
                    <a:gd name="connsiteY561" fmla="*/ 98450 h 388632"/>
                    <a:gd name="connsiteX562" fmla="*/ 1733744 w 2484052"/>
                    <a:gd name="connsiteY562" fmla="*/ 98450 h 388632"/>
                    <a:gd name="connsiteX563" fmla="*/ 1743266 w 2484052"/>
                    <a:gd name="connsiteY563" fmla="*/ 130680 h 388632"/>
                    <a:gd name="connsiteX564" fmla="*/ 1769394 w 2484052"/>
                    <a:gd name="connsiteY564" fmla="*/ 142303 h 388632"/>
                    <a:gd name="connsiteX565" fmla="*/ 1802210 w 2484052"/>
                    <a:gd name="connsiteY565" fmla="*/ 129899 h 388632"/>
                    <a:gd name="connsiteX566" fmla="*/ 1802210 w 2484052"/>
                    <a:gd name="connsiteY566" fmla="*/ 139470 h 388632"/>
                    <a:gd name="connsiteX567" fmla="*/ 1767538 w 2484052"/>
                    <a:gd name="connsiteY567" fmla="*/ 150507 h 388632"/>
                    <a:gd name="connsiteX568" fmla="*/ 1736284 w 2484052"/>
                    <a:gd name="connsiteY568" fmla="*/ 136638 h 388632"/>
                    <a:gd name="connsiteX569" fmla="*/ 1724368 w 2484052"/>
                    <a:gd name="connsiteY569" fmla="*/ 97473 h 388632"/>
                    <a:gd name="connsiteX570" fmla="*/ 1736822 w 2484052"/>
                    <a:gd name="connsiteY570" fmla="*/ 60603 h 388632"/>
                    <a:gd name="connsiteX571" fmla="*/ 1769198 w 2484052"/>
                    <a:gd name="connsiteY571" fmla="*/ 45611 h 388632"/>
                    <a:gd name="connsiteX572" fmla="*/ 1587050 w 2484052"/>
                    <a:gd name="connsiteY572" fmla="*/ 45611 h 388632"/>
                    <a:gd name="connsiteX573" fmla="*/ 1610930 w 2484052"/>
                    <a:gd name="connsiteY573" fmla="*/ 55183 h 388632"/>
                    <a:gd name="connsiteX574" fmla="*/ 1619380 w 2484052"/>
                    <a:gd name="connsiteY574" fmla="*/ 83018 h 388632"/>
                    <a:gd name="connsiteX575" fmla="*/ 1619380 w 2484052"/>
                    <a:gd name="connsiteY575" fmla="*/ 148065 h 388632"/>
                    <a:gd name="connsiteX576" fmla="*/ 1610394 w 2484052"/>
                    <a:gd name="connsiteY576" fmla="*/ 148065 h 388632"/>
                    <a:gd name="connsiteX577" fmla="*/ 1610394 w 2484052"/>
                    <a:gd name="connsiteY577" fmla="*/ 128043 h 388632"/>
                    <a:gd name="connsiteX578" fmla="*/ 1610004 w 2484052"/>
                    <a:gd name="connsiteY578" fmla="*/ 128043 h 388632"/>
                    <a:gd name="connsiteX579" fmla="*/ 1596086 w 2484052"/>
                    <a:gd name="connsiteY579" fmla="*/ 144403 h 388632"/>
                    <a:gd name="connsiteX580" fmla="*/ 1575820 w 2484052"/>
                    <a:gd name="connsiteY580" fmla="*/ 150507 h 388632"/>
                    <a:gd name="connsiteX581" fmla="*/ 1553258 w 2484052"/>
                    <a:gd name="connsiteY581" fmla="*/ 142498 h 388632"/>
                    <a:gd name="connsiteX582" fmla="*/ 1544956 w 2484052"/>
                    <a:gd name="connsiteY582" fmla="*/ 122281 h 388632"/>
                    <a:gd name="connsiteX583" fmla="*/ 1579628 w 2484052"/>
                    <a:gd name="connsiteY583" fmla="*/ 90636 h 388632"/>
                    <a:gd name="connsiteX584" fmla="*/ 1610394 w 2484052"/>
                    <a:gd name="connsiteY584" fmla="*/ 86046 h 388632"/>
                    <a:gd name="connsiteX585" fmla="*/ 1586172 w 2484052"/>
                    <a:gd name="connsiteY585" fmla="*/ 53815 h 388632"/>
                    <a:gd name="connsiteX586" fmla="*/ 1554040 w 2484052"/>
                    <a:gd name="connsiteY586" fmla="*/ 67098 h 388632"/>
                    <a:gd name="connsiteX587" fmla="*/ 1554040 w 2484052"/>
                    <a:gd name="connsiteY587" fmla="*/ 56257 h 388632"/>
                    <a:gd name="connsiteX588" fmla="*/ 1569128 w 2484052"/>
                    <a:gd name="connsiteY588" fmla="*/ 48736 h 388632"/>
                    <a:gd name="connsiteX589" fmla="*/ 1587050 w 2484052"/>
                    <a:gd name="connsiteY589" fmla="*/ 45611 h 388632"/>
                    <a:gd name="connsiteX590" fmla="*/ 1308430 w 2484052"/>
                    <a:gd name="connsiteY590" fmla="*/ 45611 h 388632"/>
                    <a:gd name="connsiteX591" fmla="*/ 1333238 w 2484052"/>
                    <a:gd name="connsiteY591" fmla="*/ 56403 h 388632"/>
                    <a:gd name="connsiteX592" fmla="*/ 1341834 w 2484052"/>
                    <a:gd name="connsiteY592" fmla="*/ 87218 h 388632"/>
                    <a:gd name="connsiteX593" fmla="*/ 1341834 w 2484052"/>
                    <a:gd name="connsiteY593" fmla="*/ 148065 h 388632"/>
                    <a:gd name="connsiteX594" fmla="*/ 1332848 w 2484052"/>
                    <a:gd name="connsiteY594" fmla="*/ 148065 h 388632"/>
                    <a:gd name="connsiteX595" fmla="*/ 1332848 w 2484052"/>
                    <a:gd name="connsiteY595" fmla="*/ 89855 h 388632"/>
                    <a:gd name="connsiteX596" fmla="*/ 1306868 w 2484052"/>
                    <a:gd name="connsiteY596" fmla="*/ 53815 h 388632"/>
                    <a:gd name="connsiteX597" fmla="*/ 1283134 w 2484052"/>
                    <a:gd name="connsiteY597" fmla="*/ 64412 h 388632"/>
                    <a:gd name="connsiteX598" fmla="*/ 1273856 w 2484052"/>
                    <a:gd name="connsiteY598" fmla="*/ 90636 h 388632"/>
                    <a:gd name="connsiteX599" fmla="*/ 1273856 w 2484052"/>
                    <a:gd name="connsiteY599" fmla="*/ 148065 h 388632"/>
                    <a:gd name="connsiteX600" fmla="*/ 1264870 w 2484052"/>
                    <a:gd name="connsiteY600" fmla="*/ 148065 h 388632"/>
                    <a:gd name="connsiteX601" fmla="*/ 1264870 w 2484052"/>
                    <a:gd name="connsiteY601" fmla="*/ 48053 h 388632"/>
                    <a:gd name="connsiteX602" fmla="*/ 1273856 w 2484052"/>
                    <a:gd name="connsiteY602" fmla="*/ 48053 h 388632"/>
                    <a:gd name="connsiteX603" fmla="*/ 1273856 w 2484052"/>
                    <a:gd name="connsiteY603" fmla="*/ 66219 h 388632"/>
                    <a:gd name="connsiteX604" fmla="*/ 1274246 w 2484052"/>
                    <a:gd name="connsiteY604" fmla="*/ 66219 h 388632"/>
                    <a:gd name="connsiteX605" fmla="*/ 1308430 w 2484052"/>
                    <a:gd name="connsiteY605" fmla="*/ 45611 h 388632"/>
                    <a:gd name="connsiteX606" fmla="*/ 1197698 w 2484052"/>
                    <a:gd name="connsiteY606" fmla="*/ 45611 h 388632"/>
                    <a:gd name="connsiteX607" fmla="*/ 1226314 w 2484052"/>
                    <a:gd name="connsiteY607" fmla="*/ 58699 h 388632"/>
                    <a:gd name="connsiteX608" fmla="*/ 1236278 w 2484052"/>
                    <a:gd name="connsiteY608" fmla="*/ 94445 h 388632"/>
                    <a:gd name="connsiteX609" fmla="*/ 1236278 w 2484052"/>
                    <a:gd name="connsiteY609" fmla="*/ 98450 h 388632"/>
                    <a:gd name="connsiteX610" fmla="*/ 1162244 w 2484052"/>
                    <a:gd name="connsiteY610" fmla="*/ 98450 h 388632"/>
                    <a:gd name="connsiteX611" fmla="*/ 1171766 w 2484052"/>
                    <a:gd name="connsiteY611" fmla="*/ 130680 h 388632"/>
                    <a:gd name="connsiteX612" fmla="*/ 1197894 w 2484052"/>
                    <a:gd name="connsiteY612" fmla="*/ 142303 h 388632"/>
                    <a:gd name="connsiteX613" fmla="*/ 1230710 w 2484052"/>
                    <a:gd name="connsiteY613" fmla="*/ 129899 h 388632"/>
                    <a:gd name="connsiteX614" fmla="*/ 1230710 w 2484052"/>
                    <a:gd name="connsiteY614" fmla="*/ 139470 h 388632"/>
                    <a:gd name="connsiteX615" fmla="*/ 1196038 w 2484052"/>
                    <a:gd name="connsiteY615" fmla="*/ 150507 h 388632"/>
                    <a:gd name="connsiteX616" fmla="*/ 1164784 w 2484052"/>
                    <a:gd name="connsiteY616" fmla="*/ 136638 h 388632"/>
                    <a:gd name="connsiteX617" fmla="*/ 1152868 w 2484052"/>
                    <a:gd name="connsiteY617" fmla="*/ 97473 h 388632"/>
                    <a:gd name="connsiteX618" fmla="*/ 1165322 w 2484052"/>
                    <a:gd name="connsiteY618" fmla="*/ 60603 h 388632"/>
                    <a:gd name="connsiteX619" fmla="*/ 1197698 w 2484052"/>
                    <a:gd name="connsiteY619" fmla="*/ 45611 h 388632"/>
                    <a:gd name="connsiteX620" fmla="*/ 1038118 w 2484052"/>
                    <a:gd name="connsiteY620" fmla="*/ 45611 h 388632"/>
                    <a:gd name="connsiteX621" fmla="*/ 1056820 w 2484052"/>
                    <a:gd name="connsiteY621" fmla="*/ 51911 h 388632"/>
                    <a:gd name="connsiteX622" fmla="*/ 1067320 w 2484052"/>
                    <a:gd name="connsiteY622" fmla="*/ 68465 h 388632"/>
                    <a:gd name="connsiteX623" fmla="*/ 1080750 w 2484052"/>
                    <a:gd name="connsiteY623" fmla="*/ 51618 h 388632"/>
                    <a:gd name="connsiteX624" fmla="*/ 1099746 w 2484052"/>
                    <a:gd name="connsiteY624" fmla="*/ 45611 h 388632"/>
                    <a:gd name="connsiteX625" fmla="*/ 1132562 w 2484052"/>
                    <a:gd name="connsiteY625" fmla="*/ 86241 h 388632"/>
                    <a:gd name="connsiteX626" fmla="*/ 1132562 w 2484052"/>
                    <a:gd name="connsiteY626" fmla="*/ 148065 h 388632"/>
                    <a:gd name="connsiteX627" fmla="*/ 1123578 w 2484052"/>
                    <a:gd name="connsiteY627" fmla="*/ 148065 h 388632"/>
                    <a:gd name="connsiteX628" fmla="*/ 1123578 w 2484052"/>
                    <a:gd name="connsiteY628" fmla="*/ 87901 h 388632"/>
                    <a:gd name="connsiteX629" fmla="*/ 1117668 w 2484052"/>
                    <a:gd name="connsiteY629" fmla="*/ 61433 h 388632"/>
                    <a:gd name="connsiteX630" fmla="*/ 1098964 w 2484052"/>
                    <a:gd name="connsiteY630" fmla="*/ 53815 h 388632"/>
                    <a:gd name="connsiteX631" fmla="*/ 1078552 w 2484052"/>
                    <a:gd name="connsiteY631" fmla="*/ 63973 h 388632"/>
                    <a:gd name="connsiteX632" fmla="*/ 1069958 w 2484052"/>
                    <a:gd name="connsiteY632" fmla="*/ 89464 h 388632"/>
                    <a:gd name="connsiteX633" fmla="*/ 1069958 w 2484052"/>
                    <a:gd name="connsiteY633" fmla="*/ 148065 h 388632"/>
                    <a:gd name="connsiteX634" fmla="*/ 1060972 w 2484052"/>
                    <a:gd name="connsiteY634" fmla="*/ 148065 h 388632"/>
                    <a:gd name="connsiteX635" fmla="*/ 1060972 w 2484052"/>
                    <a:gd name="connsiteY635" fmla="*/ 87218 h 388632"/>
                    <a:gd name="connsiteX636" fmla="*/ 1035578 w 2484052"/>
                    <a:gd name="connsiteY636" fmla="*/ 53815 h 388632"/>
                    <a:gd name="connsiteX637" fmla="*/ 1015262 w 2484052"/>
                    <a:gd name="connsiteY637" fmla="*/ 64022 h 388632"/>
                    <a:gd name="connsiteX638" fmla="*/ 1007156 w 2484052"/>
                    <a:gd name="connsiteY638" fmla="*/ 90441 h 388632"/>
                    <a:gd name="connsiteX639" fmla="*/ 1007156 w 2484052"/>
                    <a:gd name="connsiteY639" fmla="*/ 148065 h 388632"/>
                    <a:gd name="connsiteX640" fmla="*/ 998170 w 2484052"/>
                    <a:gd name="connsiteY640" fmla="*/ 148065 h 388632"/>
                    <a:gd name="connsiteX641" fmla="*/ 998170 w 2484052"/>
                    <a:gd name="connsiteY641" fmla="*/ 48053 h 388632"/>
                    <a:gd name="connsiteX642" fmla="*/ 1007156 w 2484052"/>
                    <a:gd name="connsiteY642" fmla="*/ 48053 h 388632"/>
                    <a:gd name="connsiteX643" fmla="*/ 1007156 w 2484052"/>
                    <a:gd name="connsiteY643" fmla="*/ 64656 h 388632"/>
                    <a:gd name="connsiteX644" fmla="*/ 1007546 w 2484052"/>
                    <a:gd name="connsiteY644" fmla="*/ 64656 h 388632"/>
                    <a:gd name="connsiteX645" fmla="*/ 1038118 w 2484052"/>
                    <a:gd name="connsiteY645" fmla="*/ 45611 h 388632"/>
                    <a:gd name="connsiteX646" fmla="*/ 936956 w 2484052"/>
                    <a:gd name="connsiteY646" fmla="*/ 45611 h 388632"/>
                    <a:gd name="connsiteX647" fmla="*/ 961764 w 2484052"/>
                    <a:gd name="connsiteY647" fmla="*/ 56403 h 388632"/>
                    <a:gd name="connsiteX648" fmla="*/ 970358 w 2484052"/>
                    <a:gd name="connsiteY648" fmla="*/ 87218 h 388632"/>
                    <a:gd name="connsiteX649" fmla="*/ 970358 w 2484052"/>
                    <a:gd name="connsiteY649" fmla="*/ 148065 h 388632"/>
                    <a:gd name="connsiteX650" fmla="*/ 961372 w 2484052"/>
                    <a:gd name="connsiteY650" fmla="*/ 148065 h 388632"/>
                    <a:gd name="connsiteX651" fmla="*/ 961372 w 2484052"/>
                    <a:gd name="connsiteY651" fmla="*/ 89855 h 388632"/>
                    <a:gd name="connsiteX652" fmla="*/ 935394 w 2484052"/>
                    <a:gd name="connsiteY652" fmla="*/ 53815 h 388632"/>
                    <a:gd name="connsiteX653" fmla="*/ 911660 w 2484052"/>
                    <a:gd name="connsiteY653" fmla="*/ 64412 h 388632"/>
                    <a:gd name="connsiteX654" fmla="*/ 902382 w 2484052"/>
                    <a:gd name="connsiteY654" fmla="*/ 90636 h 388632"/>
                    <a:gd name="connsiteX655" fmla="*/ 902382 w 2484052"/>
                    <a:gd name="connsiteY655" fmla="*/ 148065 h 388632"/>
                    <a:gd name="connsiteX656" fmla="*/ 893396 w 2484052"/>
                    <a:gd name="connsiteY656" fmla="*/ 148065 h 388632"/>
                    <a:gd name="connsiteX657" fmla="*/ 893396 w 2484052"/>
                    <a:gd name="connsiteY657" fmla="*/ 48053 h 388632"/>
                    <a:gd name="connsiteX658" fmla="*/ 902382 w 2484052"/>
                    <a:gd name="connsiteY658" fmla="*/ 48053 h 388632"/>
                    <a:gd name="connsiteX659" fmla="*/ 902382 w 2484052"/>
                    <a:gd name="connsiteY659" fmla="*/ 66219 h 388632"/>
                    <a:gd name="connsiteX660" fmla="*/ 902772 w 2484052"/>
                    <a:gd name="connsiteY660" fmla="*/ 66219 h 388632"/>
                    <a:gd name="connsiteX661" fmla="*/ 936956 w 2484052"/>
                    <a:gd name="connsiteY661" fmla="*/ 45611 h 388632"/>
                    <a:gd name="connsiteX662" fmla="*/ 759548 w 2484052"/>
                    <a:gd name="connsiteY662" fmla="*/ 45611 h 388632"/>
                    <a:gd name="connsiteX663" fmla="*/ 788164 w 2484052"/>
                    <a:gd name="connsiteY663" fmla="*/ 58699 h 388632"/>
                    <a:gd name="connsiteX664" fmla="*/ 798128 w 2484052"/>
                    <a:gd name="connsiteY664" fmla="*/ 94445 h 388632"/>
                    <a:gd name="connsiteX665" fmla="*/ 798128 w 2484052"/>
                    <a:gd name="connsiteY665" fmla="*/ 98450 h 388632"/>
                    <a:gd name="connsiteX666" fmla="*/ 724094 w 2484052"/>
                    <a:gd name="connsiteY666" fmla="*/ 98450 h 388632"/>
                    <a:gd name="connsiteX667" fmla="*/ 733618 w 2484052"/>
                    <a:gd name="connsiteY667" fmla="*/ 130680 h 388632"/>
                    <a:gd name="connsiteX668" fmla="*/ 759744 w 2484052"/>
                    <a:gd name="connsiteY668" fmla="*/ 142303 h 388632"/>
                    <a:gd name="connsiteX669" fmla="*/ 792560 w 2484052"/>
                    <a:gd name="connsiteY669" fmla="*/ 129899 h 388632"/>
                    <a:gd name="connsiteX670" fmla="*/ 792560 w 2484052"/>
                    <a:gd name="connsiteY670" fmla="*/ 139470 h 388632"/>
                    <a:gd name="connsiteX671" fmla="*/ 757888 w 2484052"/>
                    <a:gd name="connsiteY671" fmla="*/ 150507 h 388632"/>
                    <a:gd name="connsiteX672" fmla="*/ 726634 w 2484052"/>
                    <a:gd name="connsiteY672" fmla="*/ 136638 h 388632"/>
                    <a:gd name="connsiteX673" fmla="*/ 714718 w 2484052"/>
                    <a:gd name="connsiteY673" fmla="*/ 97473 h 388632"/>
                    <a:gd name="connsiteX674" fmla="*/ 727170 w 2484052"/>
                    <a:gd name="connsiteY674" fmla="*/ 60603 h 388632"/>
                    <a:gd name="connsiteX675" fmla="*/ 759548 w 2484052"/>
                    <a:gd name="connsiteY675" fmla="*/ 45611 h 388632"/>
                    <a:gd name="connsiteX676" fmla="*/ 553612 w 2484052"/>
                    <a:gd name="connsiteY676" fmla="*/ 45611 h 388632"/>
                    <a:gd name="connsiteX677" fmla="*/ 587406 w 2484052"/>
                    <a:gd name="connsiteY677" fmla="*/ 59578 h 388632"/>
                    <a:gd name="connsiteX678" fmla="*/ 599808 w 2484052"/>
                    <a:gd name="connsiteY678" fmla="*/ 98254 h 388632"/>
                    <a:gd name="connsiteX679" fmla="*/ 587160 w 2484052"/>
                    <a:gd name="connsiteY679" fmla="*/ 136052 h 388632"/>
                    <a:gd name="connsiteX680" fmla="*/ 552538 w 2484052"/>
                    <a:gd name="connsiteY680" fmla="*/ 150507 h 388632"/>
                    <a:gd name="connsiteX681" fmla="*/ 517914 w 2484052"/>
                    <a:gd name="connsiteY681" fmla="*/ 136101 h 388632"/>
                    <a:gd name="connsiteX682" fmla="*/ 505168 w 2484052"/>
                    <a:gd name="connsiteY682" fmla="*/ 98645 h 388632"/>
                    <a:gd name="connsiteX683" fmla="*/ 518500 w 2484052"/>
                    <a:gd name="connsiteY683" fmla="*/ 59675 h 388632"/>
                    <a:gd name="connsiteX684" fmla="*/ 553612 w 2484052"/>
                    <a:gd name="connsiteY684" fmla="*/ 45611 h 388632"/>
                    <a:gd name="connsiteX685" fmla="*/ 436674 w 2484052"/>
                    <a:gd name="connsiteY685" fmla="*/ 45611 h 388632"/>
                    <a:gd name="connsiteX686" fmla="*/ 468710 w 2484052"/>
                    <a:gd name="connsiteY686" fmla="*/ 63875 h 388632"/>
                    <a:gd name="connsiteX687" fmla="*/ 469100 w 2484052"/>
                    <a:gd name="connsiteY687" fmla="*/ 63875 h 388632"/>
                    <a:gd name="connsiteX688" fmla="*/ 469100 w 2484052"/>
                    <a:gd name="connsiteY688" fmla="*/ 48053 h 388632"/>
                    <a:gd name="connsiteX689" fmla="*/ 478086 w 2484052"/>
                    <a:gd name="connsiteY689" fmla="*/ 48053 h 388632"/>
                    <a:gd name="connsiteX690" fmla="*/ 478086 w 2484052"/>
                    <a:gd name="connsiteY690" fmla="*/ 140642 h 388632"/>
                    <a:gd name="connsiteX691" fmla="*/ 465780 w 2484052"/>
                    <a:gd name="connsiteY691" fmla="*/ 181956 h 388632"/>
                    <a:gd name="connsiteX692" fmla="*/ 427494 w 2484052"/>
                    <a:gd name="connsiteY692" fmla="*/ 195044 h 388632"/>
                    <a:gd name="connsiteX693" fmla="*/ 397706 w 2484052"/>
                    <a:gd name="connsiteY693" fmla="*/ 187426 h 388632"/>
                    <a:gd name="connsiteX694" fmla="*/ 397706 w 2484052"/>
                    <a:gd name="connsiteY694" fmla="*/ 178049 h 388632"/>
                    <a:gd name="connsiteX695" fmla="*/ 427690 w 2484052"/>
                    <a:gd name="connsiteY695" fmla="*/ 186840 h 388632"/>
                    <a:gd name="connsiteX696" fmla="*/ 469100 w 2484052"/>
                    <a:gd name="connsiteY696" fmla="*/ 143084 h 388632"/>
                    <a:gd name="connsiteX697" fmla="*/ 469100 w 2484052"/>
                    <a:gd name="connsiteY697" fmla="*/ 130094 h 388632"/>
                    <a:gd name="connsiteX698" fmla="*/ 468710 w 2484052"/>
                    <a:gd name="connsiteY698" fmla="*/ 130094 h 388632"/>
                    <a:gd name="connsiteX699" fmla="*/ 432670 w 2484052"/>
                    <a:gd name="connsiteY699" fmla="*/ 150507 h 388632"/>
                    <a:gd name="connsiteX700" fmla="*/ 402540 w 2484052"/>
                    <a:gd name="connsiteY700" fmla="*/ 137126 h 388632"/>
                    <a:gd name="connsiteX701" fmla="*/ 390868 w 2484052"/>
                    <a:gd name="connsiteY701" fmla="*/ 99817 h 388632"/>
                    <a:gd name="connsiteX702" fmla="*/ 403468 w 2484052"/>
                    <a:gd name="connsiteY702" fmla="*/ 60750 h 388632"/>
                    <a:gd name="connsiteX703" fmla="*/ 436674 w 2484052"/>
                    <a:gd name="connsiteY703" fmla="*/ 45611 h 388632"/>
                    <a:gd name="connsiteX704" fmla="*/ 225614 w 2484052"/>
                    <a:gd name="connsiteY704" fmla="*/ 45611 h 388632"/>
                    <a:gd name="connsiteX705" fmla="*/ 247686 w 2484052"/>
                    <a:gd name="connsiteY705" fmla="*/ 50885 h 388632"/>
                    <a:gd name="connsiteX706" fmla="*/ 247686 w 2484052"/>
                    <a:gd name="connsiteY706" fmla="*/ 61043 h 388632"/>
                    <a:gd name="connsiteX707" fmla="*/ 224636 w 2484052"/>
                    <a:gd name="connsiteY707" fmla="*/ 53815 h 388632"/>
                    <a:gd name="connsiteX708" fmla="*/ 208716 w 2484052"/>
                    <a:gd name="connsiteY708" fmla="*/ 58943 h 388632"/>
                    <a:gd name="connsiteX709" fmla="*/ 202662 w 2484052"/>
                    <a:gd name="connsiteY709" fmla="*/ 72275 h 388632"/>
                    <a:gd name="connsiteX710" fmla="*/ 206470 w 2484052"/>
                    <a:gd name="connsiteY710" fmla="*/ 83848 h 388632"/>
                    <a:gd name="connsiteX711" fmla="*/ 223270 w 2484052"/>
                    <a:gd name="connsiteY711" fmla="*/ 94055 h 388632"/>
                    <a:gd name="connsiteX712" fmla="*/ 244756 w 2484052"/>
                    <a:gd name="connsiteY712" fmla="*/ 107093 h 388632"/>
                    <a:gd name="connsiteX713" fmla="*/ 250616 w 2484052"/>
                    <a:gd name="connsiteY713" fmla="*/ 123062 h 388632"/>
                    <a:gd name="connsiteX714" fmla="*/ 241680 w 2484052"/>
                    <a:gd name="connsiteY714" fmla="*/ 142742 h 388632"/>
                    <a:gd name="connsiteX715" fmla="*/ 217018 w 2484052"/>
                    <a:gd name="connsiteY715" fmla="*/ 150507 h 388632"/>
                    <a:gd name="connsiteX716" fmla="*/ 192894 w 2484052"/>
                    <a:gd name="connsiteY716" fmla="*/ 143670 h 388632"/>
                    <a:gd name="connsiteX717" fmla="*/ 192894 w 2484052"/>
                    <a:gd name="connsiteY717" fmla="*/ 132829 h 388632"/>
                    <a:gd name="connsiteX718" fmla="*/ 205200 w 2484052"/>
                    <a:gd name="connsiteY718" fmla="*/ 139763 h 388632"/>
                    <a:gd name="connsiteX719" fmla="*/ 217702 w 2484052"/>
                    <a:gd name="connsiteY719" fmla="*/ 142303 h 388632"/>
                    <a:gd name="connsiteX720" fmla="*/ 241240 w 2484052"/>
                    <a:gd name="connsiteY720" fmla="*/ 123062 h 388632"/>
                    <a:gd name="connsiteX721" fmla="*/ 236064 w 2484052"/>
                    <a:gd name="connsiteY721" fmla="*/ 111733 h 388632"/>
                    <a:gd name="connsiteX722" fmla="*/ 219264 w 2484052"/>
                    <a:gd name="connsiteY722" fmla="*/ 102063 h 388632"/>
                    <a:gd name="connsiteX723" fmla="*/ 199096 w 2484052"/>
                    <a:gd name="connsiteY723" fmla="*/ 89122 h 388632"/>
                    <a:gd name="connsiteX724" fmla="*/ 193284 w 2484052"/>
                    <a:gd name="connsiteY724" fmla="*/ 72861 h 388632"/>
                    <a:gd name="connsiteX725" fmla="*/ 202612 w 2484052"/>
                    <a:gd name="connsiteY725" fmla="*/ 53132 h 388632"/>
                    <a:gd name="connsiteX726" fmla="*/ 225614 w 2484052"/>
                    <a:gd name="connsiteY726" fmla="*/ 45611 h 388632"/>
                    <a:gd name="connsiteX727" fmla="*/ 1506656 w 2484052"/>
                    <a:gd name="connsiteY727" fmla="*/ 19045 h 388632"/>
                    <a:gd name="connsiteX728" fmla="*/ 1506656 w 2484052"/>
                    <a:gd name="connsiteY728" fmla="*/ 48053 h 388632"/>
                    <a:gd name="connsiteX729" fmla="*/ 1533026 w 2484052"/>
                    <a:gd name="connsiteY729" fmla="*/ 48053 h 388632"/>
                    <a:gd name="connsiteX730" fmla="*/ 1533026 w 2484052"/>
                    <a:gd name="connsiteY730" fmla="*/ 56257 h 388632"/>
                    <a:gd name="connsiteX731" fmla="*/ 1506656 w 2484052"/>
                    <a:gd name="connsiteY731" fmla="*/ 56257 h 388632"/>
                    <a:gd name="connsiteX732" fmla="*/ 1506656 w 2484052"/>
                    <a:gd name="connsiteY732" fmla="*/ 122281 h 388632"/>
                    <a:gd name="connsiteX733" fmla="*/ 1509928 w 2484052"/>
                    <a:gd name="connsiteY733" fmla="*/ 137273 h 388632"/>
                    <a:gd name="connsiteX734" fmla="*/ 1521014 w 2484052"/>
                    <a:gd name="connsiteY734" fmla="*/ 141912 h 388632"/>
                    <a:gd name="connsiteX735" fmla="*/ 1533026 w 2484052"/>
                    <a:gd name="connsiteY735" fmla="*/ 138298 h 388632"/>
                    <a:gd name="connsiteX736" fmla="*/ 1533026 w 2484052"/>
                    <a:gd name="connsiteY736" fmla="*/ 146698 h 388632"/>
                    <a:gd name="connsiteX737" fmla="*/ 1519842 w 2484052"/>
                    <a:gd name="connsiteY737" fmla="*/ 150019 h 388632"/>
                    <a:gd name="connsiteX738" fmla="*/ 1497670 w 2484052"/>
                    <a:gd name="connsiteY738" fmla="*/ 123453 h 388632"/>
                    <a:gd name="connsiteX739" fmla="*/ 1497670 w 2484052"/>
                    <a:gd name="connsiteY739" fmla="*/ 56257 h 388632"/>
                    <a:gd name="connsiteX740" fmla="*/ 1479700 w 2484052"/>
                    <a:gd name="connsiteY740" fmla="*/ 56257 h 388632"/>
                    <a:gd name="connsiteX741" fmla="*/ 1479700 w 2484052"/>
                    <a:gd name="connsiteY741" fmla="*/ 48053 h 388632"/>
                    <a:gd name="connsiteX742" fmla="*/ 1497670 w 2484052"/>
                    <a:gd name="connsiteY742" fmla="*/ 48053 h 388632"/>
                    <a:gd name="connsiteX743" fmla="*/ 1497670 w 2484052"/>
                    <a:gd name="connsiteY743" fmla="*/ 22073 h 388632"/>
                    <a:gd name="connsiteX744" fmla="*/ 1502164 w 2484052"/>
                    <a:gd name="connsiteY744" fmla="*/ 20510 h 388632"/>
                    <a:gd name="connsiteX745" fmla="*/ 1506656 w 2484052"/>
                    <a:gd name="connsiteY745" fmla="*/ 19045 h 388632"/>
                    <a:gd name="connsiteX746" fmla="*/ 1382830 w 2484052"/>
                    <a:gd name="connsiteY746" fmla="*/ 19045 h 388632"/>
                    <a:gd name="connsiteX747" fmla="*/ 1382830 w 2484052"/>
                    <a:gd name="connsiteY747" fmla="*/ 48053 h 388632"/>
                    <a:gd name="connsiteX748" fmla="*/ 1409202 w 2484052"/>
                    <a:gd name="connsiteY748" fmla="*/ 48053 h 388632"/>
                    <a:gd name="connsiteX749" fmla="*/ 1409202 w 2484052"/>
                    <a:gd name="connsiteY749" fmla="*/ 56257 h 388632"/>
                    <a:gd name="connsiteX750" fmla="*/ 1382830 w 2484052"/>
                    <a:gd name="connsiteY750" fmla="*/ 56257 h 388632"/>
                    <a:gd name="connsiteX751" fmla="*/ 1382830 w 2484052"/>
                    <a:gd name="connsiteY751" fmla="*/ 122281 h 388632"/>
                    <a:gd name="connsiteX752" fmla="*/ 1386102 w 2484052"/>
                    <a:gd name="connsiteY752" fmla="*/ 137273 h 388632"/>
                    <a:gd name="connsiteX753" fmla="*/ 1397188 w 2484052"/>
                    <a:gd name="connsiteY753" fmla="*/ 141912 h 388632"/>
                    <a:gd name="connsiteX754" fmla="*/ 1409202 w 2484052"/>
                    <a:gd name="connsiteY754" fmla="*/ 138298 h 388632"/>
                    <a:gd name="connsiteX755" fmla="*/ 1409202 w 2484052"/>
                    <a:gd name="connsiteY755" fmla="*/ 146698 h 388632"/>
                    <a:gd name="connsiteX756" fmla="*/ 1396016 w 2484052"/>
                    <a:gd name="connsiteY756" fmla="*/ 150019 h 388632"/>
                    <a:gd name="connsiteX757" fmla="*/ 1373846 w 2484052"/>
                    <a:gd name="connsiteY757" fmla="*/ 123453 h 388632"/>
                    <a:gd name="connsiteX758" fmla="*/ 1373846 w 2484052"/>
                    <a:gd name="connsiteY758" fmla="*/ 56257 h 388632"/>
                    <a:gd name="connsiteX759" fmla="*/ 1355874 w 2484052"/>
                    <a:gd name="connsiteY759" fmla="*/ 56257 h 388632"/>
                    <a:gd name="connsiteX760" fmla="*/ 1355874 w 2484052"/>
                    <a:gd name="connsiteY760" fmla="*/ 48053 h 388632"/>
                    <a:gd name="connsiteX761" fmla="*/ 1373846 w 2484052"/>
                    <a:gd name="connsiteY761" fmla="*/ 48053 h 388632"/>
                    <a:gd name="connsiteX762" fmla="*/ 1373846 w 2484052"/>
                    <a:gd name="connsiteY762" fmla="*/ 22073 h 388632"/>
                    <a:gd name="connsiteX763" fmla="*/ 1378338 w 2484052"/>
                    <a:gd name="connsiteY763" fmla="*/ 20510 h 388632"/>
                    <a:gd name="connsiteX764" fmla="*/ 1382830 w 2484052"/>
                    <a:gd name="connsiteY764" fmla="*/ 19045 h 388632"/>
                    <a:gd name="connsiteX765" fmla="*/ 287456 w 2484052"/>
                    <a:gd name="connsiteY765" fmla="*/ 19045 h 388632"/>
                    <a:gd name="connsiteX766" fmla="*/ 287456 w 2484052"/>
                    <a:gd name="connsiteY766" fmla="*/ 48053 h 388632"/>
                    <a:gd name="connsiteX767" fmla="*/ 313826 w 2484052"/>
                    <a:gd name="connsiteY767" fmla="*/ 48053 h 388632"/>
                    <a:gd name="connsiteX768" fmla="*/ 313826 w 2484052"/>
                    <a:gd name="connsiteY768" fmla="*/ 56257 h 388632"/>
                    <a:gd name="connsiteX769" fmla="*/ 287456 w 2484052"/>
                    <a:gd name="connsiteY769" fmla="*/ 56257 h 388632"/>
                    <a:gd name="connsiteX770" fmla="*/ 287456 w 2484052"/>
                    <a:gd name="connsiteY770" fmla="*/ 122281 h 388632"/>
                    <a:gd name="connsiteX771" fmla="*/ 290728 w 2484052"/>
                    <a:gd name="connsiteY771" fmla="*/ 137273 h 388632"/>
                    <a:gd name="connsiteX772" fmla="*/ 301814 w 2484052"/>
                    <a:gd name="connsiteY772" fmla="*/ 141912 h 388632"/>
                    <a:gd name="connsiteX773" fmla="*/ 313826 w 2484052"/>
                    <a:gd name="connsiteY773" fmla="*/ 138298 h 388632"/>
                    <a:gd name="connsiteX774" fmla="*/ 313826 w 2484052"/>
                    <a:gd name="connsiteY774" fmla="*/ 146698 h 388632"/>
                    <a:gd name="connsiteX775" fmla="*/ 300642 w 2484052"/>
                    <a:gd name="connsiteY775" fmla="*/ 150019 h 388632"/>
                    <a:gd name="connsiteX776" fmla="*/ 278470 w 2484052"/>
                    <a:gd name="connsiteY776" fmla="*/ 123453 h 388632"/>
                    <a:gd name="connsiteX777" fmla="*/ 278470 w 2484052"/>
                    <a:gd name="connsiteY777" fmla="*/ 56257 h 388632"/>
                    <a:gd name="connsiteX778" fmla="*/ 260500 w 2484052"/>
                    <a:gd name="connsiteY778" fmla="*/ 56257 h 388632"/>
                    <a:gd name="connsiteX779" fmla="*/ 260500 w 2484052"/>
                    <a:gd name="connsiteY779" fmla="*/ 48053 h 388632"/>
                    <a:gd name="connsiteX780" fmla="*/ 278470 w 2484052"/>
                    <a:gd name="connsiteY780" fmla="*/ 48053 h 388632"/>
                    <a:gd name="connsiteX781" fmla="*/ 278470 w 2484052"/>
                    <a:gd name="connsiteY781" fmla="*/ 22073 h 388632"/>
                    <a:gd name="connsiteX782" fmla="*/ 282964 w 2484052"/>
                    <a:gd name="connsiteY782" fmla="*/ 20510 h 388632"/>
                    <a:gd name="connsiteX783" fmla="*/ 287456 w 2484052"/>
                    <a:gd name="connsiteY783" fmla="*/ 19045 h 388632"/>
                    <a:gd name="connsiteX784" fmla="*/ 2116990 w 2484052"/>
                    <a:gd name="connsiteY784" fmla="*/ 8009 h 388632"/>
                    <a:gd name="connsiteX785" fmla="*/ 2122314 w 2484052"/>
                    <a:gd name="connsiteY785" fmla="*/ 9962 h 388632"/>
                    <a:gd name="connsiteX786" fmla="*/ 2124610 w 2484052"/>
                    <a:gd name="connsiteY786" fmla="*/ 15236 h 388632"/>
                    <a:gd name="connsiteX787" fmla="*/ 2122362 w 2484052"/>
                    <a:gd name="connsiteY787" fmla="*/ 20608 h 388632"/>
                    <a:gd name="connsiteX788" fmla="*/ 2116990 w 2484052"/>
                    <a:gd name="connsiteY788" fmla="*/ 22854 h 388632"/>
                    <a:gd name="connsiteX789" fmla="*/ 2111814 w 2484052"/>
                    <a:gd name="connsiteY789" fmla="*/ 20706 h 388632"/>
                    <a:gd name="connsiteX790" fmla="*/ 2109568 w 2484052"/>
                    <a:gd name="connsiteY790" fmla="*/ 15236 h 388632"/>
                    <a:gd name="connsiteX791" fmla="*/ 2111864 w 2484052"/>
                    <a:gd name="connsiteY791" fmla="*/ 10011 h 388632"/>
                    <a:gd name="connsiteX792" fmla="*/ 2116990 w 2484052"/>
                    <a:gd name="connsiteY792" fmla="*/ 8009 h 388632"/>
                    <a:gd name="connsiteX793" fmla="*/ 97690 w 2484052"/>
                    <a:gd name="connsiteY793" fmla="*/ 8009 h 388632"/>
                    <a:gd name="connsiteX794" fmla="*/ 103014 w 2484052"/>
                    <a:gd name="connsiteY794" fmla="*/ 9962 h 388632"/>
                    <a:gd name="connsiteX795" fmla="*/ 105308 w 2484052"/>
                    <a:gd name="connsiteY795" fmla="*/ 15236 h 388632"/>
                    <a:gd name="connsiteX796" fmla="*/ 103062 w 2484052"/>
                    <a:gd name="connsiteY796" fmla="*/ 20608 h 388632"/>
                    <a:gd name="connsiteX797" fmla="*/ 97690 w 2484052"/>
                    <a:gd name="connsiteY797" fmla="*/ 22854 h 388632"/>
                    <a:gd name="connsiteX798" fmla="*/ 92514 w 2484052"/>
                    <a:gd name="connsiteY798" fmla="*/ 20706 h 388632"/>
                    <a:gd name="connsiteX799" fmla="*/ 90268 w 2484052"/>
                    <a:gd name="connsiteY799" fmla="*/ 15236 h 388632"/>
                    <a:gd name="connsiteX800" fmla="*/ 92564 w 2484052"/>
                    <a:gd name="connsiteY800" fmla="*/ 10011 h 388632"/>
                    <a:gd name="connsiteX801" fmla="*/ 97690 w 2484052"/>
                    <a:gd name="connsiteY801" fmla="*/ 8009 h 388632"/>
                    <a:gd name="connsiteX802" fmla="*/ 0 w 2484052"/>
                    <a:gd name="connsiteY802" fmla="*/ 8009 h 388632"/>
                    <a:gd name="connsiteX803" fmla="*/ 65436 w 2484052"/>
                    <a:gd name="connsiteY803" fmla="*/ 8009 h 388632"/>
                    <a:gd name="connsiteX804" fmla="*/ 65436 w 2484052"/>
                    <a:gd name="connsiteY804" fmla="*/ 16897 h 388632"/>
                    <a:gd name="connsiteX805" fmla="*/ 9668 w 2484052"/>
                    <a:gd name="connsiteY805" fmla="*/ 16897 h 388632"/>
                    <a:gd name="connsiteX806" fmla="*/ 9668 w 2484052"/>
                    <a:gd name="connsiteY806" fmla="*/ 74033 h 388632"/>
                    <a:gd name="connsiteX807" fmla="*/ 61432 w 2484052"/>
                    <a:gd name="connsiteY807" fmla="*/ 74033 h 388632"/>
                    <a:gd name="connsiteX808" fmla="*/ 61432 w 2484052"/>
                    <a:gd name="connsiteY808" fmla="*/ 82823 h 388632"/>
                    <a:gd name="connsiteX809" fmla="*/ 9668 w 2484052"/>
                    <a:gd name="connsiteY809" fmla="*/ 82823 h 388632"/>
                    <a:gd name="connsiteX810" fmla="*/ 9668 w 2484052"/>
                    <a:gd name="connsiteY810" fmla="*/ 148065 h 388632"/>
                    <a:gd name="connsiteX811" fmla="*/ 0 w 2484052"/>
                    <a:gd name="connsiteY811" fmla="*/ 148065 h 388632"/>
                    <a:gd name="connsiteX812" fmla="*/ 2293570 w 2484052"/>
                    <a:gd name="connsiteY812" fmla="*/ 0 h 388632"/>
                    <a:gd name="connsiteX813" fmla="*/ 2302556 w 2484052"/>
                    <a:gd name="connsiteY813" fmla="*/ 0 h 388632"/>
                    <a:gd name="connsiteX814" fmla="*/ 2302556 w 2484052"/>
                    <a:gd name="connsiteY814" fmla="*/ 68661 h 388632"/>
                    <a:gd name="connsiteX815" fmla="*/ 2302946 w 2484052"/>
                    <a:gd name="connsiteY815" fmla="*/ 68661 h 388632"/>
                    <a:gd name="connsiteX816" fmla="*/ 2318330 w 2484052"/>
                    <a:gd name="connsiteY816" fmla="*/ 51618 h 388632"/>
                    <a:gd name="connsiteX817" fmla="*/ 2340354 w 2484052"/>
                    <a:gd name="connsiteY817" fmla="*/ 45611 h 388632"/>
                    <a:gd name="connsiteX818" fmla="*/ 2370094 w 2484052"/>
                    <a:gd name="connsiteY818" fmla="*/ 58747 h 388632"/>
                    <a:gd name="connsiteX819" fmla="*/ 2380788 w 2484052"/>
                    <a:gd name="connsiteY819" fmla="*/ 94445 h 388632"/>
                    <a:gd name="connsiteX820" fmla="*/ 2368384 w 2484052"/>
                    <a:gd name="connsiteY820" fmla="*/ 135026 h 388632"/>
                    <a:gd name="connsiteX821" fmla="*/ 2336154 w 2484052"/>
                    <a:gd name="connsiteY821" fmla="*/ 150507 h 388632"/>
                    <a:gd name="connsiteX822" fmla="*/ 2302946 w 2484052"/>
                    <a:gd name="connsiteY822" fmla="*/ 130290 h 388632"/>
                    <a:gd name="connsiteX823" fmla="*/ 2302556 w 2484052"/>
                    <a:gd name="connsiteY823" fmla="*/ 130290 h 388632"/>
                    <a:gd name="connsiteX824" fmla="*/ 2302556 w 2484052"/>
                    <a:gd name="connsiteY824" fmla="*/ 148065 h 388632"/>
                    <a:gd name="connsiteX825" fmla="*/ 2293570 w 2484052"/>
                    <a:gd name="connsiteY825" fmla="*/ 148065 h 388632"/>
                    <a:gd name="connsiteX826" fmla="*/ 2188796 w 2484052"/>
                    <a:gd name="connsiteY826" fmla="*/ 0 h 388632"/>
                    <a:gd name="connsiteX827" fmla="*/ 2197782 w 2484052"/>
                    <a:gd name="connsiteY827" fmla="*/ 0 h 388632"/>
                    <a:gd name="connsiteX828" fmla="*/ 2197782 w 2484052"/>
                    <a:gd name="connsiteY828" fmla="*/ 148065 h 388632"/>
                    <a:gd name="connsiteX829" fmla="*/ 2188796 w 2484052"/>
                    <a:gd name="connsiteY829" fmla="*/ 148065 h 388632"/>
                    <a:gd name="connsiteX830" fmla="*/ 2150696 w 2484052"/>
                    <a:gd name="connsiteY830" fmla="*/ 0 h 388632"/>
                    <a:gd name="connsiteX831" fmla="*/ 2159682 w 2484052"/>
                    <a:gd name="connsiteY831" fmla="*/ 0 h 388632"/>
                    <a:gd name="connsiteX832" fmla="*/ 2159682 w 2484052"/>
                    <a:gd name="connsiteY832" fmla="*/ 148065 h 388632"/>
                    <a:gd name="connsiteX833" fmla="*/ 2150696 w 2484052"/>
                    <a:gd name="connsiteY833" fmla="*/ 148065 h 388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</a:cxnLst>
                  <a:rect l="l" t="t" r="r" b="b"/>
                  <a:pathLst>
                    <a:path w="2484052" h="388632">
                      <a:moveTo>
                        <a:pt x="2172368" y="332375"/>
                      </a:moveTo>
                      <a:lnTo>
                        <a:pt x="2144826" y="336379"/>
                      </a:lnTo>
                      <a:cubicBezTo>
                        <a:pt x="2134344" y="337877"/>
                        <a:pt x="2126986" y="340302"/>
                        <a:pt x="2122754" y="343656"/>
                      </a:cubicBezTo>
                      <a:cubicBezTo>
                        <a:pt x="2118522" y="347009"/>
                        <a:pt x="2116404" y="352462"/>
                        <a:pt x="2116404" y="360015"/>
                      </a:cubicBezTo>
                      <a:cubicBezTo>
                        <a:pt x="2116404" y="365940"/>
                        <a:pt x="2118374" y="370824"/>
                        <a:pt x="2122314" y="374665"/>
                      </a:cubicBezTo>
                      <a:cubicBezTo>
                        <a:pt x="2126254" y="378507"/>
                        <a:pt x="2131738" y="380428"/>
                        <a:pt x="2138770" y="380428"/>
                      </a:cubicBezTo>
                      <a:cubicBezTo>
                        <a:pt x="2148408" y="380428"/>
                        <a:pt x="2156416" y="376863"/>
                        <a:pt x="2162798" y="369733"/>
                      </a:cubicBezTo>
                      <a:cubicBezTo>
                        <a:pt x="2169178" y="362603"/>
                        <a:pt x="2172368" y="353406"/>
                        <a:pt x="2172368" y="342142"/>
                      </a:cubicBezTo>
                      <a:close/>
                      <a:moveTo>
                        <a:pt x="1324644" y="332375"/>
                      </a:moveTo>
                      <a:lnTo>
                        <a:pt x="1297102" y="336379"/>
                      </a:lnTo>
                      <a:cubicBezTo>
                        <a:pt x="1286618" y="337877"/>
                        <a:pt x="1279260" y="340302"/>
                        <a:pt x="1275028" y="343656"/>
                      </a:cubicBezTo>
                      <a:cubicBezTo>
                        <a:pt x="1270796" y="347009"/>
                        <a:pt x="1268680" y="352462"/>
                        <a:pt x="1268680" y="360015"/>
                      </a:cubicBezTo>
                      <a:cubicBezTo>
                        <a:pt x="1268680" y="365940"/>
                        <a:pt x="1270650" y="370824"/>
                        <a:pt x="1274588" y="374665"/>
                      </a:cubicBezTo>
                      <a:cubicBezTo>
                        <a:pt x="1278528" y="378507"/>
                        <a:pt x="1284014" y="380428"/>
                        <a:pt x="1291046" y="380428"/>
                      </a:cubicBezTo>
                      <a:cubicBezTo>
                        <a:pt x="1300682" y="380428"/>
                        <a:pt x="1308692" y="376863"/>
                        <a:pt x="1315072" y="369733"/>
                      </a:cubicBezTo>
                      <a:cubicBezTo>
                        <a:pt x="1321454" y="362603"/>
                        <a:pt x="1324644" y="353406"/>
                        <a:pt x="1324644" y="342142"/>
                      </a:cubicBezTo>
                      <a:close/>
                      <a:moveTo>
                        <a:pt x="1162718" y="332375"/>
                      </a:moveTo>
                      <a:lnTo>
                        <a:pt x="1135176" y="336379"/>
                      </a:lnTo>
                      <a:cubicBezTo>
                        <a:pt x="1124694" y="337877"/>
                        <a:pt x="1117336" y="340302"/>
                        <a:pt x="1113104" y="343656"/>
                      </a:cubicBezTo>
                      <a:cubicBezTo>
                        <a:pt x="1108870" y="347009"/>
                        <a:pt x="1106754" y="352462"/>
                        <a:pt x="1106754" y="360015"/>
                      </a:cubicBezTo>
                      <a:cubicBezTo>
                        <a:pt x="1106754" y="365940"/>
                        <a:pt x="1108724" y="370824"/>
                        <a:pt x="1112664" y="374665"/>
                      </a:cubicBezTo>
                      <a:cubicBezTo>
                        <a:pt x="1116602" y="378507"/>
                        <a:pt x="1122088" y="380428"/>
                        <a:pt x="1129120" y="380428"/>
                      </a:cubicBezTo>
                      <a:cubicBezTo>
                        <a:pt x="1138758" y="380428"/>
                        <a:pt x="1146766" y="376863"/>
                        <a:pt x="1153148" y="369733"/>
                      </a:cubicBezTo>
                      <a:cubicBezTo>
                        <a:pt x="1159528" y="362603"/>
                        <a:pt x="1162718" y="353406"/>
                        <a:pt x="1162718" y="342142"/>
                      </a:cubicBezTo>
                      <a:close/>
                      <a:moveTo>
                        <a:pt x="1610496" y="291940"/>
                      </a:moveTo>
                      <a:cubicBezTo>
                        <a:pt x="1598710" y="291940"/>
                        <a:pt x="1589318" y="295912"/>
                        <a:pt x="1582318" y="303856"/>
                      </a:cubicBezTo>
                      <a:cubicBezTo>
                        <a:pt x="1575320" y="311799"/>
                        <a:pt x="1571820" y="322836"/>
                        <a:pt x="1571820" y="336965"/>
                      </a:cubicBezTo>
                      <a:cubicBezTo>
                        <a:pt x="1571820" y="350053"/>
                        <a:pt x="1575238" y="360569"/>
                        <a:pt x="1582074" y="368512"/>
                      </a:cubicBezTo>
                      <a:cubicBezTo>
                        <a:pt x="1588912" y="376456"/>
                        <a:pt x="1598254" y="380428"/>
                        <a:pt x="1610106" y="380428"/>
                      </a:cubicBezTo>
                      <a:cubicBezTo>
                        <a:pt x="1622152" y="380428"/>
                        <a:pt x="1631430" y="376521"/>
                        <a:pt x="1637940" y="368708"/>
                      </a:cubicBezTo>
                      <a:cubicBezTo>
                        <a:pt x="1644452" y="360894"/>
                        <a:pt x="1647708" y="350053"/>
                        <a:pt x="1647708" y="336184"/>
                      </a:cubicBezTo>
                      <a:cubicBezTo>
                        <a:pt x="1647708" y="321924"/>
                        <a:pt x="1644468" y="310986"/>
                        <a:pt x="1637990" y="303367"/>
                      </a:cubicBezTo>
                      <a:cubicBezTo>
                        <a:pt x="1631512" y="295749"/>
                        <a:pt x="1622346" y="291940"/>
                        <a:pt x="1610496" y="291940"/>
                      </a:cubicBezTo>
                      <a:close/>
                      <a:moveTo>
                        <a:pt x="1462882" y="291940"/>
                      </a:moveTo>
                      <a:cubicBezTo>
                        <a:pt x="1451226" y="291940"/>
                        <a:pt x="1442208" y="295847"/>
                        <a:pt x="1435828" y="303660"/>
                      </a:cubicBezTo>
                      <a:cubicBezTo>
                        <a:pt x="1429446" y="311474"/>
                        <a:pt x="1426256" y="320655"/>
                        <a:pt x="1426256" y="331203"/>
                      </a:cubicBezTo>
                      <a:lnTo>
                        <a:pt x="1426256" y="343802"/>
                      </a:lnTo>
                      <a:cubicBezTo>
                        <a:pt x="1426256" y="353829"/>
                        <a:pt x="1429414" y="362441"/>
                        <a:pt x="1435730" y="369635"/>
                      </a:cubicBezTo>
                      <a:cubicBezTo>
                        <a:pt x="1442046" y="376830"/>
                        <a:pt x="1450348" y="380428"/>
                        <a:pt x="1460636" y="380428"/>
                      </a:cubicBezTo>
                      <a:cubicBezTo>
                        <a:pt x="1470858" y="380428"/>
                        <a:pt x="1479160" y="376049"/>
                        <a:pt x="1485540" y="367291"/>
                      </a:cubicBezTo>
                      <a:cubicBezTo>
                        <a:pt x="1491922" y="358534"/>
                        <a:pt x="1495112" y="347025"/>
                        <a:pt x="1495112" y="332766"/>
                      </a:cubicBezTo>
                      <a:cubicBezTo>
                        <a:pt x="1495112" y="320264"/>
                        <a:pt x="1492182" y="310334"/>
                        <a:pt x="1486322" y="302977"/>
                      </a:cubicBezTo>
                      <a:cubicBezTo>
                        <a:pt x="1480462" y="295619"/>
                        <a:pt x="1472648" y="291940"/>
                        <a:pt x="1462882" y="291940"/>
                      </a:cubicBezTo>
                      <a:close/>
                      <a:moveTo>
                        <a:pt x="827004" y="291940"/>
                      </a:moveTo>
                      <a:cubicBezTo>
                        <a:pt x="816522" y="291940"/>
                        <a:pt x="807862" y="295961"/>
                        <a:pt x="801024" y="304002"/>
                      </a:cubicBezTo>
                      <a:cubicBezTo>
                        <a:pt x="794188" y="312044"/>
                        <a:pt x="790770" y="323096"/>
                        <a:pt x="790770" y="337161"/>
                      </a:cubicBezTo>
                      <a:cubicBezTo>
                        <a:pt x="790770" y="350964"/>
                        <a:pt x="793846" y="361627"/>
                        <a:pt x="799998" y="369147"/>
                      </a:cubicBezTo>
                      <a:cubicBezTo>
                        <a:pt x="806152" y="376668"/>
                        <a:pt x="814080" y="380428"/>
                        <a:pt x="823782" y="380428"/>
                      </a:cubicBezTo>
                      <a:cubicBezTo>
                        <a:pt x="835176" y="380428"/>
                        <a:pt x="843998" y="376895"/>
                        <a:pt x="850250" y="369831"/>
                      </a:cubicBezTo>
                      <a:cubicBezTo>
                        <a:pt x="856500" y="362766"/>
                        <a:pt x="859626" y="354155"/>
                        <a:pt x="859626" y="343997"/>
                      </a:cubicBezTo>
                      <a:lnTo>
                        <a:pt x="859626" y="325343"/>
                      </a:lnTo>
                      <a:cubicBezTo>
                        <a:pt x="859626" y="316032"/>
                        <a:pt x="856680" y="308137"/>
                        <a:pt x="850786" y="301658"/>
                      </a:cubicBezTo>
                      <a:cubicBezTo>
                        <a:pt x="844894" y="295180"/>
                        <a:pt x="836966" y="291940"/>
                        <a:pt x="827004" y="291940"/>
                      </a:cubicBezTo>
                      <a:close/>
                      <a:moveTo>
                        <a:pt x="721058" y="291940"/>
                      </a:moveTo>
                      <a:cubicBezTo>
                        <a:pt x="711682" y="291940"/>
                        <a:pt x="703916" y="295082"/>
                        <a:pt x="697764" y="301365"/>
                      </a:cubicBezTo>
                      <a:cubicBezTo>
                        <a:pt x="691610" y="307649"/>
                        <a:pt x="687818" y="316650"/>
                        <a:pt x="686386" y="328371"/>
                      </a:cubicBezTo>
                      <a:lnTo>
                        <a:pt x="750650" y="328371"/>
                      </a:lnTo>
                      <a:cubicBezTo>
                        <a:pt x="750260" y="316846"/>
                        <a:pt x="747492" y="307893"/>
                        <a:pt x="742350" y="301512"/>
                      </a:cubicBezTo>
                      <a:cubicBezTo>
                        <a:pt x="737206" y="295131"/>
                        <a:pt x="730108" y="291940"/>
                        <a:pt x="721058" y="291940"/>
                      </a:cubicBezTo>
                      <a:close/>
                      <a:moveTo>
                        <a:pt x="473408" y="291940"/>
                      </a:moveTo>
                      <a:cubicBezTo>
                        <a:pt x="464032" y="291940"/>
                        <a:pt x="456266" y="295082"/>
                        <a:pt x="450114" y="301365"/>
                      </a:cubicBezTo>
                      <a:cubicBezTo>
                        <a:pt x="443960" y="307649"/>
                        <a:pt x="440168" y="316650"/>
                        <a:pt x="438736" y="328371"/>
                      </a:cubicBezTo>
                      <a:lnTo>
                        <a:pt x="503000" y="328371"/>
                      </a:lnTo>
                      <a:cubicBezTo>
                        <a:pt x="502610" y="316846"/>
                        <a:pt x="499842" y="307893"/>
                        <a:pt x="494700" y="301512"/>
                      </a:cubicBezTo>
                      <a:cubicBezTo>
                        <a:pt x="489556" y="295131"/>
                        <a:pt x="482458" y="291940"/>
                        <a:pt x="473408" y="291940"/>
                      </a:cubicBezTo>
                      <a:close/>
                      <a:moveTo>
                        <a:pt x="286522" y="291940"/>
                      </a:moveTo>
                      <a:cubicBezTo>
                        <a:pt x="274736" y="291940"/>
                        <a:pt x="265344" y="295912"/>
                        <a:pt x="258344" y="303856"/>
                      </a:cubicBezTo>
                      <a:cubicBezTo>
                        <a:pt x="251344" y="311799"/>
                        <a:pt x="247844" y="322836"/>
                        <a:pt x="247844" y="336965"/>
                      </a:cubicBezTo>
                      <a:cubicBezTo>
                        <a:pt x="247844" y="350053"/>
                        <a:pt x="251262" y="360569"/>
                        <a:pt x="258100" y="368512"/>
                      </a:cubicBezTo>
                      <a:cubicBezTo>
                        <a:pt x="264936" y="376456"/>
                        <a:pt x="274280" y="380428"/>
                        <a:pt x="286130" y="380428"/>
                      </a:cubicBezTo>
                      <a:cubicBezTo>
                        <a:pt x="298176" y="380428"/>
                        <a:pt x="307454" y="376521"/>
                        <a:pt x="313966" y="368708"/>
                      </a:cubicBezTo>
                      <a:cubicBezTo>
                        <a:pt x="320478" y="360894"/>
                        <a:pt x="323732" y="350053"/>
                        <a:pt x="323732" y="336184"/>
                      </a:cubicBezTo>
                      <a:cubicBezTo>
                        <a:pt x="323732" y="321924"/>
                        <a:pt x="320494" y="310986"/>
                        <a:pt x="314014" y="303367"/>
                      </a:cubicBezTo>
                      <a:cubicBezTo>
                        <a:pt x="307536" y="295749"/>
                        <a:pt x="298372" y="291940"/>
                        <a:pt x="286522" y="291940"/>
                      </a:cubicBezTo>
                      <a:close/>
                      <a:moveTo>
                        <a:pt x="2207846" y="286178"/>
                      </a:moveTo>
                      <a:lnTo>
                        <a:pt x="2216832" y="286178"/>
                      </a:lnTo>
                      <a:lnTo>
                        <a:pt x="2216832" y="386190"/>
                      </a:lnTo>
                      <a:lnTo>
                        <a:pt x="2207846" y="386190"/>
                      </a:lnTo>
                      <a:close/>
                      <a:moveTo>
                        <a:pt x="1064846" y="286178"/>
                      </a:moveTo>
                      <a:lnTo>
                        <a:pt x="1073832" y="286178"/>
                      </a:lnTo>
                      <a:lnTo>
                        <a:pt x="1073832" y="386190"/>
                      </a:lnTo>
                      <a:lnTo>
                        <a:pt x="1064846" y="386190"/>
                      </a:lnTo>
                      <a:close/>
                      <a:moveTo>
                        <a:pt x="955532" y="286178"/>
                      </a:moveTo>
                      <a:lnTo>
                        <a:pt x="965592" y="286178"/>
                      </a:lnTo>
                      <a:lnTo>
                        <a:pt x="995380" y="365778"/>
                      </a:lnTo>
                      <a:cubicBezTo>
                        <a:pt x="996812" y="369619"/>
                        <a:pt x="997822" y="373103"/>
                        <a:pt x="998408" y="376228"/>
                      </a:cubicBezTo>
                      <a:lnTo>
                        <a:pt x="998798" y="376228"/>
                      </a:lnTo>
                      <a:cubicBezTo>
                        <a:pt x="999646" y="372126"/>
                        <a:pt x="1000590" y="368773"/>
                        <a:pt x="1001630" y="366168"/>
                      </a:cubicBezTo>
                      <a:lnTo>
                        <a:pt x="1032396" y="286178"/>
                      </a:lnTo>
                      <a:lnTo>
                        <a:pt x="1042164" y="286178"/>
                      </a:lnTo>
                      <a:lnTo>
                        <a:pt x="1002412" y="386190"/>
                      </a:lnTo>
                      <a:lnTo>
                        <a:pt x="994208" y="386190"/>
                      </a:lnTo>
                      <a:close/>
                      <a:moveTo>
                        <a:pt x="2289506" y="283736"/>
                      </a:moveTo>
                      <a:cubicBezTo>
                        <a:pt x="2300314" y="283736"/>
                        <a:pt x="2308584" y="287333"/>
                        <a:pt x="2314314" y="294528"/>
                      </a:cubicBezTo>
                      <a:cubicBezTo>
                        <a:pt x="2320044" y="301723"/>
                        <a:pt x="2322908" y="311995"/>
                        <a:pt x="2322908" y="325343"/>
                      </a:cubicBezTo>
                      <a:lnTo>
                        <a:pt x="2322908" y="386190"/>
                      </a:lnTo>
                      <a:lnTo>
                        <a:pt x="2313922" y="386190"/>
                      </a:lnTo>
                      <a:lnTo>
                        <a:pt x="2313922" y="327980"/>
                      </a:lnTo>
                      <a:cubicBezTo>
                        <a:pt x="2313922" y="303953"/>
                        <a:pt x="2305262" y="291940"/>
                        <a:pt x="2287942" y="291940"/>
                      </a:cubicBezTo>
                      <a:cubicBezTo>
                        <a:pt x="2278306" y="291940"/>
                        <a:pt x="2270396" y="295473"/>
                        <a:pt x="2264210" y="302537"/>
                      </a:cubicBezTo>
                      <a:cubicBezTo>
                        <a:pt x="2258024" y="309602"/>
                        <a:pt x="2254932" y="318343"/>
                        <a:pt x="2254932" y="328761"/>
                      </a:cubicBezTo>
                      <a:lnTo>
                        <a:pt x="2254932" y="386190"/>
                      </a:lnTo>
                      <a:lnTo>
                        <a:pt x="2245946" y="386190"/>
                      </a:lnTo>
                      <a:lnTo>
                        <a:pt x="2245946" y="286178"/>
                      </a:lnTo>
                      <a:lnTo>
                        <a:pt x="2254932" y="286178"/>
                      </a:lnTo>
                      <a:lnTo>
                        <a:pt x="2254932" y="304344"/>
                      </a:lnTo>
                      <a:lnTo>
                        <a:pt x="2255322" y="304344"/>
                      </a:lnTo>
                      <a:cubicBezTo>
                        <a:pt x="2262614" y="290605"/>
                        <a:pt x="2274010" y="283736"/>
                        <a:pt x="2289506" y="283736"/>
                      </a:cubicBezTo>
                      <a:close/>
                      <a:moveTo>
                        <a:pt x="2149026" y="283736"/>
                      </a:moveTo>
                      <a:cubicBezTo>
                        <a:pt x="2159314" y="283736"/>
                        <a:pt x="2167274" y="286927"/>
                        <a:pt x="2172906" y="293308"/>
                      </a:cubicBezTo>
                      <a:cubicBezTo>
                        <a:pt x="2178538" y="299689"/>
                        <a:pt x="2181354" y="308967"/>
                        <a:pt x="2181354" y="321143"/>
                      </a:cubicBezTo>
                      <a:lnTo>
                        <a:pt x="2181354" y="386190"/>
                      </a:lnTo>
                      <a:lnTo>
                        <a:pt x="2172368" y="386190"/>
                      </a:lnTo>
                      <a:lnTo>
                        <a:pt x="2172368" y="366168"/>
                      </a:lnTo>
                      <a:lnTo>
                        <a:pt x="2171978" y="366168"/>
                      </a:lnTo>
                      <a:cubicBezTo>
                        <a:pt x="2168788" y="373005"/>
                        <a:pt x="2164148" y="378458"/>
                        <a:pt x="2158060" y="382528"/>
                      </a:cubicBezTo>
                      <a:cubicBezTo>
                        <a:pt x="2151972" y="386597"/>
                        <a:pt x="2145218" y="388632"/>
                        <a:pt x="2137794" y="388632"/>
                      </a:cubicBezTo>
                      <a:cubicBezTo>
                        <a:pt x="2128288" y="388632"/>
                        <a:pt x="2120768" y="385962"/>
                        <a:pt x="2115232" y="380623"/>
                      </a:cubicBezTo>
                      <a:cubicBezTo>
                        <a:pt x="2109698" y="375284"/>
                        <a:pt x="2106930" y="368545"/>
                        <a:pt x="2106930" y="360406"/>
                      </a:cubicBezTo>
                      <a:cubicBezTo>
                        <a:pt x="2106930" y="342956"/>
                        <a:pt x="2118488" y="332407"/>
                        <a:pt x="2141604" y="328761"/>
                      </a:cubicBezTo>
                      <a:lnTo>
                        <a:pt x="2172368" y="324171"/>
                      </a:lnTo>
                      <a:cubicBezTo>
                        <a:pt x="2172368" y="302684"/>
                        <a:pt x="2164294" y="291940"/>
                        <a:pt x="2148146" y="291940"/>
                      </a:cubicBezTo>
                      <a:cubicBezTo>
                        <a:pt x="2137142" y="291940"/>
                        <a:pt x="2126432" y="296368"/>
                        <a:pt x="2116014" y="305223"/>
                      </a:cubicBezTo>
                      <a:lnTo>
                        <a:pt x="2116014" y="294382"/>
                      </a:lnTo>
                      <a:cubicBezTo>
                        <a:pt x="2119726" y="291452"/>
                        <a:pt x="2124756" y="288945"/>
                        <a:pt x="2131104" y="286861"/>
                      </a:cubicBezTo>
                      <a:cubicBezTo>
                        <a:pt x="2137452" y="284778"/>
                        <a:pt x="2143426" y="283736"/>
                        <a:pt x="2149026" y="283736"/>
                      </a:cubicBezTo>
                      <a:close/>
                      <a:moveTo>
                        <a:pt x="1965070" y="283736"/>
                      </a:moveTo>
                      <a:cubicBezTo>
                        <a:pt x="1972688" y="283736"/>
                        <a:pt x="1980078" y="285299"/>
                        <a:pt x="1987240" y="288424"/>
                      </a:cubicBezTo>
                      <a:lnTo>
                        <a:pt x="1987240" y="298582"/>
                      </a:lnTo>
                      <a:cubicBezTo>
                        <a:pt x="1980078" y="294154"/>
                        <a:pt x="1972232" y="291940"/>
                        <a:pt x="1963702" y="291940"/>
                      </a:cubicBezTo>
                      <a:cubicBezTo>
                        <a:pt x="1951982" y="291940"/>
                        <a:pt x="1942476" y="296156"/>
                        <a:pt x="1935184" y="304588"/>
                      </a:cubicBezTo>
                      <a:cubicBezTo>
                        <a:pt x="1927890" y="313020"/>
                        <a:pt x="1924244" y="323943"/>
                        <a:pt x="1924244" y="337356"/>
                      </a:cubicBezTo>
                      <a:cubicBezTo>
                        <a:pt x="1924244" y="350313"/>
                        <a:pt x="1927582" y="360731"/>
                        <a:pt x="1934256" y="368610"/>
                      </a:cubicBezTo>
                      <a:cubicBezTo>
                        <a:pt x="1940930" y="376488"/>
                        <a:pt x="1949736" y="380428"/>
                        <a:pt x="1960674" y="380428"/>
                      </a:cubicBezTo>
                      <a:cubicBezTo>
                        <a:pt x="1970702" y="380428"/>
                        <a:pt x="1979426" y="377758"/>
                        <a:pt x="1986850" y="372419"/>
                      </a:cubicBezTo>
                      <a:lnTo>
                        <a:pt x="1986850" y="381795"/>
                      </a:lnTo>
                      <a:cubicBezTo>
                        <a:pt x="1979426" y="386353"/>
                        <a:pt x="1970572" y="388632"/>
                        <a:pt x="1960284" y="388632"/>
                      </a:cubicBezTo>
                      <a:cubicBezTo>
                        <a:pt x="1946676" y="388632"/>
                        <a:pt x="1935704" y="383960"/>
                        <a:pt x="1927370" y="374617"/>
                      </a:cubicBezTo>
                      <a:cubicBezTo>
                        <a:pt x="1919036" y="365273"/>
                        <a:pt x="1914868" y="353048"/>
                        <a:pt x="1914868" y="337942"/>
                      </a:cubicBezTo>
                      <a:cubicBezTo>
                        <a:pt x="1914868" y="322055"/>
                        <a:pt x="1919556" y="309048"/>
                        <a:pt x="1928932" y="298923"/>
                      </a:cubicBezTo>
                      <a:cubicBezTo>
                        <a:pt x="1938308" y="288798"/>
                        <a:pt x="1950354" y="283736"/>
                        <a:pt x="1965070" y="283736"/>
                      </a:cubicBezTo>
                      <a:close/>
                      <a:moveTo>
                        <a:pt x="1726944" y="283736"/>
                      </a:moveTo>
                      <a:cubicBezTo>
                        <a:pt x="1734562" y="283736"/>
                        <a:pt x="1741954" y="285299"/>
                        <a:pt x="1749116" y="288424"/>
                      </a:cubicBezTo>
                      <a:lnTo>
                        <a:pt x="1749116" y="298582"/>
                      </a:lnTo>
                      <a:cubicBezTo>
                        <a:pt x="1741954" y="294154"/>
                        <a:pt x="1734108" y="291940"/>
                        <a:pt x="1725578" y="291940"/>
                      </a:cubicBezTo>
                      <a:cubicBezTo>
                        <a:pt x="1713858" y="291940"/>
                        <a:pt x="1704350" y="296156"/>
                        <a:pt x="1697058" y="304588"/>
                      </a:cubicBezTo>
                      <a:cubicBezTo>
                        <a:pt x="1689766" y="313020"/>
                        <a:pt x="1686120" y="323943"/>
                        <a:pt x="1686120" y="337356"/>
                      </a:cubicBezTo>
                      <a:cubicBezTo>
                        <a:pt x="1686120" y="350313"/>
                        <a:pt x="1689456" y="360731"/>
                        <a:pt x="1696130" y="368610"/>
                      </a:cubicBezTo>
                      <a:cubicBezTo>
                        <a:pt x="1702804" y="376488"/>
                        <a:pt x="1711610" y="380428"/>
                        <a:pt x="1722550" y="380428"/>
                      </a:cubicBezTo>
                      <a:cubicBezTo>
                        <a:pt x="1732578" y="380428"/>
                        <a:pt x="1741302" y="377758"/>
                        <a:pt x="1748724" y="372419"/>
                      </a:cubicBezTo>
                      <a:lnTo>
                        <a:pt x="1748724" y="381795"/>
                      </a:lnTo>
                      <a:cubicBezTo>
                        <a:pt x="1741302" y="386353"/>
                        <a:pt x="1732446" y="388632"/>
                        <a:pt x="1722158" y="388632"/>
                      </a:cubicBezTo>
                      <a:cubicBezTo>
                        <a:pt x="1708550" y="388632"/>
                        <a:pt x="1697580" y="383960"/>
                        <a:pt x="1689244" y="374617"/>
                      </a:cubicBezTo>
                      <a:cubicBezTo>
                        <a:pt x="1680910" y="365273"/>
                        <a:pt x="1676744" y="353048"/>
                        <a:pt x="1676744" y="337942"/>
                      </a:cubicBezTo>
                      <a:cubicBezTo>
                        <a:pt x="1676744" y="322055"/>
                        <a:pt x="1681432" y="309048"/>
                        <a:pt x="1690808" y="298923"/>
                      </a:cubicBezTo>
                      <a:cubicBezTo>
                        <a:pt x="1700184" y="288798"/>
                        <a:pt x="1712230" y="283736"/>
                        <a:pt x="1726944" y="283736"/>
                      </a:cubicBezTo>
                      <a:close/>
                      <a:moveTo>
                        <a:pt x="1610886" y="283736"/>
                      </a:moveTo>
                      <a:cubicBezTo>
                        <a:pt x="1625146" y="283736"/>
                        <a:pt x="1636410" y="288392"/>
                        <a:pt x="1644680" y="297703"/>
                      </a:cubicBezTo>
                      <a:cubicBezTo>
                        <a:pt x="1652950" y="307014"/>
                        <a:pt x="1657084" y="319906"/>
                        <a:pt x="1657084" y="336379"/>
                      </a:cubicBezTo>
                      <a:cubicBezTo>
                        <a:pt x="1657084" y="351941"/>
                        <a:pt x="1652868" y="364540"/>
                        <a:pt x="1644436" y="374177"/>
                      </a:cubicBezTo>
                      <a:cubicBezTo>
                        <a:pt x="1636004" y="383814"/>
                        <a:pt x="1624462" y="388632"/>
                        <a:pt x="1609812" y="388632"/>
                      </a:cubicBezTo>
                      <a:cubicBezTo>
                        <a:pt x="1595228" y="388632"/>
                        <a:pt x="1583686" y="383830"/>
                        <a:pt x="1575190" y="374226"/>
                      </a:cubicBezTo>
                      <a:cubicBezTo>
                        <a:pt x="1566692" y="364622"/>
                        <a:pt x="1562444" y="352136"/>
                        <a:pt x="1562444" y="336770"/>
                      </a:cubicBezTo>
                      <a:cubicBezTo>
                        <a:pt x="1562444" y="320166"/>
                        <a:pt x="1566888" y="307176"/>
                        <a:pt x="1575774" y="297800"/>
                      </a:cubicBezTo>
                      <a:cubicBezTo>
                        <a:pt x="1584662" y="288424"/>
                        <a:pt x="1596366" y="283736"/>
                        <a:pt x="1610886" y="283736"/>
                      </a:cubicBezTo>
                      <a:close/>
                      <a:moveTo>
                        <a:pt x="1301302" y="283736"/>
                      </a:moveTo>
                      <a:cubicBezTo>
                        <a:pt x="1311588" y="283736"/>
                        <a:pt x="1319548" y="286927"/>
                        <a:pt x="1325182" y="293308"/>
                      </a:cubicBezTo>
                      <a:cubicBezTo>
                        <a:pt x="1330814" y="299689"/>
                        <a:pt x="1333630" y="308967"/>
                        <a:pt x="1333630" y="321143"/>
                      </a:cubicBezTo>
                      <a:lnTo>
                        <a:pt x="1333630" y="386190"/>
                      </a:lnTo>
                      <a:lnTo>
                        <a:pt x="1324644" y="386190"/>
                      </a:lnTo>
                      <a:lnTo>
                        <a:pt x="1324644" y="366168"/>
                      </a:lnTo>
                      <a:lnTo>
                        <a:pt x="1324254" y="366168"/>
                      </a:lnTo>
                      <a:cubicBezTo>
                        <a:pt x="1321062" y="373005"/>
                        <a:pt x="1316424" y="378458"/>
                        <a:pt x="1310336" y="382528"/>
                      </a:cubicBezTo>
                      <a:cubicBezTo>
                        <a:pt x="1304248" y="386597"/>
                        <a:pt x="1297492" y="388632"/>
                        <a:pt x="1290070" y="388632"/>
                      </a:cubicBezTo>
                      <a:cubicBezTo>
                        <a:pt x="1280562" y="388632"/>
                        <a:pt x="1273042" y="385962"/>
                        <a:pt x="1267508" y="380623"/>
                      </a:cubicBezTo>
                      <a:cubicBezTo>
                        <a:pt x="1261974" y="375284"/>
                        <a:pt x="1259206" y="368545"/>
                        <a:pt x="1259206" y="360406"/>
                      </a:cubicBezTo>
                      <a:cubicBezTo>
                        <a:pt x="1259206" y="342956"/>
                        <a:pt x="1270764" y="332407"/>
                        <a:pt x="1293878" y="328761"/>
                      </a:cubicBezTo>
                      <a:lnTo>
                        <a:pt x="1324644" y="324171"/>
                      </a:lnTo>
                      <a:cubicBezTo>
                        <a:pt x="1324644" y="302684"/>
                        <a:pt x="1316570" y="291940"/>
                        <a:pt x="1300422" y="291940"/>
                      </a:cubicBezTo>
                      <a:cubicBezTo>
                        <a:pt x="1289418" y="291940"/>
                        <a:pt x="1278706" y="296368"/>
                        <a:pt x="1268290" y="305223"/>
                      </a:cubicBezTo>
                      <a:lnTo>
                        <a:pt x="1268290" y="294382"/>
                      </a:lnTo>
                      <a:cubicBezTo>
                        <a:pt x="1272000" y="291452"/>
                        <a:pt x="1277030" y="288945"/>
                        <a:pt x="1283378" y="286861"/>
                      </a:cubicBezTo>
                      <a:cubicBezTo>
                        <a:pt x="1289728" y="284778"/>
                        <a:pt x="1295702" y="283736"/>
                        <a:pt x="1301302" y="283736"/>
                      </a:cubicBezTo>
                      <a:close/>
                      <a:moveTo>
                        <a:pt x="1139376" y="283736"/>
                      </a:moveTo>
                      <a:cubicBezTo>
                        <a:pt x="1149664" y="283736"/>
                        <a:pt x="1157624" y="286927"/>
                        <a:pt x="1163256" y="293308"/>
                      </a:cubicBezTo>
                      <a:cubicBezTo>
                        <a:pt x="1168888" y="299689"/>
                        <a:pt x="1171704" y="308967"/>
                        <a:pt x="1171704" y="321143"/>
                      </a:cubicBezTo>
                      <a:lnTo>
                        <a:pt x="1171704" y="386190"/>
                      </a:lnTo>
                      <a:lnTo>
                        <a:pt x="1162718" y="386190"/>
                      </a:lnTo>
                      <a:lnTo>
                        <a:pt x="1162718" y="366168"/>
                      </a:lnTo>
                      <a:lnTo>
                        <a:pt x="1162328" y="366168"/>
                      </a:lnTo>
                      <a:cubicBezTo>
                        <a:pt x="1159138" y="373005"/>
                        <a:pt x="1154498" y="378458"/>
                        <a:pt x="1148410" y="382528"/>
                      </a:cubicBezTo>
                      <a:cubicBezTo>
                        <a:pt x="1142322" y="386597"/>
                        <a:pt x="1135566" y="388632"/>
                        <a:pt x="1128144" y="388632"/>
                      </a:cubicBezTo>
                      <a:cubicBezTo>
                        <a:pt x="1118638" y="388632"/>
                        <a:pt x="1111118" y="385962"/>
                        <a:pt x="1105582" y="380623"/>
                      </a:cubicBezTo>
                      <a:cubicBezTo>
                        <a:pt x="1100048" y="375284"/>
                        <a:pt x="1097280" y="368545"/>
                        <a:pt x="1097280" y="360406"/>
                      </a:cubicBezTo>
                      <a:cubicBezTo>
                        <a:pt x="1097280" y="342956"/>
                        <a:pt x="1108838" y="332407"/>
                        <a:pt x="1131954" y="328761"/>
                      </a:cubicBezTo>
                      <a:lnTo>
                        <a:pt x="1162718" y="324171"/>
                      </a:lnTo>
                      <a:cubicBezTo>
                        <a:pt x="1162718" y="302684"/>
                        <a:pt x="1154644" y="291940"/>
                        <a:pt x="1138498" y="291940"/>
                      </a:cubicBezTo>
                      <a:cubicBezTo>
                        <a:pt x="1127494" y="291940"/>
                        <a:pt x="1116782" y="296368"/>
                        <a:pt x="1106364" y="305223"/>
                      </a:cubicBezTo>
                      <a:lnTo>
                        <a:pt x="1106364" y="294382"/>
                      </a:lnTo>
                      <a:cubicBezTo>
                        <a:pt x="1110076" y="291452"/>
                        <a:pt x="1115106" y="288945"/>
                        <a:pt x="1121454" y="286861"/>
                      </a:cubicBezTo>
                      <a:cubicBezTo>
                        <a:pt x="1127802" y="284778"/>
                        <a:pt x="1133776" y="283736"/>
                        <a:pt x="1139376" y="283736"/>
                      </a:cubicBezTo>
                      <a:close/>
                      <a:moveTo>
                        <a:pt x="721448" y="283736"/>
                      </a:moveTo>
                      <a:cubicBezTo>
                        <a:pt x="733884" y="283736"/>
                        <a:pt x="743424" y="288099"/>
                        <a:pt x="750064" y="296824"/>
                      </a:cubicBezTo>
                      <a:cubicBezTo>
                        <a:pt x="756706" y="305549"/>
                        <a:pt x="760026" y="317464"/>
                        <a:pt x="760026" y="332570"/>
                      </a:cubicBezTo>
                      <a:lnTo>
                        <a:pt x="760026" y="336575"/>
                      </a:lnTo>
                      <a:lnTo>
                        <a:pt x="685994" y="336575"/>
                      </a:lnTo>
                      <a:cubicBezTo>
                        <a:pt x="685994" y="350313"/>
                        <a:pt x="689168" y="361057"/>
                        <a:pt x="695518" y="368805"/>
                      </a:cubicBezTo>
                      <a:cubicBezTo>
                        <a:pt x="701866" y="376554"/>
                        <a:pt x="710574" y="380428"/>
                        <a:pt x="721644" y="380428"/>
                      </a:cubicBezTo>
                      <a:cubicBezTo>
                        <a:pt x="732842" y="380428"/>
                        <a:pt x="743782" y="376293"/>
                        <a:pt x="754460" y="368024"/>
                      </a:cubicBezTo>
                      <a:lnTo>
                        <a:pt x="754460" y="377595"/>
                      </a:lnTo>
                      <a:cubicBezTo>
                        <a:pt x="744108" y="384953"/>
                        <a:pt x="732550" y="388632"/>
                        <a:pt x="719788" y="388632"/>
                      </a:cubicBezTo>
                      <a:cubicBezTo>
                        <a:pt x="706896" y="388632"/>
                        <a:pt x="696478" y="384009"/>
                        <a:pt x="688534" y="374763"/>
                      </a:cubicBezTo>
                      <a:cubicBezTo>
                        <a:pt x="680590" y="365517"/>
                        <a:pt x="676618" y="352462"/>
                        <a:pt x="676618" y="335598"/>
                      </a:cubicBezTo>
                      <a:cubicBezTo>
                        <a:pt x="676618" y="321013"/>
                        <a:pt x="680770" y="308723"/>
                        <a:pt x="689070" y="298728"/>
                      </a:cubicBezTo>
                      <a:cubicBezTo>
                        <a:pt x="697372" y="288733"/>
                        <a:pt x="708166" y="283736"/>
                        <a:pt x="721448" y="283736"/>
                      </a:cubicBezTo>
                      <a:close/>
                      <a:moveTo>
                        <a:pt x="583944" y="283736"/>
                      </a:moveTo>
                      <a:cubicBezTo>
                        <a:pt x="591562" y="283736"/>
                        <a:pt x="598954" y="285299"/>
                        <a:pt x="606116" y="288424"/>
                      </a:cubicBezTo>
                      <a:lnTo>
                        <a:pt x="606116" y="298582"/>
                      </a:lnTo>
                      <a:cubicBezTo>
                        <a:pt x="598954" y="294154"/>
                        <a:pt x="591108" y="291940"/>
                        <a:pt x="582578" y="291940"/>
                      </a:cubicBezTo>
                      <a:cubicBezTo>
                        <a:pt x="570858" y="291940"/>
                        <a:pt x="561350" y="296156"/>
                        <a:pt x="554058" y="304588"/>
                      </a:cubicBezTo>
                      <a:cubicBezTo>
                        <a:pt x="546766" y="313020"/>
                        <a:pt x="543120" y="323943"/>
                        <a:pt x="543120" y="337356"/>
                      </a:cubicBezTo>
                      <a:cubicBezTo>
                        <a:pt x="543120" y="350313"/>
                        <a:pt x="546456" y="360731"/>
                        <a:pt x="553130" y="368610"/>
                      </a:cubicBezTo>
                      <a:cubicBezTo>
                        <a:pt x="559804" y="376488"/>
                        <a:pt x="568610" y="380428"/>
                        <a:pt x="579550" y="380428"/>
                      </a:cubicBezTo>
                      <a:cubicBezTo>
                        <a:pt x="589578" y="380428"/>
                        <a:pt x="598302" y="377758"/>
                        <a:pt x="605724" y="372419"/>
                      </a:cubicBezTo>
                      <a:lnTo>
                        <a:pt x="605724" y="381795"/>
                      </a:lnTo>
                      <a:cubicBezTo>
                        <a:pt x="598302" y="386353"/>
                        <a:pt x="589446" y="388632"/>
                        <a:pt x="579158" y="388632"/>
                      </a:cubicBezTo>
                      <a:cubicBezTo>
                        <a:pt x="565550" y="388632"/>
                        <a:pt x="554580" y="383960"/>
                        <a:pt x="546244" y="374617"/>
                      </a:cubicBezTo>
                      <a:cubicBezTo>
                        <a:pt x="537910" y="365273"/>
                        <a:pt x="533744" y="353048"/>
                        <a:pt x="533744" y="337942"/>
                      </a:cubicBezTo>
                      <a:cubicBezTo>
                        <a:pt x="533744" y="322055"/>
                        <a:pt x="538432" y="309048"/>
                        <a:pt x="547808" y="298923"/>
                      </a:cubicBezTo>
                      <a:cubicBezTo>
                        <a:pt x="557184" y="288798"/>
                        <a:pt x="569230" y="283736"/>
                        <a:pt x="583944" y="283736"/>
                      </a:cubicBezTo>
                      <a:close/>
                      <a:moveTo>
                        <a:pt x="473798" y="283736"/>
                      </a:moveTo>
                      <a:cubicBezTo>
                        <a:pt x="486234" y="283736"/>
                        <a:pt x="495774" y="288099"/>
                        <a:pt x="502414" y="296824"/>
                      </a:cubicBezTo>
                      <a:cubicBezTo>
                        <a:pt x="509056" y="305549"/>
                        <a:pt x="512378" y="317464"/>
                        <a:pt x="512378" y="332570"/>
                      </a:cubicBezTo>
                      <a:lnTo>
                        <a:pt x="512378" y="336575"/>
                      </a:lnTo>
                      <a:lnTo>
                        <a:pt x="438344" y="336575"/>
                      </a:lnTo>
                      <a:cubicBezTo>
                        <a:pt x="438344" y="350313"/>
                        <a:pt x="441518" y="361057"/>
                        <a:pt x="447868" y="368805"/>
                      </a:cubicBezTo>
                      <a:cubicBezTo>
                        <a:pt x="454216" y="376554"/>
                        <a:pt x="462924" y="380428"/>
                        <a:pt x="473994" y="380428"/>
                      </a:cubicBezTo>
                      <a:cubicBezTo>
                        <a:pt x="485192" y="380428"/>
                        <a:pt x="496132" y="376293"/>
                        <a:pt x="506810" y="368024"/>
                      </a:cubicBezTo>
                      <a:lnTo>
                        <a:pt x="506810" y="377595"/>
                      </a:lnTo>
                      <a:cubicBezTo>
                        <a:pt x="496458" y="384953"/>
                        <a:pt x="484900" y="388632"/>
                        <a:pt x="472138" y="388632"/>
                      </a:cubicBezTo>
                      <a:cubicBezTo>
                        <a:pt x="459246" y="388632"/>
                        <a:pt x="448828" y="384009"/>
                        <a:pt x="440884" y="374763"/>
                      </a:cubicBezTo>
                      <a:cubicBezTo>
                        <a:pt x="432940" y="365517"/>
                        <a:pt x="428968" y="352462"/>
                        <a:pt x="428968" y="335598"/>
                      </a:cubicBezTo>
                      <a:cubicBezTo>
                        <a:pt x="428968" y="321013"/>
                        <a:pt x="433120" y="308723"/>
                        <a:pt x="441420" y="298728"/>
                      </a:cubicBezTo>
                      <a:cubicBezTo>
                        <a:pt x="449722" y="288733"/>
                        <a:pt x="460516" y="283736"/>
                        <a:pt x="473798" y="283736"/>
                      </a:cubicBezTo>
                      <a:close/>
                      <a:moveTo>
                        <a:pt x="286912" y="283736"/>
                      </a:moveTo>
                      <a:cubicBezTo>
                        <a:pt x="301172" y="283736"/>
                        <a:pt x="312436" y="288392"/>
                        <a:pt x="320706" y="297703"/>
                      </a:cubicBezTo>
                      <a:cubicBezTo>
                        <a:pt x="328974" y="307014"/>
                        <a:pt x="333108" y="319906"/>
                        <a:pt x="333108" y="336379"/>
                      </a:cubicBezTo>
                      <a:cubicBezTo>
                        <a:pt x="333108" y="351941"/>
                        <a:pt x="328892" y="364540"/>
                        <a:pt x="320460" y="374177"/>
                      </a:cubicBezTo>
                      <a:cubicBezTo>
                        <a:pt x="312028" y="383814"/>
                        <a:pt x="300488" y="388632"/>
                        <a:pt x="285838" y="388632"/>
                      </a:cubicBezTo>
                      <a:cubicBezTo>
                        <a:pt x="271252" y="388632"/>
                        <a:pt x="259712" y="383830"/>
                        <a:pt x="251214" y="374226"/>
                      </a:cubicBezTo>
                      <a:cubicBezTo>
                        <a:pt x="242716" y="364622"/>
                        <a:pt x="238468" y="352136"/>
                        <a:pt x="238468" y="336770"/>
                      </a:cubicBezTo>
                      <a:cubicBezTo>
                        <a:pt x="238468" y="320166"/>
                        <a:pt x="242912" y="307176"/>
                        <a:pt x="251800" y="297800"/>
                      </a:cubicBezTo>
                      <a:cubicBezTo>
                        <a:pt x="260688" y="288424"/>
                        <a:pt x="272392" y="283736"/>
                        <a:pt x="286912" y="283736"/>
                      </a:cubicBezTo>
                      <a:close/>
                      <a:moveTo>
                        <a:pt x="202944" y="283736"/>
                      </a:moveTo>
                      <a:cubicBezTo>
                        <a:pt x="210562" y="283736"/>
                        <a:pt x="217954" y="285299"/>
                        <a:pt x="225116" y="288424"/>
                      </a:cubicBezTo>
                      <a:lnTo>
                        <a:pt x="225116" y="298582"/>
                      </a:lnTo>
                      <a:cubicBezTo>
                        <a:pt x="217954" y="294154"/>
                        <a:pt x="210108" y="291940"/>
                        <a:pt x="201578" y="291940"/>
                      </a:cubicBezTo>
                      <a:cubicBezTo>
                        <a:pt x="189858" y="291940"/>
                        <a:pt x="180350" y="296156"/>
                        <a:pt x="173058" y="304588"/>
                      </a:cubicBezTo>
                      <a:cubicBezTo>
                        <a:pt x="165766" y="313020"/>
                        <a:pt x="162120" y="323943"/>
                        <a:pt x="162120" y="337356"/>
                      </a:cubicBezTo>
                      <a:cubicBezTo>
                        <a:pt x="162120" y="350313"/>
                        <a:pt x="165456" y="360731"/>
                        <a:pt x="172130" y="368610"/>
                      </a:cubicBezTo>
                      <a:cubicBezTo>
                        <a:pt x="178804" y="376488"/>
                        <a:pt x="187610" y="380428"/>
                        <a:pt x="198550" y="380428"/>
                      </a:cubicBezTo>
                      <a:cubicBezTo>
                        <a:pt x="208576" y="380428"/>
                        <a:pt x="217302" y="377758"/>
                        <a:pt x="224724" y="372419"/>
                      </a:cubicBezTo>
                      <a:lnTo>
                        <a:pt x="224724" y="381795"/>
                      </a:lnTo>
                      <a:cubicBezTo>
                        <a:pt x="217302" y="386353"/>
                        <a:pt x="208446" y="388632"/>
                        <a:pt x="198158" y="388632"/>
                      </a:cubicBezTo>
                      <a:cubicBezTo>
                        <a:pt x="184550" y="388632"/>
                        <a:pt x="173580" y="383960"/>
                        <a:pt x="165244" y="374617"/>
                      </a:cubicBezTo>
                      <a:cubicBezTo>
                        <a:pt x="156910" y="365273"/>
                        <a:pt x="152744" y="353048"/>
                        <a:pt x="152744" y="337942"/>
                      </a:cubicBezTo>
                      <a:cubicBezTo>
                        <a:pt x="152744" y="322055"/>
                        <a:pt x="157432" y="309048"/>
                        <a:pt x="166808" y="298923"/>
                      </a:cubicBezTo>
                      <a:cubicBezTo>
                        <a:pt x="176184" y="288798"/>
                        <a:pt x="188230" y="283736"/>
                        <a:pt x="202944" y="283736"/>
                      </a:cubicBezTo>
                      <a:close/>
                      <a:moveTo>
                        <a:pt x="639880" y="257170"/>
                      </a:moveTo>
                      <a:lnTo>
                        <a:pt x="639880" y="286178"/>
                      </a:lnTo>
                      <a:lnTo>
                        <a:pt x="666252" y="286178"/>
                      </a:lnTo>
                      <a:lnTo>
                        <a:pt x="666252" y="294382"/>
                      </a:lnTo>
                      <a:lnTo>
                        <a:pt x="639880" y="294382"/>
                      </a:lnTo>
                      <a:lnTo>
                        <a:pt x="639880" y="360406"/>
                      </a:lnTo>
                      <a:cubicBezTo>
                        <a:pt x="639880" y="367308"/>
                        <a:pt x="640972" y="372305"/>
                        <a:pt x="643152" y="375398"/>
                      </a:cubicBezTo>
                      <a:cubicBezTo>
                        <a:pt x="645334" y="378491"/>
                        <a:pt x="649030" y="380037"/>
                        <a:pt x="654238" y="380037"/>
                      </a:cubicBezTo>
                      <a:cubicBezTo>
                        <a:pt x="657950" y="380037"/>
                        <a:pt x="661954" y="378833"/>
                        <a:pt x="666252" y="376423"/>
                      </a:cubicBezTo>
                      <a:lnTo>
                        <a:pt x="666252" y="384823"/>
                      </a:lnTo>
                      <a:cubicBezTo>
                        <a:pt x="661564" y="387037"/>
                        <a:pt x="657168" y="388144"/>
                        <a:pt x="653066" y="388144"/>
                      </a:cubicBezTo>
                      <a:cubicBezTo>
                        <a:pt x="638286" y="388144"/>
                        <a:pt x="630896" y="379288"/>
                        <a:pt x="630896" y="361578"/>
                      </a:cubicBezTo>
                      <a:lnTo>
                        <a:pt x="630896" y="294382"/>
                      </a:lnTo>
                      <a:lnTo>
                        <a:pt x="612924" y="294382"/>
                      </a:lnTo>
                      <a:lnTo>
                        <a:pt x="612924" y="286178"/>
                      </a:lnTo>
                      <a:lnTo>
                        <a:pt x="630896" y="286178"/>
                      </a:lnTo>
                      <a:lnTo>
                        <a:pt x="630896" y="260198"/>
                      </a:lnTo>
                      <a:cubicBezTo>
                        <a:pt x="632328" y="259677"/>
                        <a:pt x="633826" y="259156"/>
                        <a:pt x="635388" y="258635"/>
                      </a:cubicBezTo>
                      <a:cubicBezTo>
                        <a:pt x="636950" y="258179"/>
                        <a:pt x="638448" y="257691"/>
                        <a:pt x="639880" y="257170"/>
                      </a:cubicBezTo>
                      <a:close/>
                      <a:moveTo>
                        <a:pt x="2212240" y="246134"/>
                      </a:moveTo>
                      <a:cubicBezTo>
                        <a:pt x="2214260" y="246134"/>
                        <a:pt x="2216034" y="246785"/>
                        <a:pt x="2217564" y="248087"/>
                      </a:cubicBezTo>
                      <a:cubicBezTo>
                        <a:pt x="2219094" y="249389"/>
                        <a:pt x="2219858" y="251147"/>
                        <a:pt x="2219858" y="253361"/>
                      </a:cubicBezTo>
                      <a:cubicBezTo>
                        <a:pt x="2219858" y="255445"/>
                        <a:pt x="2219110" y="257235"/>
                        <a:pt x="2217612" y="258733"/>
                      </a:cubicBezTo>
                      <a:cubicBezTo>
                        <a:pt x="2216114" y="260230"/>
                        <a:pt x="2214324" y="260979"/>
                        <a:pt x="2212240" y="260979"/>
                      </a:cubicBezTo>
                      <a:cubicBezTo>
                        <a:pt x="2210288" y="260979"/>
                        <a:pt x="2208562" y="260263"/>
                        <a:pt x="2207064" y="258831"/>
                      </a:cubicBezTo>
                      <a:cubicBezTo>
                        <a:pt x="2205566" y="257398"/>
                        <a:pt x="2204818" y="255575"/>
                        <a:pt x="2204818" y="253361"/>
                      </a:cubicBezTo>
                      <a:cubicBezTo>
                        <a:pt x="2204818" y="251212"/>
                        <a:pt x="2205582" y="249471"/>
                        <a:pt x="2207114" y="248136"/>
                      </a:cubicBezTo>
                      <a:cubicBezTo>
                        <a:pt x="2208644" y="246801"/>
                        <a:pt x="2210352" y="246134"/>
                        <a:pt x="2212240" y="246134"/>
                      </a:cubicBezTo>
                      <a:close/>
                      <a:moveTo>
                        <a:pt x="1069240" y="246134"/>
                      </a:moveTo>
                      <a:cubicBezTo>
                        <a:pt x="1071260" y="246134"/>
                        <a:pt x="1073034" y="246785"/>
                        <a:pt x="1074564" y="248087"/>
                      </a:cubicBezTo>
                      <a:cubicBezTo>
                        <a:pt x="1076094" y="249389"/>
                        <a:pt x="1076858" y="251147"/>
                        <a:pt x="1076858" y="253361"/>
                      </a:cubicBezTo>
                      <a:cubicBezTo>
                        <a:pt x="1076858" y="255445"/>
                        <a:pt x="1076110" y="257235"/>
                        <a:pt x="1074612" y="258733"/>
                      </a:cubicBezTo>
                      <a:cubicBezTo>
                        <a:pt x="1073114" y="260230"/>
                        <a:pt x="1071324" y="260979"/>
                        <a:pt x="1069240" y="260979"/>
                      </a:cubicBezTo>
                      <a:cubicBezTo>
                        <a:pt x="1067288" y="260979"/>
                        <a:pt x="1065562" y="260263"/>
                        <a:pt x="1064064" y="258831"/>
                      </a:cubicBezTo>
                      <a:cubicBezTo>
                        <a:pt x="1062566" y="257398"/>
                        <a:pt x="1061818" y="255575"/>
                        <a:pt x="1061818" y="253361"/>
                      </a:cubicBezTo>
                      <a:cubicBezTo>
                        <a:pt x="1061818" y="251212"/>
                        <a:pt x="1062584" y="249471"/>
                        <a:pt x="1064114" y="248136"/>
                      </a:cubicBezTo>
                      <a:cubicBezTo>
                        <a:pt x="1065644" y="246801"/>
                        <a:pt x="1067352" y="246134"/>
                        <a:pt x="1069240" y="246134"/>
                      </a:cubicBezTo>
                      <a:close/>
                      <a:moveTo>
                        <a:pt x="2007820" y="238125"/>
                      </a:moveTo>
                      <a:lnTo>
                        <a:pt x="2016806" y="238125"/>
                      </a:lnTo>
                      <a:lnTo>
                        <a:pt x="2016806" y="304149"/>
                      </a:lnTo>
                      <a:lnTo>
                        <a:pt x="2017196" y="304149"/>
                      </a:lnTo>
                      <a:cubicBezTo>
                        <a:pt x="2025076" y="290540"/>
                        <a:pt x="2036536" y="283736"/>
                        <a:pt x="2051576" y="283736"/>
                      </a:cubicBezTo>
                      <a:cubicBezTo>
                        <a:pt x="2062384" y="283736"/>
                        <a:pt x="2070622" y="287220"/>
                        <a:pt x="2076286" y="294187"/>
                      </a:cubicBezTo>
                      <a:cubicBezTo>
                        <a:pt x="2081950" y="301154"/>
                        <a:pt x="2084784" y="311148"/>
                        <a:pt x="2084784" y="324171"/>
                      </a:cubicBezTo>
                      <a:lnTo>
                        <a:pt x="2084784" y="386190"/>
                      </a:lnTo>
                      <a:lnTo>
                        <a:pt x="2075798" y="386190"/>
                      </a:lnTo>
                      <a:lnTo>
                        <a:pt x="2075798" y="326222"/>
                      </a:lnTo>
                      <a:cubicBezTo>
                        <a:pt x="2075798" y="314371"/>
                        <a:pt x="2073650" y="305695"/>
                        <a:pt x="2069352" y="300193"/>
                      </a:cubicBezTo>
                      <a:cubicBezTo>
                        <a:pt x="2065054" y="294691"/>
                        <a:pt x="2058348" y="291940"/>
                        <a:pt x="2049232" y="291940"/>
                      </a:cubicBezTo>
                      <a:cubicBezTo>
                        <a:pt x="2040638" y="291940"/>
                        <a:pt x="2033084" y="295293"/>
                        <a:pt x="2026574" y="302000"/>
                      </a:cubicBezTo>
                      <a:cubicBezTo>
                        <a:pt x="2020062" y="308707"/>
                        <a:pt x="2016806" y="318311"/>
                        <a:pt x="2016806" y="330812"/>
                      </a:cubicBezTo>
                      <a:lnTo>
                        <a:pt x="2016806" y="386190"/>
                      </a:lnTo>
                      <a:lnTo>
                        <a:pt x="2007820" y="386190"/>
                      </a:lnTo>
                      <a:close/>
                      <a:moveTo>
                        <a:pt x="1769696" y="238125"/>
                      </a:moveTo>
                      <a:lnTo>
                        <a:pt x="1778682" y="238125"/>
                      </a:lnTo>
                      <a:lnTo>
                        <a:pt x="1778682" y="333547"/>
                      </a:lnTo>
                      <a:lnTo>
                        <a:pt x="1779072" y="333547"/>
                      </a:lnTo>
                      <a:lnTo>
                        <a:pt x="1824488" y="286178"/>
                      </a:lnTo>
                      <a:lnTo>
                        <a:pt x="1836110" y="286178"/>
                      </a:lnTo>
                      <a:lnTo>
                        <a:pt x="1788644" y="334621"/>
                      </a:lnTo>
                      <a:lnTo>
                        <a:pt x="1839920" y="386190"/>
                      </a:lnTo>
                      <a:lnTo>
                        <a:pt x="1826930" y="386190"/>
                      </a:lnTo>
                      <a:lnTo>
                        <a:pt x="1779072" y="336770"/>
                      </a:lnTo>
                      <a:lnTo>
                        <a:pt x="1778682" y="336770"/>
                      </a:lnTo>
                      <a:lnTo>
                        <a:pt x="1778682" y="386190"/>
                      </a:lnTo>
                      <a:lnTo>
                        <a:pt x="1769696" y="386190"/>
                      </a:lnTo>
                      <a:close/>
                      <a:moveTo>
                        <a:pt x="1531570" y="238125"/>
                      </a:moveTo>
                      <a:lnTo>
                        <a:pt x="1540556" y="238125"/>
                      </a:lnTo>
                      <a:lnTo>
                        <a:pt x="1540556" y="386190"/>
                      </a:lnTo>
                      <a:lnTo>
                        <a:pt x="1531570" y="386190"/>
                      </a:lnTo>
                      <a:close/>
                      <a:moveTo>
                        <a:pt x="1417270" y="238125"/>
                      </a:moveTo>
                      <a:lnTo>
                        <a:pt x="1426256" y="238125"/>
                      </a:lnTo>
                      <a:lnTo>
                        <a:pt x="1426256" y="306786"/>
                      </a:lnTo>
                      <a:lnTo>
                        <a:pt x="1426646" y="306786"/>
                      </a:lnTo>
                      <a:cubicBezTo>
                        <a:pt x="1430228" y="299428"/>
                        <a:pt x="1435356" y="293747"/>
                        <a:pt x="1442030" y="289743"/>
                      </a:cubicBezTo>
                      <a:cubicBezTo>
                        <a:pt x="1448704" y="285738"/>
                        <a:pt x="1456046" y="283736"/>
                        <a:pt x="1464054" y="283736"/>
                      </a:cubicBezTo>
                      <a:cubicBezTo>
                        <a:pt x="1476750" y="283736"/>
                        <a:pt x="1486664" y="288115"/>
                        <a:pt x="1493794" y="296872"/>
                      </a:cubicBezTo>
                      <a:cubicBezTo>
                        <a:pt x="1500924" y="305630"/>
                        <a:pt x="1504488" y="317529"/>
                        <a:pt x="1504488" y="332570"/>
                      </a:cubicBezTo>
                      <a:cubicBezTo>
                        <a:pt x="1504488" y="349304"/>
                        <a:pt x="1500354" y="362831"/>
                        <a:pt x="1492084" y="373151"/>
                      </a:cubicBezTo>
                      <a:cubicBezTo>
                        <a:pt x="1483816" y="383472"/>
                        <a:pt x="1473072" y="388632"/>
                        <a:pt x="1459854" y="388632"/>
                      </a:cubicBezTo>
                      <a:cubicBezTo>
                        <a:pt x="1444878" y="388632"/>
                        <a:pt x="1433810" y="381893"/>
                        <a:pt x="1426646" y="368415"/>
                      </a:cubicBezTo>
                      <a:lnTo>
                        <a:pt x="1426256" y="368415"/>
                      </a:lnTo>
                      <a:lnTo>
                        <a:pt x="1426256" y="386190"/>
                      </a:lnTo>
                      <a:lnTo>
                        <a:pt x="1417270" y="386190"/>
                      </a:lnTo>
                      <a:close/>
                      <a:moveTo>
                        <a:pt x="859626" y="238125"/>
                      </a:moveTo>
                      <a:lnTo>
                        <a:pt x="868612" y="238125"/>
                      </a:lnTo>
                      <a:lnTo>
                        <a:pt x="868612" y="386190"/>
                      </a:lnTo>
                      <a:lnTo>
                        <a:pt x="859626" y="386190"/>
                      </a:lnTo>
                      <a:lnTo>
                        <a:pt x="859626" y="368024"/>
                      </a:lnTo>
                      <a:lnTo>
                        <a:pt x="859234" y="368024"/>
                      </a:lnTo>
                      <a:cubicBezTo>
                        <a:pt x="855980" y="374340"/>
                        <a:pt x="851162" y="379353"/>
                        <a:pt x="844780" y="383065"/>
                      </a:cubicBezTo>
                      <a:cubicBezTo>
                        <a:pt x="838400" y="386776"/>
                        <a:pt x="831204" y="388632"/>
                        <a:pt x="823196" y="388632"/>
                      </a:cubicBezTo>
                      <a:cubicBezTo>
                        <a:pt x="810890" y="388632"/>
                        <a:pt x="800846" y="384139"/>
                        <a:pt x="793064" y="375154"/>
                      </a:cubicBezTo>
                      <a:cubicBezTo>
                        <a:pt x="785284" y="366168"/>
                        <a:pt x="781394" y="353764"/>
                        <a:pt x="781394" y="337942"/>
                      </a:cubicBezTo>
                      <a:cubicBezTo>
                        <a:pt x="781394" y="321794"/>
                        <a:pt x="785642" y="308723"/>
                        <a:pt x="794138" y="298728"/>
                      </a:cubicBezTo>
                      <a:cubicBezTo>
                        <a:pt x="802636" y="288733"/>
                        <a:pt x="813656" y="283736"/>
                        <a:pt x="827200" y="283736"/>
                      </a:cubicBezTo>
                      <a:cubicBezTo>
                        <a:pt x="842176" y="283736"/>
                        <a:pt x="852854" y="289889"/>
                        <a:pt x="859234" y="302195"/>
                      </a:cubicBezTo>
                      <a:lnTo>
                        <a:pt x="859626" y="302195"/>
                      </a:lnTo>
                      <a:close/>
                      <a:moveTo>
                        <a:pt x="398096" y="238125"/>
                      </a:moveTo>
                      <a:lnTo>
                        <a:pt x="407082" y="238125"/>
                      </a:lnTo>
                      <a:lnTo>
                        <a:pt x="407082" y="386190"/>
                      </a:lnTo>
                      <a:lnTo>
                        <a:pt x="398096" y="386190"/>
                      </a:lnTo>
                      <a:close/>
                      <a:moveTo>
                        <a:pt x="359996" y="238125"/>
                      </a:moveTo>
                      <a:lnTo>
                        <a:pt x="368982" y="238125"/>
                      </a:lnTo>
                      <a:lnTo>
                        <a:pt x="368982" y="386190"/>
                      </a:lnTo>
                      <a:lnTo>
                        <a:pt x="359996" y="386190"/>
                      </a:lnTo>
                      <a:close/>
                      <a:moveTo>
                        <a:pt x="1610394" y="94250"/>
                      </a:moveTo>
                      <a:lnTo>
                        <a:pt x="1582852" y="98254"/>
                      </a:lnTo>
                      <a:cubicBezTo>
                        <a:pt x="1572368" y="99752"/>
                        <a:pt x="1565010" y="102177"/>
                        <a:pt x="1560778" y="105531"/>
                      </a:cubicBezTo>
                      <a:cubicBezTo>
                        <a:pt x="1556546" y="108884"/>
                        <a:pt x="1554430" y="114337"/>
                        <a:pt x="1554430" y="121890"/>
                      </a:cubicBezTo>
                      <a:cubicBezTo>
                        <a:pt x="1554430" y="127815"/>
                        <a:pt x="1556400" y="132699"/>
                        <a:pt x="1560338" y="136540"/>
                      </a:cubicBezTo>
                      <a:cubicBezTo>
                        <a:pt x="1564278" y="140382"/>
                        <a:pt x="1569764" y="142303"/>
                        <a:pt x="1576796" y="142303"/>
                      </a:cubicBezTo>
                      <a:cubicBezTo>
                        <a:pt x="1586432" y="142303"/>
                        <a:pt x="1594442" y="138738"/>
                        <a:pt x="1600822" y="131608"/>
                      </a:cubicBezTo>
                      <a:cubicBezTo>
                        <a:pt x="1607204" y="124478"/>
                        <a:pt x="1610394" y="115281"/>
                        <a:pt x="1610394" y="104017"/>
                      </a:cubicBezTo>
                      <a:close/>
                      <a:moveTo>
                        <a:pt x="2445082" y="53815"/>
                      </a:moveTo>
                      <a:cubicBezTo>
                        <a:pt x="2435706" y="53815"/>
                        <a:pt x="2427942" y="56957"/>
                        <a:pt x="2421788" y="63240"/>
                      </a:cubicBezTo>
                      <a:cubicBezTo>
                        <a:pt x="2415636" y="69524"/>
                        <a:pt x="2411842" y="78525"/>
                        <a:pt x="2410410" y="90246"/>
                      </a:cubicBezTo>
                      <a:lnTo>
                        <a:pt x="2474676" y="90246"/>
                      </a:lnTo>
                      <a:cubicBezTo>
                        <a:pt x="2474286" y="78721"/>
                        <a:pt x="2471518" y="69768"/>
                        <a:pt x="2466374" y="63387"/>
                      </a:cubicBezTo>
                      <a:cubicBezTo>
                        <a:pt x="2461230" y="57006"/>
                        <a:pt x="2454134" y="53815"/>
                        <a:pt x="2445082" y="53815"/>
                      </a:cubicBezTo>
                      <a:close/>
                      <a:moveTo>
                        <a:pt x="2339182" y="53815"/>
                      </a:moveTo>
                      <a:cubicBezTo>
                        <a:pt x="2327526" y="53815"/>
                        <a:pt x="2318508" y="57722"/>
                        <a:pt x="2312128" y="65535"/>
                      </a:cubicBezTo>
                      <a:cubicBezTo>
                        <a:pt x="2305746" y="73349"/>
                        <a:pt x="2302556" y="82530"/>
                        <a:pt x="2302556" y="93078"/>
                      </a:cubicBezTo>
                      <a:lnTo>
                        <a:pt x="2302556" y="105677"/>
                      </a:lnTo>
                      <a:cubicBezTo>
                        <a:pt x="2302556" y="115704"/>
                        <a:pt x="2305714" y="124316"/>
                        <a:pt x="2312030" y="131510"/>
                      </a:cubicBezTo>
                      <a:cubicBezTo>
                        <a:pt x="2318346" y="138705"/>
                        <a:pt x="2326648" y="142303"/>
                        <a:pt x="2336936" y="142303"/>
                      </a:cubicBezTo>
                      <a:cubicBezTo>
                        <a:pt x="2347158" y="142303"/>
                        <a:pt x="2355460" y="137924"/>
                        <a:pt x="2361842" y="129166"/>
                      </a:cubicBezTo>
                      <a:cubicBezTo>
                        <a:pt x="2368222" y="120409"/>
                        <a:pt x="2371412" y="108900"/>
                        <a:pt x="2371412" y="94641"/>
                      </a:cubicBezTo>
                      <a:cubicBezTo>
                        <a:pt x="2371412" y="82139"/>
                        <a:pt x="2368482" y="72209"/>
                        <a:pt x="2362622" y="64852"/>
                      </a:cubicBezTo>
                      <a:cubicBezTo>
                        <a:pt x="2356762" y="57494"/>
                        <a:pt x="2348948" y="53815"/>
                        <a:pt x="2339182" y="53815"/>
                      </a:cubicBezTo>
                      <a:close/>
                      <a:moveTo>
                        <a:pt x="1768808" y="53815"/>
                      </a:moveTo>
                      <a:cubicBezTo>
                        <a:pt x="1759432" y="53815"/>
                        <a:pt x="1751666" y="56957"/>
                        <a:pt x="1745514" y="63240"/>
                      </a:cubicBezTo>
                      <a:cubicBezTo>
                        <a:pt x="1739360" y="69524"/>
                        <a:pt x="1735568" y="78525"/>
                        <a:pt x="1734134" y="90246"/>
                      </a:cubicBezTo>
                      <a:lnTo>
                        <a:pt x="1798400" y="90246"/>
                      </a:lnTo>
                      <a:cubicBezTo>
                        <a:pt x="1798010" y="78721"/>
                        <a:pt x="1795242" y="69768"/>
                        <a:pt x="1790100" y="63387"/>
                      </a:cubicBezTo>
                      <a:cubicBezTo>
                        <a:pt x="1784956" y="57006"/>
                        <a:pt x="1777858" y="53815"/>
                        <a:pt x="1768808" y="53815"/>
                      </a:cubicBezTo>
                      <a:close/>
                      <a:moveTo>
                        <a:pt x="1197308" y="53815"/>
                      </a:moveTo>
                      <a:cubicBezTo>
                        <a:pt x="1187930" y="53815"/>
                        <a:pt x="1180166" y="56957"/>
                        <a:pt x="1174014" y="63240"/>
                      </a:cubicBezTo>
                      <a:cubicBezTo>
                        <a:pt x="1167860" y="69524"/>
                        <a:pt x="1164068" y="78525"/>
                        <a:pt x="1162634" y="90246"/>
                      </a:cubicBezTo>
                      <a:lnTo>
                        <a:pt x="1226900" y="90246"/>
                      </a:lnTo>
                      <a:cubicBezTo>
                        <a:pt x="1226510" y="78721"/>
                        <a:pt x="1223742" y="69768"/>
                        <a:pt x="1218600" y="63387"/>
                      </a:cubicBezTo>
                      <a:cubicBezTo>
                        <a:pt x="1213456" y="57006"/>
                        <a:pt x="1206358" y="53815"/>
                        <a:pt x="1197308" y="53815"/>
                      </a:cubicBezTo>
                      <a:close/>
                      <a:moveTo>
                        <a:pt x="759158" y="53815"/>
                      </a:moveTo>
                      <a:cubicBezTo>
                        <a:pt x="749782" y="53815"/>
                        <a:pt x="742016" y="56957"/>
                        <a:pt x="735864" y="63240"/>
                      </a:cubicBezTo>
                      <a:cubicBezTo>
                        <a:pt x="729710" y="69524"/>
                        <a:pt x="725918" y="78525"/>
                        <a:pt x="724486" y="90246"/>
                      </a:cubicBezTo>
                      <a:lnTo>
                        <a:pt x="788750" y="90246"/>
                      </a:lnTo>
                      <a:cubicBezTo>
                        <a:pt x="788360" y="78721"/>
                        <a:pt x="785592" y="69768"/>
                        <a:pt x="780450" y="63387"/>
                      </a:cubicBezTo>
                      <a:cubicBezTo>
                        <a:pt x="775306" y="57006"/>
                        <a:pt x="768208" y="53815"/>
                        <a:pt x="759158" y="53815"/>
                      </a:cubicBezTo>
                      <a:close/>
                      <a:moveTo>
                        <a:pt x="553222" y="53815"/>
                      </a:moveTo>
                      <a:cubicBezTo>
                        <a:pt x="541436" y="53815"/>
                        <a:pt x="532044" y="57787"/>
                        <a:pt x="525044" y="65731"/>
                      </a:cubicBezTo>
                      <a:cubicBezTo>
                        <a:pt x="518044" y="73674"/>
                        <a:pt x="514544" y="84711"/>
                        <a:pt x="514544" y="98840"/>
                      </a:cubicBezTo>
                      <a:cubicBezTo>
                        <a:pt x="514544" y="111928"/>
                        <a:pt x="517962" y="122444"/>
                        <a:pt x="524800" y="130387"/>
                      </a:cubicBezTo>
                      <a:cubicBezTo>
                        <a:pt x="531636" y="138331"/>
                        <a:pt x="540980" y="142303"/>
                        <a:pt x="552830" y="142303"/>
                      </a:cubicBezTo>
                      <a:cubicBezTo>
                        <a:pt x="564876" y="142303"/>
                        <a:pt x="574154" y="138396"/>
                        <a:pt x="580666" y="130583"/>
                      </a:cubicBezTo>
                      <a:cubicBezTo>
                        <a:pt x="587178" y="122769"/>
                        <a:pt x="590432" y="111928"/>
                        <a:pt x="590432" y="98059"/>
                      </a:cubicBezTo>
                      <a:cubicBezTo>
                        <a:pt x="590432" y="83799"/>
                        <a:pt x="587194" y="72861"/>
                        <a:pt x="580714" y="65242"/>
                      </a:cubicBezTo>
                      <a:cubicBezTo>
                        <a:pt x="574236" y="57624"/>
                        <a:pt x="565072" y="53815"/>
                        <a:pt x="553222" y="53815"/>
                      </a:cubicBezTo>
                      <a:close/>
                      <a:moveTo>
                        <a:pt x="436870" y="53815"/>
                      </a:moveTo>
                      <a:cubicBezTo>
                        <a:pt x="425866" y="53815"/>
                        <a:pt x="417010" y="57950"/>
                        <a:pt x="410304" y="66219"/>
                      </a:cubicBezTo>
                      <a:cubicBezTo>
                        <a:pt x="403598" y="74488"/>
                        <a:pt x="400244" y="85427"/>
                        <a:pt x="400244" y="99036"/>
                      </a:cubicBezTo>
                      <a:cubicBezTo>
                        <a:pt x="400244" y="112709"/>
                        <a:pt x="403320" y="123339"/>
                        <a:pt x="409474" y="130924"/>
                      </a:cubicBezTo>
                      <a:cubicBezTo>
                        <a:pt x="415628" y="138510"/>
                        <a:pt x="423750" y="142303"/>
                        <a:pt x="433842" y="142303"/>
                      </a:cubicBezTo>
                      <a:cubicBezTo>
                        <a:pt x="444586" y="142303"/>
                        <a:pt x="453148" y="138819"/>
                        <a:pt x="459530" y="131852"/>
                      </a:cubicBezTo>
                      <a:cubicBezTo>
                        <a:pt x="465910" y="124885"/>
                        <a:pt x="469100" y="116356"/>
                        <a:pt x="469100" y="106263"/>
                      </a:cubicBezTo>
                      <a:lnTo>
                        <a:pt x="469100" y="86436"/>
                      </a:lnTo>
                      <a:cubicBezTo>
                        <a:pt x="469100" y="77581"/>
                        <a:pt x="466122" y="69930"/>
                        <a:pt x="460164" y="63484"/>
                      </a:cubicBezTo>
                      <a:cubicBezTo>
                        <a:pt x="454206" y="57038"/>
                        <a:pt x="446442" y="53815"/>
                        <a:pt x="436870" y="53815"/>
                      </a:cubicBezTo>
                      <a:close/>
                      <a:moveTo>
                        <a:pt x="2112596" y="48053"/>
                      </a:moveTo>
                      <a:lnTo>
                        <a:pt x="2121582" y="48053"/>
                      </a:lnTo>
                      <a:lnTo>
                        <a:pt x="2121582" y="148065"/>
                      </a:lnTo>
                      <a:lnTo>
                        <a:pt x="2112596" y="148065"/>
                      </a:lnTo>
                      <a:close/>
                      <a:moveTo>
                        <a:pt x="1966842" y="48053"/>
                      </a:moveTo>
                      <a:lnTo>
                        <a:pt x="1976804" y="48053"/>
                      </a:lnTo>
                      <a:lnTo>
                        <a:pt x="2000050" y="127848"/>
                      </a:lnTo>
                      <a:cubicBezTo>
                        <a:pt x="2000634" y="129931"/>
                        <a:pt x="2001090" y="132731"/>
                        <a:pt x="2001416" y="136247"/>
                      </a:cubicBezTo>
                      <a:lnTo>
                        <a:pt x="2002198" y="136247"/>
                      </a:lnTo>
                      <a:cubicBezTo>
                        <a:pt x="2002328" y="134359"/>
                        <a:pt x="2002946" y="131559"/>
                        <a:pt x="2004054" y="127848"/>
                      </a:cubicBezTo>
                      <a:lnTo>
                        <a:pt x="2029448" y="48053"/>
                      </a:lnTo>
                      <a:lnTo>
                        <a:pt x="2035600" y="48053"/>
                      </a:lnTo>
                      <a:lnTo>
                        <a:pt x="2058260" y="127848"/>
                      </a:lnTo>
                      <a:cubicBezTo>
                        <a:pt x="2058780" y="129736"/>
                        <a:pt x="2059236" y="132536"/>
                        <a:pt x="2059626" y="136247"/>
                      </a:cubicBezTo>
                      <a:lnTo>
                        <a:pt x="2060408" y="136247"/>
                      </a:lnTo>
                      <a:cubicBezTo>
                        <a:pt x="2060408" y="134359"/>
                        <a:pt x="2060962" y="131559"/>
                        <a:pt x="2062068" y="127848"/>
                      </a:cubicBezTo>
                      <a:lnTo>
                        <a:pt x="2085802" y="48053"/>
                      </a:lnTo>
                      <a:lnTo>
                        <a:pt x="2095080" y="48053"/>
                      </a:lnTo>
                      <a:lnTo>
                        <a:pt x="2064022" y="148065"/>
                      </a:lnTo>
                      <a:lnTo>
                        <a:pt x="2055622" y="148065"/>
                      </a:lnTo>
                      <a:lnTo>
                        <a:pt x="2033842" y="72665"/>
                      </a:lnTo>
                      <a:cubicBezTo>
                        <a:pt x="2033256" y="70582"/>
                        <a:pt x="2032736" y="67782"/>
                        <a:pt x="2032280" y="64266"/>
                      </a:cubicBezTo>
                      <a:lnTo>
                        <a:pt x="2031792" y="64266"/>
                      </a:lnTo>
                      <a:cubicBezTo>
                        <a:pt x="2031662" y="65763"/>
                        <a:pt x="2031010" y="68498"/>
                        <a:pt x="2029838" y="72470"/>
                      </a:cubicBezTo>
                      <a:lnTo>
                        <a:pt x="2005420" y="148065"/>
                      </a:lnTo>
                      <a:lnTo>
                        <a:pt x="1997022" y="148065"/>
                      </a:lnTo>
                      <a:close/>
                      <a:moveTo>
                        <a:pt x="1633662" y="48053"/>
                      </a:moveTo>
                      <a:lnTo>
                        <a:pt x="1644210" y="48053"/>
                      </a:lnTo>
                      <a:lnTo>
                        <a:pt x="1666478" y="83897"/>
                      </a:lnTo>
                      <a:cubicBezTo>
                        <a:pt x="1669344" y="88520"/>
                        <a:pt x="1671070" y="91385"/>
                        <a:pt x="1671656" y="92492"/>
                      </a:cubicBezTo>
                      <a:lnTo>
                        <a:pt x="1672046" y="92492"/>
                      </a:lnTo>
                      <a:lnTo>
                        <a:pt x="1677026" y="84288"/>
                      </a:lnTo>
                      <a:lnTo>
                        <a:pt x="1700272" y="48053"/>
                      </a:lnTo>
                      <a:lnTo>
                        <a:pt x="1710820" y="48053"/>
                      </a:lnTo>
                      <a:lnTo>
                        <a:pt x="1676832" y="99036"/>
                      </a:lnTo>
                      <a:lnTo>
                        <a:pt x="1709452" y="148065"/>
                      </a:lnTo>
                      <a:lnTo>
                        <a:pt x="1698026" y="148065"/>
                      </a:lnTo>
                      <a:lnTo>
                        <a:pt x="1671656" y="105872"/>
                      </a:lnTo>
                      <a:lnTo>
                        <a:pt x="1671264" y="105872"/>
                      </a:lnTo>
                      <a:lnTo>
                        <a:pt x="1667748" y="111440"/>
                      </a:lnTo>
                      <a:cubicBezTo>
                        <a:pt x="1667292" y="112221"/>
                        <a:pt x="1666740" y="113100"/>
                        <a:pt x="1666088" y="114077"/>
                      </a:cubicBezTo>
                      <a:lnTo>
                        <a:pt x="1644014" y="148065"/>
                      </a:lnTo>
                      <a:lnTo>
                        <a:pt x="1633076" y="148065"/>
                      </a:lnTo>
                      <a:lnTo>
                        <a:pt x="1666478" y="99231"/>
                      </a:lnTo>
                      <a:close/>
                      <a:moveTo>
                        <a:pt x="612632" y="48053"/>
                      </a:moveTo>
                      <a:lnTo>
                        <a:pt x="622692" y="48053"/>
                      </a:lnTo>
                      <a:lnTo>
                        <a:pt x="652480" y="127653"/>
                      </a:lnTo>
                      <a:cubicBezTo>
                        <a:pt x="653912" y="131494"/>
                        <a:pt x="654922" y="134978"/>
                        <a:pt x="655508" y="138103"/>
                      </a:cubicBezTo>
                      <a:lnTo>
                        <a:pt x="655898" y="138103"/>
                      </a:lnTo>
                      <a:cubicBezTo>
                        <a:pt x="656744" y="134001"/>
                        <a:pt x="657690" y="130648"/>
                        <a:pt x="658730" y="128043"/>
                      </a:cubicBezTo>
                      <a:lnTo>
                        <a:pt x="689496" y="48053"/>
                      </a:lnTo>
                      <a:lnTo>
                        <a:pt x="699264" y="48053"/>
                      </a:lnTo>
                      <a:lnTo>
                        <a:pt x="659512" y="148065"/>
                      </a:lnTo>
                      <a:lnTo>
                        <a:pt x="651308" y="148065"/>
                      </a:lnTo>
                      <a:close/>
                      <a:moveTo>
                        <a:pt x="93296" y="48053"/>
                      </a:moveTo>
                      <a:lnTo>
                        <a:pt x="102282" y="48053"/>
                      </a:lnTo>
                      <a:lnTo>
                        <a:pt x="102282" y="148065"/>
                      </a:lnTo>
                      <a:lnTo>
                        <a:pt x="93296" y="148065"/>
                      </a:lnTo>
                      <a:close/>
                      <a:moveTo>
                        <a:pt x="863932" y="46099"/>
                      </a:moveTo>
                      <a:cubicBezTo>
                        <a:pt x="867644" y="46099"/>
                        <a:pt x="870964" y="46685"/>
                        <a:pt x="873894" y="47857"/>
                      </a:cubicBezTo>
                      <a:lnTo>
                        <a:pt x="873894" y="57429"/>
                      </a:lnTo>
                      <a:cubicBezTo>
                        <a:pt x="870900" y="55280"/>
                        <a:pt x="867384" y="54206"/>
                        <a:pt x="863346" y="54206"/>
                      </a:cubicBezTo>
                      <a:cubicBezTo>
                        <a:pt x="855468" y="54206"/>
                        <a:pt x="848858" y="58275"/>
                        <a:pt x="843520" y="66414"/>
                      </a:cubicBezTo>
                      <a:cubicBezTo>
                        <a:pt x="838180" y="74553"/>
                        <a:pt x="835510" y="86111"/>
                        <a:pt x="835510" y="101087"/>
                      </a:cubicBezTo>
                      <a:lnTo>
                        <a:pt x="835510" y="148065"/>
                      </a:lnTo>
                      <a:lnTo>
                        <a:pt x="826720" y="148065"/>
                      </a:lnTo>
                      <a:lnTo>
                        <a:pt x="826720" y="48053"/>
                      </a:lnTo>
                      <a:lnTo>
                        <a:pt x="835510" y="48053"/>
                      </a:lnTo>
                      <a:lnTo>
                        <a:pt x="835510" y="70223"/>
                      </a:lnTo>
                      <a:lnTo>
                        <a:pt x="835902" y="70223"/>
                      </a:lnTo>
                      <a:cubicBezTo>
                        <a:pt x="838180" y="62605"/>
                        <a:pt x="841794" y="56680"/>
                        <a:pt x="846742" y="52448"/>
                      </a:cubicBezTo>
                      <a:cubicBezTo>
                        <a:pt x="851692" y="48216"/>
                        <a:pt x="857422" y="46099"/>
                        <a:pt x="863932" y="46099"/>
                      </a:cubicBezTo>
                      <a:close/>
                      <a:moveTo>
                        <a:pt x="168608" y="46099"/>
                      </a:moveTo>
                      <a:cubicBezTo>
                        <a:pt x="172318" y="46099"/>
                        <a:pt x="175640" y="46685"/>
                        <a:pt x="178570" y="47857"/>
                      </a:cubicBezTo>
                      <a:lnTo>
                        <a:pt x="178570" y="57429"/>
                      </a:lnTo>
                      <a:cubicBezTo>
                        <a:pt x="175574" y="55280"/>
                        <a:pt x="172058" y="54206"/>
                        <a:pt x="168022" y="54206"/>
                      </a:cubicBezTo>
                      <a:cubicBezTo>
                        <a:pt x="160142" y="54206"/>
                        <a:pt x="153534" y="58275"/>
                        <a:pt x="148194" y="66414"/>
                      </a:cubicBezTo>
                      <a:cubicBezTo>
                        <a:pt x="142856" y="74553"/>
                        <a:pt x="140186" y="86111"/>
                        <a:pt x="140186" y="101087"/>
                      </a:cubicBezTo>
                      <a:lnTo>
                        <a:pt x="140186" y="148065"/>
                      </a:lnTo>
                      <a:lnTo>
                        <a:pt x="131396" y="148065"/>
                      </a:lnTo>
                      <a:lnTo>
                        <a:pt x="131396" y="48053"/>
                      </a:lnTo>
                      <a:lnTo>
                        <a:pt x="140186" y="48053"/>
                      </a:lnTo>
                      <a:lnTo>
                        <a:pt x="140186" y="70223"/>
                      </a:lnTo>
                      <a:lnTo>
                        <a:pt x="140576" y="70223"/>
                      </a:lnTo>
                      <a:cubicBezTo>
                        <a:pt x="142856" y="62605"/>
                        <a:pt x="146470" y="56680"/>
                        <a:pt x="151418" y="52448"/>
                      </a:cubicBezTo>
                      <a:cubicBezTo>
                        <a:pt x="156366" y="48216"/>
                        <a:pt x="162096" y="46099"/>
                        <a:pt x="168608" y="46099"/>
                      </a:cubicBezTo>
                      <a:close/>
                      <a:moveTo>
                        <a:pt x="2445474" y="45611"/>
                      </a:moveTo>
                      <a:cubicBezTo>
                        <a:pt x="2457910" y="45611"/>
                        <a:pt x="2467448" y="49974"/>
                        <a:pt x="2474090" y="58699"/>
                      </a:cubicBezTo>
                      <a:cubicBezTo>
                        <a:pt x="2480732" y="67424"/>
                        <a:pt x="2484052" y="79339"/>
                        <a:pt x="2484052" y="94445"/>
                      </a:cubicBezTo>
                      <a:lnTo>
                        <a:pt x="2484052" y="98450"/>
                      </a:lnTo>
                      <a:lnTo>
                        <a:pt x="2410020" y="98450"/>
                      </a:lnTo>
                      <a:cubicBezTo>
                        <a:pt x="2410020" y="112188"/>
                        <a:pt x="2413194" y="122932"/>
                        <a:pt x="2419542" y="130680"/>
                      </a:cubicBezTo>
                      <a:cubicBezTo>
                        <a:pt x="2425890" y="138429"/>
                        <a:pt x="2434600" y="142303"/>
                        <a:pt x="2445668" y="142303"/>
                      </a:cubicBezTo>
                      <a:cubicBezTo>
                        <a:pt x="2456868" y="142303"/>
                        <a:pt x="2467806" y="138168"/>
                        <a:pt x="2478486" y="129899"/>
                      </a:cubicBezTo>
                      <a:lnTo>
                        <a:pt x="2478486" y="139470"/>
                      </a:lnTo>
                      <a:cubicBezTo>
                        <a:pt x="2468132" y="146828"/>
                        <a:pt x="2456574" y="150507"/>
                        <a:pt x="2443812" y="150507"/>
                      </a:cubicBezTo>
                      <a:cubicBezTo>
                        <a:pt x="2430920" y="150507"/>
                        <a:pt x="2420502" y="145884"/>
                        <a:pt x="2412558" y="136638"/>
                      </a:cubicBezTo>
                      <a:cubicBezTo>
                        <a:pt x="2404614" y="127392"/>
                        <a:pt x="2400644" y="114337"/>
                        <a:pt x="2400644" y="97473"/>
                      </a:cubicBezTo>
                      <a:cubicBezTo>
                        <a:pt x="2400644" y="82888"/>
                        <a:pt x="2404794" y="70598"/>
                        <a:pt x="2413096" y="60603"/>
                      </a:cubicBezTo>
                      <a:cubicBezTo>
                        <a:pt x="2421398" y="50608"/>
                        <a:pt x="2432190" y="45611"/>
                        <a:pt x="2445474" y="45611"/>
                      </a:cubicBezTo>
                      <a:close/>
                      <a:moveTo>
                        <a:pt x="1863914" y="45611"/>
                      </a:moveTo>
                      <a:cubicBezTo>
                        <a:pt x="1872508" y="45611"/>
                        <a:pt x="1879866" y="47369"/>
                        <a:pt x="1885986" y="50885"/>
                      </a:cubicBezTo>
                      <a:lnTo>
                        <a:pt x="1885986" y="61043"/>
                      </a:lnTo>
                      <a:cubicBezTo>
                        <a:pt x="1878564" y="56224"/>
                        <a:pt x="1870880" y="53815"/>
                        <a:pt x="1862936" y="53815"/>
                      </a:cubicBezTo>
                      <a:cubicBezTo>
                        <a:pt x="1856360" y="53815"/>
                        <a:pt x="1851054" y="55524"/>
                        <a:pt x="1847016" y="58943"/>
                      </a:cubicBezTo>
                      <a:cubicBezTo>
                        <a:pt x="1842980" y="62361"/>
                        <a:pt x="1840962" y="66805"/>
                        <a:pt x="1840962" y="72275"/>
                      </a:cubicBezTo>
                      <a:cubicBezTo>
                        <a:pt x="1840962" y="77028"/>
                        <a:pt x="1842230" y="80886"/>
                        <a:pt x="1844770" y="83848"/>
                      </a:cubicBezTo>
                      <a:cubicBezTo>
                        <a:pt x="1847310" y="86811"/>
                        <a:pt x="1852910" y="90213"/>
                        <a:pt x="1861570" y="94055"/>
                      </a:cubicBezTo>
                      <a:cubicBezTo>
                        <a:pt x="1871988" y="98743"/>
                        <a:pt x="1879150" y="103089"/>
                        <a:pt x="1883056" y="107093"/>
                      </a:cubicBezTo>
                      <a:cubicBezTo>
                        <a:pt x="1886962" y="111098"/>
                        <a:pt x="1888916" y="116421"/>
                        <a:pt x="1888916" y="123062"/>
                      </a:cubicBezTo>
                      <a:cubicBezTo>
                        <a:pt x="1888916" y="131006"/>
                        <a:pt x="1885938" y="137566"/>
                        <a:pt x="1879980" y="142742"/>
                      </a:cubicBezTo>
                      <a:cubicBezTo>
                        <a:pt x="1874022" y="147919"/>
                        <a:pt x="1865802" y="150507"/>
                        <a:pt x="1855318" y="150507"/>
                      </a:cubicBezTo>
                      <a:cubicBezTo>
                        <a:pt x="1845682" y="150507"/>
                        <a:pt x="1837640" y="148228"/>
                        <a:pt x="1831194" y="143670"/>
                      </a:cubicBezTo>
                      <a:lnTo>
                        <a:pt x="1831194" y="132829"/>
                      </a:lnTo>
                      <a:cubicBezTo>
                        <a:pt x="1834580" y="135759"/>
                        <a:pt x="1838682" y="138070"/>
                        <a:pt x="1843500" y="139763"/>
                      </a:cubicBezTo>
                      <a:cubicBezTo>
                        <a:pt x="1848318" y="141456"/>
                        <a:pt x="1852486" y="142303"/>
                        <a:pt x="1856002" y="142303"/>
                      </a:cubicBezTo>
                      <a:cubicBezTo>
                        <a:pt x="1871694" y="142303"/>
                        <a:pt x="1879540" y="135889"/>
                        <a:pt x="1879540" y="123062"/>
                      </a:cubicBezTo>
                      <a:cubicBezTo>
                        <a:pt x="1879540" y="118634"/>
                        <a:pt x="1877814" y="114858"/>
                        <a:pt x="1874364" y="111733"/>
                      </a:cubicBezTo>
                      <a:cubicBezTo>
                        <a:pt x="1870912" y="108607"/>
                        <a:pt x="1865314" y="105384"/>
                        <a:pt x="1857564" y="102063"/>
                      </a:cubicBezTo>
                      <a:cubicBezTo>
                        <a:pt x="1847994" y="97896"/>
                        <a:pt x="1841270" y="93583"/>
                        <a:pt x="1837396" y="89122"/>
                      </a:cubicBezTo>
                      <a:cubicBezTo>
                        <a:pt x="1833522" y="84662"/>
                        <a:pt x="1831584" y="79242"/>
                        <a:pt x="1831584" y="72861"/>
                      </a:cubicBezTo>
                      <a:cubicBezTo>
                        <a:pt x="1831584" y="64721"/>
                        <a:pt x="1834694" y="58145"/>
                        <a:pt x="1840912" y="53132"/>
                      </a:cubicBezTo>
                      <a:cubicBezTo>
                        <a:pt x="1847130" y="48118"/>
                        <a:pt x="1854798" y="45611"/>
                        <a:pt x="1863914" y="45611"/>
                      </a:cubicBezTo>
                      <a:close/>
                      <a:moveTo>
                        <a:pt x="1769198" y="45611"/>
                      </a:moveTo>
                      <a:cubicBezTo>
                        <a:pt x="1781634" y="45611"/>
                        <a:pt x="1791174" y="49974"/>
                        <a:pt x="1797814" y="58699"/>
                      </a:cubicBezTo>
                      <a:cubicBezTo>
                        <a:pt x="1804456" y="67424"/>
                        <a:pt x="1807778" y="79339"/>
                        <a:pt x="1807778" y="94445"/>
                      </a:cubicBezTo>
                      <a:lnTo>
                        <a:pt x="1807778" y="98450"/>
                      </a:lnTo>
                      <a:lnTo>
                        <a:pt x="1733744" y="98450"/>
                      </a:lnTo>
                      <a:cubicBezTo>
                        <a:pt x="1733744" y="112188"/>
                        <a:pt x="1736918" y="122932"/>
                        <a:pt x="1743266" y="130680"/>
                      </a:cubicBezTo>
                      <a:cubicBezTo>
                        <a:pt x="1749616" y="138429"/>
                        <a:pt x="1758324" y="142303"/>
                        <a:pt x="1769394" y="142303"/>
                      </a:cubicBezTo>
                      <a:cubicBezTo>
                        <a:pt x="1780592" y="142303"/>
                        <a:pt x="1791532" y="138168"/>
                        <a:pt x="1802210" y="129899"/>
                      </a:cubicBezTo>
                      <a:lnTo>
                        <a:pt x="1802210" y="139470"/>
                      </a:lnTo>
                      <a:cubicBezTo>
                        <a:pt x="1791858" y="146828"/>
                        <a:pt x="1780300" y="150507"/>
                        <a:pt x="1767538" y="150507"/>
                      </a:cubicBezTo>
                      <a:cubicBezTo>
                        <a:pt x="1754646" y="150507"/>
                        <a:pt x="1744228" y="145884"/>
                        <a:pt x="1736284" y="136638"/>
                      </a:cubicBezTo>
                      <a:cubicBezTo>
                        <a:pt x="1728340" y="127392"/>
                        <a:pt x="1724368" y="114337"/>
                        <a:pt x="1724368" y="97473"/>
                      </a:cubicBezTo>
                      <a:cubicBezTo>
                        <a:pt x="1724368" y="82888"/>
                        <a:pt x="1728520" y="70598"/>
                        <a:pt x="1736822" y="60603"/>
                      </a:cubicBezTo>
                      <a:cubicBezTo>
                        <a:pt x="1745122" y="50608"/>
                        <a:pt x="1755916" y="45611"/>
                        <a:pt x="1769198" y="45611"/>
                      </a:cubicBezTo>
                      <a:close/>
                      <a:moveTo>
                        <a:pt x="1587050" y="45611"/>
                      </a:moveTo>
                      <a:cubicBezTo>
                        <a:pt x="1597338" y="45611"/>
                        <a:pt x="1605298" y="48802"/>
                        <a:pt x="1610930" y="55183"/>
                      </a:cubicBezTo>
                      <a:cubicBezTo>
                        <a:pt x="1616564" y="61564"/>
                        <a:pt x="1619380" y="70842"/>
                        <a:pt x="1619380" y="83018"/>
                      </a:cubicBezTo>
                      <a:lnTo>
                        <a:pt x="1619380" y="148065"/>
                      </a:lnTo>
                      <a:lnTo>
                        <a:pt x="1610394" y="148065"/>
                      </a:lnTo>
                      <a:lnTo>
                        <a:pt x="1610394" y="128043"/>
                      </a:lnTo>
                      <a:lnTo>
                        <a:pt x="1610004" y="128043"/>
                      </a:lnTo>
                      <a:cubicBezTo>
                        <a:pt x="1606812" y="134880"/>
                        <a:pt x="1602174" y="140333"/>
                        <a:pt x="1596086" y="144403"/>
                      </a:cubicBezTo>
                      <a:cubicBezTo>
                        <a:pt x="1589998" y="148472"/>
                        <a:pt x="1583242" y="150507"/>
                        <a:pt x="1575820" y="150507"/>
                      </a:cubicBezTo>
                      <a:cubicBezTo>
                        <a:pt x="1566312" y="150507"/>
                        <a:pt x="1558792" y="147837"/>
                        <a:pt x="1553258" y="142498"/>
                      </a:cubicBezTo>
                      <a:cubicBezTo>
                        <a:pt x="1547724" y="137159"/>
                        <a:pt x="1544956" y="130420"/>
                        <a:pt x="1544956" y="122281"/>
                      </a:cubicBezTo>
                      <a:cubicBezTo>
                        <a:pt x="1544956" y="104831"/>
                        <a:pt x="1556514" y="94282"/>
                        <a:pt x="1579628" y="90636"/>
                      </a:cubicBezTo>
                      <a:lnTo>
                        <a:pt x="1610394" y="86046"/>
                      </a:lnTo>
                      <a:cubicBezTo>
                        <a:pt x="1610394" y="64559"/>
                        <a:pt x="1602320" y="53815"/>
                        <a:pt x="1586172" y="53815"/>
                      </a:cubicBezTo>
                      <a:cubicBezTo>
                        <a:pt x="1575168" y="53815"/>
                        <a:pt x="1564458" y="58243"/>
                        <a:pt x="1554040" y="67098"/>
                      </a:cubicBezTo>
                      <a:lnTo>
                        <a:pt x="1554040" y="56257"/>
                      </a:lnTo>
                      <a:cubicBezTo>
                        <a:pt x="1557750" y="53327"/>
                        <a:pt x="1562780" y="50820"/>
                        <a:pt x="1569128" y="48736"/>
                      </a:cubicBezTo>
                      <a:cubicBezTo>
                        <a:pt x="1575478" y="46653"/>
                        <a:pt x="1581452" y="45611"/>
                        <a:pt x="1587050" y="45611"/>
                      </a:cubicBezTo>
                      <a:close/>
                      <a:moveTo>
                        <a:pt x="1308430" y="45611"/>
                      </a:moveTo>
                      <a:cubicBezTo>
                        <a:pt x="1319240" y="45611"/>
                        <a:pt x="1327508" y="49208"/>
                        <a:pt x="1333238" y="56403"/>
                      </a:cubicBezTo>
                      <a:cubicBezTo>
                        <a:pt x="1338968" y="63598"/>
                        <a:pt x="1341834" y="73870"/>
                        <a:pt x="1341834" y="87218"/>
                      </a:cubicBezTo>
                      <a:lnTo>
                        <a:pt x="1341834" y="148065"/>
                      </a:lnTo>
                      <a:lnTo>
                        <a:pt x="1332848" y="148065"/>
                      </a:lnTo>
                      <a:lnTo>
                        <a:pt x="1332848" y="89855"/>
                      </a:lnTo>
                      <a:cubicBezTo>
                        <a:pt x="1332848" y="65828"/>
                        <a:pt x="1324188" y="53815"/>
                        <a:pt x="1306868" y="53815"/>
                      </a:cubicBezTo>
                      <a:cubicBezTo>
                        <a:pt x="1297232" y="53815"/>
                        <a:pt x="1289320" y="57348"/>
                        <a:pt x="1283134" y="64412"/>
                      </a:cubicBezTo>
                      <a:cubicBezTo>
                        <a:pt x="1276950" y="71477"/>
                        <a:pt x="1273856" y="80218"/>
                        <a:pt x="1273856" y="90636"/>
                      </a:cubicBezTo>
                      <a:lnTo>
                        <a:pt x="1273856" y="148065"/>
                      </a:lnTo>
                      <a:lnTo>
                        <a:pt x="1264870" y="148065"/>
                      </a:lnTo>
                      <a:lnTo>
                        <a:pt x="1264870" y="48053"/>
                      </a:lnTo>
                      <a:lnTo>
                        <a:pt x="1273856" y="48053"/>
                      </a:lnTo>
                      <a:lnTo>
                        <a:pt x="1273856" y="66219"/>
                      </a:lnTo>
                      <a:lnTo>
                        <a:pt x="1274246" y="66219"/>
                      </a:lnTo>
                      <a:cubicBezTo>
                        <a:pt x="1281540" y="52480"/>
                        <a:pt x="1292934" y="45611"/>
                        <a:pt x="1308430" y="45611"/>
                      </a:cubicBezTo>
                      <a:close/>
                      <a:moveTo>
                        <a:pt x="1197698" y="45611"/>
                      </a:moveTo>
                      <a:cubicBezTo>
                        <a:pt x="1210134" y="45611"/>
                        <a:pt x="1219674" y="49974"/>
                        <a:pt x="1226314" y="58699"/>
                      </a:cubicBezTo>
                      <a:cubicBezTo>
                        <a:pt x="1232956" y="67424"/>
                        <a:pt x="1236278" y="79339"/>
                        <a:pt x="1236278" y="94445"/>
                      </a:cubicBezTo>
                      <a:lnTo>
                        <a:pt x="1236278" y="98450"/>
                      </a:lnTo>
                      <a:lnTo>
                        <a:pt x="1162244" y="98450"/>
                      </a:lnTo>
                      <a:cubicBezTo>
                        <a:pt x="1162244" y="112188"/>
                        <a:pt x="1165418" y="122932"/>
                        <a:pt x="1171766" y="130680"/>
                      </a:cubicBezTo>
                      <a:cubicBezTo>
                        <a:pt x="1178116" y="138429"/>
                        <a:pt x="1186824" y="142303"/>
                        <a:pt x="1197894" y="142303"/>
                      </a:cubicBezTo>
                      <a:cubicBezTo>
                        <a:pt x="1209092" y="142303"/>
                        <a:pt x="1220032" y="138168"/>
                        <a:pt x="1230710" y="129899"/>
                      </a:cubicBezTo>
                      <a:lnTo>
                        <a:pt x="1230710" y="139470"/>
                      </a:lnTo>
                      <a:cubicBezTo>
                        <a:pt x="1220358" y="146828"/>
                        <a:pt x="1208800" y="150507"/>
                        <a:pt x="1196038" y="150507"/>
                      </a:cubicBezTo>
                      <a:cubicBezTo>
                        <a:pt x="1183146" y="150507"/>
                        <a:pt x="1172728" y="145884"/>
                        <a:pt x="1164784" y="136638"/>
                      </a:cubicBezTo>
                      <a:cubicBezTo>
                        <a:pt x="1156840" y="127392"/>
                        <a:pt x="1152868" y="114337"/>
                        <a:pt x="1152868" y="97473"/>
                      </a:cubicBezTo>
                      <a:cubicBezTo>
                        <a:pt x="1152868" y="82888"/>
                        <a:pt x="1157020" y="70598"/>
                        <a:pt x="1165322" y="60603"/>
                      </a:cubicBezTo>
                      <a:cubicBezTo>
                        <a:pt x="1173622" y="50608"/>
                        <a:pt x="1184416" y="45611"/>
                        <a:pt x="1197698" y="45611"/>
                      </a:cubicBezTo>
                      <a:close/>
                      <a:moveTo>
                        <a:pt x="1038118" y="45611"/>
                      </a:moveTo>
                      <a:cubicBezTo>
                        <a:pt x="1045410" y="45611"/>
                        <a:pt x="1051644" y="47711"/>
                        <a:pt x="1056820" y="51911"/>
                      </a:cubicBezTo>
                      <a:cubicBezTo>
                        <a:pt x="1061998" y="56110"/>
                        <a:pt x="1065496" y="61629"/>
                        <a:pt x="1067320" y="68465"/>
                      </a:cubicBezTo>
                      <a:cubicBezTo>
                        <a:pt x="1070446" y="61238"/>
                        <a:pt x="1074922" y="55622"/>
                        <a:pt x="1080750" y="51618"/>
                      </a:cubicBezTo>
                      <a:cubicBezTo>
                        <a:pt x="1086576" y="47613"/>
                        <a:pt x="1092910" y="45611"/>
                        <a:pt x="1099746" y="45611"/>
                      </a:cubicBezTo>
                      <a:cubicBezTo>
                        <a:pt x="1121624" y="45611"/>
                        <a:pt x="1132562" y="59154"/>
                        <a:pt x="1132562" y="86241"/>
                      </a:cubicBezTo>
                      <a:lnTo>
                        <a:pt x="1132562" y="148065"/>
                      </a:lnTo>
                      <a:lnTo>
                        <a:pt x="1123578" y="148065"/>
                      </a:lnTo>
                      <a:lnTo>
                        <a:pt x="1123578" y="87901"/>
                      </a:lnTo>
                      <a:cubicBezTo>
                        <a:pt x="1123578" y="75335"/>
                        <a:pt x="1121608" y="66512"/>
                        <a:pt x="1117668" y="61433"/>
                      </a:cubicBezTo>
                      <a:cubicBezTo>
                        <a:pt x="1113728" y="56355"/>
                        <a:pt x="1107494" y="53815"/>
                        <a:pt x="1098964" y="53815"/>
                      </a:cubicBezTo>
                      <a:cubicBezTo>
                        <a:pt x="1091086" y="53815"/>
                        <a:pt x="1084282" y="57201"/>
                        <a:pt x="1078552" y="63973"/>
                      </a:cubicBezTo>
                      <a:cubicBezTo>
                        <a:pt x="1072822" y="70744"/>
                        <a:pt x="1069958" y="79242"/>
                        <a:pt x="1069958" y="89464"/>
                      </a:cubicBezTo>
                      <a:lnTo>
                        <a:pt x="1069958" y="148065"/>
                      </a:lnTo>
                      <a:lnTo>
                        <a:pt x="1060972" y="148065"/>
                      </a:lnTo>
                      <a:lnTo>
                        <a:pt x="1060972" y="87218"/>
                      </a:lnTo>
                      <a:cubicBezTo>
                        <a:pt x="1060972" y="64949"/>
                        <a:pt x="1052506" y="53815"/>
                        <a:pt x="1035578" y="53815"/>
                      </a:cubicBezTo>
                      <a:cubicBezTo>
                        <a:pt x="1027438" y="53815"/>
                        <a:pt x="1020666" y="57217"/>
                        <a:pt x="1015262" y="64022"/>
                      </a:cubicBezTo>
                      <a:cubicBezTo>
                        <a:pt x="1009858" y="70826"/>
                        <a:pt x="1007156" y="79632"/>
                        <a:pt x="1007156" y="90441"/>
                      </a:cubicBezTo>
                      <a:lnTo>
                        <a:pt x="1007156" y="148065"/>
                      </a:lnTo>
                      <a:lnTo>
                        <a:pt x="998170" y="148065"/>
                      </a:lnTo>
                      <a:lnTo>
                        <a:pt x="998170" y="48053"/>
                      </a:lnTo>
                      <a:lnTo>
                        <a:pt x="1007156" y="48053"/>
                      </a:lnTo>
                      <a:lnTo>
                        <a:pt x="1007156" y="64656"/>
                      </a:lnTo>
                      <a:lnTo>
                        <a:pt x="1007546" y="64656"/>
                      </a:lnTo>
                      <a:cubicBezTo>
                        <a:pt x="1014514" y="51959"/>
                        <a:pt x="1024704" y="45611"/>
                        <a:pt x="1038118" y="45611"/>
                      </a:cubicBezTo>
                      <a:close/>
                      <a:moveTo>
                        <a:pt x="936956" y="45611"/>
                      </a:moveTo>
                      <a:cubicBezTo>
                        <a:pt x="947764" y="45611"/>
                        <a:pt x="956034" y="49208"/>
                        <a:pt x="961764" y="56403"/>
                      </a:cubicBezTo>
                      <a:cubicBezTo>
                        <a:pt x="967494" y="63598"/>
                        <a:pt x="970358" y="73870"/>
                        <a:pt x="970358" y="87218"/>
                      </a:cubicBezTo>
                      <a:lnTo>
                        <a:pt x="970358" y="148065"/>
                      </a:lnTo>
                      <a:lnTo>
                        <a:pt x="961372" y="148065"/>
                      </a:lnTo>
                      <a:lnTo>
                        <a:pt x="961372" y="89855"/>
                      </a:lnTo>
                      <a:cubicBezTo>
                        <a:pt x="961372" y="65828"/>
                        <a:pt x="952712" y="53815"/>
                        <a:pt x="935394" y="53815"/>
                      </a:cubicBezTo>
                      <a:cubicBezTo>
                        <a:pt x="925756" y="53815"/>
                        <a:pt x="917846" y="57348"/>
                        <a:pt x="911660" y="64412"/>
                      </a:cubicBezTo>
                      <a:cubicBezTo>
                        <a:pt x="905474" y="71477"/>
                        <a:pt x="902382" y="80218"/>
                        <a:pt x="902382" y="90636"/>
                      </a:cubicBezTo>
                      <a:lnTo>
                        <a:pt x="902382" y="148065"/>
                      </a:lnTo>
                      <a:lnTo>
                        <a:pt x="893396" y="148065"/>
                      </a:lnTo>
                      <a:lnTo>
                        <a:pt x="893396" y="48053"/>
                      </a:lnTo>
                      <a:lnTo>
                        <a:pt x="902382" y="48053"/>
                      </a:lnTo>
                      <a:lnTo>
                        <a:pt x="902382" y="66219"/>
                      </a:lnTo>
                      <a:lnTo>
                        <a:pt x="902772" y="66219"/>
                      </a:lnTo>
                      <a:cubicBezTo>
                        <a:pt x="910064" y="52480"/>
                        <a:pt x="921458" y="45611"/>
                        <a:pt x="936956" y="45611"/>
                      </a:cubicBezTo>
                      <a:close/>
                      <a:moveTo>
                        <a:pt x="759548" y="45611"/>
                      </a:moveTo>
                      <a:cubicBezTo>
                        <a:pt x="771984" y="45611"/>
                        <a:pt x="781524" y="49974"/>
                        <a:pt x="788164" y="58699"/>
                      </a:cubicBezTo>
                      <a:cubicBezTo>
                        <a:pt x="794806" y="67424"/>
                        <a:pt x="798128" y="79339"/>
                        <a:pt x="798128" y="94445"/>
                      </a:cubicBezTo>
                      <a:lnTo>
                        <a:pt x="798128" y="98450"/>
                      </a:lnTo>
                      <a:lnTo>
                        <a:pt x="724094" y="98450"/>
                      </a:lnTo>
                      <a:cubicBezTo>
                        <a:pt x="724094" y="112188"/>
                        <a:pt x="727268" y="122932"/>
                        <a:pt x="733618" y="130680"/>
                      </a:cubicBezTo>
                      <a:cubicBezTo>
                        <a:pt x="739966" y="138429"/>
                        <a:pt x="748674" y="142303"/>
                        <a:pt x="759744" y="142303"/>
                      </a:cubicBezTo>
                      <a:cubicBezTo>
                        <a:pt x="770942" y="142303"/>
                        <a:pt x="781882" y="138168"/>
                        <a:pt x="792560" y="129899"/>
                      </a:cubicBezTo>
                      <a:lnTo>
                        <a:pt x="792560" y="139470"/>
                      </a:lnTo>
                      <a:cubicBezTo>
                        <a:pt x="782208" y="146828"/>
                        <a:pt x="770650" y="150507"/>
                        <a:pt x="757888" y="150507"/>
                      </a:cubicBezTo>
                      <a:cubicBezTo>
                        <a:pt x="744996" y="150507"/>
                        <a:pt x="734578" y="145884"/>
                        <a:pt x="726634" y="136638"/>
                      </a:cubicBezTo>
                      <a:cubicBezTo>
                        <a:pt x="718690" y="127392"/>
                        <a:pt x="714718" y="114337"/>
                        <a:pt x="714718" y="97473"/>
                      </a:cubicBezTo>
                      <a:cubicBezTo>
                        <a:pt x="714718" y="82888"/>
                        <a:pt x="718870" y="70598"/>
                        <a:pt x="727170" y="60603"/>
                      </a:cubicBezTo>
                      <a:cubicBezTo>
                        <a:pt x="735472" y="50608"/>
                        <a:pt x="746266" y="45611"/>
                        <a:pt x="759548" y="45611"/>
                      </a:cubicBezTo>
                      <a:close/>
                      <a:moveTo>
                        <a:pt x="553612" y="45611"/>
                      </a:moveTo>
                      <a:cubicBezTo>
                        <a:pt x="567872" y="45611"/>
                        <a:pt x="579136" y="50267"/>
                        <a:pt x="587406" y="59578"/>
                      </a:cubicBezTo>
                      <a:cubicBezTo>
                        <a:pt x="595674" y="68889"/>
                        <a:pt x="599808" y="81781"/>
                        <a:pt x="599808" y="98254"/>
                      </a:cubicBezTo>
                      <a:cubicBezTo>
                        <a:pt x="599808" y="113816"/>
                        <a:pt x="595592" y="126415"/>
                        <a:pt x="587160" y="136052"/>
                      </a:cubicBezTo>
                      <a:cubicBezTo>
                        <a:pt x="578728" y="145689"/>
                        <a:pt x="567188" y="150507"/>
                        <a:pt x="552538" y="150507"/>
                      </a:cubicBezTo>
                      <a:cubicBezTo>
                        <a:pt x="537952" y="150507"/>
                        <a:pt x="526412" y="145705"/>
                        <a:pt x="517914" y="136101"/>
                      </a:cubicBezTo>
                      <a:cubicBezTo>
                        <a:pt x="509416" y="126497"/>
                        <a:pt x="505168" y="114011"/>
                        <a:pt x="505168" y="98645"/>
                      </a:cubicBezTo>
                      <a:cubicBezTo>
                        <a:pt x="505168" y="82041"/>
                        <a:pt x="509612" y="69051"/>
                        <a:pt x="518500" y="59675"/>
                      </a:cubicBezTo>
                      <a:cubicBezTo>
                        <a:pt x="527388" y="50299"/>
                        <a:pt x="539092" y="45611"/>
                        <a:pt x="553612" y="45611"/>
                      </a:cubicBezTo>
                      <a:close/>
                      <a:moveTo>
                        <a:pt x="436674" y="45611"/>
                      </a:moveTo>
                      <a:cubicBezTo>
                        <a:pt x="451390" y="45611"/>
                        <a:pt x="462068" y="51699"/>
                        <a:pt x="468710" y="63875"/>
                      </a:cubicBezTo>
                      <a:lnTo>
                        <a:pt x="469100" y="63875"/>
                      </a:lnTo>
                      <a:lnTo>
                        <a:pt x="469100" y="48053"/>
                      </a:lnTo>
                      <a:lnTo>
                        <a:pt x="478086" y="48053"/>
                      </a:lnTo>
                      <a:lnTo>
                        <a:pt x="478086" y="140642"/>
                      </a:lnTo>
                      <a:cubicBezTo>
                        <a:pt x="478086" y="159460"/>
                        <a:pt x="473984" y="173231"/>
                        <a:pt x="465780" y="181956"/>
                      </a:cubicBezTo>
                      <a:cubicBezTo>
                        <a:pt x="457576" y="190681"/>
                        <a:pt x="444814" y="195044"/>
                        <a:pt x="427494" y="195044"/>
                      </a:cubicBezTo>
                      <a:cubicBezTo>
                        <a:pt x="417858" y="195044"/>
                        <a:pt x="407928" y="192504"/>
                        <a:pt x="397706" y="187426"/>
                      </a:cubicBezTo>
                      <a:lnTo>
                        <a:pt x="397706" y="178049"/>
                      </a:lnTo>
                      <a:cubicBezTo>
                        <a:pt x="408254" y="183910"/>
                        <a:pt x="418248" y="186840"/>
                        <a:pt x="427690" y="186840"/>
                      </a:cubicBezTo>
                      <a:cubicBezTo>
                        <a:pt x="455296" y="186840"/>
                        <a:pt x="469100" y="172254"/>
                        <a:pt x="469100" y="143084"/>
                      </a:cubicBezTo>
                      <a:lnTo>
                        <a:pt x="469100" y="130094"/>
                      </a:lnTo>
                      <a:lnTo>
                        <a:pt x="468710" y="130094"/>
                      </a:lnTo>
                      <a:cubicBezTo>
                        <a:pt x="460832" y="143703"/>
                        <a:pt x="448818" y="150507"/>
                        <a:pt x="432670" y="150507"/>
                      </a:cubicBezTo>
                      <a:cubicBezTo>
                        <a:pt x="420364" y="150507"/>
                        <a:pt x="410320" y="146047"/>
                        <a:pt x="402540" y="137126"/>
                      </a:cubicBezTo>
                      <a:cubicBezTo>
                        <a:pt x="394758" y="128206"/>
                        <a:pt x="390868" y="115770"/>
                        <a:pt x="390868" y="99817"/>
                      </a:cubicBezTo>
                      <a:cubicBezTo>
                        <a:pt x="390868" y="83865"/>
                        <a:pt x="395068" y="70842"/>
                        <a:pt x="403468" y="60750"/>
                      </a:cubicBezTo>
                      <a:cubicBezTo>
                        <a:pt x="411866" y="50657"/>
                        <a:pt x="422936" y="45611"/>
                        <a:pt x="436674" y="45611"/>
                      </a:cubicBezTo>
                      <a:close/>
                      <a:moveTo>
                        <a:pt x="225614" y="45611"/>
                      </a:moveTo>
                      <a:cubicBezTo>
                        <a:pt x="234208" y="45611"/>
                        <a:pt x="241566" y="47369"/>
                        <a:pt x="247686" y="50885"/>
                      </a:cubicBezTo>
                      <a:lnTo>
                        <a:pt x="247686" y="61043"/>
                      </a:lnTo>
                      <a:cubicBezTo>
                        <a:pt x="240264" y="56224"/>
                        <a:pt x="232580" y="53815"/>
                        <a:pt x="224636" y="53815"/>
                      </a:cubicBezTo>
                      <a:cubicBezTo>
                        <a:pt x="218060" y="53815"/>
                        <a:pt x="212754" y="55524"/>
                        <a:pt x="208716" y="58943"/>
                      </a:cubicBezTo>
                      <a:cubicBezTo>
                        <a:pt x="204680" y="62361"/>
                        <a:pt x="202662" y="66805"/>
                        <a:pt x="202662" y="72275"/>
                      </a:cubicBezTo>
                      <a:cubicBezTo>
                        <a:pt x="202662" y="77028"/>
                        <a:pt x="203930" y="80886"/>
                        <a:pt x="206470" y="83848"/>
                      </a:cubicBezTo>
                      <a:cubicBezTo>
                        <a:pt x="209010" y="86811"/>
                        <a:pt x="214610" y="90213"/>
                        <a:pt x="223270" y="94055"/>
                      </a:cubicBezTo>
                      <a:cubicBezTo>
                        <a:pt x="233688" y="98743"/>
                        <a:pt x="240850" y="103089"/>
                        <a:pt x="244756" y="107093"/>
                      </a:cubicBezTo>
                      <a:cubicBezTo>
                        <a:pt x="248662" y="111098"/>
                        <a:pt x="250616" y="116421"/>
                        <a:pt x="250616" y="123062"/>
                      </a:cubicBezTo>
                      <a:cubicBezTo>
                        <a:pt x="250616" y="131006"/>
                        <a:pt x="247638" y="137566"/>
                        <a:pt x="241680" y="142742"/>
                      </a:cubicBezTo>
                      <a:cubicBezTo>
                        <a:pt x="235722" y="147919"/>
                        <a:pt x="227502" y="150507"/>
                        <a:pt x="217018" y="150507"/>
                      </a:cubicBezTo>
                      <a:cubicBezTo>
                        <a:pt x="207382" y="150507"/>
                        <a:pt x="199340" y="148228"/>
                        <a:pt x="192894" y="143670"/>
                      </a:cubicBezTo>
                      <a:lnTo>
                        <a:pt x="192894" y="132829"/>
                      </a:lnTo>
                      <a:cubicBezTo>
                        <a:pt x="196280" y="135759"/>
                        <a:pt x="200382" y="138070"/>
                        <a:pt x="205200" y="139763"/>
                      </a:cubicBezTo>
                      <a:cubicBezTo>
                        <a:pt x="210018" y="141456"/>
                        <a:pt x="214186" y="142303"/>
                        <a:pt x="217702" y="142303"/>
                      </a:cubicBezTo>
                      <a:cubicBezTo>
                        <a:pt x="233394" y="142303"/>
                        <a:pt x="241240" y="135889"/>
                        <a:pt x="241240" y="123062"/>
                      </a:cubicBezTo>
                      <a:cubicBezTo>
                        <a:pt x="241240" y="118634"/>
                        <a:pt x="239514" y="114858"/>
                        <a:pt x="236064" y="111733"/>
                      </a:cubicBezTo>
                      <a:cubicBezTo>
                        <a:pt x="232612" y="108607"/>
                        <a:pt x="227014" y="105384"/>
                        <a:pt x="219264" y="102063"/>
                      </a:cubicBezTo>
                      <a:cubicBezTo>
                        <a:pt x="209694" y="97896"/>
                        <a:pt x="202970" y="93583"/>
                        <a:pt x="199096" y="89122"/>
                      </a:cubicBezTo>
                      <a:cubicBezTo>
                        <a:pt x="195222" y="84662"/>
                        <a:pt x="193284" y="79242"/>
                        <a:pt x="193284" y="72861"/>
                      </a:cubicBezTo>
                      <a:cubicBezTo>
                        <a:pt x="193284" y="64721"/>
                        <a:pt x="196394" y="58145"/>
                        <a:pt x="202612" y="53132"/>
                      </a:cubicBezTo>
                      <a:cubicBezTo>
                        <a:pt x="208830" y="48118"/>
                        <a:pt x="216498" y="45611"/>
                        <a:pt x="225614" y="45611"/>
                      </a:cubicBezTo>
                      <a:close/>
                      <a:moveTo>
                        <a:pt x="1506656" y="19045"/>
                      </a:moveTo>
                      <a:lnTo>
                        <a:pt x="1506656" y="48053"/>
                      </a:lnTo>
                      <a:lnTo>
                        <a:pt x="1533026" y="48053"/>
                      </a:lnTo>
                      <a:lnTo>
                        <a:pt x="1533026" y="56257"/>
                      </a:lnTo>
                      <a:lnTo>
                        <a:pt x="1506656" y="56257"/>
                      </a:lnTo>
                      <a:lnTo>
                        <a:pt x="1506656" y="122281"/>
                      </a:lnTo>
                      <a:cubicBezTo>
                        <a:pt x="1506656" y="129183"/>
                        <a:pt x="1507746" y="134180"/>
                        <a:pt x="1509928" y="137273"/>
                      </a:cubicBezTo>
                      <a:cubicBezTo>
                        <a:pt x="1512110" y="140366"/>
                        <a:pt x="1515804" y="141912"/>
                        <a:pt x="1521014" y="141912"/>
                      </a:cubicBezTo>
                      <a:cubicBezTo>
                        <a:pt x="1524724" y="141912"/>
                        <a:pt x="1528730" y="140708"/>
                        <a:pt x="1533026" y="138298"/>
                      </a:cubicBezTo>
                      <a:lnTo>
                        <a:pt x="1533026" y="146698"/>
                      </a:lnTo>
                      <a:cubicBezTo>
                        <a:pt x="1528338" y="148912"/>
                        <a:pt x="1523944" y="150019"/>
                        <a:pt x="1519842" y="150019"/>
                      </a:cubicBezTo>
                      <a:cubicBezTo>
                        <a:pt x="1505060" y="150019"/>
                        <a:pt x="1497670" y="141163"/>
                        <a:pt x="1497670" y="123453"/>
                      </a:cubicBezTo>
                      <a:lnTo>
                        <a:pt x="1497670" y="56257"/>
                      </a:lnTo>
                      <a:lnTo>
                        <a:pt x="1479700" y="56257"/>
                      </a:lnTo>
                      <a:lnTo>
                        <a:pt x="1479700" y="48053"/>
                      </a:lnTo>
                      <a:lnTo>
                        <a:pt x="1497670" y="48053"/>
                      </a:lnTo>
                      <a:lnTo>
                        <a:pt x="1497670" y="22073"/>
                      </a:lnTo>
                      <a:cubicBezTo>
                        <a:pt x="1499102" y="21552"/>
                        <a:pt x="1500600" y="21031"/>
                        <a:pt x="1502164" y="20510"/>
                      </a:cubicBezTo>
                      <a:cubicBezTo>
                        <a:pt x="1503726" y="20054"/>
                        <a:pt x="1505224" y="19566"/>
                        <a:pt x="1506656" y="19045"/>
                      </a:cubicBezTo>
                      <a:close/>
                      <a:moveTo>
                        <a:pt x="1382830" y="19045"/>
                      </a:moveTo>
                      <a:lnTo>
                        <a:pt x="1382830" y="48053"/>
                      </a:lnTo>
                      <a:lnTo>
                        <a:pt x="1409202" y="48053"/>
                      </a:lnTo>
                      <a:lnTo>
                        <a:pt x="1409202" y="56257"/>
                      </a:lnTo>
                      <a:lnTo>
                        <a:pt x="1382830" y="56257"/>
                      </a:lnTo>
                      <a:lnTo>
                        <a:pt x="1382830" y="122281"/>
                      </a:lnTo>
                      <a:cubicBezTo>
                        <a:pt x="1382830" y="129183"/>
                        <a:pt x="1383922" y="134180"/>
                        <a:pt x="1386102" y="137273"/>
                      </a:cubicBezTo>
                      <a:cubicBezTo>
                        <a:pt x="1388284" y="140366"/>
                        <a:pt x="1391980" y="141912"/>
                        <a:pt x="1397188" y="141912"/>
                      </a:cubicBezTo>
                      <a:cubicBezTo>
                        <a:pt x="1400900" y="141912"/>
                        <a:pt x="1404904" y="140708"/>
                        <a:pt x="1409202" y="138298"/>
                      </a:cubicBezTo>
                      <a:lnTo>
                        <a:pt x="1409202" y="146698"/>
                      </a:lnTo>
                      <a:cubicBezTo>
                        <a:pt x="1404514" y="148912"/>
                        <a:pt x="1400118" y="150019"/>
                        <a:pt x="1396016" y="150019"/>
                      </a:cubicBezTo>
                      <a:cubicBezTo>
                        <a:pt x="1381236" y="150019"/>
                        <a:pt x="1373846" y="141163"/>
                        <a:pt x="1373846" y="123453"/>
                      </a:cubicBezTo>
                      <a:lnTo>
                        <a:pt x="1373846" y="56257"/>
                      </a:lnTo>
                      <a:lnTo>
                        <a:pt x="1355874" y="56257"/>
                      </a:lnTo>
                      <a:lnTo>
                        <a:pt x="1355874" y="48053"/>
                      </a:lnTo>
                      <a:lnTo>
                        <a:pt x="1373846" y="48053"/>
                      </a:lnTo>
                      <a:lnTo>
                        <a:pt x="1373846" y="22073"/>
                      </a:lnTo>
                      <a:cubicBezTo>
                        <a:pt x="1375278" y="21552"/>
                        <a:pt x="1376776" y="21031"/>
                        <a:pt x="1378338" y="20510"/>
                      </a:cubicBezTo>
                      <a:cubicBezTo>
                        <a:pt x="1379900" y="20054"/>
                        <a:pt x="1381398" y="19566"/>
                        <a:pt x="1382830" y="19045"/>
                      </a:cubicBezTo>
                      <a:close/>
                      <a:moveTo>
                        <a:pt x="287456" y="19045"/>
                      </a:moveTo>
                      <a:lnTo>
                        <a:pt x="287456" y="48053"/>
                      </a:lnTo>
                      <a:lnTo>
                        <a:pt x="313826" y="48053"/>
                      </a:lnTo>
                      <a:lnTo>
                        <a:pt x="313826" y="56257"/>
                      </a:lnTo>
                      <a:lnTo>
                        <a:pt x="287456" y="56257"/>
                      </a:lnTo>
                      <a:lnTo>
                        <a:pt x="287456" y="122281"/>
                      </a:lnTo>
                      <a:cubicBezTo>
                        <a:pt x="287456" y="129183"/>
                        <a:pt x="288546" y="134180"/>
                        <a:pt x="290728" y="137273"/>
                      </a:cubicBezTo>
                      <a:cubicBezTo>
                        <a:pt x="292910" y="140366"/>
                        <a:pt x="296604" y="141912"/>
                        <a:pt x="301814" y="141912"/>
                      </a:cubicBezTo>
                      <a:cubicBezTo>
                        <a:pt x="305524" y="141912"/>
                        <a:pt x="309530" y="140708"/>
                        <a:pt x="313826" y="138298"/>
                      </a:cubicBezTo>
                      <a:lnTo>
                        <a:pt x="313826" y="146698"/>
                      </a:lnTo>
                      <a:cubicBezTo>
                        <a:pt x="309138" y="148912"/>
                        <a:pt x="304744" y="150019"/>
                        <a:pt x="300642" y="150019"/>
                      </a:cubicBezTo>
                      <a:cubicBezTo>
                        <a:pt x="285860" y="150019"/>
                        <a:pt x="278470" y="141163"/>
                        <a:pt x="278470" y="123453"/>
                      </a:cubicBezTo>
                      <a:lnTo>
                        <a:pt x="278470" y="56257"/>
                      </a:lnTo>
                      <a:lnTo>
                        <a:pt x="260500" y="56257"/>
                      </a:lnTo>
                      <a:lnTo>
                        <a:pt x="260500" y="48053"/>
                      </a:lnTo>
                      <a:lnTo>
                        <a:pt x="278470" y="48053"/>
                      </a:lnTo>
                      <a:lnTo>
                        <a:pt x="278470" y="22073"/>
                      </a:lnTo>
                      <a:cubicBezTo>
                        <a:pt x="279902" y="21552"/>
                        <a:pt x="281400" y="21031"/>
                        <a:pt x="282964" y="20510"/>
                      </a:cubicBezTo>
                      <a:cubicBezTo>
                        <a:pt x="284526" y="20054"/>
                        <a:pt x="286024" y="19566"/>
                        <a:pt x="287456" y="19045"/>
                      </a:cubicBezTo>
                      <a:close/>
                      <a:moveTo>
                        <a:pt x="2116990" y="8009"/>
                      </a:moveTo>
                      <a:cubicBezTo>
                        <a:pt x="2119010" y="8009"/>
                        <a:pt x="2120784" y="8660"/>
                        <a:pt x="2122314" y="9962"/>
                      </a:cubicBezTo>
                      <a:cubicBezTo>
                        <a:pt x="2123844" y="11264"/>
                        <a:pt x="2124610" y="13022"/>
                        <a:pt x="2124610" y="15236"/>
                      </a:cubicBezTo>
                      <a:cubicBezTo>
                        <a:pt x="2124610" y="17320"/>
                        <a:pt x="2123860" y="19110"/>
                        <a:pt x="2122362" y="20608"/>
                      </a:cubicBezTo>
                      <a:cubicBezTo>
                        <a:pt x="2120866" y="22105"/>
                        <a:pt x="2119074" y="22854"/>
                        <a:pt x="2116990" y="22854"/>
                      </a:cubicBezTo>
                      <a:cubicBezTo>
                        <a:pt x="2115038" y="22854"/>
                        <a:pt x="2113312" y="22138"/>
                        <a:pt x="2111814" y="20706"/>
                      </a:cubicBezTo>
                      <a:cubicBezTo>
                        <a:pt x="2110316" y="19273"/>
                        <a:pt x="2109568" y="17450"/>
                        <a:pt x="2109568" y="15236"/>
                      </a:cubicBezTo>
                      <a:cubicBezTo>
                        <a:pt x="2109568" y="13087"/>
                        <a:pt x="2110334" y="11346"/>
                        <a:pt x="2111864" y="10011"/>
                      </a:cubicBezTo>
                      <a:cubicBezTo>
                        <a:pt x="2113394" y="8676"/>
                        <a:pt x="2115102" y="8009"/>
                        <a:pt x="2116990" y="8009"/>
                      </a:cubicBezTo>
                      <a:close/>
                      <a:moveTo>
                        <a:pt x="97690" y="8009"/>
                      </a:moveTo>
                      <a:cubicBezTo>
                        <a:pt x="99710" y="8009"/>
                        <a:pt x="101484" y="8660"/>
                        <a:pt x="103014" y="9962"/>
                      </a:cubicBezTo>
                      <a:cubicBezTo>
                        <a:pt x="104544" y="11264"/>
                        <a:pt x="105308" y="13022"/>
                        <a:pt x="105308" y="15236"/>
                      </a:cubicBezTo>
                      <a:cubicBezTo>
                        <a:pt x="105308" y="17320"/>
                        <a:pt x="104560" y="19110"/>
                        <a:pt x="103062" y="20608"/>
                      </a:cubicBezTo>
                      <a:cubicBezTo>
                        <a:pt x="101564" y="22105"/>
                        <a:pt x="99774" y="22854"/>
                        <a:pt x="97690" y="22854"/>
                      </a:cubicBezTo>
                      <a:cubicBezTo>
                        <a:pt x="95738" y="22854"/>
                        <a:pt x="94012" y="22138"/>
                        <a:pt x="92514" y="20706"/>
                      </a:cubicBezTo>
                      <a:cubicBezTo>
                        <a:pt x="91016" y="19273"/>
                        <a:pt x="90268" y="17450"/>
                        <a:pt x="90268" y="15236"/>
                      </a:cubicBezTo>
                      <a:cubicBezTo>
                        <a:pt x="90268" y="13087"/>
                        <a:pt x="91034" y="11346"/>
                        <a:pt x="92564" y="10011"/>
                      </a:cubicBezTo>
                      <a:cubicBezTo>
                        <a:pt x="94094" y="8676"/>
                        <a:pt x="95802" y="8009"/>
                        <a:pt x="97690" y="8009"/>
                      </a:cubicBezTo>
                      <a:close/>
                      <a:moveTo>
                        <a:pt x="0" y="8009"/>
                      </a:moveTo>
                      <a:lnTo>
                        <a:pt x="65436" y="8009"/>
                      </a:lnTo>
                      <a:lnTo>
                        <a:pt x="65436" y="16897"/>
                      </a:lnTo>
                      <a:lnTo>
                        <a:pt x="9668" y="16897"/>
                      </a:lnTo>
                      <a:lnTo>
                        <a:pt x="9668" y="74033"/>
                      </a:lnTo>
                      <a:lnTo>
                        <a:pt x="61432" y="74033"/>
                      </a:lnTo>
                      <a:lnTo>
                        <a:pt x="61432" y="82823"/>
                      </a:lnTo>
                      <a:lnTo>
                        <a:pt x="9668" y="82823"/>
                      </a:lnTo>
                      <a:lnTo>
                        <a:pt x="9668" y="148065"/>
                      </a:lnTo>
                      <a:lnTo>
                        <a:pt x="0" y="148065"/>
                      </a:lnTo>
                      <a:close/>
                      <a:moveTo>
                        <a:pt x="2293570" y="0"/>
                      </a:moveTo>
                      <a:lnTo>
                        <a:pt x="2302556" y="0"/>
                      </a:lnTo>
                      <a:lnTo>
                        <a:pt x="2302556" y="68661"/>
                      </a:lnTo>
                      <a:lnTo>
                        <a:pt x="2302946" y="68661"/>
                      </a:lnTo>
                      <a:cubicBezTo>
                        <a:pt x="2306528" y="61303"/>
                        <a:pt x="2311656" y="55622"/>
                        <a:pt x="2318330" y="51618"/>
                      </a:cubicBezTo>
                      <a:cubicBezTo>
                        <a:pt x="2325004" y="47613"/>
                        <a:pt x="2332346" y="45611"/>
                        <a:pt x="2340354" y="45611"/>
                      </a:cubicBezTo>
                      <a:cubicBezTo>
                        <a:pt x="2353050" y="45611"/>
                        <a:pt x="2362964" y="49990"/>
                        <a:pt x="2370094" y="58747"/>
                      </a:cubicBezTo>
                      <a:cubicBezTo>
                        <a:pt x="2377224" y="67505"/>
                        <a:pt x="2380788" y="79404"/>
                        <a:pt x="2380788" y="94445"/>
                      </a:cubicBezTo>
                      <a:cubicBezTo>
                        <a:pt x="2380788" y="111179"/>
                        <a:pt x="2376654" y="124706"/>
                        <a:pt x="2368384" y="135026"/>
                      </a:cubicBezTo>
                      <a:cubicBezTo>
                        <a:pt x="2360116" y="145347"/>
                        <a:pt x="2349372" y="150507"/>
                        <a:pt x="2336154" y="150507"/>
                      </a:cubicBezTo>
                      <a:cubicBezTo>
                        <a:pt x="2321178" y="150507"/>
                        <a:pt x="2310110" y="143768"/>
                        <a:pt x="2302946" y="130290"/>
                      </a:cubicBezTo>
                      <a:lnTo>
                        <a:pt x="2302556" y="130290"/>
                      </a:lnTo>
                      <a:lnTo>
                        <a:pt x="2302556" y="148065"/>
                      </a:lnTo>
                      <a:lnTo>
                        <a:pt x="2293570" y="148065"/>
                      </a:lnTo>
                      <a:close/>
                      <a:moveTo>
                        <a:pt x="2188796" y="0"/>
                      </a:moveTo>
                      <a:lnTo>
                        <a:pt x="2197782" y="0"/>
                      </a:lnTo>
                      <a:lnTo>
                        <a:pt x="2197782" y="148065"/>
                      </a:lnTo>
                      <a:lnTo>
                        <a:pt x="2188796" y="148065"/>
                      </a:lnTo>
                      <a:close/>
                      <a:moveTo>
                        <a:pt x="2150696" y="0"/>
                      </a:moveTo>
                      <a:lnTo>
                        <a:pt x="2159682" y="0"/>
                      </a:lnTo>
                      <a:lnTo>
                        <a:pt x="2159682" y="148065"/>
                      </a:lnTo>
                      <a:lnTo>
                        <a:pt x="2150696" y="148065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Опыт сброра налогов посредством </a:t>
                  </a:r>
                  <a:r>
                    <a: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block-chain</a:t>
                  </a:r>
                </a:p>
              </p:txBody>
            </p:sp>
          </p:grpSp>
          <p:grpSp>
            <p:nvGrpSpPr>
              <p:cNvPr id="428" name="Sensors connected to Internet"/>
              <p:cNvGrpSpPr/>
              <p:nvPr/>
            </p:nvGrpSpPr>
            <p:grpSpPr>
              <a:xfrm>
                <a:off x="19642832" y="2446068"/>
                <a:ext cx="2772279" cy="1957154"/>
                <a:chOff x="9470397" y="2391332"/>
                <a:chExt cx="2772279" cy="1957154"/>
              </a:xfrm>
            </p:grpSpPr>
            <p:grpSp>
              <p:nvGrpSpPr>
                <p:cNvPr id="761" name="Group 760"/>
                <p:cNvGrpSpPr/>
                <p:nvPr/>
              </p:nvGrpSpPr>
              <p:grpSpPr>
                <a:xfrm>
                  <a:off x="10326799" y="2391332"/>
                  <a:ext cx="1057412" cy="1143518"/>
                  <a:chOff x="7874000" y="1831976"/>
                  <a:chExt cx="3060700" cy="3309938"/>
                </a:xfrm>
                <a:solidFill>
                  <a:schemeClr val="accent1"/>
                </a:solidFill>
              </p:grpSpPr>
              <p:sp>
                <p:nvSpPr>
                  <p:cNvPr id="763" name="Freeform 9"/>
                  <p:cNvSpPr>
                    <a:spLocks/>
                  </p:cNvSpPr>
                  <p:nvPr/>
                </p:nvSpPr>
                <p:spPr bwMode="auto">
                  <a:xfrm>
                    <a:off x="8424863" y="3540126"/>
                    <a:ext cx="120650" cy="1539875"/>
                  </a:xfrm>
                  <a:custGeom>
                    <a:avLst/>
                    <a:gdLst>
                      <a:gd name="T0" fmla="*/ 21 w 41"/>
                      <a:gd name="T1" fmla="*/ 3 h 518"/>
                      <a:gd name="T2" fmla="*/ 0 w 41"/>
                      <a:gd name="T3" fmla="*/ 0 h 518"/>
                      <a:gd name="T4" fmla="*/ 0 w 41"/>
                      <a:gd name="T5" fmla="*/ 518 h 518"/>
                      <a:gd name="T6" fmla="*/ 41 w 41"/>
                      <a:gd name="T7" fmla="*/ 518 h 518"/>
                      <a:gd name="T8" fmla="*/ 41 w 41"/>
                      <a:gd name="T9" fmla="*/ 0 h 518"/>
                      <a:gd name="T10" fmla="*/ 21 w 41"/>
                      <a:gd name="T11" fmla="*/ 3 h 5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1" h="518">
                        <a:moveTo>
                          <a:pt x="21" y="3"/>
                        </a:moveTo>
                        <a:cubicBezTo>
                          <a:pt x="13" y="3"/>
                          <a:pt x="7" y="2"/>
                          <a:pt x="0" y="0"/>
                        </a:cubicBezTo>
                        <a:cubicBezTo>
                          <a:pt x="0" y="518"/>
                          <a:pt x="0" y="518"/>
                          <a:pt x="0" y="518"/>
                        </a:cubicBezTo>
                        <a:cubicBezTo>
                          <a:pt x="41" y="518"/>
                          <a:pt x="41" y="518"/>
                          <a:pt x="41" y="518"/>
                        </a:cubicBezTo>
                        <a:cubicBezTo>
                          <a:pt x="41" y="0"/>
                          <a:pt x="41" y="0"/>
                          <a:pt x="41" y="0"/>
                        </a:cubicBezTo>
                        <a:cubicBezTo>
                          <a:pt x="35" y="2"/>
                          <a:pt x="28" y="3"/>
                          <a:pt x="21" y="3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4" name="Freeform 10"/>
                  <p:cNvSpPr>
                    <a:spLocks noEditPoints="1"/>
                  </p:cNvSpPr>
                  <p:nvPr/>
                </p:nvSpPr>
                <p:spPr bwMode="auto">
                  <a:xfrm>
                    <a:off x="8239125" y="3121026"/>
                    <a:ext cx="492125" cy="490538"/>
                  </a:xfrm>
                  <a:custGeom>
                    <a:avLst/>
                    <a:gdLst>
                      <a:gd name="T0" fmla="*/ 83 w 165"/>
                      <a:gd name="T1" fmla="*/ 165 h 165"/>
                      <a:gd name="T2" fmla="*/ 0 w 165"/>
                      <a:gd name="T3" fmla="*/ 83 h 165"/>
                      <a:gd name="T4" fmla="*/ 83 w 165"/>
                      <a:gd name="T5" fmla="*/ 0 h 165"/>
                      <a:gd name="T6" fmla="*/ 165 w 165"/>
                      <a:gd name="T7" fmla="*/ 83 h 165"/>
                      <a:gd name="T8" fmla="*/ 83 w 165"/>
                      <a:gd name="T9" fmla="*/ 165 h 165"/>
                      <a:gd name="T10" fmla="*/ 83 w 165"/>
                      <a:gd name="T11" fmla="*/ 41 h 165"/>
                      <a:gd name="T12" fmla="*/ 42 w 165"/>
                      <a:gd name="T13" fmla="*/ 83 h 165"/>
                      <a:gd name="T14" fmla="*/ 83 w 165"/>
                      <a:gd name="T15" fmla="*/ 124 h 165"/>
                      <a:gd name="T16" fmla="*/ 124 w 165"/>
                      <a:gd name="T17" fmla="*/ 83 h 165"/>
                      <a:gd name="T18" fmla="*/ 83 w 165"/>
                      <a:gd name="T19" fmla="*/ 41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65" h="165">
                        <a:moveTo>
                          <a:pt x="83" y="165"/>
                        </a:moveTo>
                        <a:cubicBezTo>
                          <a:pt x="37" y="165"/>
                          <a:pt x="0" y="128"/>
                          <a:pt x="0" y="83"/>
                        </a:cubicBezTo>
                        <a:cubicBezTo>
                          <a:pt x="0" y="37"/>
                          <a:pt x="37" y="0"/>
                          <a:pt x="83" y="0"/>
                        </a:cubicBezTo>
                        <a:cubicBezTo>
                          <a:pt x="128" y="0"/>
                          <a:pt x="165" y="37"/>
                          <a:pt x="165" y="83"/>
                        </a:cubicBezTo>
                        <a:cubicBezTo>
                          <a:pt x="165" y="128"/>
                          <a:pt x="128" y="165"/>
                          <a:pt x="83" y="165"/>
                        </a:cubicBezTo>
                        <a:close/>
                        <a:moveTo>
                          <a:pt x="83" y="41"/>
                        </a:moveTo>
                        <a:cubicBezTo>
                          <a:pt x="60" y="41"/>
                          <a:pt x="42" y="60"/>
                          <a:pt x="42" y="83"/>
                        </a:cubicBezTo>
                        <a:cubicBezTo>
                          <a:pt x="42" y="105"/>
                          <a:pt x="60" y="124"/>
                          <a:pt x="83" y="124"/>
                        </a:cubicBezTo>
                        <a:cubicBezTo>
                          <a:pt x="105" y="124"/>
                          <a:pt x="124" y="105"/>
                          <a:pt x="124" y="83"/>
                        </a:cubicBezTo>
                        <a:cubicBezTo>
                          <a:pt x="124" y="60"/>
                          <a:pt x="105" y="41"/>
                          <a:pt x="83" y="4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5" name="Freeform 11"/>
                  <p:cNvSpPr>
                    <a:spLocks/>
                  </p:cNvSpPr>
                  <p:nvPr/>
                </p:nvSpPr>
                <p:spPr bwMode="auto">
                  <a:xfrm>
                    <a:off x="8442325" y="2589213"/>
                    <a:ext cx="531813" cy="2490788"/>
                  </a:xfrm>
                  <a:custGeom>
                    <a:avLst/>
                    <a:gdLst>
                      <a:gd name="T0" fmla="*/ 118 w 179"/>
                      <a:gd name="T1" fmla="*/ 838 h 838"/>
                      <a:gd name="T2" fmla="*/ 76 w 179"/>
                      <a:gd name="T3" fmla="*/ 838 h 838"/>
                      <a:gd name="T4" fmla="*/ 76 w 179"/>
                      <a:gd name="T5" fmla="*/ 365 h 838"/>
                      <a:gd name="T6" fmla="*/ 82 w 179"/>
                      <a:gd name="T7" fmla="*/ 350 h 838"/>
                      <a:gd name="T8" fmla="*/ 138 w 179"/>
                      <a:gd name="T9" fmla="*/ 294 h 838"/>
                      <a:gd name="T10" fmla="*/ 138 w 179"/>
                      <a:gd name="T11" fmla="*/ 167 h 838"/>
                      <a:gd name="T12" fmla="*/ 0 w 179"/>
                      <a:gd name="T13" fmla="*/ 29 h 838"/>
                      <a:gd name="T14" fmla="*/ 29 w 179"/>
                      <a:gd name="T15" fmla="*/ 0 h 838"/>
                      <a:gd name="T16" fmla="*/ 173 w 179"/>
                      <a:gd name="T17" fmla="*/ 144 h 838"/>
                      <a:gd name="T18" fmla="*/ 179 w 179"/>
                      <a:gd name="T19" fmla="*/ 159 h 838"/>
                      <a:gd name="T20" fmla="*/ 179 w 179"/>
                      <a:gd name="T21" fmla="*/ 303 h 838"/>
                      <a:gd name="T22" fmla="*/ 173 w 179"/>
                      <a:gd name="T23" fmla="*/ 317 h 838"/>
                      <a:gd name="T24" fmla="*/ 118 w 179"/>
                      <a:gd name="T25" fmla="*/ 373 h 838"/>
                      <a:gd name="T26" fmla="*/ 118 w 179"/>
                      <a:gd name="T27" fmla="*/ 838 h 8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79" h="838">
                        <a:moveTo>
                          <a:pt x="118" y="838"/>
                        </a:moveTo>
                        <a:cubicBezTo>
                          <a:pt x="76" y="838"/>
                          <a:pt x="76" y="838"/>
                          <a:pt x="76" y="838"/>
                        </a:cubicBezTo>
                        <a:cubicBezTo>
                          <a:pt x="76" y="365"/>
                          <a:pt x="76" y="365"/>
                          <a:pt x="76" y="365"/>
                        </a:cubicBezTo>
                        <a:cubicBezTo>
                          <a:pt x="76" y="359"/>
                          <a:pt x="79" y="354"/>
                          <a:pt x="82" y="350"/>
                        </a:cubicBezTo>
                        <a:cubicBezTo>
                          <a:pt x="138" y="294"/>
                          <a:pt x="138" y="294"/>
                          <a:pt x="138" y="294"/>
                        </a:cubicBezTo>
                        <a:cubicBezTo>
                          <a:pt x="138" y="167"/>
                          <a:pt x="138" y="167"/>
                          <a:pt x="138" y="167"/>
                        </a:cubicBezTo>
                        <a:cubicBezTo>
                          <a:pt x="0" y="29"/>
                          <a:pt x="0" y="29"/>
                          <a:pt x="0" y="29"/>
                        </a:cubicBezTo>
                        <a:cubicBezTo>
                          <a:pt x="29" y="0"/>
                          <a:pt x="29" y="0"/>
                          <a:pt x="29" y="0"/>
                        </a:cubicBezTo>
                        <a:cubicBezTo>
                          <a:pt x="173" y="144"/>
                          <a:pt x="173" y="144"/>
                          <a:pt x="173" y="144"/>
                        </a:cubicBezTo>
                        <a:cubicBezTo>
                          <a:pt x="177" y="148"/>
                          <a:pt x="179" y="153"/>
                          <a:pt x="179" y="159"/>
                        </a:cubicBezTo>
                        <a:cubicBezTo>
                          <a:pt x="179" y="303"/>
                          <a:pt x="179" y="303"/>
                          <a:pt x="179" y="303"/>
                        </a:cubicBezTo>
                        <a:cubicBezTo>
                          <a:pt x="179" y="308"/>
                          <a:pt x="177" y="314"/>
                          <a:pt x="173" y="317"/>
                        </a:cubicBezTo>
                        <a:cubicBezTo>
                          <a:pt x="118" y="373"/>
                          <a:pt x="118" y="373"/>
                          <a:pt x="118" y="373"/>
                        </a:cubicBezTo>
                        <a:lnTo>
                          <a:pt x="118" y="838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6" name="Freeform 12"/>
                  <p:cNvSpPr>
                    <a:spLocks/>
                  </p:cNvSpPr>
                  <p:nvPr/>
                </p:nvSpPr>
                <p:spPr bwMode="auto">
                  <a:xfrm>
                    <a:off x="9158288" y="3260726"/>
                    <a:ext cx="473075" cy="1819275"/>
                  </a:xfrm>
                  <a:custGeom>
                    <a:avLst/>
                    <a:gdLst>
                      <a:gd name="T0" fmla="*/ 130 w 159"/>
                      <a:gd name="T1" fmla="*/ 0 h 612"/>
                      <a:gd name="T2" fmla="*/ 68 w 159"/>
                      <a:gd name="T3" fmla="*/ 62 h 612"/>
                      <a:gd name="T4" fmla="*/ 62 w 159"/>
                      <a:gd name="T5" fmla="*/ 77 h 612"/>
                      <a:gd name="T6" fmla="*/ 62 w 159"/>
                      <a:gd name="T7" fmla="*/ 171 h 612"/>
                      <a:gd name="T8" fmla="*/ 6 w 159"/>
                      <a:gd name="T9" fmla="*/ 227 h 612"/>
                      <a:gd name="T10" fmla="*/ 0 w 159"/>
                      <a:gd name="T11" fmla="*/ 241 h 612"/>
                      <a:gd name="T12" fmla="*/ 0 w 159"/>
                      <a:gd name="T13" fmla="*/ 612 h 612"/>
                      <a:gd name="T14" fmla="*/ 41 w 159"/>
                      <a:gd name="T15" fmla="*/ 612 h 612"/>
                      <a:gd name="T16" fmla="*/ 41 w 159"/>
                      <a:gd name="T17" fmla="*/ 250 h 612"/>
                      <a:gd name="T18" fmla="*/ 97 w 159"/>
                      <a:gd name="T19" fmla="*/ 194 h 612"/>
                      <a:gd name="T20" fmla="*/ 103 w 159"/>
                      <a:gd name="T21" fmla="*/ 180 h 612"/>
                      <a:gd name="T22" fmla="*/ 103 w 159"/>
                      <a:gd name="T23" fmla="*/ 85 h 612"/>
                      <a:gd name="T24" fmla="*/ 159 w 159"/>
                      <a:gd name="T25" fmla="*/ 29 h 612"/>
                      <a:gd name="T26" fmla="*/ 130 w 159"/>
                      <a:gd name="T27" fmla="*/ 0 h 6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59" h="612">
                        <a:moveTo>
                          <a:pt x="130" y="0"/>
                        </a:moveTo>
                        <a:cubicBezTo>
                          <a:pt x="68" y="62"/>
                          <a:pt x="68" y="62"/>
                          <a:pt x="68" y="62"/>
                        </a:cubicBezTo>
                        <a:cubicBezTo>
                          <a:pt x="64" y="66"/>
                          <a:pt x="62" y="71"/>
                          <a:pt x="62" y="77"/>
                        </a:cubicBezTo>
                        <a:cubicBezTo>
                          <a:pt x="62" y="171"/>
                          <a:pt x="62" y="171"/>
                          <a:pt x="62" y="171"/>
                        </a:cubicBezTo>
                        <a:cubicBezTo>
                          <a:pt x="6" y="227"/>
                          <a:pt x="6" y="227"/>
                          <a:pt x="6" y="227"/>
                        </a:cubicBezTo>
                        <a:cubicBezTo>
                          <a:pt x="2" y="231"/>
                          <a:pt x="0" y="236"/>
                          <a:pt x="0" y="241"/>
                        </a:cubicBezTo>
                        <a:cubicBezTo>
                          <a:pt x="0" y="612"/>
                          <a:pt x="0" y="612"/>
                          <a:pt x="0" y="612"/>
                        </a:cubicBezTo>
                        <a:cubicBezTo>
                          <a:pt x="41" y="612"/>
                          <a:pt x="41" y="612"/>
                          <a:pt x="41" y="612"/>
                        </a:cubicBezTo>
                        <a:cubicBezTo>
                          <a:pt x="41" y="250"/>
                          <a:pt x="41" y="250"/>
                          <a:pt x="41" y="250"/>
                        </a:cubicBezTo>
                        <a:cubicBezTo>
                          <a:pt x="97" y="194"/>
                          <a:pt x="97" y="194"/>
                          <a:pt x="97" y="194"/>
                        </a:cubicBezTo>
                        <a:cubicBezTo>
                          <a:pt x="101" y="190"/>
                          <a:pt x="103" y="185"/>
                          <a:pt x="103" y="180"/>
                        </a:cubicBezTo>
                        <a:cubicBezTo>
                          <a:pt x="103" y="85"/>
                          <a:pt x="103" y="85"/>
                          <a:pt x="103" y="85"/>
                        </a:cubicBezTo>
                        <a:cubicBezTo>
                          <a:pt x="159" y="29"/>
                          <a:pt x="159" y="29"/>
                          <a:pt x="159" y="29"/>
                        </a:cubicBezTo>
                        <a:cubicBezTo>
                          <a:pt x="146" y="23"/>
                          <a:pt x="136" y="13"/>
                          <a:pt x="130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7" name="Freeform 13"/>
                  <p:cNvSpPr>
                    <a:spLocks noEditPoints="1"/>
                  </p:cNvSpPr>
                  <p:nvPr/>
                </p:nvSpPr>
                <p:spPr bwMode="auto">
                  <a:xfrm>
                    <a:off x="9466263" y="2940051"/>
                    <a:ext cx="490538" cy="487363"/>
                  </a:xfrm>
                  <a:custGeom>
                    <a:avLst/>
                    <a:gdLst>
                      <a:gd name="T0" fmla="*/ 82 w 165"/>
                      <a:gd name="T1" fmla="*/ 164 h 164"/>
                      <a:gd name="T2" fmla="*/ 0 w 165"/>
                      <a:gd name="T3" fmla="*/ 82 h 164"/>
                      <a:gd name="T4" fmla="*/ 82 w 165"/>
                      <a:gd name="T5" fmla="*/ 0 h 164"/>
                      <a:gd name="T6" fmla="*/ 165 w 165"/>
                      <a:gd name="T7" fmla="*/ 82 h 164"/>
                      <a:gd name="T8" fmla="*/ 82 w 165"/>
                      <a:gd name="T9" fmla="*/ 164 h 164"/>
                      <a:gd name="T10" fmla="*/ 82 w 165"/>
                      <a:gd name="T11" fmla="*/ 41 h 164"/>
                      <a:gd name="T12" fmla="*/ 41 w 165"/>
                      <a:gd name="T13" fmla="*/ 82 h 164"/>
                      <a:gd name="T14" fmla="*/ 82 w 165"/>
                      <a:gd name="T15" fmla="*/ 123 h 164"/>
                      <a:gd name="T16" fmla="*/ 124 w 165"/>
                      <a:gd name="T17" fmla="*/ 82 h 164"/>
                      <a:gd name="T18" fmla="*/ 82 w 165"/>
                      <a:gd name="T19" fmla="*/ 41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65" h="164">
                        <a:moveTo>
                          <a:pt x="82" y="164"/>
                        </a:moveTo>
                        <a:cubicBezTo>
                          <a:pt x="37" y="164"/>
                          <a:pt x="0" y="127"/>
                          <a:pt x="0" y="82"/>
                        </a:cubicBezTo>
                        <a:cubicBezTo>
                          <a:pt x="0" y="37"/>
                          <a:pt x="37" y="0"/>
                          <a:pt x="82" y="0"/>
                        </a:cubicBezTo>
                        <a:cubicBezTo>
                          <a:pt x="128" y="0"/>
                          <a:pt x="165" y="37"/>
                          <a:pt x="165" y="82"/>
                        </a:cubicBezTo>
                        <a:cubicBezTo>
                          <a:pt x="165" y="127"/>
                          <a:pt x="128" y="164"/>
                          <a:pt x="82" y="164"/>
                        </a:cubicBezTo>
                        <a:close/>
                        <a:moveTo>
                          <a:pt x="82" y="41"/>
                        </a:moveTo>
                        <a:cubicBezTo>
                          <a:pt x="60" y="41"/>
                          <a:pt x="41" y="59"/>
                          <a:pt x="41" y="82"/>
                        </a:cubicBezTo>
                        <a:cubicBezTo>
                          <a:pt x="41" y="105"/>
                          <a:pt x="60" y="123"/>
                          <a:pt x="82" y="123"/>
                        </a:cubicBezTo>
                        <a:cubicBezTo>
                          <a:pt x="105" y="123"/>
                          <a:pt x="124" y="105"/>
                          <a:pt x="124" y="82"/>
                        </a:cubicBezTo>
                        <a:cubicBezTo>
                          <a:pt x="124" y="59"/>
                          <a:pt x="105" y="41"/>
                          <a:pt x="82" y="4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8" name="Freeform 14"/>
                  <p:cNvSpPr>
                    <a:spLocks/>
                  </p:cNvSpPr>
                  <p:nvPr/>
                </p:nvSpPr>
                <p:spPr bwMode="auto">
                  <a:xfrm>
                    <a:off x="8915400" y="2773363"/>
                    <a:ext cx="409575" cy="2306638"/>
                  </a:xfrm>
                  <a:custGeom>
                    <a:avLst/>
                    <a:gdLst>
                      <a:gd name="T0" fmla="*/ 109 w 138"/>
                      <a:gd name="T1" fmla="*/ 0 h 776"/>
                      <a:gd name="T2" fmla="*/ 68 w 138"/>
                      <a:gd name="T3" fmla="*/ 41 h 776"/>
                      <a:gd name="T4" fmla="*/ 62 w 138"/>
                      <a:gd name="T5" fmla="*/ 56 h 776"/>
                      <a:gd name="T6" fmla="*/ 62 w 138"/>
                      <a:gd name="T7" fmla="*/ 315 h 776"/>
                      <a:gd name="T8" fmla="*/ 6 w 138"/>
                      <a:gd name="T9" fmla="*/ 370 h 776"/>
                      <a:gd name="T10" fmla="*/ 0 w 138"/>
                      <a:gd name="T11" fmla="*/ 385 h 776"/>
                      <a:gd name="T12" fmla="*/ 0 w 138"/>
                      <a:gd name="T13" fmla="*/ 776 h 776"/>
                      <a:gd name="T14" fmla="*/ 41 w 138"/>
                      <a:gd name="T15" fmla="*/ 776 h 776"/>
                      <a:gd name="T16" fmla="*/ 41 w 138"/>
                      <a:gd name="T17" fmla="*/ 393 h 776"/>
                      <a:gd name="T18" fmla="*/ 97 w 138"/>
                      <a:gd name="T19" fmla="*/ 338 h 776"/>
                      <a:gd name="T20" fmla="*/ 103 w 138"/>
                      <a:gd name="T21" fmla="*/ 323 h 776"/>
                      <a:gd name="T22" fmla="*/ 103 w 138"/>
                      <a:gd name="T23" fmla="*/ 64 h 776"/>
                      <a:gd name="T24" fmla="*/ 138 w 138"/>
                      <a:gd name="T25" fmla="*/ 29 h 776"/>
                      <a:gd name="T26" fmla="*/ 109 w 138"/>
                      <a:gd name="T27" fmla="*/ 0 h 7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38" h="776">
                        <a:moveTo>
                          <a:pt x="109" y="0"/>
                        </a:moveTo>
                        <a:cubicBezTo>
                          <a:pt x="68" y="41"/>
                          <a:pt x="68" y="41"/>
                          <a:pt x="68" y="41"/>
                        </a:cubicBezTo>
                        <a:cubicBezTo>
                          <a:pt x="64" y="45"/>
                          <a:pt x="62" y="50"/>
                          <a:pt x="62" y="56"/>
                        </a:cubicBezTo>
                        <a:cubicBezTo>
                          <a:pt x="62" y="315"/>
                          <a:pt x="62" y="315"/>
                          <a:pt x="62" y="315"/>
                        </a:cubicBezTo>
                        <a:cubicBezTo>
                          <a:pt x="6" y="370"/>
                          <a:pt x="6" y="370"/>
                          <a:pt x="6" y="370"/>
                        </a:cubicBezTo>
                        <a:cubicBezTo>
                          <a:pt x="2" y="374"/>
                          <a:pt x="0" y="379"/>
                          <a:pt x="0" y="385"/>
                        </a:cubicBezTo>
                        <a:cubicBezTo>
                          <a:pt x="0" y="776"/>
                          <a:pt x="0" y="776"/>
                          <a:pt x="0" y="776"/>
                        </a:cubicBezTo>
                        <a:cubicBezTo>
                          <a:pt x="41" y="776"/>
                          <a:pt x="41" y="776"/>
                          <a:pt x="41" y="776"/>
                        </a:cubicBezTo>
                        <a:cubicBezTo>
                          <a:pt x="41" y="393"/>
                          <a:pt x="41" y="393"/>
                          <a:pt x="41" y="393"/>
                        </a:cubicBezTo>
                        <a:cubicBezTo>
                          <a:pt x="97" y="338"/>
                          <a:pt x="97" y="338"/>
                          <a:pt x="97" y="338"/>
                        </a:cubicBezTo>
                        <a:cubicBezTo>
                          <a:pt x="101" y="334"/>
                          <a:pt x="103" y="329"/>
                          <a:pt x="103" y="323"/>
                        </a:cubicBezTo>
                        <a:cubicBezTo>
                          <a:pt x="103" y="64"/>
                          <a:pt x="103" y="64"/>
                          <a:pt x="103" y="64"/>
                        </a:cubicBezTo>
                        <a:cubicBezTo>
                          <a:pt x="138" y="29"/>
                          <a:pt x="138" y="29"/>
                          <a:pt x="138" y="29"/>
                        </a:cubicBezTo>
                        <a:cubicBezTo>
                          <a:pt x="125" y="23"/>
                          <a:pt x="115" y="12"/>
                          <a:pt x="10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9" name="Freeform 15"/>
                  <p:cNvSpPr>
                    <a:spLocks noEditPoints="1"/>
                  </p:cNvSpPr>
                  <p:nvPr/>
                </p:nvSpPr>
                <p:spPr bwMode="auto">
                  <a:xfrm>
                    <a:off x="9158288" y="2449513"/>
                    <a:ext cx="492125" cy="490538"/>
                  </a:xfrm>
                  <a:custGeom>
                    <a:avLst/>
                    <a:gdLst>
                      <a:gd name="T0" fmla="*/ 82 w 165"/>
                      <a:gd name="T1" fmla="*/ 165 h 165"/>
                      <a:gd name="T2" fmla="*/ 0 w 165"/>
                      <a:gd name="T3" fmla="*/ 82 h 165"/>
                      <a:gd name="T4" fmla="*/ 82 w 165"/>
                      <a:gd name="T5" fmla="*/ 0 h 165"/>
                      <a:gd name="T6" fmla="*/ 165 w 165"/>
                      <a:gd name="T7" fmla="*/ 82 h 165"/>
                      <a:gd name="T8" fmla="*/ 82 w 165"/>
                      <a:gd name="T9" fmla="*/ 165 h 165"/>
                      <a:gd name="T10" fmla="*/ 82 w 165"/>
                      <a:gd name="T11" fmla="*/ 41 h 165"/>
                      <a:gd name="T12" fmla="*/ 41 w 165"/>
                      <a:gd name="T13" fmla="*/ 82 h 165"/>
                      <a:gd name="T14" fmla="*/ 82 w 165"/>
                      <a:gd name="T15" fmla="*/ 123 h 165"/>
                      <a:gd name="T16" fmla="*/ 124 w 165"/>
                      <a:gd name="T17" fmla="*/ 82 h 165"/>
                      <a:gd name="T18" fmla="*/ 82 w 165"/>
                      <a:gd name="T19" fmla="*/ 41 h 1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65" h="165">
                        <a:moveTo>
                          <a:pt x="82" y="165"/>
                        </a:moveTo>
                        <a:cubicBezTo>
                          <a:pt x="37" y="165"/>
                          <a:pt x="0" y="128"/>
                          <a:pt x="0" y="82"/>
                        </a:cubicBezTo>
                        <a:cubicBezTo>
                          <a:pt x="0" y="37"/>
                          <a:pt x="37" y="0"/>
                          <a:pt x="82" y="0"/>
                        </a:cubicBezTo>
                        <a:cubicBezTo>
                          <a:pt x="128" y="0"/>
                          <a:pt x="165" y="37"/>
                          <a:pt x="165" y="82"/>
                        </a:cubicBezTo>
                        <a:cubicBezTo>
                          <a:pt x="165" y="128"/>
                          <a:pt x="128" y="165"/>
                          <a:pt x="82" y="165"/>
                        </a:cubicBezTo>
                        <a:close/>
                        <a:moveTo>
                          <a:pt x="82" y="41"/>
                        </a:moveTo>
                        <a:cubicBezTo>
                          <a:pt x="60" y="41"/>
                          <a:pt x="41" y="60"/>
                          <a:pt x="41" y="82"/>
                        </a:cubicBezTo>
                        <a:cubicBezTo>
                          <a:pt x="41" y="105"/>
                          <a:pt x="60" y="123"/>
                          <a:pt x="82" y="123"/>
                        </a:cubicBezTo>
                        <a:cubicBezTo>
                          <a:pt x="105" y="123"/>
                          <a:pt x="124" y="105"/>
                          <a:pt x="124" y="82"/>
                        </a:cubicBezTo>
                        <a:cubicBezTo>
                          <a:pt x="124" y="60"/>
                          <a:pt x="105" y="41"/>
                          <a:pt x="82" y="4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0" name="Freeform 16"/>
                  <p:cNvSpPr>
                    <a:spLocks noEditPoints="1"/>
                  </p:cNvSpPr>
                  <p:nvPr/>
                </p:nvSpPr>
                <p:spPr bwMode="auto">
                  <a:xfrm>
                    <a:off x="7874000" y="1831976"/>
                    <a:ext cx="3060700" cy="3309938"/>
                  </a:xfrm>
                  <a:custGeom>
                    <a:avLst/>
                    <a:gdLst>
                      <a:gd name="T0" fmla="*/ 1008 w 1029"/>
                      <a:gd name="T1" fmla="*/ 1114 h 1114"/>
                      <a:gd name="T2" fmla="*/ 20 w 1029"/>
                      <a:gd name="T3" fmla="*/ 1114 h 1114"/>
                      <a:gd name="T4" fmla="*/ 0 w 1029"/>
                      <a:gd name="T5" fmla="*/ 1093 h 1114"/>
                      <a:gd name="T6" fmla="*/ 0 w 1029"/>
                      <a:gd name="T7" fmla="*/ 434 h 1114"/>
                      <a:gd name="T8" fmla="*/ 7 w 1029"/>
                      <a:gd name="T9" fmla="*/ 419 h 1114"/>
                      <a:gd name="T10" fmla="*/ 501 w 1029"/>
                      <a:gd name="T11" fmla="*/ 7 h 1114"/>
                      <a:gd name="T12" fmla="*/ 528 w 1029"/>
                      <a:gd name="T13" fmla="*/ 7 h 1114"/>
                      <a:gd name="T14" fmla="*/ 1022 w 1029"/>
                      <a:gd name="T15" fmla="*/ 419 h 1114"/>
                      <a:gd name="T16" fmla="*/ 1029 w 1029"/>
                      <a:gd name="T17" fmla="*/ 434 h 1114"/>
                      <a:gd name="T18" fmla="*/ 1029 w 1029"/>
                      <a:gd name="T19" fmla="*/ 1093 h 1114"/>
                      <a:gd name="T20" fmla="*/ 1008 w 1029"/>
                      <a:gd name="T21" fmla="*/ 1114 h 1114"/>
                      <a:gd name="T22" fmla="*/ 41 w 1029"/>
                      <a:gd name="T23" fmla="*/ 1072 h 1114"/>
                      <a:gd name="T24" fmla="*/ 988 w 1029"/>
                      <a:gd name="T25" fmla="*/ 1072 h 1114"/>
                      <a:gd name="T26" fmla="*/ 988 w 1029"/>
                      <a:gd name="T27" fmla="*/ 444 h 1114"/>
                      <a:gd name="T28" fmla="*/ 514 w 1029"/>
                      <a:gd name="T29" fmla="*/ 49 h 1114"/>
                      <a:gd name="T30" fmla="*/ 41 w 1029"/>
                      <a:gd name="T31" fmla="*/ 444 h 1114"/>
                      <a:gd name="T32" fmla="*/ 41 w 1029"/>
                      <a:gd name="T33" fmla="*/ 1072 h 11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1029" h="1114">
                        <a:moveTo>
                          <a:pt x="1008" y="1114"/>
                        </a:moveTo>
                        <a:cubicBezTo>
                          <a:pt x="20" y="1114"/>
                          <a:pt x="20" y="1114"/>
                          <a:pt x="20" y="1114"/>
                        </a:cubicBezTo>
                        <a:cubicBezTo>
                          <a:pt x="9" y="1114"/>
                          <a:pt x="0" y="1104"/>
                          <a:pt x="0" y="1093"/>
                        </a:cubicBezTo>
                        <a:cubicBezTo>
                          <a:pt x="0" y="434"/>
                          <a:pt x="0" y="434"/>
                          <a:pt x="0" y="434"/>
                        </a:cubicBezTo>
                        <a:cubicBezTo>
                          <a:pt x="0" y="428"/>
                          <a:pt x="3" y="422"/>
                          <a:pt x="7" y="419"/>
                        </a:cubicBezTo>
                        <a:cubicBezTo>
                          <a:pt x="501" y="7"/>
                          <a:pt x="501" y="7"/>
                          <a:pt x="501" y="7"/>
                        </a:cubicBezTo>
                        <a:cubicBezTo>
                          <a:pt x="509" y="0"/>
                          <a:pt x="520" y="0"/>
                          <a:pt x="528" y="7"/>
                        </a:cubicBezTo>
                        <a:cubicBezTo>
                          <a:pt x="1022" y="419"/>
                          <a:pt x="1022" y="419"/>
                          <a:pt x="1022" y="419"/>
                        </a:cubicBezTo>
                        <a:cubicBezTo>
                          <a:pt x="1026" y="422"/>
                          <a:pt x="1029" y="428"/>
                          <a:pt x="1029" y="434"/>
                        </a:cubicBezTo>
                        <a:cubicBezTo>
                          <a:pt x="1029" y="1093"/>
                          <a:pt x="1029" y="1093"/>
                          <a:pt x="1029" y="1093"/>
                        </a:cubicBezTo>
                        <a:cubicBezTo>
                          <a:pt x="1029" y="1104"/>
                          <a:pt x="1020" y="1114"/>
                          <a:pt x="1008" y="1114"/>
                        </a:cubicBezTo>
                        <a:close/>
                        <a:moveTo>
                          <a:pt x="41" y="1072"/>
                        </a:moveTo>
                        <a:cubicBezTo>
                          <a:pt x="988" y="1072"/>
                          <a:pt x="988" y="1072"/>
                          <a:pt x="988" y="1072"/>
                        </a:cubicBezTo>
                        <a:cubicBezTo>
                          <a:pt x="988" y="444"/>
                          <a:pt x="988" y="444"/>
                          <a:pt x="988" y="444"/>
                        </a:cubicBezTo>
                        <a:cubicBezTo>
                          <a:pt x="514" y="49"/>
                          <a:pt x="514" y="49"/>
                          <a:pt x="514" y="49"/>
                        </a:cubicBezTo>
                        <a:cubicBezTo>
                          <a:pt x="41" y="444"/>
                          <a:pt x="41" y="444"/>
                          <a:pt x="41" y="444"/>
                        </a:cubicBezTo>
                        <a:lnTo>
                          <a:pt x="41" y="1072"/>
                        </a:lnTo>
                        <a:close/>
                      </a:path>
                    </a:pathLst>
                  </a:custGeom>
                  <a:solidFill>
                    <a:schemeClr val="tx2"/>
                  </a:solidFill>
                  <a:ln w="9525" cap="sq">
                    <a:noFill/>
                    <a:bevel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1" name="Freeform 17"/>
                  <p:cNvSpPr>
                    <a:spLocks noEditPoints="1"/>
                  </p:cNvSpPr>
                  <p:nvPr/>
                </p:nvSpPr>
                <p:spPr bwMode="auto">
                  <a:xfrm>
                    <a:off x="9709150" y="3611563"/>
                    <a:ext cx="735013" cy="977900"/>
                  </a:xfrm>
                  <a:custGeom>
                    <a:avLst/>
                    <a:gdLst>
                      <a:gd name="T0" fmla="*/ 463 w 463"/>
                      <a:gd name="T1" fmla="*/ 616 h 616"/>
                      <a:gd name="T2" fmla="*/ 0 w 463"/>
                      <a:gd name="T3" fmla="*/ 616 h 616"/>
                      <a:gd name="T4" fmla="*/ 0 w 463"/>
                      <a:gd name="T5" fmla="*/ 0 h 616"/>
                      <a:gd name="T6" fmla="*/ 463 w 463"/>
                      <a:gd name="T7" fmla="*/ 0 h 616"/>
                      <a:gd name="T8" fmla="*/ 463 w 463"/>
                      <a:gd name="T9" fmla="*/ 616 h 616"/>
                      <a:gd name="T10" fmla="*/ 79 w 463"/>
                      <a:gd name="T11" fmla="*/ 539 h 616"/>
                      <a:gd name="T12" fmla="*/ 386 w 463"/>
                      <a:gd name="T13" fmla="*/ 539 h 616"/>
                      <a:gd name="T14" fmla="*/ 386 w 463"/>
                      <a:gd name="T15" fmla="*/ 77 h 616"/>
                      <a:gd name="T16" fmla="*/ 79 w 463"/>
                      <a:gd name="T17" fmla="*/ 77 h 616"/>
                      <a:gd name="T18" fmla="*/ 79 w 463"/>
                      <a:gd name="T19" fmla="*/ 539 h 6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3" h="616">
                        <a:moveTo>
                          <a:pt x="463" y="616"/>
                        </a:moveTo>
                        <a:lnTo>
                          <a:pt x="0" y="616"/>
                        </a:lnTo>
                        <a:lnTo>
                          <a:pt x="0" y="0"/>
                        </a:lnTo>
                        <a:lnTo>
                          <a:pt x="463" y="0"/>
                        </a:lnTo>
                        <a:lnTo>
                          <a:pt x="463" y="616"/>
                        </a:lnTo>
                        <a:close/>
                        <a:moveTo>
                          <a:pt x="79" y="539"/>
                        </a:moveTo>
                        <a:lnTo>
                          <a:pt x="386" y="539"/>
                        </a:lnTo>
                        <a:lnTo>
                          <a:pt x="386" y="77"/>
                        </a:lnTo>
                        <a:lnTo>
                          <a:pt x="79" y="77"/>
                        </a:lnTo>
                        <a:lnTo>
                          <a:pt x="79" y="539"/>
                        </a:lnTo>
                        <a:close/>
                      </a:path>
                    </a:pathLst>
                  </a:custGeom>
                  <a:solidFill>
                    <a:schemeClr val="tx2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62" name="Freeform: Shape 761"/>
                <p:cNvSpPr>
                  <a:spLocks noChangeAspect="1"/>
                </p:cNvSpPr>
                <p:nvPr/>
              </p:nvSpPr>
              <p:spPr>
                <a:xfrm>
                  <a:off x="9470397" y="3845566"/>
                  <a:ext cx="2772279" cy="502920"/>
                </a:xfrm>
                <a:custGeom>
                  <a:avLst/>
                  <a:gdLst>
                    <a:gd name="connsiteX0" fmla="*/ 2035164 w 2142282"/>
                    <a:gd name="connsiteY0" fmla="*/ 291940 h 388632"/>
                    <a:gd name="connsiteX1" fmla="*/ 2011870 w 2142282"/>
                    <a:gd name="connsiteY1" fmla="*/ 301365 h 388632"/>
                    <a:gd name="connsiteX2" fmla="*/ 2000492 w 2142282"/>
                    <a:gd name="connsiteY2" fmla="*/ 328371 h 388632"/>
                    <a:gd name="connsiteX3" fmla="*/ 2064756 w 2142282"/>
                    <a:gd name="connsiteY3" fmla="*/ 328371 h 388632"/>
                    <a:gd name="connsiteX4" fmla="*/ 2056456 w 2142282"/>
                    <a:gd name="connsiteY4" fmla="*/ 301512 h 388632"/>
                    <a:gd name="connsiteX5" fmla="*/ 2035164 w 2142282"/>
                    <a:gd name="connsiteY5" fmla="*/ 291940 h 388632"/>
                    <a:gd name="connsiteX6" fmla="*/ 1758938 w 2142282"/>
                    <a:gd name="connsiteY6" fmla="*/ 291940 h 388632"/>
                    <a:gd name="connsiteX7" fmla="*/ 1735644 w 2142282"/>
                    <a:gd name="connsiteY7" fmla="*/ 301365 h 388632"/>
                    <a:gd name="connsiteX8" fmla="*/ 1724266 w 2142282"/>
                    <a:gd name="connsiteY8" fmla="*/ 328371 h 388632"/>
                    <a:gd name="connsiteX9" fmla="*/ 1788532 w 2142282"/>
                    <a:gd name="connsiteY9" fmla="*/ 328371 h 388632"/>
                    <a:gd name="connsiteX10" fmla="*/ 1780230 w 2142282"/>
                    <a:gd name="connsiteY10" fmla="*/ 301512 h 388632"/>
                    <a:gd name="connsiteX11" fmla="*/ 1758938 w 2142282"/>
                    <a:gd name="connsiteY11" fmla="*/ 291940 h 388632"/>
                    <a:gd name="connsiteX12" fmla="*/ 1387464 w 2142282"/>
                    <a:gd name="connsiteY12" fmla="*/ 291940 h 388632"/>
                    <a:gd name="connsiteX13" fmla="*/ 1364170 w 2142282"/>
                    <a:gd name="connsiteY13" fmla="*/ 301365 h 388632"/>
                    <a:gd name="connsiteX14" fmla="*/ 1352792 w 2142282"/>
                    <a:gd name="connsiteY14" fmla="*/ 328371 h 388632"/>
                    <a:gd name="connsiteX15" fmla="*/ 1417056 w 2142282"/>
                    <a:gd name="connsiteY15" fmla="*/ 328371 h 388632"/>
                    <a:gd name="connsiteX16" fmla="*/ 1408756 w 2142282"/>
                    <a:gd name="connsiteY16" fmla="*/ 301512 h 388632"/>
                    <a:gd name="connsiteX17" fmla="*/ 1387464 w 2142282"/>
                    <a:gd name="connsiteY17" fmla="*/ 291940 h 388632"/>
                    <a:gd name="connsiteX18" fmla="*/ 1057702 w 2142282"/>
                    <a:gd name="connsiteY18" fmla="*/ 291940 h 388632"/>
                    <a:gd name="connsiteX19" fmla="*/ 1029524 w 2142282"/>
                    <a:gd name="connsiteY19" fmla="*/ 303856 h 388632"/>
                    <a:gd name="connsiteX20" fmla="*/ 1019026 w 2142282"/>
                    <a:gd name="connsiteY20" fmla="*/ 336965 h 388632"/>
                    <a:gd name="connsiteX21" fmla="*/ 1029280 w 2142282"/>
                    <a:gd name="connsiteY21" fmla="*/ 368512 h 388632"/>
                    <a:gd name="connsiteX22" fmla="*/ 1057312 w 2142282"/>
                    <a:gd name="connsiteY22" fmla="*/ 380428 h 388632"/>
                    <a:gd name="connsiteX23" fmla="*/ 1085146 w 2142282"/>
                    <a:gd name="connsiteY23" fmla="*/ 368708 h 388632"/>
                    <a:gd name="connsiteX24" fmla="*/ 1094914 w 2142282"/>
                    <a:gd name="connsiteY24" fmla="*/ 336184 h 388632"/>
                    <a:gd name="connsiteX25" fmla="*/ 1085196 w 2142282"/>
                    <a:gd name="connsiteY25" fmla="*/ 303367 h 388632"/>
                    <a:gd name="connsiteX26" fmla="*/ 1057702 w 2142282"/>
                    <a:gd name="connsiteY26" fmla="*/ 291940 h 388632"/>
                    <a:gd name="connsiteX27" fmla="*/ 807610 w 2142282"/>
                    <a:gd name="connsiteY27" fmla="*/ 291940 h 388632"/>
                    <a:gd name="connsiteX28" fmla="*/ 781630 w 2142282"/>
                    <a:gd name="connsiteY28" fmla="*/ 304002 h 388632"/>
                    <a:gd name="connsiteX29" fmla="*/ 771376 w 2142282"/>
                    <a:gd name="connsiteY29" fmla="*/ 337161 h 388632"/>
                    <a:gd name="connsiteX30" fmla="*/ 780604 w 2142282"/>
                    <a:gd name="connsiteY30" fmla="*/ 369147 h 388632"/>
                    <a:gd name="connsiteX31" fmla="*/ 804388 w 2142282"/>
                    <a:gd name="connsiteY31" fmla="*/ 380428 h 388632"/>
                    <a:gd name="connsiteX32" fmla="*/ 830856 w 2142282"/>
                    <a:gd name="connsiteY32" fmla="*/ 369831 h 388632"/>
                    <a:gd name="connsiteX33" fmla="*/ 840232 w 2142282"/>
                    <a:gd name="connsiteY33" fmla="*/ 343997 h 388632"/>
                    <a:gd name="connsiteX34" fmla="*/ 840232 w 2142282"/>
                    <a:gd name="connsiteY34" fmla="*/ 325343 h 388632"/>
                    <a:gd name="connsiteX35" fmla="*/ 831392 w 2142282"/>
                    <a:gd name="connsiteY35" fmla="*/ 301658 h 388632"/>
                    <a:gd name="connsiteX36" fmla="*/ 807610 w 2142282"/>
                    <a:gd name="connsiteY36" fmla="*/ 291940 h 388632"/>
                    <a:gd name="connsiteX37" fmla="*/ 701664 w 2142282"/>
                    <a:gd name="connsiteY37" fmla="*/ 291940 h 388632"/>
                    <a:gd name="connsiteX38" fmla="*/ 678370 w 2142282"/>
                    <a:gd name="connsiteY38" fmla="*/ 301365 h 388632"/>
                    <a:gd name="connsiteX39" fmla="*/ 666992 w 2142282"/>
                    <a:gd name="connsiteY39" fmla="*/ 328371 h 388632"/>
                    <a:gd name="connsiteX40" fmla="*/ 731256 w 2142282"/>
                    <a:gd name="connsiteY40" fmla="*/ 328371 h 388632"/>
                    <a:gd name="connsiteX41" fmla="*/ 722956 w 2142282"/>
                    <a:gd name="connsiteY41" fmla="*/ 301512 h 388632"/>
                    <a:gd name="connsiteX42" fmla="*/ 701664 w 2142282"/>
                    <a:gd name="connsiteY42" fmla="*/ 291940 h 388632"/>
                    <a:gd name="connsiteX43" fmla="*/ 454014 w 2142282"/>
                    <a:gd name="connsiteY43" fmla="*/ 291940 h 388632"/>
                    <a:gd name="connsiteX44" fmla="*/ 430720 w 2142282"/>
                    <a:gd name="connsiteY44" fmla="*/ 301365 h 388632"/>
                    <a:gd name="connsiteX45" fmla="*/ 419340 w 2142282"/>
                    <a:gd name="connsiteY45" fmla="*/ 328371 h 388632"/>
                    <a:gd name="connsiteX46" fmla="*/ 483608 w 2142282"/>
                    <a:gd name="connsiteY46" fmla="*/ 328371 h 388632"/>
                    <a:gd name="connsiteX47" fmla="*/ 475306 w 2142282"/>
                    <a:gd name="connsiteY47" fmla="*/ 301512 h 388632"/>
                    <a:gd name="connsiteX48" fmla="*/ 454014 w 2142282"/>
                    <a:gd name="connsiteY48" fmla="*/ 291940 h 388632"/>
                    <a:gd name="connsiteX49" fmla="*/ 133776 w 2142282"/>
                    <a:gd name="connsiteY49" fmla="*/ 291940 h 388632"/>
                    <a:gd name="connsiteX50" fmla="*/ 105600 w 2142282"/>
                    <a:gd name="connsiteY50" fmla="*/ 303856 h 388632"/>
                    <a:gd name="connsiteX51" fmla="*/ 95100 w 2142282"/>
                    <a:gd name="connsiteY51" fmla="*/ 336965 h 388632"/>
                    <a:gd name="connsiteX52" fmla="*/ 105356 w 2142282"/>
                    <a:gd name="connsiteY52" fmla="*/ 368512 h 388632"/>
                    <a:gd name="connsiteX53" fmla="*/ 133386 w 2142282"/>
                    <a:gd name="connsiteY53" fmla="*/ 380428 h 388632"/>
                    <a:gd name="connsiteX54" fmla="*/ 161222 w 2142282"/>
                    <a:gd name="connsiteY54" fmla="*/ 368708 h 388632"/>
                    <a:gd name="connsiteX55" fmla="*/ 170988 w 2142282"/>
                    <a:gd name="connsiteY55" fmla="*/ 336184 h 388632"/>
                    <a:gd name="connsiteX56" fmla="*/ 161270 w 2142282"/>
                    <a:gd name="connsiteY56" fmla="*/ 303367 h 388632"/>
                    <a:gd name="connsiteX57" fmla="*/ 133776 w 2142282"/>
                    <a:gd name="connsiteY57" fmla="*/ 291940 h 388632"/>
                    <a:gd name="connsiteX58" fmla="*/ 1863714 w 2142282"/>
                    <a:gd name="connsiteY58" fmla="*/ 284224 h 388632"/>
                    <a:gd name="connsiteX59" fmla="*/ 1873676 w 2142282"/>
                    <a:gd name="connsiteY59" fmla="*/ 285982 h 388632"/>
                    <a:gd name="connsiteX60" fmla="*/ 1873676 w 2142282"/>
                    <a:gd name="connsiteY60" fmla="*/ 295554 h 388632"/>
                    <a:gd name="connsiteX61" fmla="*/ 1863128 w 2142282"/>
                    <a:gd name="connsiteY61" fmla="*/ 292331 h 388632"/>
                    <a:gd name="connsiteX62" fmla="*/ 1843300 w 2142282"/>
                    <a:gd name="connsiteY62" fmla="*/ 304539 h 388632"/>
                    <a:gd name="connsiteX63" fmla="*/ 1835292 w 2142282"/>
                    <a:gd name="connsiteY63" fmla="*/ 339212 h 388632"/>
                    <a:gd name="connsiteX64" fmla="*/ 1835292 w 2142282"/>
                    <a:gd name="connsiteY64" fmla="*/ 386190 h 388632"/>
                    <a:gd name="connsiteX65" fmla="*/ 1826502 w 2142282"/>
                    <a:gd name="connsiteY65" fmla="*/ 386190 h 388632"/>
                    <a:gd name="connsiteX66" fmla="*/ 1826502 w 2142282"/>
                    <a:gd name="connsiteY66" fmla="*/ 286178 h 388632"/>
                    <a:gd name="connsiteX67" fmla="*/ 1835292 w 2142282"/>
                    <a:gd name="connsiteY67" fmla="*/ 286178 h 388632"/>
                    <a:gd name="connsiteX68" fmla="*/ 1835292 w 2142282"/>
                    <a:gd name="connsiteY68" fmla="*/ 308348 h 388632"/>
                    <a:gd name="connsiteX69" fmla="*/ 1835682 w 2142282"/>
                    <a:gd name="connsiteY69" fmla="*/ 308348 h 388632"/>
                    <a:gd name="connsiteX70" fmla="*/ 1846524 w 2142282"/>
                    <a:gd name="connsiteY70" fmla="*/ 290573 h 388632"/>
                    <a:gd name="connsiteX71" fmla="*/ 1863714 w 2142282"/>
                    <a:gd name="connsiteY71" fmla="*/ 284224 h 388632"/>
                    <a:gd name="connsiteX72" fmla="*/ 2035554 w 2142282"/>
                    <a:gd name="connsiteY72" fmla="*/ 283736 h 388632"/>
                    <a:gd name="connsiteX73" fmla="*/ 2064170 w 2142282"/>
                    <a:gd name="connsiteY73" fmla="*/ 296824 h 388632"/>
                    <a:gd name="connsiteX74" fmla="*/ 2074132 w 2142282"/>
                    <a:gd name="connsiteY74" fmla="*/ 332570 h 388632"/>
                    <a:gd name="connsiteX75" fmla="*/ 2074132 w 2142282"/>
                    <a:gd name="connsiteY75" fmla="*/ 336575 h 388632"/>
                    <a:gd name="connsiteX76" fmla="*/ 2000100 w 2142282"/>
                    <a:gd name="connsiteY76" fmla="*/ 336575 h 388632"/>
                    <a:gd name="connsiteX77" fmla="*/ 2009624 w 2142282"/>
                    <a:gd name="connsiteY77" fmla="*/ 368805 h 388632"/>
                    <a:gd name="connsiteX78" fmla="*/ 2035750 w 2142282"/>
                    <a:gd name="connsiteY78" fmla="*/ 380428 h 388632"/>
                    <a:gd name="connsiteX79" fmla="*/ 2068566 w 2142282"/>
                    <a:gd name="connsiteY79" fmla="*/ 368024 h 388632"/>
                    <a:gd name="connsiteX80" fmla="*/ 2068566 w 2142282"/>
                    <a:gd name="connsiteY80" fmla="*/ 377595 h 388632"/>
                    <a:gd name="connsiteX81" fmla="*/ 2033894 w 2142282"/>
                    <a:gd name="connsiteY81" fmla="*/ 388632 h 388632"/>
                    <a:gd name="connsiteX82" fmla="*/ 2002640 w 2142282"/>
                    <a:gd name="connsiteY82" fmla="*/ 374763 h 388632"/>
                    <a:gd name="connsiteX83" fmla="*/ 1990724 w 2142282"/>
                    <a:gd name="connsiteY83" fmla="*/ 335598 h 388632"/>
                    <a:gd name="connsiteX84" fmla="*/ 2003176 w 2142282"/>
                    <a:gd name="connsiteY84" fmla="*/ 298728 h 388632"/>
                    <a:gd name="connsiteX85" fmla="*/ 2035554 w 2142282"/>
                    <a:gd name="connsiteY85" fmla="*/ 283736 h 388632"/>
                    <a:gd name="connsiteX86" fmla="*/ 1936736 w 2142282"/>
                    <a:gd name="connsiteY86" fmla="*/ 283736 h 388632"/>
                    <a:gd name="connsiteX87" fmla="*/ 1961544 w 2142282"/>
                    <a:gd name="connsiteY87" fmla="*/ 294528 h 388632"/>
                    <a:gd name="connsiteX88" fmla="*/ 1970140 w 2142282"/>
                    <a:gd name="connsiteY88" fmla="*/ 325343 h 388632"/>
                    <a:gd name="connsiteX89" fmla="*/ 1970140 w 2142282"/>
                    <a:gd name="connsiteY89" fmla="*/ 386190 h 388632"/>
                    <a:gd name="connsiteX90" fmla="*/ 1961154 w 2142282"/>
                    <a:gd name="connsiteY90" fmla="*/ 386190 h 388632"/>
                    <a:gd name="connsiteX91" fmla="*/ 1961154 w 2142282"/>
                    <a:gd name="connsiteY91" fmla="*/ 327980 h 388632"/>
                    <a:gd name="connsiteX92" fmla="*/ 1935174 w 2142282"/>
                    <a:gd name="connsiteY92" fmla="*/ 291940 h 388632"/>
                    <a:gd name="connsiteX93" fmla="*/ 1911440 w 2142282"/>
                    <a:gd name="connsiteY93" fmla="*/ 302537 h 388632"/>
                    <a:gd name="connsiteX94" fmla="*/ 1902162 w 2142282"/>
                    <a:gd name="connsiteY94" fmla="*/ 328761 h 388632"/>
                    <a:gd name="connsiteX95" fmla="*/ 1902162 w 2142282"/>
                    <a:gd name="connsiteY95" fmla="*/ 386190 h 388632"/>
                    <a:gd name="connsiteX96" fmla="*/ 1893176 w 2142282"/>
                    <a:gd name="connsiteY96" fmla="*/ 386190 h 388632"/>
                    <a:gd name="connsiteX97" fmla="*/ 1893176 w 2142282"/>
                    <a:gd name="connsiteY97" fmla="*/ 286178 h 388632"/>
                    <a:gd name="connsiteX98" fmla="*/ 1902162 w 2142282"/>
                    <a:gd name="connsiteY98" fmla="*/ 286178 h 388632"/>
                    <a:gd name="connsiteX99" fmla="*/ 1902162 w 2142282"/>
                    <a:gd name="connsiteY99" fmla="*/ 304344 h 388632"/>
                    <a:gd name="connsiteX100" fmla="*/ 1902552 w 2142282"/>
                    <a:gd name="connsiteY100" fmla="*/ 304344 h 388632"/>
                    <a:gd name="connsiteX101" fmla="*/ 1936736 w 2142282"/>
                    <a:gd name="connsiteY101" fmla="*/ 283736 h 388632"/>
                    <a:gd name="connsiteX102" fmla="*/ 1759328 w 2142282"/>
                    <a:gd name="connsiteY102" fmla="*/ 283736 h 388632"/>
                    <a:gd name="connsiteX103" fmla="*/ 1787946 w 2142282"/>
                    <a:gd name="connsiteY103" fmla="*/ 296824 h 388632"/>
                    <a:gd name="connsiteX104" fmla="*/ 1797908 w 2142282"/>
                    <a:gd name="connsiteY104" fmla="*/ 332570 h 388632"/>
                    <a:gd name="connsiteX105" fmla="*/ 1797908 w 2142282"/>
                    <a:gd name="connsiteY105" fmla="*/ 336575 h 388632"/>
                    <a:gd name="connsiteX106" fmla="*/ 1723876 w 2142282"/>
                    <a:gd name="connsiteY106" fmla="*/ 336575 h 388632"/>
                    <a:gd name="connsiteX107" fmla="*/ 1733398 w 2142282"/>
                    <a:gd name="connsiteY107" fmla="*/ 368805 h 388632"/>
                    <a:gd name="connsiteX108" fmla="*/ 1759524 w 2142282"/>
                    <a:gd name="connsiteY108" fmla="*/ 380428 h 388632"/>
                    <a:gd name="connsiteX109" fmla="*/ 1792340 w 2142282"/>
                    <a:gd name="connsiteY109" fmla="*/ 368024 h 388632"/>
                    <a:gd name="connsiteX110" fmla="*/ 1792340 w 2142282"/>
                    <a:gd name="connsiteY110" fmla="*/ 377595 h 388632"/>
                    <a:gd name="connsiteX111" fmla="*/ 1757668 w 2142282"/>
                    <a:gd name="connsiteY111" fmla="*/ 388632 h 388632"/>
                    <a:gd name="connsiteX112" fmla="*/ 1726414 w 2142282"/>
                    <a:gd name="connsiteY112" fmla="*/ 374763 h 388632"/>
                    <a:gd name="connsiteX113" fmla="*/ 1714500 w 2142282"/>
                    <a:gd name="connsiteY113" fmla="*/ 335598 h 388632"/>
                    <a:gd name="connsiteX114" fmla="*/ 1726952 w 2142282"/>
                    <a:gd name="connsiteY114" fmla="*/ 298728 h 388632"/>
                    <a:gd name="connsiteX115" fmla="*/ 1759328 w 2142282"/>
                    <a:gd name="connsiteY115" fmla="*/ 283736 h 388632"/>
                    <a:gd name="connsiteX116" fmla="*/ 1603362 w 2142282"/>
                    <a:gd name="connsiteY116" fmla="*/ 283736 h 388632"/>
                    <a:gd name="connsiteX117" fmla="*/ 1628170 w 2142282"/>
                    <a:gd name="connsiteY117" fmla="*/ 294528 h 388632"/>
                    <a:gd name="connsiteX118" fmla="*/ 1636764 w 2142282"/>
                    <a:gd name="connsiteY118" fmla="*/ 325343 h 388632"/>
                    <a:gd name="connsiteX119" fmla="*/ 1636764 w 2142282"/>
                    <a:gd name="connsiteY119" fmla="*/ 386190 h 388632"/>
                    <a:gd name="connsiteX120" fmla="*/ 1627778 w 2142282"/>
                    <a:gd name="connsiteY120" fmla="*/ 386190 h 388632"/>
                    <a:gd name="connsiteX121" fmla="*/ 1627778 w 2142282"/>
                    <a:gd name="connsiteY121" fmla="*/ 327980 h 388632"/>
                    <a:gd name="connsiteX122" fmla="*/ 1601800 w 2142282"/>
                    <a:gd name="connsiteY122" fmla="*/ 291940 h 388632"/>
                    <a:gd name="connsiteX123" fmla="*/ 1578066 w 2142282"/>
                    <a:gd name="connsiteY123" fmla="*/ 302537 h 388632"/>
                    <a:gd name="connsiteX124" fmla="*/ 1568788 w 2142282"/>
                    <a:gd name="connsiteY124" fmla="*/ 328761 h 388632"/>
                    <a:gd name="connsiteX125" fmla="*/ 1568788 w 2142282"/>
                    <a:gd name="connsiteY125" fmla="*/ 386190 h 388632"/>
                    <a:gd name="connsiteX126" fmla="*/ 1559802 w 2142282"/>
                    <a:gd name="connsiteY126" fmla="*/ 386190 h 388632"/>
                    <a:gd name="connsiteX127" fmla="*/ 1559802 w 2142282"/>
                    <a:gd name="connsiteY127" fmla="*/ 286178 h 388632"/>
                    <a:gd name="connsiteX128" fmla="*/ 1568788 w 2142282"/>
                    <a:gd name="connsiteY128" fmla="*/ 286178 h 388632"/>
                    <a:gd name="connsiteX129" fmla="*/ 1568788 w 2142282"/>
                    <a:gd name="connsiteY129" fmla="*/ 304344 h 388632"/>
                    <a:gd name="connsiteX130" fmla="*/ 1569178 w 2142282"/>
                    <a:gd name="connsiteY130" fmla="*/ 304344 h 388632"/>
                    <a:gd name="connsiteX131" fmla="*/ 1603362 w 2142282"/>
                    <a:gd name="connsiteY131" fmla="*/ 283736 h 388632"/>
                    <a:gd name="connsiteX132" fmla="*/ 1387854 w 2142282"/>
                    <a:gd name="connsiteY132" fmla="*/ 283736 h 388632"/>
                    <a:gd name="connsiteX133" fmla="*/ 1416470 w 2142282"/>
                    <a:gd name="connsiteY133" fmla="*/ 296824 h 388632"/>
                    <a:gd name="connsiteX134" fmla="*/ 1426432 w 2142282"/>
                    <a:gd name="connsiteY134" fmla="*/ 332570 h 388632"/>
                    <a:gd name="connsiteX135" fmla="*/ 1426432 w 2142282"/>
                    <a:gd name="connsiteY135" fmla="*/ 336575 h 388632"/>
                    <a:gd name="connsiteX136" fmla="*/ 1352400 w 2142282"/>
                    <a:gd name="connsiteY136" fmla="*/ 336575 h 388632"/>
                    <a:gd name="connsiteX137" fmla="*/ 1361924 w 2142282"/>
                    <a:gd name="connsiteY137" fmla="*/ 368805 h 388632"/>
                    <a:gd name="connsiteX138" fmla="*/ 1388050 w 2142282"/>
                    <a:gd name="connsiteY138" fmla="*/ 380428 h 388632"/>
                    <a:gd name="connsiteX139" fmla="*/ 1420866 w 2142282"/>
                    <a:gd name="connsiteY139" fmla="*/ 368024 h 388632"/>
                    <a:gd name="connsiteX140" fmla="*/ 1420866 w 2142282"/>
                    <a:gd name="connsiteY140" fmla="*/ 377595 h 388632"/>
                    <a:gd name="connsiteX141" fmla="*/ 1386194 w 2142282"/>
                    <a:gd name="connsiteY141" fmla="*/ 388632 h 388632"/>
                    <a:gd name="connsiteX142" fmla="*/ 1354940 w 2142282"/>
                    <a:gd name="connsiteY142" fmla="*/ 374763 h 388632"/>
                    <a:gd name="connsiteX143" fmla="*/ 1343024 w 2142282"/>
                    <a:gd name="connsiteY143" fmla="*/ 335598 h 388632"/>
                    <a:gd name="connsiteX144" fmla="*/ 1355476 w 2142282"/>
                    <a:gd name="connsiteY144" fmla="*/ 298728 h 388632"/>
                    <a:gd name="connsiteX145" fmla="*/ 1387854 w 2142282"/>
                    <a:gd name="connsiteY145" fmla="*/ 283736 h 388632"/>
                    <a:gd name="connsiteX146" fmla="*/ 1058092 w 2142282"/>
                    <a:gd name="connsiteY146" fmla="*/ 283736 h 388632"/>
                    <a:gd name="connsiteX147" fmla="*/ 1091886 w 2142282"/>
                    <a:gd name="connsiteY147" fmla="*/ 297703 h 388632"/>
                    <a:gd name="connsiteX148" fmla="*/ 1104290 w 2142282"/>
                    <a:gd name="connsiteY148" fmla="*/ 336379 h 388632"/>
                    <a:gd name="connsiteX149" fmla="*/ 1091642 w 2142282"/>
                    <a:gd name="connsiteY149" fmla="*/ 374177 h 388632"/>
                    <a:gd name="connsiteX150" fmla="*/ 1057018 w 2142282"/>
                    <a:gd name="connsiteY150" fmla="*/ 388632 h 388632"/>
                    <a:gd name="connsiteX151" fmla="*/ 1022394 w 2142282"/>
                    <a:gd name="connsiteY151" fmla="*/ 374226 h 388632"/>
                    <a:gd name="connsiteX152" fmla="*/ 1009648 w 2142282"/>
                    <a:gd name="connsiteY152" fmla="*/ 336770 h 388632"/>
                    <a:gd name="connsiteX153" fmla="*/ 1022980 w 2142282"/>
                    <a:gd name="connsiteY153" fmla="*/ 297800 h 388632"/>
                    <a:gd name="connsiteX154" fmla="*/ 1058092 w 2142282"/>
                    <a:gd name="connsiteY154" fmla="*/ 283736 h 388632"/>
                    <a:gd name="connsiteX155" fmla="*/ 702054 w 2142282"/>
                    <a:gd name="connsiteY155" fmla="*/ 283736 h 388632"/>
                    <a:gd name="connsiteX156" fmla="*/ 730670 w 2142282"/>
                    <a:gd name="connsiteY156" fmla="*/ 296824 h 388632"/>
                    <a:gd name="connsiteX157" fmla="*/ 740632 w 2142282"/>
                    <a:gd name="connsiteY157" fmla="*/ 332570 h 388632"/>
                    <a:gd name="connsiteX158" fmla="*/ 740632 w 2142282"/>
                    <a:gd name="connsiteY158" fmla="*/ 336575 h 388632"/>
                    <a:gd name="connsiteX159" fmla="*/ 666600 w 2142282"/>
                    <a:gd name="connsiteY159" fmla="*/ 336575 h 388632"/>
                    <a:gd name="connsiteX160" fmla="*/ 676124 w 2142282"/>
                    <a:gd name="connsiteY160" fmla="*/ 368805 h 388632"/>
                    <a:gd name="connsiteX161" fmla="*/ 702250 w 2142282"/>
                    <a:gd name="connsiteY161" fmla="*/ 380428 h 388632"/>
                    <a:gd name="connsiteX162" fmla="*/ 735066 w 2142282"/>
                    <a:gd name="connsiteY162" fmla="*/ 368024 h 388632"/>
                    <a:gd name="connsiteX163" fmla="*/ 735066 w 2142282"/>
                    <a:gd name="connsiteY163" fmla="*/ 377595 h 388632"/>
                    <a:gd name="connsiteX164" fmla="*/ 700394 w 2142282"/>
                    <a:gd name="connsiteY164" fmla="*/ 388632 h 388632"/>
                    <a:gd name="connsiteX165" fmla="*/ 669140 w 2142282"/>
                    <a:gd name="connsiteY165" fmla="*/ 374763 h 388632"/>
                    <a:gd name="connsiteX166" fmla="*/ 657224 w 2142282"/>
                    <a:gd name="connsiteY166" fmla="*/ 335598 h 388632"/>
                    <a:gd name="connsiteX167" fmla="*/ 669676 w 2142282"/>
                    <a:gd name="connsiteY167" fmla="*/ 298728 h 388632"/>
                    <a:gd name="connsiteX168" fmla="*/ 702054 w 2142282"/>
                    <a:gd name="connsiteY168" fmla="*/ 283736 h 388632"/>
                    <a:gd name="connsiteX169" fmla="*/ 564550 w 2142282"/>
                    <a:gd name="connsiteY169" fmla="*/ 283736 h 388632"/>
                    <a:gd name="connsiteX170" fmla="*/ 586722 w 2142282"/>
                    <a:gd name="connsiteY170" fmla="*/ 288424 h 388632"/>
                    <a:gd name="connsiteX171" fmla="*/ 586722 w 2142282"/>
                    <a:gd name="connsiteY171" fmla="*/ 298582 h 388632"/>
                    <a:gd name="connsiteX172" fmla="*/ 563184 w 2142282"/>
                    <a:gd name="connsiteY172" fmla="*/ 291940 h 388632"/>
                    <a:gd name="connsiteX173" fmla="*/ 534664 w 2142282"/>
                    <a:gd name="connsiteY173" fmla="*/ 304588 h 388632"/>
                    <a:gd name="connsiteX174" fmla="*/ 523726 w 2142282"/>
                    <a:gd name="connsiteY174" fmla="*/ 337356 h 388632"/>
                    <a:gd name="connsiteX175" fmla="*/ 533736 w 2142282"/>
                    <a:gd name="connsiteY175" fmla="*/ 368610 h 388632"/>
                    <a:gd name="connsiteX176" fmla="*/ 560156 w 2142282"/>
                    <a:gd name="connsiteY176" fmla="*/ 380428 h 388632"/>
                    <a:gd name="connsiteX177" fmla="*/ 586330 w 2142282"/>
                    <a:gd name="connsiteY177" fmla="*/ 372419 h 388632"/>
                    <a:gd name="connsiteX178" fmla="*/ 586330 w 2142282"/>
                    <a:gd name="connsiteY178" fmla="*/ 381795 h 388632"/>
                    <a:gd name="connsiteX179" fmla="*/ 559766 w 2142282"/>
                    <a:gd name="connsiteY179" fmla="*/ 388632 h 388632"/>
                    <a:gd name="connsiteX180" fmla="*/ 526850 w 2142282"/>
                    <a:gd name="connsiteY180" fmla="*/ 374617 h 388632"/>
                    <a:gd name="connsiteX181" fmla="*/ 514350 w 2142282"/>
                    <a:gd name="connsiteY181" fmla="*/ 337942 h 388632"/>
                    <a:gd name="connsiteX182" fmla="*/ 528414 w 2142282"/>
                    <a:gd name="connsiteY182" fmla="*/ 298923 h 388632"/>
                    <a:gd name="connsiteX183" fmla="*/ 564550 w 2142282"/>
                    <a:gd name="connsiteY183" fmla="*/ 283736 h 388632"/>
                    <a:gd name="connsiteX184" fmla="*/ 454404 w 2142282"/>
                    <a:gd name="connsiteY184" fmla="*/ 283736 h 388632"/>
                    <a:gd name="connsiteX185" fmla="*/ 483020 w 2142282"/>
                    <a:gd name="connsiteY185" fmla="*/ 296824 h 388632"/>
                    <a:gd name="connsiteX186" fmla="*/ 492984 w 2142282"/>
                    <a:gd name="connsiteY186" fmla="*/ 332570 h 388632"/>
                    <a:gd name="connsiteX187" fmla="*/ 492984 w 2142282"/>
                    <a:gd name="connsiteY187" fmla="*/ 336575 h 388632"/>
                    <a:gd name="connsiteX188" fmla="*/ 418950 w 2142282"/>
                    <a:gd name="connsiteY188" fmla="*/ 336575 h 388632"/>
                    <a:gd name="connsiteX189" fmla="*/ 428474 w 2142282"/>
                    <a:gd name="connsiteY189" fmla="*/ 368805 h 388632"/>
                    <a:gd name="connsiteX190" fmla="*/ 454600 w 2142282"/>
                    <a:gd name="connsiteY190" fmla="*/ 380428 h 388632"/>
                    <a:gd name="connsiteX191" fmla="*/ 487416 w 2142282"/>
                    <a:gd name="connsiteY191" fmla="*/ 368024 h 388632"/>
                    <a:gd name="connsiteX192" fmla="*/ 487416 w 2142282"/>
                    <a:gd name="connsiteY192" fmla="*/ 377595 h 388632"/>
                    <a:gd name="connsiteX193" fmla="*/ 452744 w 2142282"/>
                    <a:gd name="connsiteY193" fmla="*/ 388632 h 388632"/>
                    <a:gd name="connsiteX194" fmla="*/ 421490 w 2142282"/>
                    <a:gd name="connsiteY194" fmla="*/ 374763 h 388632"/>
                    <a:gd name="connsiteX195" fmla="*/ 409574 w 2142282"/>
                    <a:gd name="connsiteY195" fmla="*/ 335598 h 388632"/>
                    <a:gd name="connsiteX196" fmla="*/ 422028 w 2142282"/>
                    <a:gd name="connsiteY196" fmla="*/ 298728 h 388632"/>
                    <a:gd name="connsiteX197" fmla="*/ 454404 w 2142282"/>
                    <a:gd name="connsiteY197" fmla="*/ 283736 h 388632"/>
                    <a:gd name="connsiteX198" fmla="*/ 355586 w 2142282"/>
                    <a:gd name="connsiteY198" fmla="*/ 283736 h 388632"/>
                    <a:gd name="connsiteX199" fmla="*/ 380394 w 2142282"/>
                    <a:gd name="connsiteY199" fmla="*/ 294528 h 388632"/>
                    <a:gd name="connsiteX200" fmla="*/ 388990 w 2142282"/>
                    <a:gd name="connsiteY200" fmla="*/ 325343 h 388632"/>
                    <a:gd name="connsiteX201" fmla="*/ 388990 w 2142282"/>
                    <a:gd name="connsiteY201" fmla="*/ 386190 h 388632"/>
                    <a:gd name="connsiteX202" fmla="*/ 380004 w 2142282"/>
                    <a:gd name="connsiteY202" fmla="*/ 386190 h 388632"/>
                    <a:gd name="connsiteX203" fmla="*/ 380004 w 2142282"/>
                    <a:gd name="connsiteY203" fmla="*/ 327980 h 388632"/>
                    <a:gd name="connsiteX204" fmla="*/ 354024 w 2142282"/>
                    <a:gd name="connsiteY204" fmla="*/ 291940 h 388632"/>
                    <a:gd name="connsiteX205" fmla="*/ 330290 w 2142282"/>
                    <a:gd name="connsiteY205" fmla="*/ 302537 h 388632"/>
                    <a:gd name="connsiteX206" fmla="*/ 321012 w 2142282"/>
                    <a:gd name="connsiteY206" fmla="*/ 328761 h 388632"/>
                    <a:gd name="connsiteX207" fmla="*/ 321012 w 2142282"/>
                    <a:gd name="connsiteY207" fmla="*/ 386190 h 388632"/>
                    <a:gd name="connsiteX208" fmla="*/ 312026 w 2142282"/>
                    <a:gd name="connsiteY208" fmla="*/ 386190 h 388632"/>
                    <a:gd name="connsiteX209" fmla="*/ 312026 w 2142282"/>
                    <a:gd name="connsiteY209" fmla="*/ 286178 h 388632"/>
                    <a:gd name="connsiteX210" fmla="*/ 321012 w 2142282"/>
                    <a:gd name="connsiteY210" fmla="*/ 286178 h 388632"/>
                    <a:gd name="connsiteX211" fmla="*/ 321012 w 2142282"/>
                    <a:gd name="connsiteY211" fmla="*/ 304344 h 388632"/>
                    <a:gd name="connsiteX212" fmla="*/ 321402 w 2142282"/>
                    <a:gd name="connsiteY212" fmla="*/ 304344 h 388632"/>
                    <a:gd name="connsiteX213" fmla="*/ 355586 w 2142282"/>
                    <a:gd name="connsiteY213" fmla="*/ 283736 h 388632"/>
                    <a:gd name="connsiteX214" fmla="*/ 250812 w 2142282"/>
                    <a:gd name="connsiteY214" fmla="*/ 283736 h 388632"/>
                    <a:gd name="connsiteX215" fmla="*/ 275620 w 2142282"/>
                    <a:gd name="connsiteY215" fmla="*/ 294528 h 388632"/>
                    <a:gd name="connsiteX216" fmla="*/ 284214 w 2142282"/>
                    <a:gd name="connsiteY216" fmla="*/ 325343 h 388632"/>
                    <a:gd name="connsiteX217" fmla="*/ 284214 w 2142282"/>
                    <a:gd name="connsiteY217" fmla="*/ 386190 h 388632"/>
                    <a:gd name="connsiteX218" fmla="*/ 275228 w 2142282"/>
                    <a:gd name="connsiteY218" fmla="*/ 386190 h 388632"/>
                    <a:gd name="connsiteX219" fmla="*/ 275228 w 2142282"/>
                    <a:gd name="connsiteY219" fmla="*/ 327980 h 388632"/>
                    <a:gd name="connsiteX220" fmla="*/ 249250 w 2142282"/>
                    <a:gd name="connsiteY220" fmla="*/ 291940 h 388632"/>
                    <a:gd name="connsiteX221" fmla="*/ 225516 w 2142282"/>
                    <a:gd name="connsiteY221" fmla="*/ 302537 h 388632"/>
                    <a:gd name="connsiteX222" fmla="*/ 216238 w 2142282"/>
                    <a:gd name="connsiteY222" fmla="*/ 328761 h 388632"/>
                    <a:gd name="connsiteX223" fmla="*/ 216238 w 2142282"/>
                    <a:gd name="connsiteY223" fmla="*/ 386190 h 388632"/>
                    <a:gd name="connsiteX224" fmla="*/ 207252 w 2142282"/>
                    <a:gd name="connsiteY224" fmla="*/ 386190 h 388632"/>
                    <a:gd name="connsiteX225" fmla="*/ 207252 w 2142282"/>
                    <a:gd name="connsiteY225" fmla="*/ 286178 h 388632"/>
                    <a:gd name="connsiteX226" fmla="*/ 216238 w 2142282"/>
                    <a:gd name="connsiteY226" fmla="*/ 286178 h 388632"/>
                    <a:gd name="connsiteX227" fmla="*/ 216238 w 2142282"/>
                    <a:gd name="connsiteY227" fmla="*/ 304344 h 388632"/>
                    <a:gd name="connsiteX228" fmla="*/ 216628 w 2142282"/>
                    <a:gd name="connsiteY228" fmla="*/ 304344 h 388632"/>
                    <a:gd name="connsiteX229" fmla="*/ 250812 w 2142282"/>
                    <a:gd name="connsiteY229" fmla="*/ 283736 h 388632"/>
                    <a:gd name="connsiteX230" fmla="*/ 134168 w 2142282"/>
                    <a:gd name="connsiteY230" fmla="*/ 283736 h 388632"/>
                    <a:gd name="connsiteX231" fmla="*/ 167962 w 2142282"/>
                    <a:gd name="connsiteY231" fmla="*/ 297703 h 388632"/>
                    <a:gd name="connsiteX232" fmla="*/ 180364 w 2142282"/>
                    <a:gd name="connsiteY232" fmla="*/ 336379 h 388632"/>
                    <a:gd name="connsiteX233" fmla="*/ 167716 w 2142282"/>
                    <a:gd name="connsiteY233" fmla="*/ 374177 h 388632"/>
                    <a:gd name="connsiteX234" fmla="*/ 133094 w 2142282"/>
                    <a:gd name="connsiteY234" fmla="*/ 388632 h 388632"/>
                    <a:gd name="connsiteX235" fmla="*/ 98470 w 2142282"/>
                    <a:gd name="connsiteY235" fmla="*/ 374226 h 388632"/>
                    <a:gd name="connsiteX236" fmla="*/ 85724 w 2142282"/>
                    <a:gd name="connsiteY236" fmla="*/ 336770 h 388632"/>
                    <a:gd name="connsiteX237" fmla="*/ 99056 w 2142282"/>
                    <a:gd name="connsiteY237" fmla="*/ 297800 h 388632"/>
                    <a:gd name="connsiteX238" fmla="*/ 134168 w 2142282"/>
                    <a:gd name="connsiteY238" fmla="*/ 283736 h 388632"/>
                    <a:gd name="connsiteX239" fmla="*/ 50200 w 2142282"/>
                    <a:gd name="connsiteY239" fmla="*/ 283736 h 388632"/>
                    <a:gd name="connsiteX240" fmla="*/ 72372 w 2142282"/>
                    <a:gd name="connsiteY240" fmla="*/ 288424 h 388632"/>
                    <a:gd name="connsiteX241" fmla="*/ 72372 w 2142282"/>
                    <a:gd name="connsiteY241" fmla="*/ 298582 h 388632"/>
                    <a:gd name="connsiteX242" fmla="*/ 48834 w 2142282"/>
                    <a:gd name="connsiteY242" fmla="*/ 291940 h 388632"/>
                    <a:gd name="connsiteX243" fmla="*/ 20314 w 2142282"/>
                    <a:gd name="connsiteY243" fmla="*/ 304588 h 388632"/>
                    <a:gd name="connsiteX244" fmla="*/ 9376 w 2142282"/>
                    <a:gd name="connsiteY244" fmla="*/ 337356 h 388632"/>
                    <a:gd name="connsiteX245" fmla="*/ 19386 w 2142282"/>
                    <a:gd name="connsiteY245" fmla="*/ 368610 h 388632"/>
                    <a:gd name="connsiteX246" fmla="*/ 45806 w 2142282"/>
                    <a:gd name="connsiteY246" fmla="*/ 380428 h 388632"/>
                    <a:gd name="connsiteX247" fmla="*/ 71980 w 2142282"/>
                    <a:gd name="connsiteY247" fmla="*/ 372419 h 388632"/>
                    <a:gd name="connsiteX248" fmla="*/ 71980 w 2142282"/>
                    <a:gd name="connsiteY248" fmla="*/ 381795 h 388632"/>
                    <a:gd name="connsiteX249" fmla="*/ 45416 w 2142282"/>
                    <a:gd name="connsiteY249" fmla="*/ 388632 h 388632"/>
                    <a:gd name="connsiteX250" fmla="*/ 12500 w 2142282"/>
                    <a:gd name="connsiteY250" fmla="*/ 374617 h 388632"/>
                    <a:gd name="connsiteX251" fmla="*/ 0 w 2142282"/>
                    <a:gd name="connsiteY251" fmla="*/ 337942 h 388632"/>
                    <a:gd name="connsiteX252" fmla="*/ 14064 w 2142282"/>
                    <a:gd name="connsiteY252" fmla="*/ 298923 h 388632"/>
                    <a:gd name="connsiteX253" fmla="*/ 50200 w 2142282"/>
                    <a:gd name="connsiteY253" fmla="*/ 283736 h 388632"/>
                    <a:gd name="connsiteX254" fmla="*/ 2115912 w 2142282"/>
                    <a:gd name="connsiteY254" fmla="*/ 257170 h 388632"/>
                    <a:gd name="connsiteX255" fmla="*/ 2115912 w 2142282"/>
                    <a:gd name="connsiteY255" fmla="*/ 286178 h 388632"/>
                    <a:gd name="connsiteX256" fmla="*/ 2142282 w 2142282"/>
                    <a:gd name="connsiteY256" fmla="*/ 286178 h 388632"/>
                    <a:gd name="connsiteX257" fmla="*/ 2142282 w 2142282"/>
                    <a:gd name="connsiteY257" fmla="*/ 294382 h 388632"/>
                    <a:gd name="connsiteX258" fmla="*/ 2115912 w 2142282"/>
                    <a:gd name="connsiteY258" fmla="*/ 294382 h 388632"/>
                    <a:gd name="connsiteX259" fmla="*/ 2115912 w 2142282"/>
                    <a:gd name="connsiteY259" fmla="*/ 360406 h 388632"/>
                    <a:gd name="connsiteX260" fmla="*/ 2119184 w 2142282"/>
                    <a:gd name="connsiteY260" fmla="*/ 375398 h 388632"/>
                    <a:gd name="connsiteX261" fmla="*/ 2130268 w 2142282"/>
                    <a:gd name="connsiteY261" fmla="*/ 380037 h 388632"/>
                    <a:gd name="connsiteX262" fmla="*/ 2142282 w 2142282"/>
                    <a:gd name="connsiteY262" fmla="*/ 376423 h 388632"/>
                    <a:gd name="connsiteX263" fmla="*/ 2142282 w 2142282"/>
                    <a:gd name="connsiteY263" fmla="*/ 384823 h 388632"/>
                    <a:gd name="connsiteX264" fmla="*/ 2129096 w 2142282"/>
                    <a:gd name="connsiteY264" fmla="*/ 388144 h 388632"/>
                    <a:gd name="connsiteX265" fmla="*/ 2106926 w 2142282"/>
                    <a:gd name="connsiteY265" fmla="*/ 361578 h 388632"/>
                    <a:gd name="connsiteX266" fmla="*/ 2106926 w 2142282"/>
                    <a:gd name="connsiteY266" fmla="*/ 294382 h 388632"/>
                    <a:gd name="connsiteX267" fmla="*/ 2088956 w 2142282"/>
                    <a:gd name="connsiteY267" fmla="*/ 294382 h 388632"/>
                    <a:gd name="connsiteX268" fmla="*/ 2088956 w 2142282"/>
                    <a:gd name="connsiteY268" fmla="*/ 286178 h 388632"/>
                    <a:gd name="connsiteX269" fmla="*/ 2106926 w 2142282"/>
                    <a:gd name="connsiteY269" fmla="*/ 286178 h 388632"/>
                    <a:gd name="connsiteX270" fmla="*/ 2106926 w 2142282"/>
                    <a:gd name="connsiteY270" fmla="*/ 260198 h 388632"/>
                    <a:gd name="connsiteX271" fmla="*/ 2111420 w 2142282"/>
                    <a:gd name="connsiteY271" fmla="*/ 258635 h 388632"/>
                    <a:gd name="connsiteX272" fmla="*/ 2115912 w 2142282"/>
                    <a:gd name="connsiteY272" fmla="*/ 257170 h 388632"/>
                    <a:gd name="connsiteX273" fmla="*/ 1677762 w 2142282"/>
                    <a:gd name="connsiteY273" fmla="*/ 257170 h 388632"/>
                    <a:gd name="connsiteX274" fmla="*/ 1677762 w 2142282"/>
                    <a:gd name="connsiteY274" fmla="*/ 286178 h 388632"/>
                    <a:gd name="connsiteX275" fmla="*/ 1704132 w 2142282"/>
                    <a:gd name="connsiteY275" fmla="*/ 286178 h 388632"/>
                    <a:gd name="connsiteX276" fmla="*/ 1704132 w 2142282"/>
                    <a:gd name="connsiteY276" fmla="*/ 294382 h 388632"/>
                    <a:gd name="connsiteX277" fmla="*/ 1677762 w 2142282"/>
                    <a:gd name="connsiteY277" fmla="*/ 294382 h 388632"/>
                    <a:gd name="connsiteX278" fmla="*/ 1677762 w 2142282"/>
                    <a:gd name="connsiteY278" fmla="*/ 360406 h 388632"/>
                    <a:gd name="connsiteX279" fmla="*/ 1681034 w 2142282"/>
                    <a:gd name="connsiteY279" fmla="*/ 375398 h 388632"/>
                    <a:gd name="connsiteX280" fmla="*/ 1692120 w 2142282"/>
                    <a:gd name="connsiteY280" fmla="*/ 380037 h 388632"/>
                    <a:gd name="connsiteX281" fmla="*/ 1704132 w 2142282"/>
                    <a:gd name="connsiteY281" fmla="*/ 376423 h 388632"/>
                    <a:gd name="connsiteX282" fmla="*/ 1704132 w 2142282"/>
                    <a:gd name="connsiteY282" fmla="*/ 384823 h 388632"/>
                    <a:gd name="connsiteX283" fmla="*/ 1690948 w 2142282"/>
                    <a:gd name="connsiteY283" fmla="*/ 388144 h 388632"/>
                    <a:gd name="connsiteX284" fmla="*/ 1668776 w 2142282"/>
                    <a:gd name="connsiteY284" fmla="*/ 361578 h 388632"/>
                    <a:gd name="connsiteX285" fmla="*/ 1668776 w 2142282"/>
                    <a:gd name="connsiteY285" fmla="*/ 294382 h 388632"/>
                    <a:gd name="connsiteX286" fmla="*/ 1650806 w 2142282"/>
                    <a:gd name="connsiteY286" fmla="*/ 294382 h 388632"/>
                    <a:gd name="connsiteX287" fmla="*/ 1650806 w 2142282"/>
                    <a:gd name="connsiteY287" fmla="*/ 286178 h 388632"/>
                    <a:gd name="connsiteX288" fmla="*/ 1668776 w 2142282"/>
                    <a:gd name="connsiteY288" fmla="*/ 286178 h 388632"/>
                    <a:gd name="connsiteX289" fmla="*/ 1668776 w 2142282"/>
                    <a:gd name="connsiteY289" fmla="*/ 260198 h 388632"/>
                    <a:gd name="connsiteX290" fmla="*/ 1673268 w 2142282"/>
                    <a:gd name="connsiteY290" fmla="*/ 258635 h 388632"/>
                    <a:gd name="connsiteX291" fmla="*/ 1677762 w 2142282"/>
                    <a:gd name="connsiteY291" fmla="*/ 257170 h 388632"/>
                    <a:gd name="connsiteX292" fmla="*/ 1201512 w 2142282"/>
                    <a:gd name="connsiteY292" fmla="*/ 257170 h 388632"/>
                    <a:gd name="connsiteX293" fmla="*/ 1201512 w 2142282"/>
                    <a:gd name="connsiteY293" fmla="*/ 286178 h 388632"/>
                    <a:gd name="connsiteX294" fmla="*/ 1227882 w 2142282"/>
                    <a:gd name="connsiteY294" fmla="*/ 286178 h 388632"/>
                    <a:gd name="connsiteX295" fmla="*/ 1227882 w 2142282"/>
                    <a:gd name="connsiteY295" fmla="*/ 294382 h 388632"/>
                    <a:gd name="connsiteX296" fmla="*/ 1201512 w 2142282"/>
                    <a:gd name="connsiteY296" fmla="*/ 294382 h 388632"/>
                    <a:gd name="connsiteX297" fmla="*/ 1201512 w 2142282"/>
                    <a:gd name="connsiteY297" fmla="*/ 360406 h 388632"/>
                    <a:gd name="connsiteX298" fmla="*/ 1204784 w 2142282"/>
                    <a:gd name="connsiteY298" fmla="*/ 375398 h 388632"/>
                    <a:gd name="connsiteX299" fmla="*/ 1215868 w 2142282"/>
                    <a:gd name="connsiteY299" fmla="*/ 380037 h 388632"/>
                    <a:gd name="connsiteX300" fmla="*/ 1227882 w 2142282"/>
                    <a:gd name="connsiteY300" fmla="*/ 376423 h 388632"/>
                    <a:gd name="connsiteX301" fmla="*/ 1227882 w 2142282"/>
                    <a:gd name="connsiteY301" fmla="*/ 384823 h 388632"/>
                    <a:gd name="connsiteX302" fmla="*/ 1214696 w 2142282"/>
                    <a:gd name="connsiteY302" fmla="*/ 388144 h 388632"/>
                    <a:gd name="connsiteX303" fmla="*/ 1192526 w 2142282"/>
                    <a:gd name="connsiteY303" fmla="*/ 361578 h 388632"/>
                    <a:gd name="connsiteX304" fmla="*/ 1192526 w 2142282"/>
                    <a:gd name="connsiteY304" fmla="*/ 294382 h 388632"/>
                    <a:gd name="connsiteX305" fmla="*/ 1174556 w 2142282"/>
                    <a:gd name="connsiteY305" fmla="*/ 294382 h 388632"/>
                    <a:gd name="connsiteX306" fmla="*/ 1174556 w 2142282"/>
                    <a:gd name="connsiteY306" fmla="*/ 286178 h 388632"/>
                    <a:gd name="connsiteX307" fmla="*/ 1192526 w 2142282"/>
                    <a:gd name="connsiteY307" fmla="*/ 286178 h 388632"/>
                    <a:gd name="connsiteX308" fmla="*/ 1192526 w 2142282"/>
                    <a:gd name="connsiteY308" fmla="*/ 260198 h 388632"/>
                    <a:gd name="connsiteX309" fmla="*/ 1197020 w 2142282"/>
                    <a:gd name="connsiteY309" fmla="*/ 258635 h 388632"/>
                    <a:gd name="connsiteX310" fmla="*/ 1201512 w 2142282"/>
                    <a:gd name="connsiteY310" fmla="*/ 257170 h 388632"/>
                    <a:gd name="connsiteX311" fmla="*/ 972912 w 2142282"/>
                    <a:gd name="connsiteY311" fmla="*/ 257170 h 388632"/>
                    <a:gd name="connsiteX312" fmla="*/ 972912 w 2142282"/>
                    <a:gd name="connsiteY312" fmla="*/ 286178 h 388632"/>
                    <a:gd name="connsiteX313" fmla="*/ 999282 w 2142282"/>
                    <a:gd name="connsiteY313" fmla="*/ 286178 h 388632"/>
                    <a:gd name="connsiteX314" fmla="*/ 999282 w 2142282"/>
                    <a:gd name="connsiteY314" fmla="*/ 294382 h 388632"/>
                    <a:gd name="connsiteX315" fmla="*/ 972912 w 2142282"/>
                    <a:gd name="connsiteY315" fmla="*/ 294382 h 388632"/>
                    <a:gd name="connsiteX316" fmla="*/ 972912 w 2142282"/>
                    <a:gd name="connsiteY316" fmla="*/ 360406 h 388632"/>
                    <a:gd name="connsiteX317" fmla="*/ 976184 w 2142282"/>
                    <a:gd name="connsiteY317" fmla="*/ 375398 h 388632"/>
                    <a:gd name="connsiteX318" fmla="*/ 987270 w 2142282"/>
                    <a:gd name="connsiteY318" fmla="*/ 380037 h 388632"/>
                    <a:gd name="connsiteX319" fmla="*/ 999282 w 2142282"/>
                    <a:gd name="connsiteY319" fmla="*/ 376423 h 388632"/>
                    <a:gd name="connsiteX320" fmla="*/ 999282 w 2142282"/>
                    <a:gd name="connsiteY320" fmla="*/ 384823 h 388632"/>
                    <a:gd name="connsiteX321" fmla="*/ 986096 w 2142282"/>
                    <a:gd name="connsiteY321" fmla="*/ 388144 h 388632"/>
                    <a:gd name="connsiteX322" fmla="*/ 963926 w 2142282"/>
                    <a:gd name="connsiteY322" fmla="*/ 361578 h 388632"/>
                    <a:gd name="connsiteX323" fmla="*/ 963926 w 2142282"/>
                    <a:gd name="connsiteY323" fmla="*/ 294382 h 388632"/>
                    <a:gd name="connsiteX324" fmla="*/ 945956 w 2142282"/>
                    <a:gd name="connsiteY324" fmla="*/ 294382 h 388632"/>
                    <a:gd name="connsiteX325" fmla="*/ 945956 w 2142282"/>
                    <a:gd name="connsiteY325" fmla="*/ 286178 h 388632"/>
                    <a:gd name="connsiteX326" fmla="*/ 963926 w 2142282"/>
                    <a:gd name="connsiteY326" fmla="*/ 286178 h 388632"/>
                    <a:gd name="connsiteX327" fmla="*/ 963926 w 2142282"/>
                    <a:gd name="connsiteY327" fmla="*/ 260198 h 388632"/>
                    <a:gd name="connsiteX328" fmla="*/ 968420 w 2142282"/>
                    <a:gd name="connsiteY328" fmla="*/ 258635 h 388632"/>
                    <a:gd name="connsiteX329" fmla="*/ 972912 w 2142282"/>
                    <a:gd name="connsiteY329" fmla="*/ 257170 h 388632"/>
                    <a:gd name="connsiteX330" fmla="*/ 620488 w 2142282"/>
                    <a:gd name="connsiteY330" fmla="*/ 257170 h 388632"/>
                    <a:gd name="connsiteX331" fmla="*/ 620488 w 2142282"/>
                    <a:gd name="connsiteY331" fmla="*/ 286178 h 388632"/>
                    <a:gd name="connsiteX332" fmla="*/ 646858 w 2142282"/>
                    <a:gd name="connsiteY332" fmla="*/ 286178 h 388632"/>
                    <a:gd name="connsiteX333" fmla="*/ 646858 w 2142282"/>
                    <a:gd name="connsiteY333" fmla="*/ 294382 h 388632"/>
                    <a:gd name="connsiteX334" fmla="*/ 620488 w 2142282"/>
                    <a:gd name="connsiteY334" fmla="*/ 294382 h 388632"/>
                    <a:gd name="connsiteX335" fmla="*/ 620488 w 2142282"/>
                    <a:gd name="connsiteY335" fmla="*/ 360406 h 388632"/>
                    <a:gd name="connsiteX336" fmla="*/ 623758 w 2142282"/>
                    <a:gd name="connsiteY336" fmla="*/ 375398 h 388632"/>
                    <a:gd name="connsiteX337" fmla="*/ 634844 w 2142282"/>
                    <a:gd name="connsiteY337" fmla="*/ 380037 h 388632"/>
                    <a:gd name="connsiteX338" fmla="*/ 646858 w 2142282"/>
                    <a:gd name="connsiteY338" fmla="*/ 376423 h 388632"/>
                    <a:gd name="connsiteX339" fmla="*/ 646858 w 2142282"/>
                    <a:gd name="connsiteY339" fmla="*/ 384823 h 388632"/>
                    <a:gd name="connsiteX340" fmla="*/ 633672 w 2142282"/>
                    <a:gd name="connsiteY340" fmla="*/ 388144 h 388632"/>
                    <a:gd name="connsiteX341" fmla="*/ 611502 w 2142282"/>
                    <a:gd name="connsiteY341" fmla="*/ 361578 h 388632"/>
                    <a:gd name="connsiteX342" fmla="*/ 611502 w 2142282"/>
                    <a:gd name="connsiteY342" fmla="*/ 294382 h 388632"/>
                    <a:gd name="connsiteX343" fmla="*/ 593530 w 2142282"/>
                    <a:gd name="connsiteY343" fmla="*/ 294382 h 388632"/>
                    <a:gd name="connsiteX344" fmla="*/ 593530 w 2142282"/>
                    <a:gd name="connsiteY344" fmla="*/ 286178 h 388632"/>
                    <a:gd name="connsiteX345" fmla="*/ 611502 w 2142282"/>
                    <a:gd name="connsiteY345" fmla="*/ 286178 h 388632"/>
                    <a:gd name="connsiteX346" fmla="*/ 611502 w 2142282"/>
                    <a:gd name="connsiteY346" fmla="*/ 260198 h 388632"/>
                    <a:gd name="connsiteX347" fmla="*/ 615994 w 2142282"/>
                    <a:gd name="connsiteY347" fmla="*/ 258635 h 388632"/>
                    <a:gd name="connsiteX348" fmla="*/ 620488 w 2142282"/>
                    <a:gd name="connsiteY348" fmla="*/ 257170 h 388632"/>
                    <a:gd name="connsiteX349" fmla="*/ 1514130 w 2142282"/>
                    <a:gd name="connsiteY349" fmla="*/ 246134 h 388632"/>
                    <a:gd name="connsiteX350" fmla="*/ 1523800 w 2142282"/>
                    <a:gd name="connsiteY350" fmla="*/ 246134 h 388632"/>
                    <a:gd name="connsiteX351" fmla="*/ 1523800 w 2142282"/>
                    <a:gd name="connsiteY351" fmla="*/ 386190 h 388632"/>
                    <a:gd name="connsiteX352" fmla="*/ 1514130 w 2142282"/>
                    <a:gd name="connsiteY352" fmla="*/ 386190 h 388632"/>
                    <a:gd name="connsiteX353" fmla="*/ 1245476 w 2142282"/>
                    <a:gd name="connsiteY353" fmla="*/ 238125 h 388632"/>
                    <a:gd name="connsiteX354" fmla="*/ 1254462 w 2142282"/>
                    <a:gd name="connsiteY354" fmla="*/ 238125 h 388632"/>
                    <a:gd name="connsiteX355" fmla="*/ 1254462 w 2142282"/>
                    <a:gd name="connsiteY355" fmla="*/ 304149 h 388632"/>
                    <a:gd name="connsiteX356" fmla="*/ 1254852 w 2142282"/>
                    <a:gd name="connsiteY356" fmla="*/ 304149 h 388632"/>
                    <a:gd name="connsiteX357" fmla="*/ 1289232 w 2142282"/>
                    <a:gd name="connsiteY357" fmla="*/ 283736 h 388632"/>
                    <a:gd name="connsiteX358" fmla="*/ 1313942 w 2142282"/>
                    <a:gd name="connsiteY358" fmla="*/ 294187 h 388632"/>
                    <a:gd name="connsiteX359" fmla="*/ 1322440 w 2142282"/>
                    <a:gd name="connsiteY359" fmla="*/ 324171 h 388632"/>
                    <a:gd name="connsiteX360" fmla="*/ 1322440 w 2142282"/>
                    <a:gd name="connsiteY360" fmla="*/ 386190 h 388632"/>
                    <a:gd name="connsiteX361" fmla="*/ 1313454 w 2142282"/>
                    <a:gd name="connsiteY361" fmla="*/ 386190 h 388632"/>
                    <a:gd name="connsiteX362" fmla="*/ 1313454 w 2142282"/>
                    <a:gd name="connsiteY362" fmla="*/ 326222 h 388632"/>
                    <a:gd name="connsiteX363" fmla="*/ 1307008 w 2142282"/>
                    <a:gd name="connsiteY363" fmla="*/ 300193 h 388632"/>
                    <a:gd name="connsiteX364" fmla="*/ 1286888 w 2142282"/>
                    <a:gd name="connsiteY364" fmla="*/ 291940 h 388632"/>
                    <a:gd name="connsiteX365" fmla="*/ 1264228 w 2142282"/>
                    <a:gd name="connsiteY365" fmla="*/ 302000 h 388632"/>
                    <a:gd name="connsiteX366" fmla="*/ 1254462 w 2142282"/>
                    <a:gd name="connsiteY366" fmla="*/ 330812 h 388632"/>
                    <a:gd name="connsiteX367" fmla="*/ 1254462 w 2142282"/>
                    <a:gd name="connsiteY367" fmla="*/ 386190 h 388632"/>
                    <a:gd name="connsiteX368" fmla="*/ 1245476 w 2142282"/>
                    <a:gd name="connsiteY368" fmla="*/ 386190 h 388632"/>
                    <a:gd name="connsiteX369" fmla="*/ 840232 w 2142282"/>
                    <a:gd name="connsiteY369" fmla="*/ 238125 h 388632"/>
                    <a:gd name="connsiteX370" fmla="*/ 849216 w 2142282"/>
                    <a:gd name="connsiteY370" fmla="*/ 238125 h 388632"/>
                    <a:gd name="connsiteX371" fmla="*/ 849216 w 2142282"/>
                    <a:gd name="connsiteY371" fmla="*/ 386190 h 388632"/>
                    <a:gd name="connsiteX372" fmla="*/ 840232 w 2142282"/>
                    <a:gd name="connsiteY372" fmla="*/ 386190 h 388632"/>
                    <a:gd name="connsiteX373" fmla="*/ 840232 w 2142282"/>
                    <a:gd name="connsiteY373" fmla="*/ 368024 h 388632"/>
                    <a:gd name="connsiteX374" fmla="*/ 839840 w 2142282"/>
                    <a:gd name="connsiteY374" fmla="*/ 368024 h 388632"/>
                    <a:gd name="connsiteX375" fmla="*/ 825386 w 2142282"/>
                    <a:gd name="connsiteY375" fmla="*/ 383065 h 388632"/>
                    <a:gd name="connsiteX376" fmla="*/ 803802 w 2142282"/>
                    <a:gd name="connsiteY376" fmla="*/ 388632 h 388632"/>
                    <a:gd name="connsiteX377" fmla="*/ 773670 w 2142282"/>
                    <a:gd name="connsiteY377" fmla="*/ 375154 h 388632"/>
                    <a:gd name="connsiteX378" fmla="*/ 762000 w 2142282"/>
                    <a:gd name="connsiteY378" fmla="*/ 337942 h 388632"/>
                    <a:gd name="connsiteX379" fmla="*/ 774744 w 2142282"/>
                    <a:gd name="connsiteY379" fmla="*/ 298728 h 388632"/>
                    <a:gd name="connsiteX380" fmla="*/ 807806 w 2142282"/>
                    <a:gd name="connsiteY380" fmla="*/ 283736 h 388632"/>
                    <a:gd name="connsiteX381" fmla="*/ 839840 w 2142282"/>
                    <a:gd name="connsiteY381" fmla="*/ 302195 h 388632"/>
                    <a:gd name="connsiteX382" fmla="*/ 840232 w 2142282"/>
                    <a:gd name="connsiteY382" fmla="*/ 302195 h 388632"/>
                    <a:gd name="connsiteX383" fmla="*/ 1524428 w 2142282"/>
                    <a:gd name="connsiteY383" fmla="*/ 53815 h 388632"/>
                    <a:gd name="connsiteX384" fmla="*/ 1496250 w 2142282"/>
                    <a:gd name="connsiteY384" fmla="*/ 65731 h 388632"/>
                    <a:gd name="connsiteX385" fmla="*/ 1485750 w 2142282"/>
                    <a:gd name="connsiteY385" fmla="*/ 98840 h 388632"/>
                    <a:gd name="connsiteX386" fmla="*/ 1496006 w 2142282"/>
                    <a:gd name="connsiteY386" fmla="*/ 130387 h 388632"/>
                    <a:gd name="connsiteX387" fmla="*/ 1524036 w 2142282"/>
                    <a:gd name="connsiteY387" fmla="*/ 142303 h 388632"/>
                    <a:gd name="connsiteX388" fmla="*/ 1551872 w 2142282"/>
                    <a:gd name="connsiteY388" fmla="*/ 130583 h 388632"/>
                    <a:gd name="connsiteX389" fmla="*/ 1561638 w 2142282"/>
                    <a:gd name="connsiteY389" fmla="*/ 98059 h 388632"/>
                    <a:gd name="connsiteX390" fmla="*/ 1551920 w 2142282"/>
                    <a:gd name="connsiteY390" fmla="*/ 65242 h 388632"/>
                    <a:gd name="connsiteX391" fmla="*/ 1524428 w 2142282"/>
                    <a:gd name="connsiteY391" fmla="*/ 53815 h 388632"/>
                    <a:gd name="connsiteX392" fmla="*/ 1235064 w 2142282"/>
                    <a:gd name="connsiteY392" fmla="*/ 53815 h 388632"/>
                    <a:gd name="connsiteX393" fmla="*/ 1211770 w 2142282"/>
                    <a:gd name="connsiteY393" fmla="*/ 63240 h 388632"/>
                    <a:gd name="connsiteX394" fmla="*/ 1200392 w 2142282"/>
                    <a:gd name="connsiteY394" fmla="*/ 90246 h 388632"/>
                    <a:gd name="connsiteX395" fmla="*/ 1264656 w 2142282"/>
                    <a:gd name="connsiteY395" fmla="*/ 90246 h 388632"/>
                    <a:gd name="connsiteX396" fmla="*/ 1256356 w 2142282"/>
                    <a:gd name="connsiteY396" fmla="*/ 63387 h 388632"/>
                    <a:gd name="connsiteX397" fmla="*/ 1235064 w 2142282"/>
                    <a:gd name="connsiteY397" fmla="*/ 53815 h 388632"/>
                    <a:gd name="connsiteX398" fmla="*/ 867202 w 2142282"/>
                    <a:gd name="connsiteY398" fmla="*/ 53815 h 388632"/>
                    <a:gd name="connsiteX399" fmla="*/ 839024 w 2142282"/>
                    <a:gd name="connsiteY399" fmla="*/ 65731 h 388632"/>
                    <a:gd name="connsiteX400" fmla="*/ 828526 w 2142282"/>
                    <a:gd name="connsiteY400" fmla="*/ 98840 h 388632"/>
                    <a:gd name="connsiteX401" fmla="*/ 838780 w 2142282"/>
                    <a:gd name="connsiteY401" fmla="*/ 130387 h 388632"/>
                    <a:gd name="connsiteX402" fmla="*/ 866812 w 2142282"/>
                    <a:gd name="connsiteY402" fmla="*/ 142303 h 388632"/>
                    <a:gd name="connsiteX403" fmla="*/ 894646 w 2142282"/>
                    <a:gd name="connsiteY403" fmla="*/ 130583 h 388632"/>
                    <a:gd name="connsiteX404" fmla="*/ 904414 w 2142282"/>
                    <a:gd name="connsiteY404" fmla="*/ 98059 h 388632"/>
                    <a:gd name="connsiteX405" fmla="*/ 894696 w 2142282"/>
                    <a:gd name="connsiteY405" fmla="*/ 65242 h 388632"/>
                    <a:gd name="connsiteX406" fmla="*/ 867202 w 2142282"/>
                    <a:gd name="connsiteY406" fmla="*/ 53815 h 388632"/>
                    <a:gd name="connsiteX407" fmla="*/ 788276 w 2142282"/>
                    <a:gd name="connsiteY407" fmla="*/ 48053 h 388632"/>
                    <a:gd name="connsiteX408" fmla="*/ 797262 w 2142282"/>
                    <a:gd name="connsiteY408" fmla="*/ 48053 h 388632"/>
                    <a:gd name="connsiteX409" fmla="*/ 797262 w 2142282"/>
                    <a:gd name="connsiteY409" fmla="*/ 148065 h 388632"/>
                    <a:gd name="connsiteX410" fmla="*/ 788276 w 2142282"/>
                    <a:gd name="connsiteY410" fmla="*/ 148065 h 388632"/>
                    <a:gd name="connsiteX411" fmla="*/ 673976 w 2142282"/>
                    <a:gd name="connsiteY411" fmla="*/ 48053 h 388632"/>
                    <a:gd name="connsiteX412" fmla="*/ 682962 w 2142282"/>
                    <a:gd name="connsiteY412" fmla="*/ 48053 h 388632"/>
                    <a:gd name="connsiteX413" fmla="*/ 682962 w 2142282"/>
                    <a:gd name="connsiteY413" fmla="*/ 148065 h 388632"/>
                    <a:gd name="connsiteX414" fmla="*/ 673976 w 2142282"/>
                    <a:gd name="connsiteY414" fmla="*/ 148065 h 388632"/>
                    <a:gd name="connsiteX415" fmla="*/ 1635114 w 2142282"/>
                    <a:gd name="connsiteY415" fmla="*/ 46099 h 388632"/>
                    <a:gd name="connsiteX416" fmla="*/ 1645076 w 2142282"/>
                    <a:gd name="connsiteY416" fmla="*/ 47857 h 388632"/>
                    <a:gd name="connsiteX417" fmla="*/ 1645076 w 2142282"/>
                    <a:gd name="connsiteY417" fmla="*/ 57429 h 388632"/>
                    <a:gd name="connsiteX418" fmla="*/ 1634528 w 2142282"/>
                    <a:gd name="connsiteY418" fmla="*/ 54206 h 388632"/>
                    <a:gd name="connsiteX419" fmla="*/ 1614700 w 2142282"/>
                    <a:gd name="connsiteY419" fmla="*/ 66414 h 388632"/>
                    <a:gd name="connsiteX420" fmla="*/ 1606692 w 2142282"/>
                    <a:gd name="connsiteY420" fmla="*/ 101087 h 388632"/>
                    <a:gd name="connsiteX421" fmla="*/ 1606692 w 2142282"/>
                    <a:gd name="connsiteY421" fmla="*/ 148065 h 388632"/>
                    <a:gd name="connsiteX422" fmla="*/ 1597902 w 2142282"/>
                    <a:gd name="connsiteY422" fmla="*/ 148065 h 388632"/>
                    <a:gd name="connsiteX423" fmla="*/ 1597902 w 2142282"/>
                    <a:gd name="connsiteY423" fmla="*/ 48053 h 388632"/>
                    <a:gd name="connsiteX424" fmla="*/ 1606692 w 2142282"/>
                    <a:gd name="connsiteY424" fmla="*/ 48053 h 388632"/>
                    <a:gd name="connsiteX425" fmla="*/ 1606692 w 2142282"/>
                    <a:gd name="connsiteY425" fmla="*/ 70223 h 388632"/>
                    <a:gd name="connsiteX426" fmla="*/ 1607082 w 2142282"/>
                    <a:gd name="connsiteY426" fmla="*/ 70223 h 388632"/>
                    <a:gd name="connsiteX427" fmla="*/ 1617924 w 2142282"/>
                    <a:gd name="connsiteY427" fmla="*/ 52448 h 388632"/>
                    <a:gd name="connsiteX428" fmla="*/ 1635114 w 2142282"/>
                    <a:gd name="connsiteY428" fmla="*/ 46099 h 388632"/>
                    <a:gd name="connsiteX429" fmla="*/ 644514 w 2142282"/>
                    <a:gd name="connsiteY429" fmla="*/ 46099 h 388632"/>
                    <a:gd name="connsiteX430" fmla="*/ 654476 w 2142282"/>
                    <a:gd name="connsiteY430" fmla="*/ 47857 h 388632"/>
                    <a:gd name="connsiteX431" fmla="*/ 654476 w 2142282"/>
                    <a:gd name="connsiteY431" fmla="*/ 57429 h 388632"/>
                    <a:gd name="connsiteX432" fmla="*/ 643928 w 2142282"/>
                    <a:gd name="connsiteY432" fmla="*/ 54206 h 388632"/>
                    <a:gd name="connsiteX433" fmla="*/ 624100 w 2142282"/>
                    <a:gd name="connsiteY433" fmla="*/ 66414 h 388632"/>
                    <a:gd name="connsiteX434" fmla="*/ 616092 w 2142282"/>
                    <a:gd name="connsiteY434" fmla="*/ 101087 h 388632"/>
                    <a:gd name="connsiteX435" fmla="*/ 616092 w 2142282"/>
                    <a:gd name="connsiteY435" fmla="*/ 148065 h 388632"/>
                    <a:gd name="connsiteX436" fmla="*/ 607302 w 2142282"/>
                    <a:gd name="connsiteY436" fmla="*/ 148065 h 388632"/>
                    <a:gd name="connsiteX437" fmla="*/ 607302 w 2142282"/>
                    <a:gd name="connsiteY437" fmla="*/ 48053 h 388632"/>
                    <a:gd name="connsiteX438" fmla="*/ 616092 w 2142282"/>
                    <a:gd name="connsiteY438" fmla="*/ 48053 h 388632"/>
                    <a:gd name="connsiteX439" fmla="*/ 616092 w 2142282"/>
                    <a:gd name="connsiteY439" fmla="*/ 70223 h 388632"/>
                    <a:gd name="connsiteX440" fmla="*/ 616482 w 2142282"/>
                    <a:gd name="connsiteY440" fmla="*/ 70223 h 388632"/>
                    <a:gd name="connsiteX441" fmla="*/ 627324 w 2142282"/>
                    <a:gd name="connsiteY441" fmla="*/ 52448 h 388632"/>
                    <a:gd name="connsiteX442" fmla="*/ 644514 w 2142282"/>
                    <a:gd name="connsiteY442" fmla="*/ 46099 h 388632"/>
                    <a:gd name="connsiteX443" fmla="*/ 1692120 w 2142282"/>
                    <a:gd name="connsiteY443" fmla="*/ 45611 h 388632"/>
                    <a:gd name="connsiteX444" fmla="*/ 1714192 w 2142282"/>
                    <a:gd name="connsiteY444" fmla="*/ 50885 h 388632"/>
                    <a:gd name="connsiteX445" fmla="*/ 1714192 w 2142282"/>
                    <a:gd name="connsiteY445" fmla="*/ 61043 h 388632"/>
                    <a:gd name="connsiteX446" fmla="*/ 1691142 w 2142282"/>
                    <a:gd name="connsiteY446" fmla="*/ 53815 h 388632"/>
                    <a:gd name="connsiteX447" fmla="*/ 1675222 w 2142282"/>
                    <a:gd name="connsiteY447" fmla="*/ 58943 h 388632"/>
                    <a:gd name="connsiteX448" fmla="*/ 1669168 w 2142282"/>
                    <a:gd name="connsiteY448" fmla="*/ 72275 h 388632"/>
                    <a:gd name="connsiteX449" fmla="*/ 1672976 w 2142282"/>
                    <a:gd name="connsiteY449" fmla="*/ 83848 h 388632"/>
                    <a:gd name="connsiteX450" fmla="*/ 1689776 w 2142282"/>
                    <a:gd name="connsiteY450" fmla="*/ 94055 h 388632"/>
                    <a:gd name="connsiteX451" fmla="*/ 1711262 w 2142282"/>
                    <a:gd name="connsiteY451" fmla="*/ 107093 h 388632"/>
                    <a:gd name="connsiteX452" fmla="*/ 1717122 w 2142282"/>
                    <a:gd name="connsiteY452" fmla="*/ 123062 h 388632"/>
                    <a:gd name="connsiteX453" fmla="*/ 1708186 w 2142282"/>
                    <a:gd name="connsiteY453" fmla="*/ 142742 h 388632"/>
                    <a:gd name="connsiteX454" fmla="*/ 1683524 w 2142282"/>
                    <a:gd name="connsiteY454" fmla="*/ 150507 h 388632"/>
                    <a:gd name="connsiteX455" fmla="*/ 1659400 w 2142282"/>
                    <a:gd name="connsiteY455" fmla="*/ 143670 h 388632"/>
                    <a:gd name="connsiteX456" fmla="*/ 1659400 w 2142282"/>
                    <a:gd name="connsiteY456" fmla="*/ 132829 h 388632"/>
                    <a:gd name="connsiteX457" fmla="*/ 1671706 w 2142282"/>
                    <a:gd name="connsiteY457" fmla="*/ 139763 h 388632"/>
                    <a:gd name="connsiteX458" fmla="*/ 1684208 w 2142282"/>
                    <a:gd name="connsiteY458" fmla="*/ 142303 h 388632"/>
                    <a:gd name="connsiteX459" fmla="*/ 1707746 w 2142282"/>
                    <a:gd name="connsiteY459" fmla="*/ 123062 h 388632"/>
                    <a:gd name="connsiteX460" fmla="*/ 1702570 w 2142282"/>
                    <a:gd name="connsiteY460" fmla="*/ 111733 h 388632"/>
                    <a:gd name="connsiteX461" fmla="*/ 1685770 w 2142282"/>
                    <a:gd name="connsiteY461" fmla="*/ 102063 h 388632"/>
                    <a:gd name="connsiteX462" fmla="*/ 1665602 w 2142282"/>
                    <a:gd name="connsiteY462" fmla="*/ 89122 h 388632"/>
                    <a:gd name="connsiteX463" fmla="*/ 1659790 w 2142282"/>
                    <a:gd name="connsiteY463" fmla="*/ 72861 h 388632"/>
                    <a:gd name="connsiteX464" fmla="*/ 1669118 w 2142282"/>
                    <a:gd name="connsiteY464" fmla="*/ 53132 h 388632"/>
                    <a:gd name="connsiteX465" fmla="*/ 1692120 w 2142282"/>
                    <a:gd name="connsiteY465" fmla="*/ 45611 h 388632"/>
                    <a:gd name="connsiteX466" fmla="*/ 1524818 w 2142282"/>
                    <a:gd name="connsiteY466" fmla="*/ 45611 h 388632"/>
                    <a:gd name="connsiteX467" fmla="*/ 1558612 w 2142282"/>
                    <a:gd name="connsiteY467" fmla="*/ 59578 h 388632"/>
                    <a:gd name="connsiteX468" fmla="*/ 1571014 w 2142282"/>
                    <a:gd name="connsiteY468" fmla="*/ 98254 h 388632"/>
                    <a:gd name="connsiteX469" fmla="*/ 1558366 w 2142282"/>
                    <a:gd name="connsiteY469" fmla="*/ 136052 h 388632"/>
                    <a:gd name="connsiteX470" fmla="*/ 1523744 w 2142282"/>
                    <a:gd name="connsiteY470" fmla="*/ 150507 h 388632"/>
                    <a:gd name="connsiteX471" fmla="*/ 1489120 w 2142282"/>
                    <a:gd name="connsiteY471" fmla="*/ 136101 h 388632"/>
                    <a:gd name="connsiteX472" fmla="*/ 1476374 w 2142282"/>
                    <a:gd name="connsiteY472" fmla="*/ 98645 h 388632"/>
                    <a:gd name="connsiteX473" fmla="*/ 1489706 w 2142282"/>
                    <a:gd name="connsiteY473" fmla="*/ 59675 h 388632"/>
                    <a:gd name="connsiteX474" fmla="*/ 1524818 w 2142282"/>
                    <a:gd name="connsiteY474" fmla="*/ 45611 h 388632"/>
                    <a:gd name="connsiteX475" fmla="*/ 1434944 w 2142282"/>
                    <a:gd name="connsiteY475" fmla="*/ 45611 h 388632"/>
                    <a:gd name="connsiteX476" fmla="*/ 1457018 w 2142282"/>
                    <a:gd name="connsiteY476" fmla="*/ 50885 h 388632"/>
                    <a:gd name="connsiteX477" fmla="*/ 1457018 w 2142282"/>
                    <a:gd name="connsiteY477" fmla="*/ 61043 h 388632"/>
                    <a:gd name="connsiteX478" fmla="*/ 1433968 w 2142282"/>
                    <a:gd name="connsiteY478" fmla="*/ 53815 h 388632"/>
                    <a:gd name="connsiteX479" fmla="*/ 1418048 w 2142282"/>
                    <a:gd name="connsiteY479" fmla="*/ 58943 h 388632"/>
                    <a:gd name="connsiteX480" fmla="*/ 1411992 w 2142282"/>
                    <a:gd name="connsiteY480" fmla="*/ 72275 h 388632"/>
                    <a:gd name="connsiteX481" fmla="*/ 1415800 w 2142282"/>
                    <a:gd name="connsiteY481" fmla="*/ 83848 h 388632"/>
                    <a:gd name="connsiteX482" fmla="*/ 1432600 w 2142282"/>
                    <a:gd name="connsiteY482" fmla="*/ 94055 h 388632"/>
                    <a:gd name="connsiteX483" fmla="*/ 1454088 w 2142282"/>
                    <a:gd name="connsiteY483" fmla="*/ 107093 h 388632"/>
                    <a:gd name="connsiteX484" fmla="*/ 1459948 w 2142282"/>
                    <a:gd name="connsiteY484" fmla="*/ 123062 h 388632"/>
                    <a:gd name="connsiteX485" fmla="*/ 1451010 w 2142282"/>
                    <a:gd name="connsiteY485" fmla="*/ 142742 h 388632"/>
                    <a:gd name="connsiteX486" fmla="*/ 1426350 w 2142282"/>
                    <a:gd name="connsiteY486" fmla="*/ 150507 h 388632"/>
                    <a:gd name="connsiteX487" fmla="*/ 1402226 w 2142282"/>
                    <a:gd name="connsiteY487" fmla="*/ 143670 h 388632"/>
                    <a:gd name="connsiteX488" fmla="*/ 1402226 w 2142282"/>
                    <a:gd name="connsiteY488" fmla="*/ 132829 h 388632"/>
                    <a:gd name="connsiteX489" fmla="*/ 1414532 w 2142282"/>
                    <a:gd name="connsiteY489" fmla="*/ 139763 h 388632"/>
                    <a:gd name="connsiteX490" fmla="*/ 1427032 w 2142282"/>
                    <a:gd name="connsiteY490" fmla="*/ 142303 h 388632"/>
                    <a:gd name="connsiteX491" fmla="*/ 1450572 w 2142282"/>
                    <a:gd name="connsiteY491" fmla="*/ 123062 h 388632"/>
                    <a:gd name="connsiteX492" fmla="*/ 1445394 w 2142282"/>
                    <a:gd name="connsiteY492" fmla="*/ 111733 h 388632"/>
                    <a:gd name="connsiteX493" fmla="*/ 1428596 w 2142282"/>
                    <a:gd name="connsiteY493" fmla="*/ 102063 h 388632"/>
                    <a:gd name="connsiteX494" fmla="*/ 1408428 w 2142282"/>
                    <a:gd name="connsiteY494" fmla="*/ 89122 h 388632"/>
                    <a:gd name="connsiteX495" fmla="*/ 1402616 w 2142282"/>
                    <a:gd name="connsiteY495" fmla="*/ 72861 h 388632"/>
                    <a:gd name="connsiteX496" fmla="*/ 1411944 w 2142282"/>
                    <a:gd name="connsiteY496" fmla="*/ 53132 h 388632"/>
                    <a:gd name="connsiteX497" fmla="*/ 1434944 w 2142282"/>
                    <a:gd name="connsiteY497" fmla="*/ 45611 h 388632"/>
                    <a:gd name="connsiteX498" fmla="*/ 1346186 w 2142282"/>
                    <a:gd name="connsiteY498" fmla="*/ 45611 h 388632"/>
                    <a:gd name="connsiteX499" fmla="*/ 1370994 w 2142282"/>
                    <a:gd name="connsiteY499" fmla="*/ 56403 h 388632"/>
                    <a:gd name="connsiteX500" fmla="*/ 1379590 w 2142282"/>
                    <a:gd name="connsiteY500" fmla="*/ 87218 h 388632"/>
                    <a:gd name="connsiteX501" fmla="*/ 1379590 w 2142282"/>
                    <a:gd name="connsiteY501" fmla="*/ 148065 h 388632"/>
                    <a:gd name="connsiteX502" fmla="*/ 1370604 w 2142282"/>
                    <a:gd name="connsiteY502" fmla="*/ 148065 h 388632"/>
                    <a:gd name="connsiteX503" fmla="*/ 1370604 w 2142282"/>
                    <a:gd name="connsiteY503" fmla="*/ 89855 h 388632"/>
                    <a:gd name="connsiteX504" fmla="*/ 1344624 w 2142282"/>
                    <a:gd name="connsiteY504" fmla="*/ 53815 h 388632"/>
                    <a:gd name="connsiteX505" fmla="*/ 1320890 w 2142282"/>
                    <a:gd name="connsiteY505" fmla="*/ 64412 h 388632"/>
                    <a:gd name="connsiteX506" fmla="*/ 1311612 w 2142282"/>
                    <a:gd name="connsiteY506" fmla="*/ 90636 h 388632"/>
                    <a:gd name="connsiteX507" fmla="*/ 1311612 w 2142282"/>
                    <a:gd name="connsiteY507" fmla="*/ 148065 h 388632"/>
                    <a:gd name="connsiteX508" fmla="*/ 1302626 w 2142282"/>
                    <a:gd name="connsiteY508" fmla="*/ 148065 h 388632"/>
                    <a:gd name="connsiteX509" fmla="*/ 1302626 w 2142282"/>
                    <a:gd name="connsiteY509" fmla="*/ 48053 h 388632"/>
                    <a:gd name="connsiteX510" fmla="*/ 1311612 w 2142282"/>
                    <a:gd name="connsiteY510" fmla="*/ 48053 h 388632"/>
                    <a:gd name="connsiteX511" fmla="*/ 1311612 w 2142282"/>
                    <a:gd name="connsiteY511" fmla="*/ 66219 h 388632"/>
                    <a:gd name="connsiteX512" fmla="*/ 1312002 w 2142282"/>
                    <a:gd name="connsiteY512" fmla="*/ 66219 h 388632"/>
                    <a:gd name="connsiteX513" fmla="*/ 1346186 w 2142282"/>
                    <a:gd name="connsiteY513" fmla="*/ 45611 h 388632"/>
                    <a:gd name="connsiteX514" fmla="*/ 1235454 w 2142282"/>
                    <a:gd name="connsiteY514" fmla="*/ 45611 h 388632"/>
                    <a:gd name="connsiteX515" fmla="*/ 1264070 w 2142282"/>
                    <a:gd name="connsiteY515" fmla="*/ 58699 h 388632"/>
                    <a:gd name="connsiteX516" fmla="*/ 1274032 w 2142282"/>
                    <a:gd name="connsiteY516" fmla="*/ 94445 h 388632"/>
                    <a:gd name="connsiteX517" fmla="*/ 1274032 w 2142282"/>
                    <a:gd name="connsiteY517" fmla="*/ 98450 h 388632"/>
                    <a:gd name="connsiteX518" fmla="*/ 1200000 w 2142282"/>
                    <a:gd name="connsiteY518" fmla="*/ 98450 h 388632"/>
                    <a:gd name="connsiteX519" fmla="*/ 1209524 w 2142282"/>
                    <a:gd name="connsiteY519" fmla="*/ 130680 h 388632"/>
                    <a:gd name="connsiteX520" fmla="*/ 1235650 w 2142282"/>
                    <a:gd name="connsiteY520" fmla="*/ 142303 h 388632"/>
                    <a:gd name="connsiteX521" fmla="*/ 1268466 w 2142282"/>
                    <a:gd name="connsiteY521" fmla="*/ 129899 h 388632"/>
                    <a:gd name="connsiteX522" fmla="*/ 1268466 w 2142282"/>
                    <a:gd name="connsiteY522" fmla="*/ 139470 h 388632"/>
                    <a:gd name="connsiteX523" fmla="*/ 1233794 w 2142282"/>
                    <a:gd name="connsiteY523" fmla="*/ 150507 h 388632"/>
                    <a:gd name="connsiteX524" fmla="*/ 1202540 w 2142282"/>
                    <a:gd name="connsiteY524" fmla="*/ 136638 h 388632"/>
                    <a:gd name="connsiteX525" fmla="*/ 1190624 w 2142282"/>
                    <a:gd name="connsiteY525" fmla="*/ 97473 h 388632"/>
                    <a:gd name="connsiteX526" fmla="*/ 1203076 w 2142282"/>
                    <a:gd name="connsiteY526" fmla="*/ 60603 h 388632"/>
                    <a:gd name="connsiteX527" fmla="*/ 1235454 w 2142282"/>
                    <a:gd name="connsiteY527" fmla="*/ 45611 h 388632"/>
                    <a:gd name="connsiteX528" fmla="*/ 1149194 w 2142282"/>
                    <a:gd name="connsiteY528" fmla="*/ 45611 h 388632"/>
                    <a:gd name="connsiteX529" fmla="*/ 1171268 w 2142282"/>
                    <a:gd name="connsiteY529" fmla="*/ 50885 h 388632"/>
                    <a:gd name="connsiteX530" fmla="*/ 1171268 w 2142282"/>
                    <a:gd name="connsiteY530" fmla="*/ 61043 h 388632"/>
                    <a:gd name="connsiteX531" fmla="*/ 1148218 w 2142282"/>
                    <a:gd name="connsiteY531" fmla="*/ 53815 h 388632"/>
                    <a:gd name="connsiteX532" fmla="*/ 1132298 w 2142282"/>
                    <a:gd name="connsiteY532" fmla="*/ 58943 h 388632"/>
                    <a:gd name="connsiteX533" fmla="*/ 1126242 w 2142282"/>
                    <a:gd name="connsiteY533" fmla="*/ 72275 h 388632"/>
                    <a:gd name="connsiteX534" fmla="*/ 1130052 w 2142282"/>
                    <a:gd name="connsiteY534" fmla="*/ 83848 h 388632"/>
                    <a:gd name="connsiteX535" fmla="*/ 1146850 w 2142282"/>
                    <a:gd name="connsiteY535" fmla="*/ 94055 h 388632"/>
                    <a:gd name="connsiteX536" fmla="*/ 1168336 w 2142282"/>
                    <a:gd name="connsiteY536" fmla="*/ 107093 h 388632"/>
                    <a:gd name="connsiteX537" fmla="*/ 1174198 w 2142282"/>
                    <a:gd name="connsiteY537" fmla="*/ 123062 h 388632"/>
                    <a:gd name="connsiteX538" fmla="*/ 1165260 w 2142282"/>
                    <a:gd name="connsiteY538" fmla="*/ 142742 h 388632"/>
                    <a:gd name="connsiteX539" fmla="*/ 1140600 w 2142282"/>
                    <a:gd name="connsiteY539" fmla="*/ 150507 h 388632"/>
                    <a:gd name="connsiteX540" fmla="*/ 1116476 w 2142282"/>
                    <a:gd name="connsiteY540" fmla="*/ 143670 h 388632"/>
                    <a:gd name="connsiteX541" fmla="*/ 1116476 w 2142282"/>
                    <a:gd name="connsiteY541" fmla="*/ 132829 h 388632"/>
                    <a:gd name="connsiteX542" fmla="*/ 1128782 w 2142282"/>
                    <a:gd name="connsiteY542" fmla="*/ 139763 h 388632"/>
                    <a:gd name="connsiteX543" fmla="*/ 1141284 w 2142282"/>
                    <a:gd name="connsiteY543" fmla="*/ 142303 h 388632"/>
                    <a:gd name="connsiteX544" fmla="*/ 1164820 w 2142282"/>
                    <a:gd name="connsiteY544" fmla="*/ 123062 h 388632"/>
                    <a:gd name="connsiteX545" fmla="*/ 1159644 w 2142282"/>
                    <a:gd name="connsiteY545" fmla="*/ 111733 h 388632"/>
                    <a:gd name="connsiteX546" fmla="*/ 1142846 w 2142282"/>
                    <a:gd name="connsiteY546" fmla="*/ 102063 h 388632"/>
                    <a:gd name="connsiteX547" fmla="*/ 1122676 w 2142282"/>
                    <a:gd name="connsiteY547" fmla="*/ 89122 h 388632"/>
                    <a:gd name="connsiteX548" fmla="*/ 1116866 w 2142282"/>
                    <a:gd name="connsiteY548" fmla="*/ 72861 h 388632"/>
                    <a:gd name="connsiteX549" fmla="*/ 1126194 w 2142282"/>
                    <a:gd name="connsiteY549" fmla="*/ 53132 h 388632"/>
                    <a:gd name="connsiteX550" fmla="*/ 1149194 w 2142282"/>
                    <a:gd name="connsiteY550" fmla="*/ 45611 h 388632"/>
                    <a:gd name="connsiteX551" fmla="*/ 984236 w 2142282"/>
                    <a:gd name="connsiteY551" fmla="*/ 45611 h 388632"/>
                    <a:gd name="connsiteX552" fmla="*/ 1009044 w 2142282"/>
                    <a:gd name="connsiteY552" fmla="*/ 56403 h 388632"/>
                    <a:gd name="connsiteX553" fmla="*/ 1017640 w 2142282"/>
                    <a:gd name="connsiteY553" fmla="*/ 87218 h 388632"/>
                    <a:gd name="connsiteX554" fmla="*/ 1017640 w 2142282"/>
                    <a:gd name="connsiteY554" fmla="*/ 148065 h 388632"/>
                    <a:gd name="connsiteX555" fmla="*/ 1008654 w 2142282"/>
                    <a:gd name="connsiteY555" fmla="*/ 148065 h 388632"/>
                    <a:gd name="connsiteX556" fmla="*/ 1008654 w 2142282"/>
                    <a:gd name="connsiteY556" fmla="*/ 89855 h 388632"/>
                    <a:gd name="connsiteX557" fmla="*/ 982674 w 2142282"/>
                    <a:gd name="connsiteY557" fmla="*/ 53815 h 388632"/>
                    <a:gd name="connsiteX558" fmla="*/ 958940 w 2142282"/>
                    <a:gd name="connsiteY558" fmla="*/ 64412 h 388632"/>
                    <a:gd name="connsiteX559" fmla="*/ 949662 w 2142282"/>
                    <a:gd name="connsiteY559" fmla="*/ 90636 h 388632"/>
                    <a:gd name="connsiteX560" fmla="*/ 949662 w 2142282"/>
                    <a:gd name="connsiteY560" fmla="*/ 148065 h 388632"/>
                    <a:gd name="connsiteX561" fmla="*/ 940676 w 2142282"/>
                    <a:gd name="connsiteY561" fmla="*/ 148065 h 388632"/>
                    <a:gd name="connsiteX562" fmla="*/ 940676 w 2142282"/>
                    <a:gd name="connsiteY562" fmla="*/ 48053 h 388632"/>
                    <a:gd name="connsiteX563" fmla="*/ 949662 w 2142282"/>
                    <a:gd name="connsiteY563" fmla="*/ 48053 h 388632"/>
                    <a:gd name="connsiteX564" fmla="*/ 949662 w 2142282"/>
                    <a:gd name="connsiteY564" fmla="*/ 66219 h 388632"/>
                    <a:gd name="connsiteX565" fmla="*/ 950052 w 2142282"/>
                    <a:gd name="connsiteY565" fmla="*/ 66219 h 388632"/>
                    <a:gd name="connsiteX566" fmla="*/ 984236 w 2142282"/>
                    <a:gd name="connsiteY566" fmla="*/ 45611 h 388632"/>
                    <a:gd name="connsiteX567" fmla="*/ 867592 w 2142282"/>
                    <a:gd name="connsiteY567" fmla="*/ 45611 h 388632"/>
                    <a:gd name="connsiteX568" fmla="*/ 901386 w 2142282"/>
                    <a:gd name="connsiteY568" fmla="*/ 59578 h 388632"/>
                    <a:gd name="connsiteX569" fmla="*/ 913790 w 2142282"/>
                    <a:gd name="connsiteY569" fmla="*/ 98254 h 388632"/>
                    <a:gd name="connsiteX570" fmla="*/ 901142 w 2142282"/>
                    <a:gd name="connsiteY570" fmla="*/ 136052 h 388632"/>
                    <a:gd name="connsiteX571" fmla="*/ 866518 w 2142282"/>
                    <a:gd name="connsiteY571" fmla="*/ 150507 h 388632"/>
                    <a:gd name="connsiteX572" fmla="*/ 831896 w 2142282"/>
                    <a:gd name="connsiteY572" fmla="*/ 136101 h 388632"/>
                    <a:gd name="connsiteX573" fmla="*/ 819150 w 2142282"/>
                    <a:gd name="connsiteY573" fmla="*/ 98645 h 388632"/>
                    <a:gd name="connsiteX574" fmla="*/ 832480 w 2142282"/>
                    <a:gd name="connsiteY574" fmla="*/ 59675 h 388632"/>
                    <a:gd name="connsiteX575" fmla="*/ 867592 w 2142282"/>
                    <a:gd name="connsiteY575" fmla="*/ 45611 h 388632"/>
                    <a:gd name="connsiteX576" fmla="*/ 563336 w 2142282"/>
                    <a:gd name="connsiteY576" fmla="*/ 19045 h 388632"/>
                    <a:gd name="connsiteX577" fmla="*/ 563336 w 2142282"/>
                    <a:gd name="connsiteY577" fmla="*/ 48053 h 388632"/>
                    <a:gd name="connsiteX578" fmla="*/ 589708 w 2142282"/>
                    <a:gd name="connsiteY578" fmla="*/ 48053 h 388632"/>
                    <a:gd name="connsiteX579" fmla="*/ 589708 w 2142282"/>
                    <a:gd name="connsiteY579" fmla="*/ 56257 h 388632"/>
                    <a:gd name="connsiteX580" fmla="*/ 563336 w 2142282"/>
                    <a:gd name="connsiteY580" fmla="*/ 56257 h 388632"/>
                    <a:gd name="connsiteX581" fmla="*/ 563336 w 2142282"/>
                    <a:gd name="connsiteY581" fmla="*/ 122281 h 388632"/>
                    <a:gd name="connsiteX582" fmla="*/ 566608 w 2142282"/>
                    <a:gd name="connsiteY582" fmla="*/ 137273 h 388632"/>
                    <a:gd name="connsiteX583" fmla="*/ 577694 w 2142282"/>
                    <a:gd name="connsiteY583" fmla="*/ 141912 h 388632"/>
                    <a:gd name="connsiteX584" fmla="*/ 589708 w 2142282"/>
                    <a:gd name="connsiteY584" fmla="*/ 138298 h 388632"/>
                    <a:gd name="connsiteX585" fmla="*/ 589708 w 2142282"/>
                    <a:gd name="connsiteY585" fmla="*/ 146698 h 388632"/>
                    <a:gd name="connsiteX586" fmla="*/ 576522 w 2142282"/>
                    <a:gd name="connsiteY586" fmla="*/ 150019 h 388632"/>
                    <a:gd name="connsiteX587" fmla="*/ 554352 w 2142282"/>
                    <a:gd name="connsiteY587" fmla="*/ 123453 h 388632"/>
                    <a:gd name="connsiteX588" fmla="*/ 554352 w 2142282"/>
                    <a:gd name="connsiteY588" fmla="*/ 56257 h 388632"/>
                    <a:gd name="connsiteX589" fmla="*/ 536380 w 2142282"/>
                    <a:gd name="connsiteY589" fmla="*/ 56257 h 388632"/>
                    <a:gd name="connsiteX590" fmla="*/ 536380 w 2142282"/>
                    <a:gd name="connsiteY590" fmla="*/ 48053 h 388632"/>
                    <a:gd name="connsiteX591" fmla="*/ 554352 w 2142282"/>
                    <a:gd name="connsiteY591" fmla="*/ 48053 h 388632"/>
                    <a:gd name="connsiteX592" fmla="*/ 554352 w 2142282"/>
                    <a:gd name="connsiteY592" fmla="*/ 22073 h 388632"/>
                    <a:gd name="connsiteX593" fmla="*/ 558844 w 2142282"/>
                    <a:gd name="connsiteY593" fmla="*/ 20510 h 388632"/>
                    <a:gd name="connsiteX594" fmla="*/ 563336 w 2142282"/>
                    <a:gd name="connsiteY594" fmla="*/ 19045 h 388632"/>
                    <a:gd name="connsiteX595" fmla="*/ 792672 w 2142282"/>
                    <a:gd name="connsiteY595" fmla="*/ 8009 h 388632"/>
                    <a:gd name="connsiteX596" fmla="*/ 797994 w 2142282"/>
                    <a:gd name="connsiteY596" fmla="*/ 9962 h 388632"/>
                    <a:gd name="connsiteX597" fmla="*/ 800290 w 2142282"/>
                    <a:gd name="connsiteY597" fmla="*/ 15236 h 388632"/>
                    <a:gd name="connsiteX598" fmla="*/ 798044 w 2142282"/>
                    <a:gd name="connsiteY598" fmla="*/ 20608 h 388632"/>
                    <a:gd name="connsiteX599" fmla="*/ 792672 w 2142282"/>
                    <a:gd name="connsiteY599" fmla="*/ 22854 h 388632"/>
                    <a:gd name="connsiteX600" fmla="*/ 787496 w 2142282"/>
                    <a:gd name="connsiteY600" fmla="*/ 20706 h 388632"/>
                    <a:gd name="connsiteX601" fmla="*/ 785248 w 2142282"/>
                    <a:gd name="connsiteY601" fmla="*/ 15236 h 388632"/>
                    <a:gd name="connsiteX602" fmla="*/ 787544 w 2142282"/>
                    <a:gd name="connsiteY602" fmla="*/ 10011 h 388632"/>
                    <a:gd name="connsiteX603" fmla="*/ 792672 w 2142282"/>
                    <a:gd name="connsiteY603" fmla="*/ 8009 h 388632"/>
                    <a:gd name="connsiteX604" fmla="*/ 678372 w 2142282"/>
                    <a:gd name="connsiteY604" fmla="*/ 8009 h 388632"/>
                    <a:gd name="connsiteX605" fmla="*/ 683694 w 2142282"/>
                    <a:gd name="connsiteY605" fmla="*/ 9962 h 388632"/>
                    <a:gd name="connsiteX606" fmla="*/ 685990 w 2142282"/>
                    <a:gd name="connsiteY606" fmla="*/ 15236 h 388632"/>
                    <a:gd name="connsiteX607" fmla="*/ 683744 w 2142282"/>
                    <a:gd name="connsiteY607" fmla="*/ 20608 h 388632"/>
                    <a:gd name="connsiteX608" fmla="*/ 678372 w 2142282"/>
                    <a:gd name="connsiteY608" fmla="*/ 22854 h 388632"/>
                    <a:gd name="connsiteX609" fmla="*/ 673196 w 2142282"/>
                    <a:gd name="connsiteY609" fmla="*/ 20706 h 388632"/>
                    <a:gd name="connsiteX610" fmla="*/ 670948 w 2142282"/>
                    <a:gd name="connsiteY610" fmla="*/ 15236 h 388632"/>
                    <a:gd name="connsiteX611" fmla="*/ 673244 w 2142282"/>
                    <a:gd name="connsiteY611" fmla="*/ 10011 h 388632"/>
                    <a:gd name="connsiteX612" fmla="*/ 678372 w 2142282"/>
                    <a:gd name="connsiteY612" fmla="*/ 8009 h 388632"/>
                    <a:gd name="connsiteX613" fmla="*/ 458558 w 2142282"/>
                    <a:gd name="connsiteY613" fmla="*/ 4883 h 388632"/>
                    <a:gd name="connsiteX614" fmla="*/ 461682 w 2142282"/>
                    <a:gd name="connsiteY614" fmla="*/ 4883 h 388632"/>
                    <a:gd name="connsiteX615" fmla="*/ 461682 w 2142282"/>
                    <a:gd name="connsiteY615" fmla="*/ 148065 h 388632"/>
                    <a:gd name="connsiteX616" fmla="*/ 452698 w 2142282"/>
                    <a:gd name="connsiteY616" fmla="*/ 148065 h 388632"/>
                    <a:gd name="connsiteX617" fmla="*/ 452698 w 2142282"/>
                    <a:gd name="connsiteY617" fmla="*/ 19045 h 388632"/>
                    <a:gd name="connsiteX618" fmla="*/ 437314 w 2142282"/>
                    <a:gd name="connsiteY618" fmla="*/ 30179 h 388632"/>
                    <a:gd name="connsiteX619" fmla="*/ 418416 w 2142282"/>
                    <a:gd name="connsiteY619" fmla="*/ 38481 h 388632"/>
                    <a:gd name="connsiteX620" fmla="*/ 418416 w 2142282"/>
                    <a:gd name="connsiteY620" fmla="*/ 30277 h 388632"/>
                    <a:gd name="connsiteX621" fmla="*/ 429842 w 2142282"/>
                    <a:gd name="connsiteY621" fmla="*/ 25638 h 388632"/>
                    <a:gd name="connsiteX622" fmla="*/ 439952 w 2142282"/>
                    <a:gd name="connsiteY622" fmla="*/ 19924 h 388632"/>
                    <a:gd name="connsiteX623" fmla="*/ 449328 w 2142282"/>
                    <a:gd name="connsiteY623" fmla="*/ 13039 h 388632"/>
                    <a:gd name="connsiteX624" fmla="*/ 458558 w 2142282"/>
                    <a:gd name="connsiteY624" fmla="*/ 4883 h 388632"/>
                    <a:gd name="connsiteX625" fmla="*/ 750176 w 2142282"/>
                    <a:gd name="connsiteY625" fmla="*/ 0 h 388632"/>
                    <a:gd name="connsiteX626" fmla="*/ 759162 w 2142282"/>
                    <a:gd name="connsiteY626" fmla="*/ 0 h 388632"/>
                    <a:gd name="connsiteX627" fmla="*/ 759162 w 2142282"/>
                    <a:gd name="connsiteY627" fmla="*/ 148065 h 388632"/>
                    <a:gd name="connsiteX628" fmla="*/ 750176 w 2142282"/>
                    <a:gd name="connsiteY628" fmla="*/ 148065 h 388632"/>
                    <a:gd name="connsiteX629" fmla="*/ 712076 w 2142282"/>
                    <a:gd name="connsiteY629" fmla="*/ 0 h 388632"/>
                    <a:gd name="connsiteX630" fmla="*/ 721062 w 2142282"/>
                    <a:gd name="connsiteY630" fmla="*/ 0 h 388632"/>
                    <a:gd name="connsiteX631" fmla="*/ 721062 w 2142282"/>
                    <a:gd name="connsiteY631" fmla="*/ 148065 h 388632"/>
                    <a:gd name="connsiteX632" fmla="*/ 712076 w 2142282"/>
                    <a:gd name="connsiteY632" fmla="*/ 148065 h 388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</a:cxnLst>
                  <a:rect l="l" t="t" r="r" b="b"/>
                  <a:pathLst>
                    <a:path w="2142282" h="388632">
                      <a:moveTo>
                        <a:pt x="2035164" y="291940"/>
                      </a:moveTo>
                      <a:cubicBezTo>
                        <a:pt x="2025788" y="291940"/>
                        <a:pt x="2018022" y="295082"/>
                        <a:pt x="2011870" y="301365"/>
                      </a:cubicBezTo>
                      <a:cubicBezTo>
                        <a:pt x="2005716" y="307649"/>
                        <a:pt x="2001924" y="316650"/>
                        <a:pt x="2000492" y="328371"/>
                      </a:cubicBezTo>
                      <a:lnTo>
                        <a:pt x="2064756" y="328371"/>
                      </a:lnTo>
                      <a:cubicBezTo>
                        <a:pt x="2064366" y="316846"/>
                        <a:pt x="2061598" y="307893"/>
                        <a:pt x="2056456" y="301512"/>
                      </a:cubicBezTo>
                      <a:cubicBezTo>
                        <a:pt x="2051312" y="295131"/>
                        <a:pt x="2044214" y="291940"/>
                        <a:pt x="2035164" y="291940"/>
                      </a:cubicBezTo>
                      <a:close/>
                      <a:moveTo>
                        <a:pt x="1758938" y="291940"/>
                      </a:moveTo>
                      <a:cubicBezTo>
                        <a:pt x="1749562" y="291940"/>
                        <a:pt x="1741798" y="295082"/>
                        <a:pt x="1735644" y="301365"/>
                      </a:cubicBezTo>
                      <a:cubicBezTo>
                        <a:pt x="1729492" y="307649"/>
                        <a:pt x="1725698" y="316650"/>
                        <a:pt x="1724266" y="328371"/>
                      </a:cubicBezTo>
                      <a:lnTo>
                        <a:pt x="1788532" y="328371"/>
                      </a:lnTo>
                      <a:cubicBezTo>
                        <a:pt x="1788142" y="316846"/>
                        <a:pt x="1785374" y="307893"/>
                        <a:pt x="1780230" y="301512"/>
                      </a:cubicBezTo>
                      <a:cubicBezTo>
                        <a:pt x="1775086" y="295131"/>
                        <a:pt x="1767988" y="291940"/>
                        <a:pt x="1758938" y="291940"/>
                      </a:cubicBezTo>
                      <a:close/>
                      <a:moveTo>
                        <a:pt x="1387464" y="291940"/>
                      </a:moveTo>
                      <a:cubicBezTo>
                        <a:pt x="1378088" y="291940"/>
                        <a:pt x="1370322" y="295082"/>
                        <a:pt x="1364170" y="301365"/>
                      </a:cubicBezTo>
                      <a:cubicBezTo>
                        <a:pt x="1358016" y="307649"/>
                        <a:pt x="1354224" y="316650"/>
                        <a:pt x="1352792" y="328371"/>
                      </a:cubicBezTo>
                      <a:lnTo>
                        <a:pt x="1417056" y="328371"/>
                      </a:lnTo>
                      <a:cubicBezTo>
                        <a:pt x="1416666" y="316846"/>
                        <a:pt x="1413898" y="307893"/>
                        <a:pt x="1408756" y="301512"/>
                      </a:cubicBezTo>
                      <a:cubicBezTo>
                        <a:pt x="1403612" y="295131"/>
                        <a:pt x="1396514" y="291940"/>
                        <a:pt x="1387464" y="291940"/>
                      </a:cubicBezTo>
                      <a:close/>
                      <a:moveTo>
                        <a:pt x="1057702" y="291940"/>
                      </a:moveTo>
                      <a:cubicBezTo>
                        <a:pt x="1045916" y="291940"/>
                        <a:pt x="1036524" y="295912"/>
                        <a:pt x="1029524" y="303856"/>
                      </a:cubicBezTo>
                      <a:cubicBezTo>
                        <a:pt x="1022526" y="311799"/>
                        <a:pt x="1019026" y="322836"/>
                        <a:pt x="1019026" y="336965"/>
                      </a:cubicBezTo>
                      <a:cubicBezTo>
                        <a:pt x="1019026" y="350053"/>
                        <a:pt x="1022444" y="360569"/>
                        <a:pt x="1029280" y="368512"/>
                      </a:cubicBezTo>
                      <a:cubicBezTo>
                        <a:pt x="1036118" y="376456"/>
                        <a:pt x="1045460" y="380428"/>
                        <a:pt x="1057312" y="380428"/>
                      </a:cubicBezTo>
                      <a:cubicBezTo>
                        <a:pt x="1069356" y="380428"/>
                        <a:pt x="1078636" y="376521"/>
                        <a:pt x="1085146" y="368708"/>
                      </a:cubicBezTo>
                      <a:cubicBezTo>
                        <a:pt x="1091658" y="360894"/>
                        <a:pt x="1094914" y="350053"/>
                        <a:pt x="1094914" y="336184"/>
                      </a:cubicBezTo>
                      <a:cubicBezTo>
                        <a:pt x="1094914" y="321924"/>
                        <a:pt x="1091674" y="310986"/>
                        <a:pt x="1085196" y="303367"/>
                      </a:cubicBezTo>
                      <a:cubicBezTo>
                        <a:pt x="1078716" y="295749"/>
                        <a:pt x="1069552" y="291940"/>
                        <a:pt x="1057702" y="291940"/>
                      </a:cubicBezTo>
                      <a:close/>
                      <a:moveTo>
                        <a:pt x="807610" y="291940"/>
                      </a:moveTo>
                      <a:cubicBezTo>
                        <a:pt x="797128" y="291940"/>
                        <a:pt x="788468" y="295961"/>
                        <a:pt x="781630" y="304002"/>
                      </a:cubicBezTo>
                      <a:cubicBezTo>
                        <a:pt x="774794" y="312044"/>
                        <a:pt x="771376" y="323096"/>
                        <a:pt x="771376" y="337161"/>
                      </a:cubicBezTo>
                      <a:cubicBezTo>
                        <a:pt x="771376" y="350964"/>
                        <a:pt x="774452" y="361627"/>
                        <a:pt x="780604" y="369147"/>
                      </a:cubicBezTo>
                      <a:cubicBezTo>
                        <a:pt x="786758" y="376668"/>
                        <a:pt x="794686" y="380428"/>
                        <a:pt x="804388" y="380428"/>
                      </a:cubicBezTo>
                      <a:cubicBezTo>
                        <a:pt x="815782" y="380428"/>
                        <a:pt x="824604" y="376895"/>
                        <a:pt x="830856" y="369831"/>
                      </a:cubicBezTo>
                      <a:cubicBezTo>
                        <a:pt x="837106" y="362766"/>
                        <a:pt x="840232" y="354155"/>
                        <a:pt x="840232" y="343997"/>
                      </a:cubicBezTo>
                      <a:lnTo>
                        <a:pt x="840232" y="325343"/>
                      </a:lnTo>
                      <a:cubicBezTo>
                        <a:pt x="840232" y="316032"/>
                        <a:pt x="837286" y="308137"/>
                        <a:pt x="831392" y="301658"/>
                      </a:cubicBezTo>
                      <a:cubicBezTo>
                        <a:pt x="825500" y="295180"/>
                        <a:pt x="817572" y="291940"/>
                        <a:pt x="807610" y="291940"/>
                      </a:cubicBezTo>
                      <a:close/>
                      <a:moveTo>
                        <a:pt x="701664" y="291940"/>
                      </a:moveTo>
                      <a:cubicBezTo>
                        <a:pt x="692288" y="291940"/>
                        <a:pt x="684522" y="295082"/>
                        <a:pt x="678370" y="301365"/>
                      </a:cubicBezTo>
                      <a:cubicBezTo>
                        <a:pt x="672216" y="307649"/>
                        <a:pt x="668424" y="316650"/>
                        <a:pt x="666992" y="328371"/>
                      </a:cubicBezTo>
                      <a:lnTo>
                        <a:pt x="731256" y="328371"/>
                      </a:lnTo>
                      <a:cubicBezTo>
                        <a:pt x="730866" y="316846"/>
                        <a:pt x="728098" y="307893"/>
                        <a:pt x="722956" y="301512"/>
                      </a:cubicBezTo>
                      <a:cubicBezTo>
                        <a:pt x="717812" y="295131"/>
                        <a:pt x="710714" y="291940"/>
                        <a:pt x="701664" y="291940"/>
                      </a:cubicBezTo>
                      <a:close/>
                      <a:moveTo>
                        <a:pt x="454014" y="291940"/>
                      </a:moveTo>
                      <a:cubicBezTo>
                        <a:pt x="444638" y="291940"/>
                        <a:pt x="436872" y="295082"/>
                        <a:pt x="430720" y="301365"/>
                      </a:cubicBezTo>
                      <a:cubicBezTo>
                        <a:pt x="424566" y="307649"/>
                        <a:pt x="420774" y="316650"/>
                        <a:pt x="419340" y="328371"/>
                      </a:cubicBezTo>
                      <a:lnTo>
                        <a:pt x="483608" y="328371"/>
                      </a:lnTo>
                      <a:cubicBezTo>
                        <a:pt x="483216" y="316846"/>
                        <a:pt x="480448" y="307893"/>
                        <a:pt x="475306" y="301512"/>
                      </a:cubicBezTo>
                      <a:cubicBezTo>
                        <a:pt x="470162" y="295131"/>
                        <a:pt x="463064" y="291940"/>
                        <a:pt x="454014" y="291940"/>
                      </a:cubicBezTo>
                      <a:close/>
                      <a:moveTo>
                        <a:pt x="133776" y="291940"/>
                      </a:moveTo>
                      <a:cubicBezTo>
                        <a:pt x="121992" y="291940"/>
                        <a:pt x="112600" y="295912"/>
                        <a:pt x="105600" y="303856"/>
                      </a:cubicBezTo>
                      <a:cubicBezTo>
                        <a:pt x="98600" y="311799"/>
                        <a:pt x="95100" y="322836"/>
                        <a:pt x="95100" y="336965"/>
                      </a:cubicBezTo>
                      <a:cubicBezTo>
                        <a:pt x="95100" y="350053"/>
                        <a:pt x="98518" y="360569"/>
                        <a:pt x="105356" y="368512"/>
                      </a:cubicBezTo>
                      <a:cubicBezTo>
                        <a:pt x="112192" y="376456"/>
                        <a:pt x="121536" y="380428"/>
                        <a:pt x="133386" y="380428"/>
                      </a:cubicBezTo>
                      <a:cubicBezTo>
                        <a:pt x="145432" y="380428"/>
                        <a:pt x="154710" y="376521"/>
                        <a:pt x="161222" y="368708"/>
                      </a:cubicBezTo>
                      <a:cubicBezTo>
                        <a:pt x="167734" y="360894"/>
                        <a:pt x="170988" y="350053"/>
                        <a:pt x="170988" y="336184"/>
                      </a:cubicBezTo>
                      <a:cubicBezTo>
                        <a:pt x="170988" y="321924"/>
                        <a:pt x="167750" y="310986"/>
                        <a:pt x="161270" y="303367"/>
                      </a:cubicBezTo>
                      <a:cubicBezTo>
                        <a:pt x="154792" y="295749"/>
                        <a:pt x="145628" y="291940"/>
                        <a:pt x="133776" y="291940"/>
                      </a:cubicBezTo>
                      <a:close/>
                      <a:moveTo>
                        <a:pt x="1863714" y="284224"/>
                      </a:moveTo>
                      <a:cubicBezTo>
                        <a:pt x="1867424" y="284224"/>
                        <a:pt x="1870746" y="284810"/>
                        <a:pt x="1873676" y="285982"/>
                      </a:cubicBezTo>
                      <a:lnTo>
                        <a:pt x="1873676" y="295554"/>
                      </a:lnTo>
                      <a:cubicBezTo>
                        <a:pt x="1870680" y="293405"/>
                        <a:pt x="1867164" y="292331"/>
                        <a:pt x="1863128" y="292331"/>
                      </a:cubicBezTo>
                      <a:cubicBezTo>
                        <a:pt x="1855248" y="292331"/>
                        <a:pt x="1848640" y="296400"/>
                        <a:pt x="1843300" y="304539"/>
                      </a:cubicBezTo>
                      <a:cubicBezTo>
                        <a:pt x="1837962" y="312678"/>
                        <a:pt x="1835292" y="324236"/>
                        <a:pt x="1835292" y="339212"/>
                      </a:cubicBezTo>
                      <a:lnTo>
                        <a:pt x="1835292" y="386190"/>
                      </a:lnTo>
                      <a:lnTo>
                        <a:pt x="1826502" y="386190"/>
                      </a:lnTo>
                      <a:lnTo>
                        <a:pt x="1826502" y="286178"/>
                      </a:lnTo>
                      <a:lnTo>
                        <a:pt x="1835292" y="286178"/>
                      </a:lnTo>
                      <a:lnTo>
                        <a:pt x="1835292" y="308348"/>
                      </a:lnTo>
                      <a:lnTo>
                        <a:pt x="1835682" y="308348"/>
                      </a:lnTo>
                      <a:cubicBezTo>
                        <a:pt x="1837962" y="300730"/>
                        <a:pt x="1841576" y="294805"/>
                        <a:pt x="1846524" y="290573"/>
                      </a:cubicBezTo>
                      <a:cubicBezTo>
                        <a:pt x="1851472" y="286341"/>
                        <a:pt x="1857202" y="284224"/>
                        <a:pt x="1863714" y="284224"/>
                      </a:cubicBezTo>
                      <a:close/>
                      <a:moveTo>
                        <a:pt x="2035554" y="283736"/>
                      </a:moveTo>
                      <a:cubicBezTo>
                        <a:pt x="2047990" y="283736"/>
                        <a:pt x="2057530" y="288099"/>
                        <a:pt x="2064170" y="296824"/>
                      </a:cubicBezTo>
                      <a:cubicBezTo>
                        <a:pt x="2070812" y="305549"/>
                        <a:pt x="2074132" y="317464"/>
                        <a:pt x="2074132" y="332570"/>
                      </a:cubicBezTo>
                      <a:lnTo>
                        <a:pt x="2074132" y="336575"/>
                      </a:lnTo>
                      <a:lnTo>
                        <a:pt x="2000100" y="336575"/>
                      </a:lnTo>
                      <a:cubicBezTo>
                        <a:pt x="2000100" y="350313"/>
                        <a:pt x="2003274" y="361057"/>
                        <a:pt x="2009624" y="368805"/>
                      </a:cubicBezTo>
                      <a:cubicBezTo>
                        <a:pt x="2015972" y="376554"/>
                        <a:pt x="2024680" y="380428"/>
                        <a:pt x="2035750" y="380428"/>
                      </a:cubicBezTo>
                      <a:cubicBezTo>
                        <a:pt x="2046948" y="380428"/>
                        <a:pt x="2057888" y="376293"/>
                        <a:pt x="2068566" y="368024"/>
                      </a:cubicBezTo>
                      <a:lnTo>
                        <a:pt x="2068566" y="377595"/>
                      </a:lnTo>
                      <a:cubicBezTo>
                        <a:pt x="2058212" y="384953"/>
                        <a:pt x="2046656" y="388632"/>
                        <a:pt x="2033894" y="388632"/>
                      </a:cubicBezTo>
                      <a:cubicBezTo>
                        <a:pt x="2021002" y="388632"/>
                        <a:pt x="2010584" y="384009"/>
                        <a:pt x="2002640" y="374763"/>
                      </a:cubicBezTo>
                      <a:cubicBezTo>
                        <a:pt x="1994696" y="365517"/>
                        <a:pt x="1990724" y="352462"/>
                        <a:pt x="1990724" y="335598"/>
                      </a:cubicBezTo>
                      <a:cubicBezTo>
                        <a:pt x="1990724" y="321013"/>
                        <a:pt x="1994876" y="308723"/>
                        <a:pt x="2003176" y="298728"/>
                      </a:cubicBezTo>
                      <a:cubicBezTo>
                        <a:pt x="2011478" y="288733"/>
                        <a:pt x="2022272" y="283736"/>
                        <a:pt x="2035554" y="283736"/>
                      </a:cubicBezTo>
                      <a:close/>
                      <a:moveTo>
                        <a:pt x="1936736" y="283736"/>
                      </a:moveTo>
                      <a:cubicBezTo>
                        <a:pt x="1947546" y="283736"/>
                        <a:pt x="1955814" y="287333"/>
                        <a:pt x="1961544" y="294528"/>
                      </a:cubicBezTo>
                      <a:cubicBezTo>
                        <a:pt x="1967274" y="301723"/>
                        <a:pt x="1970140" y="311995"/>
                        <a:pt x="1970140" y="325343"/>
                      </a:cubicBezTo>
                      <a:lnTo>
                        <a:pt x="1970140" y="386190"/>
                      </a:lnTo>
                      <a:lnTo>
                        <a:pt x="1961154" y="386190"/>
                      </a:lnTo>
                      <a:lnTo>
                        <a:pt x="1961154" y="327980"/>
                      </a:lnTo>
                      <a:cubicBezTo>
                        <a:pt x="1961154" y="303953"/>
                        <a:pt x="1952494" y="291940"/>
                        <a:pt x="1935174" y="291940"/>
                      </a:cubicBezTo>
                      <a:cubicBezTo>
                        <a:pt x="1925538" y="291940"/>
                        <a:pt x="1917626" y="295473"/>
                        <a:pt x="1911440" y="302537"/>
                      </a:cubicBezTo>
                      <a:cubicBezTo>
                        <a:pt x="1905256" y="309602"/>
                        <a:pt x="1902162" y="318343"/>
                        <a:pt x="1902162" y="328761"/>
                      </a:cubicBezTo>
                      <a:lnTo>
                        <a:pt x="1902162" y="386190"/>
                      </a:lnTo>
                      <a:lnTo>
                        <a:pt x="1893176" y="386190"/>
                      </a:lnTo>
                      <a:lnTo>
                        <a:pt x="1893176" y="286178"/>
                      </a:lnTo>
                      <a:lnTo>
                        <a:pt x="1902162" y="286178"/>
                      </a:lnTo>
                      <a:lnTo>
                        <a:pt x="1902162" y="304344"/>
                      </a:lnTo>
                      <a:lnTo>
                        <a:pt x="1902552" y="304344"/>
                      </a:lnTo>
                      <a:cubicBezTo>
                        <a:pt x="1909846" y="290605"/>
                        <a:pt x="1921240" y="283736"/>
                        <a:pt x="1936736" y="283736"/>
                      </a:cubicBezTo>
                      <a:close/>
                      <a:moveTo>
                        <a:pt x="1759328" y="283736"/>
                      </a:moveTo>
                      <a:cubicBezTo>
                        <a:pt x="1771766" y="283736"/>
                        <a:pt x="1781304" y="288099"/>
                        <a:pt x="1787946" y="296824"/>
                      </a:cubicBezTo>
                      <a:cubicBezTo>
                        <a:pt x="1794588" y="305549"/>
                        <a:pt x="1797908" y="317464"/>
                        <a:pt x="1797908" y="332570"/>
                      </a:cubicBezTo>
                      <a:lnTo>
                        <a:pt x="1797908" y="336575"/>
                      </a:lnTo>
                      <a:lnTo>
                        <a:pt x="1723876" y="336575"/>
                      </a:lnTo>
                      <a:cubicBezTo>
                        <a:pt x="1723876" y="350313"/>
                        <a:pt x="1727050" y="361057"/>
                        <a:pt x="1733398" y="368805"/>
                      </a:cubicBezTo>
                      <a:cubicBezTo>
                        <a:pt x="1739746" y="376554"/>
                        <a:pt x="1748456" y="380428"/>
                        <a:pt x="1759524" y="380428"/>
                      </a:cubicBezTo>
                      <a:cubicBezTo>
                        <a:pt x="1770724" y="380428"/>
                        <a:pt x="1781662" y="376293"/>
                        <a:pt x="1792340" y="368024"/>
                      </a:cubicBezTo>
                      <a:lnTo>
                        <a:pt x="1792340" y="377595"/>
                      </a:lnTo>
                      <a:cubicBezTo>
                        <a:pt x="1781988" y="384953"/>
                        <a:pt x="1770430" y="388632"/>
                        <a:pt x="1757668" y="388632"/>
                      </a:cubicBezTo>
                      <a:cubicBezTo>
                        <a:pt x="1744776" y="388632"/>
                        <a:pt x="1734358" y="384009"/>
                        <a:pt x="1726414" y="374763"/>
                      </a:cubicBezTo>
                      <a:cubicBezTo>
                        <a:pt x="1718472" y="365517"/>
                        <a:pt x="1714500" y="352462"/>
                        <a:pt x="1714500" y="335598"/>
                      </a:cubicBezTo>
                      <a:cubicBezTo>
                        <a:pt x="1714500" y="321013"/>
                        <a:pt x="1718650" y="308723"/>
                        <a:pt x="1726952" y="298728"/>
                      </a:cubicBezTo>
                      <a:cubicBezTo>
                        <a:pt x="1735254" y="288733"/>
                        <a:pt x="1746046" y="283736"/>
                        <a:pt x="1759328" y="283736"/>
                      </a:cubicBezTo>
                      <a:close/>
                      <a:moveTo>
                        <a:pt x="1603362" y="283736"/>
                      </a:moveTo>
                      <a:cubicBezTo>
                        <a:pt x="1614170" y="283736"/>
                        <a:pt x="1622440" y="287333"/>
                        <a:pt x="1628170" y="294528"/>
                      </a:cubicBezTo>
                      <a:cubicBezTo>
                        <a:pt x="1633900" y="301723"/>
                        <a:pt x="1636764" y="311995"/>
                        <a:pt x="1636764" y="325343"/>
                      </a:cubicBezTo>
                      <a:lnTo>
                        <a:pt x="1636764" y="386190"/>
                      </a:lnTo>
                      <a:lnTo>
                        <a:pt x="1627778" y="386190"/>
                      </a:lnTo>
                      <a:lnTo>
                        <a:pt x="1627778" y="327980"/>
                      </a:lnTo>
                      <a:cubicBezTo>
                        <a:pt x="1627778" y="303953"/>
                        <a:pt x="1619120" y="291940"/>
                        <a:pt x="1601800" y="291940"/>
                      </a:cubicBezTo>
                      <a:cubicBezTo>
                        <a:pt x="1592162" y="291940"/>
                        <a:pt x="1584252" y="295473"/>
                        <a:pt x="1578066" y="302537"/>
                      </a:cubicBezTo>
                      <a:cubicBezTo>
                        <a:pt x="1571880" y="309602"/>
                        <a:pt x="1568788" y="318343"/>
                        <a:pt x="1568788" y="328761"/>
                      </a:cubicBezTo>
                      <a:lnTo>
                        <a:pt x="1568788" y="386190"/>
                      </a:lnTo>
                      <a:lnTo>
                        <a:pt x="1559802" y="386190"/>
                      </a:lnTo>
                      <a:lnTo>
                        <a:pt x="1559802" y="286178"/>
                      </a:lnTo>
                      <a:lnTo>
                        <a:pt x="1568788" y="286178"/>
                      </a:lnTo>
                      <a:lnTo>
                        <a:pt x="1568788" y="304344"/>
                      </a:lnTo>
                      <a:lnTo>
                        <a:pt x="1569178" y="304344"/>
                      </a:lnTo>
                      <a:cubicBezTo>
                        <a:pt x="1576470" y="290605"/>
                        <a:pt x="1587864" y="283736"/>
                        <a:pt x="1603362" y="283736"/>
                      </a:cubicBezTo>
                      <a:close/>
                      <a:moveTo>
                        <a:pt x="1387854" y="283736"/>
                      </a:moveTo>
                      <a:cubicBezTo>
                        <a:pt x="1400290" y="283736"/>
                        <a:pt x="1409830" y="288099"/>
                        <a:pt x="1416470" y="296824"/>
                      </a:cubicBezTo>
                      <a:cubicBezTo>
                        <a:pt x="1423112" y="305549"/>
                        <a:pt x="1426432" y="317464"/>
                        <a:pt x="1426432" y="332570"/>
                      </a:cubicBezTo>
                      <a:lnTo>
                        <a:pt x="1426432" y="336575"/>
                      </a:lnTo>
                      <a:lnTo>
                        <a:pt x="1352400" y="336575"/>
                      </a:lnTo>
                      <a:cubicBezTo>
                        <a:pt x="1352400" y="350313"/>
                        <a:pt x="1355574" y="361057"/>
                        <a:pt x="1361924" y="368805"/>
                      </a:cubicBezTo>
                      <a:cubicBezTo>
                        <a:pt x="1368272" y="376554"/>
                        <a:pt x="1376980" y="380428"/>
                        <a:pt x="1388050" y="380428"/>
                      </a:cubicBezTo>
                      <a:cubicBezTo>
                        <a:pt x="1399248" y="380428"/>
                        <a:pt x="1410188" y="376293"/>
                        <a:pt x="1420866" y="368024"/>
                      </a:cubicBezTo>
                      <a:lnTo>
                        <a:pt x="1420866" y="377595"/>
                      </a:lnTo>
                      <a:cubicBezTo>
                        <a:pt x="1410512" y="384953"/>
                        <a:pt x="1398956" y="388632"/>
                        <a:pt x="1386194" y="388632"/>
                      </a:cubicBezTo>
                      <a:cubicBezTo>
                        <a:pt x="1373302" y="388632"/>
                        <a:pt x="1362884" y="384009"/>
                        <a:pt x="1354940" y="374763"/>
                      </a:cubicBezTo>
                      <a:cubicBezTo>
                        <a:pt x="1346996" y="365517"/>
                        <a:pt x="1343024" y="352462"/>
                        <a:pt x="1343024" y="335598"/>
                      </a:cubicBezTo>
                      <a:cubicBezTo>
                        <a:pt x="1343024" y="321013"/>
                        <a:pt x="1347176" y="308723"/>
                        <a:pt x="1355476" y="298728"/>
                      </a:cubicBezTo>
                      <a:cubicBezTo>
                        <a:pt x="1363778" y="288733"/>
                        <a:pt x="1374572" y="283736"/>
                        <a:pt x="1387854" y="283736"/>
                      </a:cubicBezTo>
                      <a:close/>
                      <a:moveTo>
                        <a:pt x="1058092" y="283736"/>
                      </a:moveTo>
                      <a:cubicBezTo>
                        <a:pt x="1072352" y="283736"/>
                        <a:pt x="1083616" y="288392"/>
                        <a:pt x="1091886" y="297703"/>
                      </a:cubicBezTo>
                      <a:cubicBezTo>
                        <a:pt x="1100156" y="307014"/>
                        <a:pt x="1104290" y="319906"/>
                        <a:pt x="1104290" y="336379"/>
                      </a:cubicBezTo>
                      <a:cubicBezTo>
                        <a:pt x="1104290" y="351941"/>
                        <a:pt x="1100074" y="364540"/>
                        <a:pt x="1091642" y="374177"/>
                      </a:cubicBezTo>
                      <a:cubicBezTo>
                        <a:pt x="1083210" y="383814"/>
                        <a:pt x="1071668" y="388632"/>
                        <a:pt x="1057018" y="388632"/>
                      </a:cubicBezTo>
                      <a:cubicBezTo>
                        <a:pt x="1042434" y="388632"/>
                        <a:pt x="1030892" y="383830"/>
                        <a:pt x="1022394" y="374226"/>
                      </a:cubicBezTo>
                      <a:cubicBezTo>
                        <a:pt x="1013898" y="364622"/>
                        <a:pt x="1009648" y="352136"/>
                        <a:pt x="1009648" y="336770"/>
                      </a:cubicBezTo>
                      <a:cubicBezTo>
                        <a:pt x="1009648" y="320166"/>
                        <a:pt x="1014094" y="307176"/>
                        <a:pt x="1022980" y="297800"/>
                      </a:cubicBezTo>
                      <a:cubicBezTo>
                        <a:pt x="1031868" y="288424"/>
                        <a:pt x="1043572" y="283736"/>
                        <a:pt x="1058092" y="283736"/>
                      </a:cubicBezTo>
                      <a:close/>
                      <a:moveTo>
                        <a:pt x="702054" y="283736"/>
                      </a:moveTo>
                      <a:cubicBezTo>
                        <a:pt x="714490" y="283736"/>
                        <a:pt x="724030" y="288099"/>
                        <a:pt x="730670" y="296824"/>
                      </a:cubicBezTo>
                      <a:cubicBezTo>
                        <a:pt x="737312" y="305549"/>
                        <a:pt x="740632" y="317464"/>
                        <a:pt x="740632" y="332570"/>
                      </a:cubicBezTo>
                      <a:lnTo>
                        <a:pt x="740632" y="336575"/>
                      </a:lnTo>
                      <a:lnTo>
                        <a:pt x="666600" y="336575"/>
                      </a:lnTo>
                      <a:cubicBezTo>
                        <a:pt x="666600" y="350313"/>
                        <a:pt x="669774" y="361057"/>
                        <a:pt x="676124" y="368805"/>
                      </a:cubicBezTo>
                      <a:cubicBezTo>
                        <a:pt x="682472" y="376554"/>
                        <a:pt x="691180" y="380428"/>
                        <a:pt x="702250" y="380428"/>
                      </a:cubicBezTo>
                      <a:cubicBezTo>
                        <a:pt x="713448" y="380428"/>
                        <a:pt x="724388" y="376293"/>
                        <a:pt x="735066" y="368024"/>
                      </a:cubicBezTo>
                      <a:lnTo>
                        <a:pt x="735066" y="377595"/>
                      </a:lnTo>
                      <a:cubicBezTo>
                        <a:pt x="724712" y="384953"/>
                        <a:pt x="713156" y="388632"/>
                        <a:pt x="700394" y="388632"/>
                      </a:cubicBezTo>
                      <a:cubicBezTo>
                        <a:pt x="687502" y="388632"/>
                        <a:pt x="677084" y="384009"/>
                        <a:pt x="669140" y="374763"/>
                      </a:cubicBezTo>
                      <a:cubicBezTo>
                        <a:pt x="661196" y="365517"/>
                        <a:pt x="657224" y="352462"/>
                        <a:pt x="657224" y="335598"/>
                      </a:cubicBezTo>
                      <a:cubicBezTo>
                        <a:pt x="657224" y="321013"/>
                        <a:pt x="661376" y="308723"/>
                        <a:pt x="669676" y="298728"/>
                      </a:cubicBezTo>
                      <a:cubicBezTo>
                        <a:pt x="677978" y="288733"/>
                        <a:pt x="688772" y="283736"/>
                        <a:pt x="702054" y="283736"/>
                      </a:cubicBezTo>
                      <a:close/>
                      <a:moveTo>
                        <a:pt x="564550" y="283736"/>
                      </a:moveTo>
                      <a:cubicBezTo>
                        <a:pt x="572168" y="283736"/>
                        <a:pt x="579560" y="285299"/>
                        <a:pt x="586722" y="288424"/>
                      </a:cubicBezTo>
                      <a:lnTo>
                        <a:pt x="586722" y="298582"/>
                      </a:lnTo>
                      <a:cubicBezTo>
                        <a:pt x="579560" y="294154"/>
                        <a:pt x="571714" y="291940"/>
                        <a:pt x="563184" y="291940"/>
                      </a:cubicBezTo>
                      <a:cubicBezTo>
                        <a:pt x="551464" y="291940"/>
                        <a:pt x="541956" y="296156"/>
                        <a:pt x="534664" y="304588"/>
                      </a:cubicBezTo>
                      <a:cubicBezTo>
                        <a:pt x="527372" y="313020"/>
                        <a:pt x="523726" y="323943"/>
                        <a:pt x="523726" y="337356"/>
                      </a:cubicBezTo>
                      <a:cubicBezTo>
                        <a:pt x="523726" y="350313"/>
                        <a:pt x="527062" y="360731"/>
                        <a:pt x="533736" y="368610"/>
                      </a:cubicBezTo>
                      <a:cubicBezTo>
                        <a:pt x="540410" y="376488"/>
                        <a:pt x="549216" y="380428"/>
                        <a:pt x="560156" y="380428"/>
                      </a:cubicBezTo>
                      <a:cubicBezTo>
                        <a:pt x="570184" y="380428"/>
                        <a:pt x="578908" y="377758"/>
                        <a:pt x="586330" y="372419"/>
                      </a:cubicBezTo>
                      <a:lnTo>
                        <a:pt x="586330" y="381795"/>
                      </a:lnTo>
                      <a:cubicBezTo>
                        <a:pt x="578908" y="386353"/>
                        <a:pt x="570052" y="388632"/>
                        <a:pt x="559766" y="388632"/>
                      </a:cubicBezTo>
                      <a:cubicBezTo>
                        <a:pt x="546156" y="388632"/>
                        <a:pt x="535186" y="383960"/>
                        <a:pt x="526850" y="374617"/>
                      </a:cubicBezTo>
                      <a:cubicBezTo>
                        <a:pt x="518516" y="365273"/>
                        <a:pt x="514350" y="353048"/>
                        <a:pt x="514350" y="337942"/>
                      </a:cubicBezTo>
                      <a:cubicBezTo>
                        <a:pt x="514350" y="322055"/>
                        <a:pt x="519038" y="309048"/>
                        <a:pt x="528414" y="298923"/>
                      </a:cubicBezTo>
                      <a:cubicBezTo>
                        <a:pt x="537790" y="288798"/>
                        <a:pt x="549836" y="283736"/>
                        <a:pt x="564550" y="283736"/>
                      </a:cubicBezTo>
                      <a:close/>
                      <a:moveTo>
                        <a:pt x="454404" y="283736"/>
                      </a:moveTo>
                      <a:cubicBezTo>
                        <a:pt x="466840" y="283736"/>
                        <a:pt x="476380" y="288099"/>
                        <a:pt x="483020" y="296824"/>
                      </a:cubicBezTo>
                      <a:cubicBezTo>
                        <a:pt x="489662" y="305549"/>
                        <a:pt x="492984" y="317464"/>
                        <a:pt x="492984" y="332570"/>
                      </a:cubicBezTo>
                      <a:lnTo>
                        <a:pt x="492984" y="336575"/>
                      </a:lnTo>
                      <a:lnTo>
                        <a:pt x="418950" y="336575"/>
                      </a:lnTo>
                      <a:cubicBezTo>
                        <a:pt x="418950" y="350313"/>
                        <a:pt x="422124" y="361057"/>
                        <a:pt x="428474" y="368805"/>
                      </a:cubicBezTo>
                      <a:cubicBezTo>
                        <a:pt x="434822" y="376554"/>
                        <a:pt x="443530" y="380428"/>
                        <a:pt x="454600" y="380428"/>
                      </a:cubicBezTo>
                      <a:cubicBezTo>
                        <a:pt x="465798" y="380428"/>
                        <a:pt x="476738" y="376293"/>
                        <a:pt x="487416" y="368024"/>
                      </a:cubicBezTo>
                      <a:lnTo>
                        <a:pt x="487416" y="377595"/>
                      </a:lnTo>
                      <a:cubicBezTo>
                        <a:pt x="477064" y="384953"/>
                        <a:pt x="465506" y="388632"/>
                        <a:pt x="452744" y="388632"/>
                      </a:cubicBezTo>
                      <a:cubicBezTo>
                        <a:pt x="439852" y="388632"/>
                        <a:pt x="429434" y="384009"/>
                        <a:pt x="421490" y="374763"/>
                      </a:cubicBezTo>
                      <a:cubicBezTo>
                        <a:pt x="413546" y="365517"/>
                        <a:pt x="409574" y="352462"/>
                        <a:pt x="409574" y="335598"/>
                      </a:cubicBezTo>
                      <a:cubicBezTo>
                        <a:pt x="409574" y="321013"/>
                        <a:pt x="413726" y="308723"/>
                        <a:pt x="422028" y="298728"/>
                      </a:cubicBezTo>
                      <a:cubicBezTo>
                        <a:pt x="430328" y="288733"/>
                        <a:pt x="441122" y="283736"/>
                        <a:pt x="454404" y="283736"/>
                      </a:cubicBezTo>
                      <a:close/>
                      <a:moveTo>
                        <a:pt x="355586" y="283736"/>
                      </a:moveTo>
                      <a:cubicBezTo>
                        <a:pt x="366396" y="283736"/>
                        <a:pt x="374664" y="287333"/>
                        <a:pt x="380394" y="294528"/>
                      </a:cubicBezTo>
                      <a:cubicBezTo>
                        <a:pt x="386124" y="301723"/>
                        <a:pt x="388990" y="311995"/>
                        <a:pt x="388990" y="325343"/>
                      </a:cubicBezTo>
                      <a:lnTo>
                        <a:pt x="388990" y="386190"/>
                      </a:lnTo>
                      <a:lnTo>
                        <a:pt x="380004" y="386190"/>
                      </a:lnTo>
                      <a:lnTo>
                        <a:pt x="380004" y="327980"/>
                      </a:lnTo>
                      <a:cubicBezTo>
                        <a:pt x="380004" y="303953"/>
                        <a:pt x="371344" y="291940"/>
                        <a:pt x="354024" y="291940"/>
                      </a:cubicBezTo>
                      <a:cubicBezTo>
                        <a:pt x="344388" y="291940"/>
                        <a:pt x="336476" y="295473"/>
                        <a:pt x="330290" y="302537"/>
                      </a:cubicBezTo>
                      <a:cubicBezTo>
                        <a:pt x="324104" y="309602"/>
                        <a:pt x="321012" y="318343"/>
                        <a:pt x="321012" y="328761"/>
                      </a:cubicBezTo>
                      <a:lnTo>
                        <a:pt x="321012" y="386190"/>
                      </a:lnTo>
                      <a:lnTo>
                        <a:pt x="312026" y="386190"/>
                      </a:lnTo>
                      <a:lnTo>
                        <a:pt x="312026" y="286178"/>
                      </a:lnTo>
                      <a:lnTo>
                        <a:pt x="321012" y="286178"/>
                      </a:lnTo>
                      <a:lnTo>
                        <a:pt x="321012" y="304344"/>
                      </a:lnTo>
                      <a:lnTo>
                        <a:pt x="321402" y="304344"/>
                      </a:lnTo>
                      <a:cubicBezTo>
                        <a:pt x="328696" y="290605"/>
                        <a:pt x="340090" y="283736"/>
                        <a:pt x="355586" y="283736"/>
                      </a:cubicBezTo>
                      <a:close/>
                      <a:moveTo>
                        <a:pt x="250812" y="283736"/>
                      </a:moveTo>
                      <a:cubicBezTo>
                        <a:pt x="261620" y="283736"/>
                        <a:pt x="269890" y="287333"/>
                        <a:pt x="275620" y="294528"/>
                      </a:cubicBezTo>
                      <a:cubicBezTo>
                        <a:pt x="281350" y="301723"/>
                        <a:pt x="284214" y="311995"/>
                        <a:pt x="284214" y="325343"/>
                      </a:cubicBezTo>
                      <a:lnTo>
                        <a:pt x="284214" y="386190"/>
                      </a:lnTo>
                      <a:lnTo>
                        <a:pt x="275228" y="386190"/>
                      </a:lnTo>
                      <a:lnTo>
                        <a:pt x="275228" y="327980"/>
                      </a:lnTo>
                      <a:cubicBezTo>
                        <a:pt x="275228" y="303953"/>
                        <a:pt x="266568" y="291940"/>
                        <a:pt x="249250" y="291940"/>
                      </a:cubicBezTo>
                      <a:cubicBezTo>
                        <a:pt x="239612" y="291940"/>
                        <a:pt x="231702" y="295473"/>
                        <a:pt x="225516" y="302537"/>
                      </a:cubicBezTo>
                      <a:cubicBezTo>
                        <a:pt x="219330" y="309602"/>
                        <a:pt x="216238" y="318343"/>
                        <a:pt x="216238" y="328761"/>
                      </a:cubicBezTo>
                      <a:lnTo>
                        <a:pt x="216238" y="386190"/>
                      </a:lnTo>
                      <a:lnTo>
                        <a:pt x="207252" y="386190"/>
                      </a:lnTo>
                      <a:lnTo>
                        <a:pt x="207252" y="286178"/>
                      </a:lnTo>
                      <a:lnTo>
                        <a:pt x="216238" y="286178"/>
                      </a:lnTo>
                      <a:lnTo>
                        <a:pt x="216238" y="304344"/>
                      </a:lnTo>
                      <a:lnTo>
                        <a:pt x="216628" y="304344"/>
                      </a:lnTo>
                      <a:cubicBezTo>
                        <a:pt x="223920" y="290605"/>
                        <a:pt x="235316" y="283736"/>
                        <a:pt x="250812" y="283736"/>
                      </a:cubicBezTo>
                      <a:close/>
                      <a:moveTo>
                        <a:pt x="134168" y="283736"/>
                      </a:moveTo>
                      <a:cubicBezTo>
                        <a:pt x="148428" y="283736"/>
                        <a:pt x="159692" y="288392"/>
                        <a:pt x="167962" y="297703"/>
                      </a:cubicBezTo>
                      <a:cubicBezTo>
                        <a:pt x="176230" y="307014"/>
                        <a:pt x="180364" y="319906"/>
                        <a:pt x="180364" y="336379"/>
                      </a:cubicBezTo>
                      <a:cubicBezTo>
                        <a:pt x="180364" y="351941"/>
                        <a:pt x="176148" y="364540"/>
                        <a:pt x="167716" y="374177"/>
                      </a:cubicBezTo>
                      <a:cubicBezTo>
                        <a:pt x="159284" y="383814"/>
                        <a:pt x="147744" y="388632"/>
                        <a:pt x="133094" y="388632"/>
                      </a:cubicBezTo>
                      <a:cubicBezTo>
                        <a:pt x="118508" y="388632"/>
                        <a:pt x="106968" y="383830"/>
                        <a:pt x="98470" y="374226"/>
                      </a:cubicBezTo>
                      <a:cubicBezTo>
                        <a:pt x="89972" y="364622"/>
                        <a:pt x="85724" y="352136"/>
                        <a:pt x="85724" y="336770"/>
                      </a:cubicBezTo>
                      <a:cubicBezTo>
                        <a:pt x="85724" y="320166"/>
                        <a:pt x="90168" y="307176"/>
                        <a:pt x="99056" y="297800"/>
                      </a:cubicBezTo>
                      <a:cubicBezTo>
                        <a:pt x="107944" y="288424"/>
                        <a:pt x="119648" y="283736"/>
                        <a:pt x="134168" y="283736"/>
                      </a:cubicBezTo>
                      <a:close/>
                      <a:moveTo>
                        <a:pt x="50200" y="283736"/>
                      </a:moveTo>
                      <a:cubicBezTo>
                        <a:pt x="57820" y="283736"/>
                        <a:pt x="65210" y="285299"/>
                        <a:pt x="72372" y="288424"/>
                      </a:cubicBezTo>
                      <a:lnTo>
                        <a:pt x="72372" y="298582"/>
                      </a:lnTo>
                      <a:cubicBezTo>
                        <a:pt x="65210" y="294154"/>
                        <a:pt x="57364" y="291940"/>
                        <a:pt x="48834" y="291940"/>
                      </a:cubicBezTo>
                      <a:cubicBezTo>
                        <a:pt x="37114" y="291940"/>
                        <a:pt x="27606" y="296156"/>
                        <a:pt x="20314" y="304588"/>
                      </a:cubicBezTo>
                      <a:cubicBezTo>
                        <a:pt x="13022" y="313020"/>
                        <a:pt x="9376" y="323943"/>
                        <a:pt x="9376" y="337356"/>
                      </a:cubicBezTo>
                      <a:cubicBezTo>
                        <a:pt x="9376" y="350313"/>
                        <a:pt x="12712" y="360731"/>
                        <a:pt x="19386" y="368610"/>
                      </a:cubicBezTo>
                      <a:cubicBezTo>
                        <a:pt x="26060" y="376488"/>
                        <a:pt x="34866" y="380428"/>
                        <a:pt x="45806" y="380428"/>
                      </a:cubicBezTo>
                      <a:cubicBezTo>
                        <a:pt x="55832" y="380428"/>
                        <a:pt x="64558" y="377758"/>
                        <a:pt x="71980" y="372419"/>
                      </a:cubicBezTo>
                      <a:lnTo>
                        <a:pt x="71980" y="381795"/>
                      </a:lnTo>
                      <a:cubicBezTo>
                        <a:pt x="64558" y="386353"/>
                        <a:pt x="55702" y="388632"/>
                        <a:pt x="45416" y="388632"/>
                      </a:cubicBezTo>
                      <a:cubicBezTo>
                        <a:pt x="31806" y="388632"/>
                        <a:pt x="20836" y="383960"/>
                        <a:pt x="12500" y="374617"/>
                      </a:cubicBezTo>
                      <a:cubicBezTo>
                        <a:pt x="4166" y="365273"/>
                        <a:pt x="0" y="353048"/>
                        <a:pt x="0" y="337942"/>
                      </a:cubicBezTo>
                      <a:cubicBezTo>
                        <a:pt x="0" y="322055"/>
                        <a:pt x="4688" y="309048"/>
                        <a:pt x="14064" y="298923"/>
                      </a:cubicBezTo>
                      <a:cubicBezTo>
                        <a:pt x="23440" y="288798"/>
                        <a:pt x="35486" y="283736"/>
                        <a:pt x="50200" y="283736"/>
                      </a:cubicBezTo>
                      <a:close/>
                      <a:moveTo>
                        <a:pt x="2115912" y="257170"/>
                      </a:moveTo>
                      <a:lnTo>
                        <a:pt x="2115912" y="286178"/>
                      </a:lnTo>
                      <a:lnTo>
                        <a:pt x="2142282" y="286178"/>
                      </a:lnTo>
                      <a:lnTo>
                        <a:pt x="2142282" y="294382"/>
                      </a:lnTo>
                      <a:lnTo>
                        <a:pt x="2115912" y="294382"/>
                      </a:lnTo>
                      <a:lnTo>
                        <a:pt x="2115912" y="360406"/>
                      </a:lnTo>
                      <a:cubicBezTo>
                        <a:pt x="2115912" y="367308"/>
                        <a:pt x="2117002" y="372305"/>
                        <a:pt x="2119184" y="375398"/>
                      </a:cubicBezTo>
                      <a:cubicBezTo>
                        <a:pt x="2121366" y="378491"/>
                        <a:pt x="2125060" y="380037"/>
                        <a:pt x="2130268" y="380037"/>
                      </a:cubicBezTo>
                      <a:cubicBezTo>
                        <a:pt x="2133980" y="380037"/>
                        <a:pt x="2137984" y="378833"/>
                        <a:pt x="2142282" y="376423"/>
                      </a:cubicBezTo>
                      <a:lnTo>
                        <a:pt x="2142282" y="384823"/>
                      </a:lnTo>
                      <a:cubicBezTo>
                        <a:pt x="2137594" y="387037"/>
                        <a:pt x="2133200" y="388144"/>
                        <a:pt x="2129096" y="388144"/>
                      </a:cubicBezTo>
                      <a:cubicBezTo>
                        <a:pt x="2114316" y="388144"/>
                        <a:pt x="2106926" y="379288"/>
                        <a:pt x="2106926" y="361578"/>
                      </a:cubicBezTo>
                      <a:lnTo>
                        <a:pt x="2106926" y="294382"/>
                      </a:lnTo>
                      <a:lnTo>
                        <a:pt x="2088956" y="294382"/>
                      </a:lnTo>
                      <a:lnTo>
                        <a:pt x="2088956" y="286178"/>
                      </a:lnTo>
                      <a:lnTo>
                        <a:pt x="2106926" y="286178"/>
                      </a:lnTo>
                      <a:lnTo>
                        <a:pt x="2106926" y="260198"/>
                      </a:lnTo>
                      <a:cubicBezTo>
                        <a:pt x="2108358" y="259677"/>
                        <a:pt x="2109856" y="259156"/>
                        <a:pt x="2111420" y="258635"/>
                      </a:cubicBezTo>
                      <a:cubicBezTo>
                        <a:pt x="2112982" y="258179"/>
                        <a:pt x="2114480" y="257691"/>
                        <a:pt x="2115912" y="257170"/>
                      </a:cubicBezTo>
                      <a:close/>
                      <a:moveTo>
                        <a:pt x="1677762" y="257170"/>
                      </a:moveTo>
                      <a:lnTo>
                        <a:pt x="1677762" y="286178"/>
                      </a:lnTo>
                      <a:lnTo>
                        <a:pt x="1704132" y="286178"/>
                      </a:lnTo>
                      <a:lnTo>
                        <a:pt x="1704132" y="294382"/>
                      </a:lnTo>
                      <a:lnTo>
                        <a:pt x="1677762" y="294382"/>
                      </a:lnTo>
                      <a:lnTo>
                        <a:pt x="1677762" y="360406"/>
                      </a:lnTo>
                      <a:cubicBezTo>
                        <a:pt x="1677762" y="367308"/>
                        <a:pt x="1678852" y="372305"/>
                        <a:pt x="1681034" y="375398"/>
                      </a:cubicBezTo>
                      <a:cubicBezTo>
                        <a:pt x="1683216" y="378491"/>
                        <a:pt x="1686910" y="380037"/>
                        <a:pt x="1692120" y="380037"/>
                      </a:cubicBezTo>
                      <a:cubicBezTo>
                        <a:pt x="1695830" y="380037"/>
                        <a:pt x="1699836" y="378833"/>
                        <a:pt x="1704132" y="376423"/>
                      </a:cubicBezTo>
                      <a:lnTo>
                        <a:pt x="1704132" y="384823"/>
                      </a:lnTo>
                      <a:cubicBezTo>
                        <a:pt x="1699444" y="387037"/>
                        <a:pt x="1695050" y="388144"/>
                        <a:pt x="1690948" y="388144"/>
                      </a:cubicBezTo>
                      <a:cubicBezTo>
                        <a:pt x="1676166" y="388144"/>
                        <a:pt x="1668776" y="379288"/>
                        <a:pt x="1668776" y="361578"/>
                      </a:cubicBezTo>
                      <a:lnTo>
                        <a:pt x="1668776" y="294382"/>
                      </a:lnTo>
                      <a:lnTo>
                        <a:pt x="1650806" y="294382"/>
                      </a:lnTo>
                      <a:lnTo>
                        <a:pt x="1650806" y="286178"/>
                      </a:lnTo>
                      <a:lnTo>
                        <a:pt x="1668776" y="286178"/>
                      </a:lnTo>
                      <a:lnTo>
                        <a:pt x="1668776" y="260198"/>
                      </a:lnTo>
                      <a:cubicBezTo>
                        <a:pt x="1670208" y="259677"/>
                        <a:pt x="1671706" y="259156"/>
                        <a:pt x="1673268" y="258635"/>
                      </a:cubicBezTo>
                      <a:cubicBezTo>
                        <a:pt x="1674832" y="258179"/>
                        <a:pt x="1676330" y="257691"/>
                        <a:pt x="1677762" y="257170"/>
                      </a:cubicBezTo>
                      <a:close/>
                      <a:moveTo>
                        <a:pt x="1201512" y="257170"/>
                      </a:moveTo>
                      <a:lnTo>
                        <a:pt x="1201512" y="286178"/>
                      </a:lnTo>
                      <a:lnTo>
                        <a:pt x="1227882" y="286178"/>
                      </a:lnTo>
                      <a:lnTo>
                        <a:pt x="1227882" y="294382"/>
                      </a:lnTo>
                      <a:lnTo>
                        <a:pt x="1201512" y="294382"/>
                      </a:lnTo>
                      <a:lnTo>
                        <a:pt x="1201512" y="360406"/>
                      </a:lnTo>
                      <a:cubicBezTo>
                        <a:pt x="1201512" y="367308"/>
                        <a:pt x="1202602" y="372305"/>
                        <a:pt x="1204784" y="375398"/>
                      </a:cubicBezTo>
                      <a:cubicBezTo>
                        <a:pt x="1206966" y="378491"/>
                        <a:pt x="1210660" y="380037"/>
                        <a:pt x="1215868" y="380037"/>
                      </a:cubicBezTo>
                      <a:cubicBezTo>
                        <a:pt x="1219580" y="380037"/>
                        <a:pt x="1223584" y="378833"/>
                        <a:pt x="1227882" y="376423"/>
                      </a:cubicBezTo>
                      <a:lnTo>
                        <a:pt x="1227882" y="384823"/>
                      </a:lnTo>
                      <a:cubicBezTo>
                        <a:pt x="1223194" y="387037"/>
                        <a:pt x="1218800" y="388144"/>
                        <a:pt x="1214696" y="388144"/>
                      </a:cubicBezTo>
                      <a:cubicBezTo>
                        <a:pt x="1199916" y="388144"/>
                        <a:pt x="1192526" y="379288"/>
                        <a:pt x="1192526" y="361578"/>
                      </a:cubicBezTo>
                      <a:lnTo>
                        <a:pt x="1192526" y="294382"/>
                      </a:lnTo>
                      <a:lnTo>
                        <a:pt x="1174556" y="294382"/>
                      </a:lnTo>
                      <a:lnTo>
                        <a:pt x="1174556" y="286178"/>
                      </a:lnTo>
                      <a:lnTo>
                        <a:pt x="1192526" y="286178"/>
                      </a:lnTo>
                      <a:lnTo>
                        <a:pt x="1192526" y="260198"/>
                      </a:lnTo>
                      <a:cubicBezTo>
                        <a:pt x="1193958" y="259677"/>
                        <a:pt x="1195456" y="259156"/>
                        <a:pt x="1197020" y="258635"/>
                      </a:cubicBezTo>
                      <a:cubicBezTo>
                        <a:pt x="1198582" y="258179"/>
                        <a:pt x="1200080" y="257691"/>
                        <a:pt x="1201512" y="257170"/>
                      </a:cubicBezTo>
                      <a:close/>
                      <a:moveTo>
                        <a:pt x="972912" y="257170"/>
                      </a:moveTo>
                      <a:lnTo>
                        <a:pt x="972912" y="286178"/>
                      </a:lnTo>
                      <a:lnTo>
                        <a:pt x="999282" y="286178"/>
                      </a:lnTo>
                      <a:lnTo>
                        <a:pt x="999282" y="294382"/>
                      </a:lnTo>
                      <a:lnTo>
                        <a:pt x="972912" y="294382"/>
                      </a:lnTo>
                      <a:lnTo>
                        <a:pt x="972912" y="360406"/>
                      </a:lnTo>
                      <a:cubicBezTo>
                        <a:pt x="972912" y="367308"/>
                        <a:pt x="974002" y="372305"/>
                        <a:pt x="976184" y="375398"/>
                      </a:cubicBezTo>
                      <a:cubicBezTo>
                        <a:pt x="978364" y="378491"/>
                        <a:pt x="982060" y="380037"/>
                        <a:pt x="987270" y="380037"/>
                      </a:cubicBezTo>
                      <a:cubicBezTo>
                        <a:pt x="990980" y="380037"/>
                        <a:pt x="994984" y="378833"/>
                        <a:pt x="999282" y="376423"/>
                      </a:cubicBezTo>
                      <a:lnTo>
                        <a:pt x="999282" y="384823"/>
                      </a:lnTo>
                      <a:cubicBezTo>
                        <a:pt x="994594" y="387037"/>
                        <a:pt x="990200" y="388144"/>
                        <a:pt x="986096" y="388144"/>
                      </a:cubicBezTo>
                      <a:cubicBezTo>
                        <a:pt x="971316" y="388144"/>
                        <a:pt x="963926" y="379288"/>
                        <a:pt x="963926" y="361578"/>
                      </a:cubicBezTo>
                      <a:lnTo>
                        <a:pt x="963926" y="294382"/>
                      </a:lnTo>
                      <a:lnTo>
                        <a:pt x="945956" y="294382"/>
                      </a:lnTo>
                      <a:lnTo>
                        <a:pt x="945956" y="286178"/>
                      </a:lnTo>
                      <a:lnTo>
                        <a:pt x="963926" y="286178"/>
                      </a:lnTo>
                      <a:lnTo>
                        <a:pt x="963926" y="260198"/>
                      </a:lnTo>
                      <a:cubicBezTo>
                        <a:pt x="965360" y="259677"/>
                        <a:pt x="966856" y="259156"/>
                        <a:pt x="968420" y="258635"/>
                      </a:cubicBezTo>
                      <a:cubicBezTo>
                        <a:pt x="969982" y="258179"/>
                        <a:pt x="971480" y="257691"/>
                        <a:pt x="972912" y="257170"/>
                      </a:cubicBezTo>
                      <a:close/>
                      <a:moveTo>
                        <a:pt x="620488" y="257170"/>
                      </a:moveTo>
                      <a:lnTo>
                        <a:pt x="620488" y="286178"/>
                      </a:lnTo>
                      <a:lnTo>
                        <a:pt x="646858" y="286178"/>
                      </a:lnTo>
                      <a:lnTo>
                        <a:pt x="646858" y="294382"/>
                      </a:lnTo>
                      <a:lnTo>
                        <a:pt x="620488" y="294382"/>
                      </a:lnTo>
                      <a:lnTo>
                        <a:pt x="620488" y="360406"/>
                      </a:lnTo>
                      <a:cubicBezTo>
                        <a:pt x="620488" y="367308"/>
                        <a:pt x="621578" y="372305"/>
                        <a:pt x="623758" y="375398"/>
                      </a:cubicBezTo>
                      <a:cubicBezTo>
                        <a:pt x="625940" y="378491"/>
                        <a:pt x="629636" y="380037"/>
                        <a:pt x="634844" y="380037"/>
                      </a:cubicBezTo>
                      <a:cubicBezTo>
                        <a:pt x="638556" y="380037"/>
                        <a:pt x="642560" y="378833"/>
                        <a:pt x="646858" y="376423"/>
                      </a:cubicBezTo>
                      <a:lnTo>
                        <a:pt x="646858" y="384823"/>
                      </a:lnTo>
                      <a:cubicBezTo>
                        <a:pt x="642170" y="387037"/>
                        <a:pt x="637774" y="388144"/>
                        <a:pt x="633672" y="388144"/>
                      </a:cubicBezTo>
                      <a:cubicBezTo>
                        <a:pt x="618892" y="388144"/>
                        <a:pt x="611502" y="379288"/>
                        <a:pt x="611502" y="361578"/>
                      </a:cubicBezTo>
                      <a:lnTo>
                        <a:pt x="611502" y="294382"/>
                      </a:lnTo>
                      <a:lnTo>
                        <a:pt x="593530" y="294382"/>
                      </a:lnTo>
                      <a:lnTo>
                        <a:pt x="593530" y="286178"/>
                      </a:lnTo>
                      <a:lnTo>
                        <a:pt x="611502" y="286178"/>
                      </a:lnTo>
                      <a:lnTo>
                        <a:pt x="611502" y="260198"/>
                      </a:lnTo>
                      <a:cubicBezTo>
                        <a:pt x="612934" y="259677"/>
                        <a:pt x="614432" y="259156"/>
                        <a:pt x="615994" y="258635"/>
                      </a:cubicBezTo>
                      <a:cubicBezTo>
                        <a:pt x="617556" y="258179"/>
                        <a:pt x="619054" y="257691"/>
                        <a:pt x="620488" y="257170"/>
                      </a:cubicBezTo>
                      <a:close/>
                      <a:moveTo>
                        <a:pt x="1514130" y="246134"/>
                      </a:moveTo>
                      <a:lnTo>
                        <a:pt x="1523800" y="246134"/>
                      </a:lnTo>
                      <a:lnTo>
                        <a:pt x="1523800" y="386190"/>
                      </a:lnTo>
                      <a:lnTo>
                        <a:pt x="1514130" y="386190"/>
                      </a:lnTo>
                      <a:close/>
                      <a:moveTo>
                        <a:pt x="1245476" y="238125"/>
                      </a:moveTo>
                      <a:lnTo>
                        <a:pt x="1254462" y="238125"/>
                      </a:lnTo>
                      <a:lnTo>
                        <a:pt x="1254462" y="304149"/>
                      </a:lnTo>
                      <a:lnTo>
                        <a:pt x="1254852" y="304149"/>
                      </a:lnTo>
                      <a:cubicBezTo>
                        <a:pt x="1262732" y="290540"/>
                        <a:pt x="1274192" y="283736"/>
                        <a:pt x="1289232" y="283736"/>
                      </a:cubicBezTo>
                      <a:cubicBezTo>
                        <a:pt x="1300040" y="283736"/>
                        <a:pt x="1308278" y="287220"/>
                        <a:pt x="1313942" y="294187"/>
                      </a:cubicBezTo>
                      <a:cubicBezTo>
                        <a:pt x="1319608" y="301154"/>
                        <a:pt x="1322440" y="311148"/>
                        <a:pt x="1322440" y="324171"/>
                      </a:cubicBezTo>
                      <a:lnTo>
                        <a:pt x="1322440" y="386190"/>
                      </a:lnTo>
                      <a:lnTo>
                        <a:pt x="1313454" y="386190"/>
                      </a:lnTo>
                      <a:lnTo>
                        <a:pt x="1313454" y="326222"/>
                      </a:lnTo>
                      <a:cubicBezTo>
                        <a:pt x="1313454" y="314371"/>
                        <a:pt x="1311304" y="305695"/>
                        <a:pt x="1307008" y="300193"/>
                      </a:cubicBezTo>
                      <a:cubicBezTo>
                        <a:pt x="1302710" y="294691"/>
                        <a:pt x="1296004" y="291940"/>
                        <a:pt x="1286888" y="291940"/>
                      </a:cubicBezTo>
                      <a:cubicBezTo>
                        <a:pt x="1278294" y="291940"/>
                        <a:pt x="1270740" y="295293"/>
                        <a:pt x="1264228" y="302000"/>
                      </a:cubicBezTo>
                      <a:cubicBezTo>
                        <a:pt x="1257718" y="308707"/>
                        <a:pt x="1254462" y="318311"/>
                        <a:pt x="1254462" y="330812"/>
                      </a:cubicBezTo>
                      <a:lnTo>
                        <a:pt x="1254462" y="386190"/>
                      </a:lnTo>
                      <a:lnTo>
                        <a:pt x="1245476" y="386190"/>
                      </a:lnTo>
                      <a:close/>
                      <a:moveTo>
                        <a:pt x="840232" y="238125"/>
                      </a:moveTo>
                      <a:lnTo>
                        <a:pt x="849216" y="238125"/>
                      </a:lnTo>
                      <a:lnTo>
                        <a:pt x="849216" y="386190"/>
                      </a:lnTo>
                      <a:lnTo>
                        <a:pt x="840232" y="386190"/>
                      </a:lnTo>
                      <a:lnTo>
                        <a:pt x="840232" y="368024"/>
                      </a:lnTo>
                      <a:lnTo>
                        <a:pt x="839840" y="368024"/>
                      </a:lnTo>
                      <a:cubicBezTo>
                        <a:pt x="836586" y="374340"/>
                        <a:pt x="831768" y="379353"/>
                        <a:pt x="825386" y="383065"/>
                      </a:cubicBezTo>
                      <a:cubicBezTo>
                        <a:pt x="819004" y="386776"/>
                        <a:pt x="811810" y="388632"/>
                        <a:pt x="803802" y="388632"/>
                      </a:cubicBezTo>
                      <a:cubicBezTo>
                        <a:pt x="791496" y="388632"/>
                        <a:pt x="781452" y="384139"/>
                        <a:pt x="773670" y="375154"/>
                      </a:cubicBezTo>
                      <a:cubicBezTo>
                        <a:pt x="765890" y="366168"/>
                        <a:pt x="762000" y="353764"/>
                        <a:pt x="762000" y="337942"/>
                      </a:cubicBezTo>
                      <a:cubicBezTo>
                        <a:pt x="762000" y="321794"/>
                        <a:pt x="766248" y="308723"/>
                        <a:pt x="774744" y="298728"/>
                      </a:cubicBezTo>
                      <a:cubicBezTo>
                        <a:pt x="783242" y="288733"/>
                        <a:pt x="794262" y="283736"/>
                        <a:pt x="807806" y="283736"/>
                      </a:cubicBezTo>
                      <a:cubicBezTo>
                        <a:pt x="822782" y="283736"/>
                        <a:pt x="833460" y="289889"/>
                        <a:pt x="839840" y="302195"/>
                      </a:cubicBezTo>
                      <a:lnTo>
                        <a:pt x="840232" y="302195"/>
                      </a:lnTo>
                      <a:close/>
                      <a:moveTo>
                        <a:pt x="1524428" y="53815"/>
                      </a:moveTo>
                      <a:cubicBezTo>
                        <a:pt x="1512642" y="53815"/>
                        <a:pt x="1503250" y="57787"/>
                        <a:pt x="1496250" y="65731"/>
                      </a:cubicBezTo>
                      <a:cubicBezTo>
                        <a:pt x="1489250" y="73674"/>
                        <a:pt x="1485750" y="84711"/>
                        <a:pt x="1485750" y="98840"/>
                      </a:cubicBezTo>
                      <a:cubicBezTo>
                        <a:pt x="1485750" y="111928"/>
                        <a:pt x="1489168" y="122444"/>
                        <a:pt x="1496006" y="130387"/>
                      </a:cubicBezTo>
                      <a:cubicBezTo>
                        <a:pt x="1502842" y="138331"/>
                        <a:pt x="1512186" y="142303"/>
                        <a:pt x="1524036" y="142303"/>
                      </a:cubicBezTo>
                      <a:cubicBezTo>
                        <a:pt x="1536082" y="142303"/>
                        <a:pt x="1545360" y="138396"/>
                        <a:pt x="1551872" y="130583"/>
                      </a:cubicBezTo>
                      <a:cubicBezTo>
                        <a:pt x="1558384" y="122769"/>
                        <a:pt x="1561638" y="111928"/>
                        <a:pt x="1561638" y="98059"/>
                      </a:cubicBezTo>
                      <a:cubicBezTo>
                        <a:pt x="1561638" y="83799"/>
                        <a:pt x="1558400" y="72861"/>
                        <a:pt x="1551920" y="65242"/>
                      </a:cubicBezTo>
                      <a:cubicBezTo>
                        <a:pt x="1545442" y="57624"/>
                        <a:pt x="1536278" y="53815"/>
                        <a:pt x="1524428" y="53815"/>
                      </a:cubicBezTo>
                      <a:close/>
                      <a:moveTo>
                        <a:pt x="1235064" y="53815"/>
                      </a:moveTo>
                      <a:cubicBezTo>
                        <a:pt x="1225688" y="53815"/>
                        <a:pt x="1217922" y="56957"/>
                        <a:pt x="1211770" y="63240"/>
                      </a:cubicBezTo>
                      <a:cubicBezTo>
                        <a:pt x="1205616" y="69524"/>
                        <a:pt x="1201824" y="78525"/>
                        <a:pt x="1200392" y="90246"/>
                      </a:cubicBezTo>
                      <a:lnTo>
                        <a:pt x="1264656" y="90246"/>
                      </a:lnTo>
                      <a:cubicBezTo>
                        <a:pt x="1264266" y="78721"/>
                        <a:pt x="1261498" y="69768"/>
                        <a:pt x="1256356" y="63387"/>
                      </a:cubicBezTo>
                      <a:cubicBezTo>
                        <a:pt x="1251212" y="57006"/>
                        <a:pt x="1244114" y="53815"/>
                        <a:pt x="1235064" y="53815"/>
                      </a:cubicBezTo>
                      <a:close/>
                      <a:moveTo>
                        <a:pt x="867202" y="53815"/>
                      </a:moveTo>
                      <a:cubicBezTo>
                        <a:pt x="855416" y="53815"/>
                        <a:pt x="846024" y="57787"/>
                        <a:pt x="839024" y="65731"/>
                      </a:cubicBezTo>
                      <a:cubicBezTo>
                        <a:pt x="832026" y="73674"/>
                        <a:pt x="828526" y="84711"/>
                        <a:pt x="828526" y="98840"/>
                      </a:cubicBezTo>
                      <a:cubicBezTo>
                        <a:pt x="828526" y="111928"/>
                        <a:pt x="831944" y="122444"/>
                        <a:pt x="838780" y="130387"/>
                      </a:cubicBezTo>
                      <a:cubicBezTo>
                        <a:pt x="845618" y="138331"/>
                        <a:pt x="854960" y="142303"/>
                        <a:pt x="866812" y="142303"/>
                      </a:cubicBezTo>
                      <a:cubicBezTo>
                        <a:pt x="878858" y="142303"/>
                        <a:pt x="888136" y="138396"/>
                        <a:pt x="894646" y="130583"/>
                      </a:cubicBezTo>
                      <a:cubicBezTo>
                        <a:pt x="901158" y="122769"/>
                        <a:pt x="904414" y="111928"/>
                        <a:pt x="904414" y="98059"/>
                      </a:cubicBezTo>
                      <a:cubicBezTo>
                        <a:pt x="904414" y="83799"/>
                        <a:pt x="901174" y="72861"/>
                        <a:pt x="894696" y="65242"/>
                      </a:cubicBezTo>
                      <a:cubicBezTo>
                        <a:pt x="888216" y="57624"/>
                        <a:pt x="879052" y="53815"/>
                        <a:pt x="867202" y="53815"/>
                      </a:cubicBezTo>
                      <a:close/>
                      <a:moveTo>
                        <a:pt x="788276" y="48053"/>
                      </a:moveTo>
                      <a:lnTo>
                        <a:pt x="797262" y="48053"/>
                      </a:lnTo>
                      <a:lnTo>
                        <a:pt x="797262" y="148065"/>
                      </a:lnTo>
                      <a:lnTo>
                        <a:pt x="788276" y="148065"/>
                      </a:lnTo>
                      <a:close/>
                      <a:moveTo>
                        <a:pt x="673976" y="48053"/>
                      </a:moveTo>
                      <a:lnTo>
                        <a:pt x="682962" y="48053"/>
                      </a:lnTo>
                      <a:lnTo>
                        <a:pt x="682962" y="148065"/>
                      </a:lnTo>
                      <a:lnTo>
                        <a:pt x="673976" y="148065"/>
                      </a:lnTo>
                      <a:close/>
                      <a:moveTo>
                        <a:pt x="1635114" y="46099"/>
                      </a:moveTo>
                      <a:cubicBezTo>
                        <a:pt x="1638824" y="46099"/>
                        <a:pt x="1642146" y="46685"/>
                        <a:pt x="1645076" y="47857"/>
                      </a:cubicBezTo>
                      <a:lnTo>
                        <a:pt x="1645076" y="57429"/>
                      </a:lnTo>
                      <a:cubicBezTo>
                        <a:pt x="1642080" y="55280"/>
                        <a:pt x="1638564" y="54206"/>
                        <a:pt x="1634528" y="54206"/>
                      </a:cubicBezTo>
                      <a:cubicBezTo>
                        <a:pt x="1626648" y="54206"/>
                        <a:pt x="1620040" y="58275"/>
                        <a:pt x="1614700" y="66414"/>
                      </a:cubicBezTo>
                      <a:cubicBezTo>
                        <a:pt x="1609362" y="74553"/>
                        <a:pt x="1606692" y="86111"/>
                        <a:pt x="1606692" y="101087"/>
                      </a:cubicBezTo>
                      <a:lnTo>
                        <a:pt x="1606692" y="148065"/>
                      </a:lnTo>
                      <a:lnTo>
                        <a:pt x="1597902" y="148065"/>
                      </a:lnTo>
                      <a:lnTo>
                        <a:pt x="1597902" y="48053"/>
                      </a:lnTo>
                      <a:lnTo>
                        <a:pt x="1606692" y="48053"/>
                      </a:lnTo>
                      <a:lnTo>
                        <a:pt x="1606692" y="70223"/>
                      </a:lnTo>
                      <a:lnTo>
                        <a:pt x="1607082" y="70223"/>
                      </a:lnTo>
                      <a:cubicBezTo>
                        <a:pt x="1609362" y="62605"/>
                        <a:pt x="1612976" y="56680"/>
                        <a:pt x="1617924" y="52448"/>
                      </a:cubicBezTo>
                      <a:cubicBezTo>
                        <a:pt x="1622872" y="48216"/>
                        <a:pt x="1628602" y="46099"/>
                        <a:pt x="1635114" y="46099"/>
                      </a:cubicBezTo>
                      <a:close/>
                      <a:moveTo>
                        <a:pt x="644514" y="46099"/>
                      </a:moveTo>
                      <a:cubicBezTo>
                        <a:pt x="648224" y="46099"/>
                        <a:pt x="651546" y="46685"/>
                        <a:pt x="654476" y="47857"/>
                      </a:cubicBezTo>
                      <a:lnTo>
                        <a:pt x="654476" y="57429"/>
                      </a:lnTo>
                      <a:cubicBezTo>
                        <a:pt x="651480" y="55280"/>
                        <a:pt x="647964" y="54206"/>
                        <a:pt x="643928" y="54206"/>
                      </a:cubicBezTo>
                      <a:cubicBezTo>
                        <a:pt x="636048" y="54206"/>
                        <a:pt x="629440" y="58275"/>
                        <a:pt x="624100" y="66414"/>
                      </a:cubicBezTo>
                      <a:cubicBezTo>
                        <a:pt x="618762" y="74553"/>
                        <a:pt x="616092" y="86111"/>
                        <a:pt x="616092" y="101087"/>
                      </a:cubicBezTo>
                      <a:lnTo>
                        <a:pt x="616092" y="148065"/>
                      </a:lnTo>
                      <a:lnTo>
                        <a:pt x="607302" y="148065"/>
                      </a:lnTo>
                      <a:lnTo>
                        <a:pt x="607302" y="48053"/>
                      </a:lnTo>
                      <a:lnTo>
                        <a:pt x="616092" y="48053"/>
                      </a:lnTo>
                      <a:lnTo>
                        <a:pt x="616092" y="70223"/>
                      </a:lnTo>
                      <a:lnTo>
                        <a:pt x="616482" y="70223"/>
                      </a:lnTo>
                      <a:cubicBezTo>
                        <a:pt x="618762" y="62605"/>
                        <a:pt x="622376" y="56680"/>
                        <a:pt x="627324" y="52448"/>
                      </a:cubicBezTo>
                      <a:cubicBezTo>
                        <a:pt x="632272" y="48216"/>
                        <a:pt x="638002" y="46099"/>
                        <a:pt x="644514" y="46099"/>
                      </a:cubicBezTo>
                      <a:close/>
                      <a:moveTo>
                        <a:pt x="1692120" y="45611"/>
                      </a:moveTo>
                      <a:cubicBezTo>
                        <a:pt x="1700714" y="45611"/>
                        <a:pt x="1708072" y="47369"/>
                        <a:pt x="1714192" y="50885"/>
                      </a:cubicBezTo>
                      <a:lnTo>
                        <a:pt x="1714192" y="61043"/>
                      </a:lnTo>
                      <a:cubicBezTo>
                        <a:pt x="1706770" y="56224"/>
                        <a:pt x="1699086" y="53815"/>
                        <a:pt x="1691142" y="53815"/>
                      </a:cubicBezTo>
                      <a:cubicBezTo>
                        <a:pt x="1684566" y="53815"/>
                        <a:pt x="1679260" y="55524"/>
                        <a:pt x="1675222" y="58943"/>
                      </a:cubicBezTo>
                      <a:cubicBezTo>
                        <a:pt x="1671186" y="62361"/>
                        <a:pt x="1669168" y="66805"/>
                        <a:pt x="1669168" y="72275"/>
                      </a:cubicBezTo>
                      <a:cubicBezTo>
                        <a:pt x="1669168" y="77028"/>
                        <a:pt x="1670436" y="80886"/>
                        <a:pt x="1672976" y="83848"/>
                      </a:cubicBezTo>
                      <a:cubicBezTo>
                        <a:pt x="1675516" y="86811"/>
                        <a:pt x="1681116" y="90213"/>
                        <a:pt x="1689776" y="94055"/>
                      </a:cubicBezTo>
                      <a:cubicBezTo>
                        <a:pt x="1700192" y="98743"/>
                        <a:pt x="1707356" y="103089"/>
                        <a:pt x="1711262" y="107093"/>
                      </a:cubicBezTo>
                      <a:cubicBezTo>
                        <a:pt x="1715168" y="111098"/>
                        <a:pt x="1717122" y="116421"/>
                        <a:pt x="1717122" y="123062"/>
                      </a:cubicBezTo>
                      <a:cubicBezTo>
                        <a:pt x="1717122" y="131006"/>
                        <a:pt x="1714144" y="137566"/>
                        <a:pt x="1708186" y="142742"/>
                      </a:cubicBezTo>
                      <a:cubicBezTo>
                        <a:pt x="1702228" y="147919"/>
                        <a:pt x="1694008" y="150507"/>
                        <a:pt x="1683524" y="150507"/>
                      </a:cubicBezTo>
                      <a:cubicBezTo>
                        <a:pt x="1673888" y="150507"/>
                        <a:pt x="1665846" y="148228"/>
                        <a:pt x="1659400" y="143670"/>
                      </a:cubicBezTo>
                      <a:lnTo>
                        <a:pt x="1659400" y="132829"/>
                      </a:lnTo>
                      <a:cubicBezTo>
                        <a:pt x="1662786" y="135759"/>
                        <a:pt x="1666888" y="138070"/>
                        <a:pt x="1671706" y="139763"/>
                      </a:cubicBezTo>
                      <a:cubicBezTo>
                        <a:pt x="1676524" y="141456"/>
                        <a:pt x="1680692" y="142303"/>
                        <a:pt x="1684208" y="142303"/>
                      </a:cubicBezTo>
                      <a:cubicBezTo>
                        <a:pt x="1699900" y="142303"/>
                        <a:pt x="1707746" y="135889"/>
                        <a:pt x="1707746" y="123062"/>
                      </a:cubicBezTo>
                      <a:cubicBezTo>
                        <a:pt x="1707746" y="118634"/>
                        <a:pt x="1706020" y="114858"/>
                        <a:pt x="1702570" y="111733"/>
                      </a:cubicBezTo>
                      <a:cubicBezTo>
                        <a:pt x="1699118" y="108607"/>
                        <a:pt x="1693520" y="105384"/>
                        <a:pt x="1685770" y="102063"/>
                      </a:cubicBezTo>
                      <a:cubicBezTo>
                        <a:pt x="1676200" y="97896"/>
                        <a:pt x="1669476" y="93583"/>
                        <a:pt x="1665602" y="89122"/>
                      </a:cubicBezTo>
                      <a:cubicBezTo>
                        <a:pt x="1661728" y="84662"/>
                        <a:pt x="1659790" y="79242"/>
                        <a:pt x="1659790" y="72861"/>
                      </a:cubicBezTo>
                      <a:cubicBezTo>
                        <a:pt x="1659790" y="64721"/>
                        <a:pt x="1662900" y="58145"/>
                        <a:pt x="1669118" y="53132"/>
                      </a:cubicBezTo>
                      <a:cubicBezTo>
                        <a:pt x="1675336" y="48118"/>
                        <a:pt x="1683004" y="45611"/>
                        <a:pt x="1692120" y="45611"/>
                      </a:cubicBezTo>
                      <a:close/>
                      <a:moveTo>
                        <a:pt x="1524818" y="45611"/>
                      </a:moveTo>
                      <a:cubicBezTo>
                        <a:pt x="1539078" y="45611"/>
                        <a:pt x="1550342" y="50267"/>
                        <a:pt x="1558612" y="59578"/>
                      </a:cubicBezTo>
                      <a:cubicBezTo>
                        <a:pt x="1566880" y="68889"/>
                        <a:pt x="1571014" y="81781"/>
                        <a:pt x="1571014" y="98254"/>
                      </a:cubicBezTo>
                      <a:cubicBezTo>
                        <a:pt x="1571014" y="113816"/>
                        <a:pt x="1566798" y="126415"/>
                        <a:pt x="1558366" y="136052"/>
                      </a:cubicBezTo>
                      <a:cubicBezTo>
                        <a:pt x="1549934" y="145689"/>
                        <a:pt x="1538394" y="150507"/>
                        <a:pt x="1523744" y="150507"/>
                      </a:cubicBezTo>
                      <a:cubicBezTo>
                        <a:pt x="1509158" y="150507"/>
                        <a:pt x="1497616" y="145705"/>
                        <a:pt x="1489120" y="136101"/>
                      </a:cubicBezTo>
                      <a:cubicBezTo>
                        <a:pt x="1480622" y="126497"/>
                        <a:pt x="1476374" y="114011"/>
                        <a:pt x="1476374" y="98645"/>
                      </a:cubicBezTo>
                      <a:cubicBezTo>
                        <a:pt x="1476374" y="82041"/>
                        <a:pt x="1480818" y="69051"/>
                        <a:pt x="1489706" y="59675"/>
                      </a:cubicBezTo>
                      <a:cubicBezTo>
                        <a:pt x="1498594" y="50299"/>
                        <a:pt x="1510298" y="45611"/>
                        <a:pt x="1524818" y="45611"/>
                      </a:cubicBezTo>
                      <a:close/>
                      <a:moveTo>
                        <a:pt x="1434944" y="45611"/>
                      </a:moveTo>
                      <a:cubicBezTo>
                        <a:pt x="1443540" y="45611"/>
                        <a:pt x="1450896" y="47369"/>
                        <a:pt x="1457018" y="50885"/>
                      </a:cubicBezTo>
                      <a:lnTo>
                        <a:pt x="1457018" y="61043"/>
                      </a:lnTo>
                      <a:cubicBezTo>
                        <a:pt x="1449594" y="56224"/>
                        <a:pt x="1441912" y="53815"/>
                        <a:pt x="1433968" y="53815"/>
                      </a:cubicBezTo>
                      <a:cubicBezTo>
                        <a:pt x="1427392" y="53815"/>
                        <a:pt x="1422084" y="55524"/>
                        <a:pt x="1418048" y="58943"/>
                      </a:cubicBezTo>
                      <a:cubicBezTo>
                        <a:pt x="1414010" y="62361"/>
                        <a:pt x="1411992" y="66805"/>
                        <a:pt x="1411992" y="72275"/>
                      </a:cubicBezTo>
                      <a:cubicBezTo>
                        <a:pt x="1411992" y="77028"/>
                        <a:pt x="1413262" y="80886"/>
                        <a:pt x="1415800" y="83848"/>
                      </a:cubicBezTo>
                      <a:cubicBezTo>
                        <a:pt x="1418340" y="86811"/>
                        <a:pt x="1423940" y="90213"/>
                        <a:pt x="1432600" y="94055"/>
                      </a:cubicBezTo>
                      <a:cubicBezTo>
                        <a:pt x="1443018" y="98743"/>
                        <a:pt x="1450180" y="103089"/>
                        <a:pt x="1454088" y="107093"/>
                      </a:cubicBezTo>
                      <a:cubicBezTo>
                        <a:pt x="1457994" y="111098"/>
                        <a:pt x="1459948" y="116421"/>
                        <a:pt x="1459948" y="123062"/>
                      </a:cubicBezTo>
                      <a:cubicBezTo>
                        <a:pt x="1459948" y="131006"/>
                        <a:pt x="1456968" y="137566"/>
                        <a:pt x="1451010" y="142742"/>
                      </a:cubicBezTo>
                      <a:cubicBezTo>
                        <a:pt x="1445052" y="147919"/>
                        <a:pt x="1436832" y="150507"/>
                        <a:pt x="1426350" y="150507"/>
                      </a:cubicBezTo>
                      <a:cubicBezTo>
                        <a:pt x="1416712" y="150507"/>
                        <a:pt x="1408672" y="148228"/>
                        <a:pt x="1402226" y="143670"/>
                      </a:cubicBezTo>
                      <a:lnTo>
                        <a:pt x="1402226" y="132829"/>
                      </a:lnTo>
                      <a:cubicBezTo>
                        <a:pt x="1405612" y="135759"/>
                        <a:pt x="1409712" y="138070"/>
                        <a:pt x="1414532" y="139763"/>
                      </a:cubicBezTo>
                      <a:cubicBezTo>
                        <a:pt x="1419350" y="141456"/>
                        <a:pt x="1423516" y="142303"/>
                        <a:pt x="1427032" y="142303"/>
                      </a:cubicBezTo>
                      <a:cubicBezTo>
                        <a:pt x="1442724" y="142303"/>
                        <a:pt x="1450572" y="135889"/>
                        <a:pt x="1450572" y="123062"/>
                      </a:cubicBezTo>
                      <a:cubicBezTo>
                        <a:pt x="1450572" y="118634"/>
                        <a:pt x="1448846" y="114858"/>
                        <a:pt x="1445394" y="111733"/>
                      </a:cubicBezTo>
                      <a:cubicBezTo>
                        <a:pt x="1441944" y="108607"/>
                        <a:pt x="1436344" y="105384"/>
                        <a:pt x="1428596" y="102063"/>
                      </a:cubicBezTo>
                      <a:cubicBezTo>
                        <a:pt x="1419024" y="97896"/>
                        <a:pt x="1412302" y="93583"/>
                        <a:pt x="1408428" y="89122"/>
                      </a:cubicBezTo>
                      <a:cubicBezTo>
                        <a:pt x="1404552" y="84662"/>
                        <a:pt x="1402616" y="79242"/>
                        <a:pt x="1402616" y="72861"/>
                      </a:cubicBezTo>
                      <a:cubicBezTo>
                        <a:pt x="1402616" y="64721"/>
                        <a:pt x="1405724" y="58145"/>
                        <a:pt x="1411944" y="53132"/>
                      </a:cubicBezTo>
                      <a:cubicBezTo>
                        <a:pt x="1418162" y="48118"/>
                        <a:pt x="1425828" y="45611"/>
                        <a:pt x="1434944" y="45611"/>
                      </a:cubicBezTo>
                      <a:close/>
                      <a:moveTo>
                        <a:pt x="1346186" y="45611"/>
                      </a:moveTo>
                      <a:cubicBezTo>
                        <a:pt x="1356996" y="45611"/>
                        <a:pt x="1365264" y="49208"/>
                        <a:pt x="1370994" y="56403"/>
                      </a:cubicBezTo>
                      <a:cubicBezTo>
                        <a:pt x="1376724" y="63598"/>
                        <a:pt x="1379590" y="73870"/>
                        <a:pt x="1379590" y="87218"/>
                      </a:cubicBezTo>
                      <a:lnTo>
                        <a:pt x="1379590" y="148065"/>
                      </a:lnTo>
                      <a:lnTo>
                        <a:pt x="1370604" y="148065"/>
                      </a:lnTo>
                      <a:lnTo>
                        <a:pt x="1370604" y="89855"/>
                      </a:lnTo>
                      <a:cubicBezTo>
                        <a:pt x="1370604" y="65828"/>
                        <a:pt x="1361944" y="53815"/>
                        <a:pt x="1344624" y="53815"/>
                      </a:cubicBezTo>
                      <a:cubicBezTo>
                        <a:pt x="1334988" y="53815"/>
                        <a:pt x="1327076" y="57348"/>
                        <a:pt x="1320890" y="64412"/>
                      </a:cubicBezTo>
                      <a:cubicBezTo>
                        <a:pt x="1314704" y="71477"/>
                        <a:pt x="1311612" y="80218"/>
                        <a:pt x="1311612" y="90636"/>
                      </a:cubicBezTo>
                      <a:lnTo>
                        <a:pt x="1311612" y="148065"/>
                      </a:lnTo>
                      <a:lnTo>
                        <a:pt x="1302626" y="148065"/>
                      </a:lnTo>
                      <a:lnTo>
                        <a:pt x="1302626" y="48053"/>
                      </a:lnTo>
                      <a:lnTo>
                        <a:pt x="1311612" y="48053"/>
                      </a:lnTo>
                      <a:lnTo>
                        <a:pt x="1311612" y="66219"/>
                      </a:lnTo>
                      <a:lnTo>
                        <a:pt x="1312002" y="66219"/>
                      </a:lnTo>
                      <a:cubicBezTo>
                        <a:pt x="1319296" y="52480"/>
                        <a:pt x="1330690" y="45611"/>
                        <a:pt x="1346186" y="45611"/>
                      </a:cubicBezTo>
                      <a:close/>
                      <a:moveTo>
                        <a:pt x="1235454" y="45611"/>
                      </a:moveTo>
                      <a:cubicBezTo>
                        <a:pt x="1247890" y="45611"/>
                        <a:pt x="1257430" y="49974"/>
                        <a:pt x="1264070" y="58699"/>
                      </a:cubicBezTo>
                      <a:cubicBezTo>
                        <a:pt x="1270712" y="67424"/>
                        <a:pt x="1274032" y="79339"/>
                        <a:pt x="1274032" y="94445"/>
                      </a:cubicBezTo>
                      <a:lnTo>
                        <a:pt x="1274032" y="98450"/>
                      </a:lnTo>
                      <a:lnTo>
                        <a:pt x="1200000" y="98450"/>
                      </a:lnTo>
                      <a:cubicBezTo>
                        <a:pt x="1200000" y="112188"/>
                        <a:pt x="1203174" y="122932"/>
                        <a:pt x="1209524" y="130680"/>
                      </a:cubicBezTo>
                      <a:cubicBezTo>
                        <a:pt x="1215872" y="138429"/>
                        <a:pt x="1224580" y="142303"/>
                        <a:pt x="1235650" y="142303"/>
                      </a:cubicBezTo>
                      <a:cubicBezTo>
                        <a:pt x="1246848" y="142303"/>
                        <a:pt x="1257788" y="138168"/>
                        <a:pt x="1268466" y="129899"/>
                      </a:cubicBezTo>
                      <a:lnTo>
                        <a:pt x="1268466" y="139470"/>
                      </a:lnTo>
                      <a:cubicBezTo>
                        <a:pt x="1258112" y="146828"/>
                        <a:pt x="1246556" y="150507"/>
                        <a:pt x="1233794" y="150507"/>
                      </a:cubicBezTo>
                      <a:cubicBezTo>
                        <a:pt x="1220902" y="150507"/>
                        <a:pt x="1210484" y="145884"/>
                        <a:pt x="1202540" y="136638"/>
                      </a:cubicBezTo>
                      <a:cubicBezTo>
                        <a:pt x="1194596" y="127392"/>
                        <a:pt x="1190624" y="114337"/>
                        <a:pt x="1190624" y="97473"/>
                      </a:cubicBezTo>
                      <a:cubicBezTo>
                        <a:pt x="1190624" y="82888"/>
                        <a:pt x="1194776" y="70598"/>
                        <a:pt x="1203076" y="60603"/>
                      </a:cubicBezTo>
                      <a:cubicBezTo>
                        <a:pt x="1211378" y="50608"/>
                        <a:pt x="1222172" y="45611"/>
                        <a:pt x="1235454" y="45611"/>
                      </a:cubicBezTo>
                      <a:close/>
                      <a:moveTo>
                        <a:pt x="1149194" y="45611"/>
                      </a:moveTo>
                      <a:cubicBezTo>
                        <a:pt x="1157788" y="45611"/>
                        <a:pt x="1165146" y="47369"/>
                        <a:pt x="1171268" y="50885"/>
                      </a:cubicBezTo>
                      <a:lnTo>
                        <a:pt x="1171268" y="61043"/>
                      </a:lnTo>
                      <a:cubicBezTo>
                        <a:pt x="1163844" y="56224"/>
                        <a:pt x="1156160" y="53815"/>
                        <a:pt x="1148218" y="53815"/>
                      </a:cubicBezTo>
                      <a:cubicBezTo>
                        <a:pt x="1141640" y="53815"/>
                        <a:pt x="1136334" y="55524"/>
                        <a:pt x="1132298" y="58943"/>
                      </a:cubicBezTo>
                      <a:cubicBezTo>
                        <a:pt x="1128260" y="62361"/>
                        <a:pt x="1126242" y="66805"/>
                        <a:pt x="1126242" y="72275"/>
                      </a:cubicBezTo>
                      <a:cubicBezTo>
                        <a:pt x="1126242" y="77028"/>
                        <a:pt x="1127512" y="80886"/>
                        <a:pt x="1130052" y="83848"/>
                      </a:cubicBezTo>
                      <a:cubicBezTo>
                        <a:pt x="1132590" y="86811"/>
                        <a:pt x="1138190" y="90213"/>
                        <a:pt x="1146850" y="94055"/>
                      </a:cubicBezTo>
                      <a:cubicBezTo>
                        <a:pt x="1157268" y="98743"/>
                        <a:pt x="1164430" y="103089"/>
                        <a:pt x="1168336" y="107093"/>
                      </a:cubicBezTo>
                      <a:cubicBezTo>
                        <a:pt x="1172244" y="111098"/>
                        <a:pt x="1174198" y="116421"/>
                        <a:pt x="1174198" y="123062"/>
                      </a:cubicBezTo>
                      <a:cubicBezTo>
                        <a:pt x="1174198" y="131006"/>
                        <a:pt x="1171218" y="137566"/>
                        <a:pt x="1165260" y="142742"/>
                      </a:cubicBezTo>
                      <a:cubicBezTo>
                        <a:pt x="1159302" y="147919"/>
                        <a:pt x="1151082" y="150507"/>
                        <a:pt x="1140600" y="150507"/>
                      </a:cubicBezTo>
                      <a:cubicBezTo>
                        <a:pt x="1130962" y="150507"/>
                        <a:pt x="1122922" y="148228"/>
                        <a:pt x="1116476" y="143670"/>
                      </a:cubicBezTo>
                      <a:lnTo>
                        <a:pt x="1116476" y="132829"/>
                      </a:lnTo>
                      <a:cubicBezTo>
                        <a:pt x="1119860" y="135759"/>
                        <a:pt x="1123964" y="138070"/>
                        <a:pt x="1128782" y="139763"/>
                      </a:cubicBezTo>
                      <a:cubicBezTo>
                        <a:pt x="1133600" y="141456"/>
                        <a:pt x="1137768" y="142303"/>
                        <a:pt x="1141284" y="142303"/>
                      </a:cubicBezTo>
                      <a:cubicBezTo>
                        <a:pt x="1156976" y="142303"/>
                        <a:pt x="1164820" y="135889"/>
                        <a:pt x="1164820" y="123062"/>
                      </a:cubicBezTo>
                      <a:cubicBezTo>
                        <a:pt x="1164820" y="118634"/>
                        <a:pt x="1163096" y="114858"/>
                        <a:pt x="1159644" y="111733"/>
                      </a:cubicBezTo>
                      <a:cubicBezTo>
                        <a:pt x="1156194" y="108607"/>
                        <a:pt x="1150594" y="105384"/>
                        <a:pt x="1142846" y="102063"/>
                      </a:cubicBezTo>
                      <a:cubicBezTo>
                        <a:pt x="1133274" y="97896"/>
                        <a:pt x="1126552" y="93583"/>
                        <a:pt x="1122676" y="89122"/>
                      </a:cubicBezTo>
                      <a:cubicBezTo>
                        <a:pt x="1118804" y="84662"/>
                        <a:pt x="1116866" y="79242"/>
                        <a:pt x="1116866" y="72861"/>
                      </a:cubicBezTo>
                      <a:cubicBezTo>
                        <a:pt x="1116866" y="64721"/>
                        <a:pt x="1119976" y="58145"/>
                        <a:pt x="1126194" y="53132"/>
                      </a:cubicBezTo>
                      <a:cubicBezTo>
                        <a:pt x="1132412" y="48118"/>
                        <a:pt x="1140078" y="45611"/>
                        <a:pt x="1149194" y="45611"/>
                      </a:cubicBezTo>
                      <a:close/>
                      <a:moveTo>
                        <a:pt x="984236" y="45611"/>
                      </a:moveTo>
                      <a:cubicBezTo>
                        <a:pt x="995046" y="45611"/>
                        <a:pt x="1003314" y="49208"/>
                        <a:pt x="1009044" y="56403"/>
                      </a:cubicBezTo>
                      <a:cubicBezTo>
                        <a:pt x="1014774" y="63598"/>
                        <a:pt x="1017640" y="73870"/>
                        <a:pt x="1017640" y="87218"/>
                      </a:cubicBezTo>
                      <a:lnTo>
                        <a:pt x="1017640" y="148065"/>
                      </a:lnTo>
                      <a:lnTo>
                        <a:pt x="1008654" y="148065"/>
                      </a:lnTo>
                      <a:lnTo>
                        <a:pt x="1008654" y="89855"/>
                      </a:lnTo>
                      <a:cubicBezTo>
                        <a:pt x="1008654" y="65828"/>
                        <a:pt x="999994" y="53815"/>
                        <a:pt x="982674" y="53815"/>
                      </a:cubicBezTo>
                      <a:cubicBezTo>
                        <a:pt x="973038" y="53815"/>
                        <a:pt x="965126" y="57348"/>
                        <a:pt x="958940" y="64412"/>
                      </a:cubicBezTo>
                      <a:cubicBezTo>
                        <a:pt x="952756" y="71477"/>
                        <a:pt x="949662" y="80218"/>
                        <a:pt x="949662" y="90636"/>
                      </a:cubicBezTo>
                      <a:lnTo>
                        <a:pt x="949662" y="148065"/>
                      </a:lnTo>
                      <a:lnTo>
                        <a:pt x="940676" y="148065"/>
                      </a:lnTo>
                      <a:lnTo>
                        <a:pt x="940676" y="48053"/>
                      </a:lnTo>
                      <a:lnTo>
                        <a:pt x="949662" y="48053"/>
                      </a:lnTo>
                      <a:lnTo>
                        <a:pt x="949662" y="66219"/>
                      </a:lnTo>
                      <a:lnTo>
                        <a:pt x="950052" y="66219"/>
                      </a:lnTo>
                      <a:cubicBezTo>
                        <a:pt x="957346" y="52480"/>
                        <a:pt x="968740" y="45611"/>
                        <a:pt x="984236" y="45611"/>
                      </a:cubicBezTo>
                      <a:close/>
                      <a:moveTo>
                        <a:pt x="867592" y="45611"/>
                      </a:moveTo>
                      <a:cubicBezTo>
                        <a:pt x="881852" y="45611"/>
                        <a:pt x="893116" y="50267"/>
                        <a:pt x="901386" y="59578"/>
                      </a:cubicBezTo>
                      <a:cubicBezTo>
                        <a:pt x="909656" y="68889"/>
                        <a:pt x="913790" y="81781"/>
                        <a:pt x="913790" y="98254"/>
                      </a:cubicBezTo>
                      <a:cubicBezTo>
                        <a:pt x="913790" y="113816"/>
                        <a:pt x="909574" y="126415"/>
                        <a:pt x="901142" y="136052"/>
                      </a:cubicBezTo>
                      <a:cubicBezTo>
                        <a:pt x="892710" y="145689"/>
                        <a:pt x="881168" y="150507"/>
                        <a:pt x="866518" y="150507"/>
                      </a:cubicBezTo>
                      <a:cubicBezTo>
                        <a:pt x="851934" y="150507"/>
                        <a:pt x="840392" y="145705"/>
                        <a:pt x="831896" y="136101"/>
                      </a:cubicBezTo>
                      <a:cubicBezTo>
                        <a:pt x="823398" y="126497"/>
                        <a:pt x="819150" y="114011"/>
                        <a:pt x="819150" y="98645"/>
                      </a:cubicBezTo>
                      <a:cubicBezTo>
                        <a:pt x="819150" y="82041"/>
                        <a:pt x="823592" y="69051"/>
                        <a:pt x="832480" y="59675"/>
                      </a:cubicBezTo>
                      <a:cubicBezTo>
                        <a:pt x="841368" y="50299"/>
                        <a:pt x="853072" y="45611"/>
                        <a:pt x="867592" y="45611"/>
                      </a:cubicBezTo>
                      <a:close/>
                      <a:moveTo>
                        <a:pt x="563336" y="19045"/>
                      </a:moveTo>
                      <a:lnTo>
                        <a:pt x="563336" y="48053"/>
                      </a:lnTo>
                      <a:lnTo>
                        <a:pt x="589708" y="48053"/>
                      </a:lnTo>
                      <a:lnTo>
                        <a:pt x="589708" y="56257"/>
                      </a:lnTo>
                      <a:lnTo>
                        <a:pt x="563336" y="56257"/>
                      </a:lnTo>
                      <a:lnTo>
                        <a:pt x="563336" y="122281"/>
                      </a:lnTo>
                      <a:cubicBezTo>
                        <a:pt x="563336" y="129183"/>
                        <a:pt x="564428" y="134180"/>
                        <a:pt x="566608" y="137273"/>
                      </a:cubicBezTo>
                      <a:cubicBezTo>
                        <a:pt x="568790" y="140366"/>
                        <a:pt x="572486" y="141912"/>
                        <a:pt x="577694" y="141912"/>
                      </a:cubicBezTo>
                      <a:cubicBezTo>
                        <a:pt x="581406" y="141912"/>
                        <a:pt x="585410" y="140708"/>
                        <a:pt x="589708" y="138298"/>
                      </a:cubicBezTo>
                      <a:lnTo>
                        <a:pt x="589708" y="146698"/>
                      </a:lnTo>
                      <a:cubicBezTo>
                        <a:pt x="585020" y="148912"/>
                        <a:pt x="580624" y="150019"/>
                        <a:pt x="576522" y="150019"/>
                      </a:cubicBezTo>
                      <a:cubicBezTo>
                        <a:pt x="561742" y="150019"/>
                        <a:pt x="554352" y="141163"/>
                        <a:pt x="554352" y="123453"/>
                      </a:cubicBezTo>
                      <a:lnTo>
                        <a:pt x="554352" y="56257"/>
                      </a:lnTo>
                      <a:lnTo>
                        <a:pt x="536380" y="56257"/>
                      </a:lnTo>
                      <a:lnTo>
                        <a:pt x="536380" y="48053"/>
                      </a:lnTo>
                      <a:lnTo>
                        <a:pt x="554352" y="48053"/>
                      </a:lnTo>
                      <a:lnTo>
                        <a:pt x="554352" y="22073"/>
                      </a:lnTo>
                      <a:cubicBezTo>
                        <a:pt x="555784" y="21552"/>
                        <a:pt x="557282" y="21031"/>
                        <a:pt x="558844" y="20510"/>
                      </a:cubicBezTo>
                      <a:cubicBezTo>
                        <a:pt x="560406" y="20054"/>
                        <a:pt x="561904" y="19566"/>
                        <a:pt x="563336" y="19045"/>
                      </a:cubicBezTo>
                      <a:close/>
                      <a:moveTo>
                        <a:pt x="792672" y="8009"/>
                      </a:moveTo>
                      <a:cubicBezTo>
                        <a:pt x="794690" y="8009"/>
                        <a:pt x="796464" y="8660"/>
                        <a:pt x="797994" y="9962"/>
                      </a:cubicBezTo>
                      <a:cubicBezTo>
                        <a:pt x="799524" y="11264"/>
                        <a:pt x="800290" y="13022"/>
                        <a:pt x="800290" y="15236"/>
                      </a:cubicBezTo>
                      <a:cubicBezTo>
                        <a:pt x="800290" y="17320"/>
                        <a:pt x="799540" y="19110"/>
                        <a:pt x="798044" y="20608"/>
                      </a:cubicBezTo>
                      <a:cubicBezTo>
                        <a:pt x="796546" y="22105"/>
                        <a:pt x="794756" y="22854"/>
                        <a:pt x="792672" y="22854"/>
                      </a:cubicBezTo>
                      <a:cubicBezTo>
                        <a:pt x="790718" y="22854"/>
                        <a:pt x="788992" y="22138"/>
                        <a:pt x="787496" y="20706"/>
                      </a:cubicBezTo>
                      <a:cubicBezTo>
                        <a:pt x="785998" y="19273"/>
                        <a:pt x="785248" y="17450"/>
                        <a:pt x="785248" y="15236"/>
                      </a:cubicBezTo>
                      <a:cubicBezTo>
                        <a:pt x="785248" y="13087"/>
                        <a:pt x="786014" y="11346"/>
                        <a:pt x="787544" y="10011"/>
                      </a:cubicBezTo>
                      <a:cubicBezTo>
                        <a:pt x="789074" y="8676"/>
                        <a:pt x="790784" y="8009"/>
                        <a:pt x="792672" y="8009"/>
                      </a:cubicBezTo>
                      <a:close/>
                      <a:moveTo>
                        <a:pt x="678372" y="8009"/>
                      </a:moveTo>
                      <a:cubicBezTo>
                        <a:pt x="680390" y="8009"/>
                        <a:pt x="682164" y="8660"/>
                        <a:pt x="683694" y="9962"/>
                      </a:cubicBezTo>
                      <a:cubicBezTo>
                        <a:pt x="685224" y="11264"/>
                        <a:pt x="685990" y="13022"/>
                        <a:pt x="685990" y="15236"/>
                      </a:cubicBezTo>
                      <a:cubicBezTo>
                        <a:pt x="685990" y="17320"/>
                        <a:pt x="685240" y="19110"/>
                        <a:pt x="683744" y="20608"/>
                      </a:cubicBezTo>
                      <a:cubicBezTo>
                        <a:pt x="682246" y="22105"/>
                        <a:pt x="680456" y="22854"/>
                        <a:pt x="678372" y="22854"/>
                      </a:cubicBezTo>
                      <a:cubicBezTo>
                        <a:pt x="676418" y="22854"/>
                        <a:pt x="674692" y="22138"/>
                        <a:pt x="673196" y="20706"/>
                      </a:cubicBezTo>
                      <a:cubicBezTo>
                        <a:pt x="671698" y="19273"/>
                        <a:pt x="670948" y="17450"/>
                        <a:pt x="670948" y="15236"/>
                      </a:cubicBezTo>
                      <a:cubicBezTo>
                        <a:pt x="670948" y="13087"/>
                        <a:pt x="671714" y="11346"/>
                        <a:pt x="673244" y="10011"/>
                      </a:cubicBezTo>
                      <a:cubicBezTo>
                        <a:pt x="674774" y="8676"/>
                        <a:pt x="676484" y="8009"/>
                        <a:pt x="678372" y="8009"/>
                      </a:cubicBezTo>
                      <a:close/>
                      <a:moveTo>
                        <a:pt x="458558" y="4883"/>
                      </a:moveTo>
                      <a:lnTo>
                        <a:pt x="461682" y="4883"/>
                      </a:lnTo>
                      <a:lnTo>
                        <a:pt x="461682" y="148065"/>
                      </a:lnTo>
                      <a:lnTo>
                        <a:pt x="452698" y="148065"/>
                      </a:lnTo>
                      <a:lnTo>
                        <a:pt x="452698" y="19045"/>
                      </a:lnTo>
                      <a:cubicBezTo>
                        <a:pt x="448204" y="23343"/>
                        <a:pt x="443076" y="27054"/>
                        <a:pt x="437314" y="30179"/>
                      </a:cubicBezTo>
                      <a:cubicBezTo>
                        <a:pt x="431552" y="33305"/>
                        <a:pt x="425252" y="36072"/>
                        <a:pt x="418416" y="38481"/>
                      </a:cubicBezTo>
                      <a:lnTo>
                        <a:pt x="418416" y="30277"/>
                      </a:lnTo>
                      <a:cubicBezTo>
                        <a:pt x="422518" y="28910"/>
                        <a:pt x="426326" y="27363"/>
                        <a:pt x="429842" y="25638"/>
                      </a:cubicBezTo>
                      <a:cubicBezTo>
                        <a:pt x="433358" y="23912"/>
                        <a:pt x="436728" y="22008"/>
                        <a:pt x="439952" y="19924"/>
                      </a:cubicBezTo>
                      <a:cubicBezTo>
                        <a:pt x="443174" y="17841"/>
                        <a:pt x="446300" y="15545"/>
                        <a:pt x="449328" y="13039"/>
                      </a:cubicBezTo>
                      <a:cubicBezTo>
                        <a:pt x="452356" y="10532"/>
                        <a:pt x="455432" y="7813"/>
                        <a:pt x="458558" y="4883"/>
                      </a:cubicBezTo>
                      <a:close/>
                      <a:moveTo>
                        <a:pt x="750176" y="0"/>
                      </a:moveTo>
                      <a:lnTo>
                        <a:pt x="759162" y="0"/>
                      </a:lnTo>
                      <a:lnTo>
                        <a:pt x="759162" y="148065"/>
                      </a:lnTo>
                      <a:lnTo>
                        <a:pt x="750176" y="148065"/>
                      </a:lnTo>
                      <a:close/>
                      <a:moveTo>
                        <a:pt x="712076" y="0"/>
                      </a:moveTo>
                      <a:lnTo>
                        <a:pt x="721062" y="0"/>
                      </a:lnTo>
                      <a:lnTo>
                        <a:pt x="721062" y="148065"/>
                      </a:lnTo>
                      <a:lnTo>
                        <a:pt x="712076" y="148065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Здесь будет текст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429" name="Robiv pharmacist"/>
              <p:cNvGrpSpPr/>
              <p:nvPr/>
            </p:nvGrpSpPr>
            <p:grpSpPr>
              <a:xfrm>
                <a:off x="24222042" y="2288543"/>
                <a:ext cx="2592317" cy="2272204"/>
                <a:chOff x="8910643" y="2107242"/>
                <a:chExt cx="2592317" cy="2272204"/>
              </a:xfrm>
            </p:grpSpPr>
            <p:grpSp>
              <p:nvGrpSpPr>
                <p:cNvPr id="743" name="Group 742"/>
                <p:cNvGrpSpPr/>
                <p:nvPr/>
              </p:nvGrpSpPr>
              <p:grpSpPr>
                <a:xfrm>
                  <a:off x="9872699" y="2107242"/>
                  <a:ext cx="1418225" cy="1584800"/>
                  <a:chOff x="7313112" y="4109820"/>
                  <a:chExt cx="1615647" cy="1805410"/>
                </a:xfrm>
              </p:grpSpPr>
              <p:grpSp>
                <p:nvGrpSpPr>
                  <p:cNvPr id="745" name="Group 744"/>
                  <p:cNvGrpSpPr/>
                  <p:nvPr/>
                </p:nvGrpSpPr>
                <p:grpSpPr>
                  <a:xfrm>
                    <a:off x="7313112" y="5375438"/>
                    <a:ext cx="682266" cy="539792"/>
                    <a:chOff x="6672263" y="2243138"/>
                    <a:chExt cx="3633787" cy="2874962"/>
                  </a:xfrm>
                  <a:solidFill>
                    <a:schemeClr val="bg1"/>
                  </a:solidFill>
                </p:grpSpPr>
                <p:sp>
                  <p:nvSpPr>
                    <p:cNvPr id="756" name="Freeform 1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672263" y="2243138"/>
                      <a:ext cx="3633787" cy="2874962"/>
                    </a:xfrm>
                    <a:custGeom>
                      <a:avLst/>
                      <a:gdLst>
                        <a:gd name="T0" fmla="*/ 1221 w 1221"/>
                        <a:gd name="T1" fmla="*/ 81 h 966"/>
                        <a:gd name="T2" fmla="*/ 1140 w 1221"/>
                        <a:gd name="T3" fmla="*/ 0 h 966"/>
                        <a:gd name="T4" fmla="*/ 81 w 1221"/>
                        <a:gd name="T5" fmla="*/ 0 h 966"/>
                        <a:gd name="T6" fmla="*/ 0 w 1221"/>
                        <a:gd name="T7" fmla="*/ 81 h 966"/>
                        <a:gd name="T8" fmla="*/ 0 w 1221"/>
                        <a:gd name="T9" fmla="*/ 885 h 966"/>
                        <a:gd name="T10" fmla="*/ 81 w 1221"/>
                        <a:gd name="T11" fmla="*/ 966 h 966"/>
                        <a:gd name="T12" fmla="*/ 576 w 1221"/>
                        <a:gd name="T13" fmla="*/ 966 h 966"/>
                        <a:gd name="T14" fmla="*/ 1221 w 1221"/>
                        <a:gd name="T15" fmla="*/ 321 h 966"/>
                        <a:gd name="T16" fmla="*/ 1221 w 1221"/>
                        <a:gd name="T17" fmla="*/ 81 h 966"/>
                        <a:gd name="T18" fmla="*/ 81 w 1221"/>
                        <a:gd name="T19" fmla="*/ 912 h 966"/>
                        <a:gd name="T20" fmla="*/ 54 w 1221"/>
                        <a:gd name="T21" fmla="*/ 885 h 966"/>
                        <a:gd name="T22" fmla="*/ 54 w 1221"/>
                        <a:gd name="T23" fmla="*/ 81 h 966"/>
                        <a:gd name="T24" fmla="*/ 81 w 1221"/>
                        <a:gd name="T25" fmla="*/ 54 h 966"/>
                        <a:gd name="T26" fmla="*/ 1140 w 1221"/>
                        <a:gd name="T27" fmla="*/ 54 h 966"/>
                        <a:gd name="T28" fmla="*/ 1167 w 1221"/>
                        <a:gd name="T29" fmla="*/ 81 h 966"/>
                        <a:gd name="T30" fmla="*/ 1167 w 1221"/>
                        <a:gd name="T31" fmla="*/ 321 h 966"/>
                        <a:gd name="T32" fmla="*/ 850 w 1221"/>
                        <a:gd name="T33" fmla="*/ 581 h 966"/>
                        <a:gd name="T34" fmla="*/ 840 w 1221"/>
                        <a:gd name="T35" fmla="*/ 584 h 966"/>
                        <a:gd name="T36" fmla="*/ 836 w 1221"/>
                        <a:gd name="T37" fmla="*/ 595 h 966"/>
                        <a:gd name="T38" fmla="*/ 576 w 1221"/>
                        <a:gd name="T39" fmla="*/ 912 h 966"/>
                        <a:gd name="T40" fmla="*/ 81 w 1221"/>
                        <a:gd name="T41" fmla="*/ 912 h 96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221" h="966">
                          <a:moveTo>
                            <a:pt x="1221" y="81"/>
                          </a:moveTo>
                          <a:cubicBezTo>
                            <a:pt x="1221" y="36"/>
                            <a:pt x="1185" y="0"/>
                            <a:pt x="1140" y="0"/>
                          </a:cubicBezTo>
                          <a:cubicBezTo>
                            <a:pt x="81" y="0"/>
                            <a:pt x="81" y="0"/>
                            <a:pt x="81" y="0"/>
                          </a:cubicBezTo>
                          <a:cubicBezTo>
                            <a:pt x="36" y="0"/>
                            <a:pt x="0" y="36"/>
                            <a:pt x="0" y="81"/>
                          </a:cubicBezTo>
                          <a:cubicBezTo>
                            <a:pt x="0" y="885"/>
                            <a:pt x="0" y="885"/>
                            <a:pt x="0" y="885"/>
                          </a:cubicBezTo>
                          <a:cubicBezTo>
                            <a:pt x="0" y="930"/>
                            <a:pt x="36" y="966"/>
                            <a:pt x="81" y="966"/>
                          </a:cubicBezTo>
                          <a:cubicBezTo>
                            <a:pt x="576" y="966"/>
                            <a:pt x="576" y="966"/>
                            <a:pt x="576" y="966"/>
                          </a:cubicBezTo>
                          <a:cubicBezTo>
                            <a:pt x="877" y="966"/>
                            <a:pt x="1221" y="674"/>
                            <a:pt x="1221" y="321"/>
                          </a:cubicBezTo>
                          <a:lnTo>
                            <a:pt x="1221" y="81"/>
                          </a:lnTo>
                          <a:close/>
                          <a:moveTo>
                            <a:pt x="81" y="912"/>
                          </a:moveTo>
                          <a:cubicBezTo>
                            <a:pt x="66" y="912"/>
                            <a:pt x="54" y="900"/>
                            <a:pt x="54" y="885"/>
                          </a:cubicBezTo>
                          <a:cubicBezTo>
                            <a:pt x="54" y="81"/>
                            <a:pt x="54" y="81"/>
                            <a:pt x="54" y="81"/>
                          </a:cubicBezTo>
                          <a:cubicBezTo>
                            <a:pt x="54" y="66"/>
                            <a:pt x="66" y="54"/>
                            <a:pt x="81" y="54"/>
                          </a:cubicBezTo>
                          <a:cubicBezTo>
                            <a:pt x="1140" y="54"/>
                            <a:pt x="1140" y="54"/>
                            <a:pt x="1140" y="54"/>
                          </a:cubicBezTo>
                          <a:cubicBezTo>
                            <a:pt x="1155" y="54"/>
                            <a:pt x="1167" y="66"/>
                            <a:pt x="1167" y="81"/>
                          </a:cubicBezTo>
                          <a:cubicBezTo>
                            <a:pt x="1167" y="321"/>
                            <a:pt x="1167" y="321"/>
                            <a:pt x="1167" y="321"/>
                          </a:cubicBezTo>
                          <a:cubicBezTo>
                            <a:pt x="1167" y="422"/>
                            <a:pt x="1100" y="605"/>
                            <a:pt x="850" y="581"/>
                          </a:cubicBezTo>
                          <a:cubicBezTo>
                            <a:pt x="846" y="580"/>
                            <a:pt x="842" y="582"/>
                            <a:pt x="840" y="584"/>
                          </a:cubicBezTo>
                          <a:cubicBezTo>
                            <a:pt x="837" y="587"/>
                            <a:pt x="835" y="591"/>
                            <a:pt x="836" y="595"/>
                          </a:cubicBezTo>
                          <a:cubicBezTo>
                            <a:pt x="855" y="800"/>
                            <a:pt x="721" y="912"/>
                            <a:pt x="576" y="912"/>
                          </a:cubicBezTo>
                          <a:lnTo>
                            <a:pt x="81" y="912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57" name="Freeform 1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172325" y="2671763"/>
                      <a:ext cx="1609725" cy="1976437"/>
                    </a:xfrm>
                    <a:custGeom>
                      <a:avLst/>
                      <a:gdLst>
                        <a:gd name="T0" fmla="*/ 531 w 541"/>
                        <a:gd name="T1" fmla="*/ 664 h 664"/>
                        <a:gd name="T2" fmla="*/ 539 w 541"/>
                        <a:gd name="T3" fmla="*/ 659 h 664"/>
                        <a:gd name="T4" fmla="*/ 539 w 541"/>
                        <a:gd name="T5" fmla="*/ 650 h 664"/>
                        <a:gd name="T6" fmla="*/ 430 w 541"/>
                        <a:gd name="T7" fmla="*/ 488 h 664"/>
                        <a:gd name="T8" fmla="*/ 532 w 541"/>
                        <a:gd name="T9" fmla="*/ 334 h 664"/>
                        <a:gd name="T10" fmla="*/ 532 w 541"/>
                        <a:gd name="T11" fmla="*/ 325 h 664"/>
                        <a:gd name="T12" fmla="*/ 524 w 541"/>
                        <a:gd name="T13" fmla="*/ 320 h 664"/>
                        <a:gd name="T14" fmla="*/ 434 w 541"/>
                        <a:gd name="T15" fmla="*/ 320 h 664"/>
                        <a:gd name="T16" fmla="*/ 420 w 541"/>
                        <a:gd name="T17" fmla="*/ 327 h 664"/>
                        <a:gd name="T18" fmla="*/ 365 w 541"/>
                        <a:gd name="T19" fmla="*/ 410 h 664"/>
                        <a:gd name="T20" fmla="*/ 290 w 541"/>
                        <a:gd name="T21" fmla="*/ 294 h 664"/>
                        <a:gd name="T22" fmla="*/ 363 w 541"/>
                        <a:gd name="T23" fmla="*/ 156 h 664"/>
                        <a:gd name="T24" fmla="*/ 182 w 541"/>
                        <a:gd name="T25" fmla="*/ 0 h 664"/>
                        <a:gd name="T26" fmla="*/ 16 w 541"/>
                        <a:gd name="T27" fmla="*/ 0 h 664"/>
                        <a:gd name="T28" fmla="*/ 0 w 541"/>
                        <a:gd name="T29" fmla="*/ 16 h 664"/>
                        <a:gd name="T30" fmla="*/ 0 w 541"/>
                        <a:gd name="T31" fmla="*/ 425 h 664"/>
                        <a:gd name="T32" fmla="*/ 16 w 541"/>
                        <a:gd name="T33" fmla="*/ 441 h 664"/>
                        <a:gd name="T34" fmla="*/ 88 w 541"/>
                        <a:gd name="T35" fmla="*/ 441 h 664"/>
                        <a:gd name="T36" fmla="*/ 104 w 541"/>
                        <a:gd name="T37" fmla="*/ 425 h 664"/>
                        <a:gd name="T38" fmla="*/ 104 w 541"/>
                        <a:gd name="T39" fmla="*/ 319 h 664"/>
                        <a:gd name="T40" fmla="*/ 182 w 541"/>
                        <a:gd name="T41" fmla="*/ 319 h 664"/>
                        <a:gd name="T42" fmla="*/ 184 w 541"/>
                        <a:gd name="T43" fmla="*/ 319 h 664"/>
                        <a:gd name="T44" fmla="*/ 299 w 541"/>
                        <a:gd name="T45" fmla="*/ 488 h 664"/>
                        <a:gd name="T46" fmla="*/ 188 w 541"/>
                        <a:gd name="T47" fmla="*/ 649 h 664"/>
                        <a:gd name="T48" fmla="*/ 187 w 541"/>
                        <a:gd name="T49" fmla="*/ 659 h 664"/>
                        <a:gd name="T50" fmla="*/ 195 w 541"/>
                        <a:gd name="T51" fmla="*/ 664 h 664"/>
                        <a:gd name="T52" fmla="*/ 287 w 541"/>
                        <a:gd name="T53" fmla="*/ 664 h 664"/>
                        <a:gd name="T54" fmla="*/ 300 w 541"/>
                        <a:gd name="T55" fmla="*/ 657 h 664"/>
                        <a:gd name="T56" fmla="*/ 364 w 541"/>
                        <a:gd name="T57" fmla="*/ 565 h 664"/>
                        <a:gd name="T58" fmla="*/ 424 w 541"/>
                        <a:gd name="T59" fmla="*/ 656 h 664"/>
                        <a:gd name="T60" fmla="*/ 437 w 541"/>
                        <a:gd name="T61" fmla="*/ 664 h 664"/>
                        <a:gd name="T62" fmla="*/ 531 w 541"/>
                        <a:gd name="T63" fmla="*/ 664 h 664"/>
                        <a:gd name="T64" fmla="*/ 182 w 541"/>
                        <a:gd name="T65" fmla="*/ 222 h 664"/>
                        <a:gd name="T66" fmla="*/ 104 w 541"/>
                        <a:gd name="T67" fmla="*/ 222 h 664"/>
                        <a:gd name="T68" fmla="*/ 104 w 541"/>
                        <a:gd name="T69" fmla="*/ 98 h 664"/>
                        <a:gd name="T70" fmla="*/ 182 w 541"/>
                        <a:gd name="T71" fmla="*/ 98 h 664"/>
                        <a:gd name="T72" fmla="*/ 263 w 541"/>
                        <a:gd name="T73" fmla="*/ 158 h 664"/>
                        <a:gd name="T74" fmla="*/ 182 w 541"/>
                        <a:gd name="T75" fmla="*/ 222 h 66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541" h="664">
                          <a:moveTo>
                            <a:pt x="531" y="664"/>
                          </a:moveTo>
                          <a:cubicBezTo>
                            <a:pt x="535" y="664"/>
                            <a:pt x="538" y="662"/>
                            <a:pt x="539" y="659"/>
                          </a:cubicBezTo>
                          <a:cubicBezTo>
                            <a:pt x="541" y="656"/>
                            <a:pt x="541" y="652"/>
                            <a:pt x="539" y="650"/>
                          </a:cubicBezTo>
                          <a:cubicBezTo>
                            <a:pt x="430" y="488"/>
                            <a:pt x="430" y="488"/>
                            <a:pt x="430" y="488"/>
                          </a:cubicBezTo>
                          <a:cubicBezTo>
                            <a:pt x="532" y="334"/>
                            <a:pt x="532" y="334"/>
                            <a:pt x="532" y="334"/>
                          </a:cubicBezTo>
                          <a:cubicBezTo>
                            <a:pt x="534" y="331"/>
                            <a:pt x="534" y="328"/>
                            <a:pt x="532" y="325"/>
                          </a:cubicBezTo>
                          <a:cubicBezTo>
                            <a:pt x="531" y="322"/>
                            <a:pt x="527" y="320"/>
                            <a:pt x="524" y="320"/>
                          </a:cubicBezTo>
                          <a:cubicBezTo>
                            <a:pt x="434" y="320"/>
                            <a:pt x="434" y="320"/>
                            <a:pt x="434" y="320"/>
                          </a:cubicBezTo>
                          <a:cubicBezTo>
                            <a:pt x="428" y="320"/>
                            <a:pt x="423" y="323"/>
                            <a:pt x="420" y="327"/>
                          </a:cubicBezTo>
                          <a:cubicBezTo>
                            <a:pt x="365" y="410"/>
                            <a:pt x="365" y="410"/>
                            <a:pt x="365" y="410"/>
                          </a:cubicBezTo>
                          <a:cubicBezTo>
                            <a:pt x="290" y="294"/>
                            <a:pt x="290" y="294"/>
                            <a:pt x="290" y="294"/>
                          </a:cubicBezTo>
                          <a:cubicBezTo>
                            <a:pt x="337" y="267"/>
                            <a:pt x="363" y="219"/>
                            <a:pt x="363" y="156"/>
                          </a:cubicBezTo>
                          <a:cubicBezTo>
                            <a:pt x="363" y="59"/>
                            <a:pt x="296" y="0"/>
                            <a:pt x="182" y="0"/>
                          </a:cubicBezTo>
                          <a:cubicBezTo>
                            <a:pt x="16" y="0"/>
                            <a:pt x="16" y="0"/>
                            <a:pt x="16" y="0"/>
                          </a:cubicBezTo>
                          <a:cubicBezTo>
                            <a:pt x="7" y="0"/>
                            <a:pt x="0" y="7"/>
                            <a:pt x="0" y="16"/>
                          </a:cubicBezTo>
                          <a:cubicBezTo>
                            <a:pt x="0" y="425"/>
                            <a:pt x="0" y="425"/>
                            <a:pt x="0" y="425"/>
                          </a:cubicBezTo>
                          <a:cubicBezTo>
                            <a:pt x="0" y="434"/>
                            <a:pt x="7" y="441"/>
                            <a:pt x="16" y="441"/>
                          </a:cubicBezTo>
                          <a:cubicBezTo>
                            <a:pt x="88" y="441"/>
                            <a:pt x="88" y="441"/>
                            <a:pt x="88" y="441"/>
                          </a:cubicBezTo>
                          <a:cubicBezTo>
                            <a:pt x="97" y="441"/>
                            <a:pt x="104" y="434"/>
                            <a:pt x="104" y="425"/>
                          </a:cubicBezTo>
                          <a:cubicBezTo>
                            <a:pt x="104" y="319"/>
                            <a:pt x="104" y="319"/>
                            <a:pt x="104" y="319"/>
                          </a:cubicBezTo>
                          <a:cubicBezTo>
                            <a:pt x="182" y="319"/>
                            <a:pt x="182" y="319"/>
                            <a:pt x="182" y="319"/>
                          </a:cubicBezTo>
                          <a:cubicBezTo>
                            <a:pt x="183" y="319"/>
                            <a:pt x="183" y="319"/>
                            <a:pt x="184" y="319"/>
                          </a:cubicBezTo>
                          <a:cubicBezTo>
                            <a:pt x="299" y="488"/>
                            <a:pt x="299" y="488"/>
                            <a:pt x="299" y="488"/>
                          </a:cubicBezTo>
                          <a:cubicBezTo>
                            <a:pt x="188" y="649"/>
                            <a:pt x="188" y="649"/>
                            <a:pt x="188" y="649"/>
                          </a:cubicBezTo>
                          <a:cubicBezTo>
                            <a:pt x="186" y="652"/>
                            <a:pt x="186" y="656"/>
                            <a:pt x="187" y="659"/>
                          </a:cubicBezTo>
                          <a:cubicBezTo>
                            <a:pt x="189" y="662"/>
                            <a:pt x="192" y="664"/>
                            <a:pt x="195" y="664"/>
                          </a:cubicBezTo>
                          <a:cubicBezTo>
                            <a:pt x="287" y="664"/>
                            <a:pt x="287" y="664"/>
                            <a:pt x="287" y="664"/>
                          </a:cubicBezTo>
                          <a:cubicBezTo>
                            <a:pt x="292" y="664"/>
                            <a:pt x="297" y="661"/>
                            <a:pt x="300" y="657"/>
                          </a:cubicBezTo>
                          <a:cubicBezTo>
                            <a:pt x="364" y="565"/>
                            <a:pt x="364" y="565"/>
                            <a:pt x="364" y="565"/>
                          </a:cubicBezTo>
                          <a:cubicBezTo>
                            <a:pt x="424" y="656"/>
                            <a:pt x="424" y="656"/>
                            <a:pt x="424" y="656"/>
                          </a:cubicBezTo>
                          <a:cubicBezTo>
                            <a:pt x="427" y="661"/>
                            <a:pt x="432" y="664"/>
                            <a:pt x="437" y="664"/>
                          </a:cubicBezTo>
                          <a:lnTo>
                            <a:pt x="531" y="664"/>
                          </a:lnTo>
                          <a:close/>
                          <a:moveTo>
                            <a:pt x="182" y="222"/>
                          </a:moveTo>
                          <a:cubicBezTo>
                            <a:pt x="104" y="222"/>
                            <a:pt x="104" y="222"/>
                            <a:pt x="104" y="222"/>
                          </a:cubicBezTo>
                          <a:cubicBezTo>
                            <a:pt x="104" y="98"/>
                            <a:pt x="104" y="98"/>
                            <a:pt x="104" y="98"/>
                          </a:cubicBezTo>
                          <a:cubicBezTo>
                            <a:pt x="182" y="98"/>
                            <a:pt x="182" y="98"/>
                            <a:pt x="182" y="98"/>
                          </a:cubicBezTo>
                          <a:cubicBezTo>
                            <a:pt x="254" y="98"/>
                            <a:pt x="263" y="132"/>
                            <a:pt x="263" y="158"/>
                          </a:cubicBezTo>
                          <a:cubicBezTo>
                            <a:pt x="263" y="185"/>
                            <a:pt x="254" y="222"/>
                            <a:pt x="182" y="22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58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8893175" y="2644775"/>
                      <a:ext cx="1041400" cy="160337"/>
                    </a:xfrm>
                    <a:custGeom>
                      <a:avLst/>
                      <a:gdLst>
                        <a:gd name="T0" fmla="*/ 27 w 350"/>
                        <a:gd name="T1" fmla="*/ 54 h 54"/>
                        <a:gd name="T2" fmla="*/ 323 w 350"/>
                        <a:gd name="T3" fmla="*/ 54 h 54"/>
                        <a:gd name="T4" fmla="*/ 350 w 350"/>
                        <a:gd name="T5" fmla="*/ 27 h 54"/>
                        <a:gd name="T6" fmla="*/ 323 w 350"/>
                        <a:gd name="T7" fmla="*/ 0 h 54"/>
                        <a:gd name="T8" fmla="*/ 27 w 350"/>
                        <a:gd name="T9" fmla="*/ 0 h 54"/>
                        <a:gd name="T10" fmla="*/ 0 w 350"/>
                        <a:gd name="T11" fmla="*/ 27 h 54"/>
                        <a:gd name="T12" fmla="*/ 27 w 350"/>
                        <a:gd name="T13" fmla="*/ 54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0" h="54">
                          <a:moveTo>
                            <a:pt x="27" y="54"/>
                          </a:moveTo>
                          <a:cubicBezTo>
                            <a:pt x="323" y="54"/>
                            <a:pt x="323" y="54"/>
                            <a:pt x="323" y="54"/>
                          </a:cubicBezTo>
                          <a:cubicBezTo>
                            <a:pt x="338" y="54"/>
                            <a:pt x="350" y="42"/>
                            <a:pt x="350" y="27"/>
                          </a:cubicBezTo>
                          <a:cubicBezTo>
                            <a:pt x="350" y="12"/>
                            <a:pt x="338" y="0"/>
                            <a:pt x="323" y="0"/>
                          </a:cubicBezTo>
                          <a:cubicBezTo>
                            <a:pt x="27" y="0"/>
                            <a:pt x="27" y="0"/>
                            <a:pt x="27" y="0"/>
                          </a:cubicBezTo>
                          <a:cubicBezTo>
                            <a:pt x="12" y="0"/>
                            <a:pt x="0" y="12"/>
                            <a:pt x="0" y="27"/>
                          </a:cubicBezTo>
                          <a:cubicBezTo>
                            <a:pt x="0" y="42"/>
                            <a:pt x="12" y="54"/>
                            <a:pt x="27" y="5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59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8893175" y="2971800"/>
                      <a:ext cx="1041400" cy="160337"/>
                    </a:xfrm>
                    <a:custGeom>
                      <a:avLst/>
                      <a:gdLst>
                        <a:gd name="T0" fmla="*/ 0 w 350"/>
                        <a:gd name="T1" fmla="*/ 27 h 54"/>
                        <a:gd name="T2" fmla="*/ 27 w 350"/>
                        <a:gd name="T3" fmla="*/ 54 h 54"/>
                        <a:gd name="T4" fmla="*/ 323 w 350"/>
                        <a:gd name="T5" fmla="*/ 54 h 54"/>
                        <a:gd name="T6" fmla="*/ 350 w 350"/>
                        <a:gd name="T7" fmla="*/ 27 h 54"/>
                        <a:gd name="T8" fmla="*/ 323 w 350"/>
                        <a:gd name="T9" fmla="*/ 0 h 54"/>
                        <a:gd name="T10" fmla="*/ 27 w 350"/>
                        <a:gd name="T11" fmla="*/ 0 h 54"/>
                        <a:gd name="T12" fmla="*/ 0 w 350"/>
                        <a:gd name="T13" fmla="*/ 27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0" h="54">
                          <a:moveTo>
                            <a:pt x="0" y="27"/>
                          </a:moveTo>
                          <a:cubicBezTo>
                            <a:pt x="0" y="42"/>
                            <a:pt x="12" y="54"/>
                            <a:pt x="27" y="54"/>
                          </a:cubicBezTo>
                          <a:cubicBezTo>
                            <a:pt x="323" y="54"/>
                            <a:pt x="323" y="54"/>
                            <a:pt x="323" y="54"/>
                          </a:cubicBezTo>
                          <a:cubicBezTo>
                            <a:pt x="338" y="54"/>
                            <a:pt x="350" y="42"/>
                            <a:pt x="350" y="27"/>
                          </a:cubicBezTo>
                          <a:cubicBezTo>
                            <a:pt x="350" y="12"/>
                            <a:pt x="338" y="0"/>
                            <a:pt x="323" y="0"/>
                          </a:cubicBezTo>
                          <a:cubicBezTo>
                            <a:pt x="27" y="0"/>
                            <a:pt x="27" y="0"/>
                            <a:pt x="27" y="0"/>
                          </a:cubicBezTo>
                          <a:cubicBezTo>
                            <a:pt x="12" y="0"/>
                            <a:pt x="0" y="12"/>
                            <a:pt x="0" y="2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60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8893175" y="3295650"/>
                      <a:ext cx="1041400" cy="161925"/>
                    </a:xfrm>
                    <a:custGeom>
                      <a:avLst/>
                      <a:gdLst>
                        <a:gd name="T0" fmla="*/ 0 w 350"/>
                        <a:gd name="T1" fmla="*/ 27 h 54"/>
                        <a:gd name="T2" fmla="*/ 27 w 350"/>
                        <a:gd name="T3" fmla="*/ 54 h 54"/>
                        <a:gd name="T4" fmla="*/ 323 w 350"/>
                        <a:gd name="T5" fmla="*/ 54 h 54"/>
                        <a:gd name="T6" fmla="*/ 350 w 350"/>
                        <a:gd name="T7" fmla="*/ 27 h 54"/>
                        <a:gd name="T8" fmla="*/ 323 w 350"/>
                        <a:gd name="T9" fmla="*/ 0 h 54"/>
                        <a:gd name="T10" fmla="*/ 27 w 350"/>
                        <a:gd name="T11" fmla="*/ 0 h 54"/>
                        <a:gd name="T12" fmla="*/ 0 w 350"/>
                        <a:gd name="T13" fmla="*/ 27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50" h="54">
                          <a:moveTo>
                            <a:pt x="0" y="27"/>
                          </a:moveTo>
                          <a:cubicBezTo>
                            <a:pt x="0" y="42"/>
                            <a:pt x="12" y="54"/>
                            <a:pt x="27" y="54"/>
                          </a:cubicBezTo>
                          <a:cubicBezTo>
                            <a:pt x="323" y="54"/>
                            <a:pt x="323" y="54"/>
                            <a:pt x="323" y="54"/>
                          </a:cubicBezTo>
                          <a:cubicBezTo>
                            <a:pt x="338" y="54"/>
                            <a:pt x="350" y="42"/>
                            <a:pt x="350" y="27"/>
                          </a:cubicBezTo>
                          <a:cubicBezTo>
                            <a:pt x="350" y="12"/>
                            <a:pt x="338" y="0"/>
                            <a:pt x="323" y="0"/>
                          </a:cubicBezTo>
                          <a:cubicBezTo>
                            <a:pt x="27" y="0"/>
                            <a:pt x="27" y="0"/>
                            <a:pt x="27" y="0"/>
                          </a:cubicBezTo>
                          <a:cubicBezTo>
                            <a:pt x="12" y="0"/>
                            <a:pt x="0" y="12"/>
                            <a:pt x="0" y="2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746" name="Group 745"/>
                  <p:cNvGrpSpPr/>
                  <p:nvPr/>
                </p:nvGrpSpPr>
                <p:grpSpPr>
                  <a:xfrm>
                    <a:off x="7789647" y="4109820"/>
                    <a:ext cx="1139112" cy="1625319"/>
                    <a:chOff x="5613401" y="2778125"/>
                    <a:chExt cx="1822449" cy="2600325"/>
                  </a:xfrm>
                  <a:solidFill>
                    <a:srgbClr val="969696"/>
                  </a:solidFill>
                </p:grpSpPr>
                <p:sp>
                  <p:nvSpPr>
                    <p:cNvPr id="747" name="Freeform 5"/>
                    <p:cNvSpPr>
                      <a:spLocks/>
                    </p:cNvSpPr>
                    <p:nvPr/>
                  </p:nvSpPr>
                  <p:spPr bwMode="auto">
                    <a:xfrm>
                      <a:off x="5662613" y="2906713"/>
                      <a:ext cx="1003300" cy="419100"/>
                    </a:xfrm>
                    <a:custGeom>
                      <a:avLst/>
                      <a:gdLst>
                        <a:gd name="T0" fmla="*/ 1177 w 1177"/>
                        <a:gd name="T1" fmla="*/ 0 h 492"/>
                        <a:gd name="T2" fmla="*/ 1063 w 1177"/>
                        <a:gd name="T3" fmla="*/ 347 h 492"/>
                        <a:gd name="T4" fmla="*/ 907 w 1177"/>
                        <a:gd name="T5" fmla="*/ 174 h 492"/>
                        <a:gd name="T6" fmla="*/ 904 w 1177"/>
                        <a:gd name="T7" fmla="*/ 171 h 492"/>
                        <a:gd name="T8" fmla="*/ 877 w 1177"/>
                        <a:gd name="T9" fmla="*/ 146 h 492"/>
                        <a:gd name="T10" fmla="*/ 631 w 1177"/>
                        <a:gd name="T11" fmla="*/ 53 h 492"/>
                        <a:gd name="T12" fmla="*/ 353 w 1177"/>
                        <a:gd name="T13" fmla="*/ 179 h 492"/>
                        <a:gd name="T14" fmla="*/ 261 w 1177"/>
                        <a:gd name="T15" fmla="*/ 448 h 492"/>
                        <a:gd name="T16" fmla="*/ 266 w 1177"/>
                        <a:gd name="T17" fmla="*/ 492 h 492"/>
                        <a:gd name="T18" fmla="*/ 0 w 1177"/>
                        <a:gd name="T19" fmla="*/ 0 h 492"/>
                        <a:gd name="T20" fmla="*/ 1177 w 1177"/>
                        <a:gd name="T21" fmla="*/ 0 h 4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1177" h="492">
                          <a:moveTo>
                            <a:pt x="1177" y="0"/>
                          </a:moveTo>
                          <a:cubicBezTo>
                            <a:pt x="1177" y="129"/>
                            <a:pt x="1135" y="249"/>
                            <a:pt x="1063" y="347"/>
                          </a:cubicBezTo>
                          <a:cubicBezTo>
                            <a:pt x="998" y="269"/>
                            <a:pt x="948" y="214"/>
                            <a:pt x="907" y="174"/>
                          </a:cubicBezTo>
                          <a:cubicBezTo>
                            <a:pt x="904" y="171"/>
                            <a:pt x="904" y="171"/>
                            <a:pt x="904" y="171"/>
                          </a:cubicBezTo>
                          <a:cubicBezTo>
                            <a:pt x="877" y="146"/>
                            <a:pt x="877" y="146"/>
                            <a:pt x="877" y="146"/>
                          </a:cubicBezTo>
                          <a:cubicBezTo>
                            <a:pt x="809" y="86"/>
                            <a:pt x="722" y="53"/>
                            <a:pt x="631" y="53"/>
                          </a:cubicBezTo>
                          <a:cubicBezTo>
                            <a:pt x="524" y="53"/>
                            <a:pt x="423" y="99"/>
                            <a:pt x="353" y="179"/>
                          </a:cubicBezTo>
                          <a:cubicBezTo>
                            <a:pt x="287" y="253"/>
                            <a:pt x="254" y="349"/>
                            <a:pt x="261" y="448"/>
                          </a:cubicBezTo>
                          <a:cubicBezTo>
                            <a:pt x="261" y="463"/>
                            <a:pt x="263" y="477"/>
                            <a:pt x="266" y="492"/>
                          </a:cubicBezTo>
                          <a:cubicBezTo>
                            <a:pt x="106" y="387"/>
                            <a:pt x="0" y="206"/>
                            <a:pt x="0" y="0"/>
                          </a:cubicBezTo>
                          <a:lnTo>
                            <a:pt x="1177" y="0"/>
                          </a:ln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48" name="Rectangle 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613401" y="2778125"/>
                      <a:ext cx="1100137" cy="74613"/>
                    </a:xfrm>
                    <a:prstGeom prst="rect">
                      <a:avLst/>
                    </a:pr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49" name="Freeform 7"/>
                    <p:cNvSpPr>
                      <a:spLocks/>
                    </p:cNvSpPr>
                    <p:nvPr/>
                  </p:nvSpPr>
                  <p:spPr bwMode="auto">
                    <a:xfrm>
                      <a:off x="6097588" y="3163888"/>
                      <a:ext cx="223837" cy="223838"/>
                    </a:xfrm>
                    <a:custGeom>
                      <a:avLst/>
                      <a:gdLst>
                        <a:gd name="T0" fmla="*/ 209 w 262"/>
                        <a:gd name="T1" fmla="*/ 43 h 263"/>
                        <a:gd name="T2" fmla="*/ 220 w 262"/>
                        <a:gd name="T3" fmla="*/ 209 h 263"/>
                        <a:gd name="T4" fmla="*/ 53 w 262"/>
                        <a:gd name="T5" fmla="*/ 220 h 263"/>
                        <a:gd name="T6" fmla="*/ 43 w 262"/>
                        <a:gd name="T7" fmla="*/ 53 h 263"/>
                        <a:gd name="T8" fmla="*/ 209 w 262"/>
                        <a:gd name="T9" fmla="*/ 43 h 2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62" h="263">
                          <a:moveTo>
                            <a:pt x="209" y="43"/>
                          </a:moveTo>
                          <a:cubicBezTo>
                            <a:pt x="258" y="86"/>
                            <a:pt x="262" y="160"/>
                            <a:pt x="220" y="209"/>
                          </a:cubicBezTo>
                          <a:cubicBezTo>
                            <a:pt x="176" y="258"/>
                            <a:pt x="102" y="263"/>
                            <a:pt x="53" y="220"/>
                          </a:cubicBezTo>
                          <a:cubicBezTo>
                            <a:pt x="4" y="177"/>
                            <a:pt x="0" y="102"/>
                            <a:pt x="43" y="53"/>
                          </a:cubicBezTo>
                          <a:cubicBezTo>
                            <a:pt x="86" y="4"/>
                            <a:pt x="160" y="0"/>
                            <a:pt x="209" y="43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50" name="Freeform 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900738" y="2967038"/>
                      <a:ext cx="1165225" cy="1030288"/>
                    </a:xfrm>
                    <a:custGeom>
                      <a:avLst/>
                      <a:gdLst>
                        <a:gd name="T0" fmla="*/ 1056 w 1367"/>
                        <a:gd name="T1" fmla="*/ 670 h 1209"/>
                        <a:gd name="T2" fmla="*/ 1012 w 1367"/>
                        <a:gd name="T3" fmla="*/ 627 h 1209"/>
                        <a:gd name="T4" fmla="*/ 889 w 1367"/>
                        <a:gd name="T5" fmla="*/ 766 h 1209"/>
                        <a:gd name="T6" fmla="*/ 827 w 1367"/>
                        <a:gd name="T7" fmla="*/ 770 h 1209"/>
                        <a:gd name="T8" fmla="*/ 823 w 1367"/>
                        <a:gd name="T9" fmla="*/ 708 h 1209"/>
                        <a:gd name="T10" fmla="*/ 952 w 1367"/>
                        <a:gd name="T11" fmla="*/ 561 h 1209"/>
                        <a:gd name="T12" fmla="*/ 928 w 1367"/>
                        <a:gd name="T13" fmla="*/ 533 h 1209"/>
                        <a:gd name="T14" fmla="*/ 796 w 1367"/>
                        <a:gd name="T15" fmla="*/ 684 h 1209"/>
                        <a:gd name="T16" fmla="*/ 733 w 1367"/>
                        <a:gd name="T17" fmla="*/ 688 h 1209"/>
                        <a:gd name="T18" fmla="*/ 729 w 1367"/>
                        <a:gd name="T19" fmla="*/ 626 h 1209"/>
                        <a:gd name="T20" fmla="*/ 870 w 1367"/>
                        <a:gd name="T21" fmla="*/ 465 h 1209"/>
                        <a:gd name="T22" fmla="*/ 847 w 1367"/>
                        <a:gd name="T23" fmla="*/ 437 h 1209"/>
                        <a:gd name="T24" fmla="*/ 702 w 1367"/>
                        <a:gd name="T25" fmla="*/ 601 h 1209"/>
                        <a:gd name="T26" fmla="*/ 639 w 1367"/>
                        <a:gd name="T27" fmla="*/ 606 h 1209"/>
                        <a:gd name="T28" fmla="*/ 635 w 1367"/>
                        <a:gd name="T29" fmla="*/ 543 h 1209"/>
                        <a:gd name="T30" fmla="*/ 790 w 1367"/>
                        <a:gd name="T31" fmla="*/ 368 h 1209"/>
                        <a:gd name="T32" fmla="*/ 588 w 1367"/>
                        <a:gd name="T33" fmla="*/ 141 h 1209"/>
                        <a:gd name="T34" fmla="*/ 586 w 1367"/>
                        <a:gd name="T35" fmla="*/ 139 h 1209"/>
                        <a:gd name="T36" fmla="*/ 573 w 1367"/>
                        <a:gd name="T37" fmla="*/ 127 h 1209"/>
                        <a:gd name="T38" fmla="*/ 561 w 1367"/>
                        <a:gd name="T39" fmla="*/ 116 h 1209"/>
                        <a:gd name="T40" fmla="*/ 115 w 1367"/>
                        <a:gd name="T41" fmla="*/ 144 h 1209"/>
                        <a:gd name="T42" fmla="*/ 144 w 1367"/>
                        <a:gd name="T43" fmla="*/ 590 h 1209"/>
                        <a:gd name="T44" fmla="*/ 156 w 1367"/>
                        <a:gd name="T45" fmla="*/ 600 h 1209"/>
                        <a:gd name="T46" fmla="*/ 171 w 1367"/>
                        <a:gd name="T47" fmla="*/ 613 h 1209"/>
                        <a:gd name="T48" fmla="*/ 172 w 1367"/>
                        <a:gd name="T49" fmla="*/ 614 h 1209"/>
                        <a:gd name="T50" fmla="*/ 757 w 1367"/>
                        <a:gd name="T51" fmla="*/ 1010 h 1209"/>
                        <a:gd name="T52" fmla="*/ 940 w 1367"/>
                        <a:gd name="T53" fmla="*/ 1209 h 1209"/>
                        <a:gd name="T54" fmla="*/ 1033 w 1367"/>
                        <a:gd name="T55" fmla="*/ 1038 h 1209"/>
                        <a:gd name="T56" fmla="*/ 1367 w 1367"/>
                        <a:gd name="T57" fmla="*/ 887 h 1209"/>
                        <a:gd name="T58" fmla="*/ 1056 w 1367"/>
                        <a:gd name="T59" fmla="*/ 670 h 1209"/>
                        <a:gd name="T60" fmla="*/ 497 w 1367"/>
                        <a:gd name="T61" fmla="*/ 480 h 1209"/>
                        <a:gd name="T62" fmla="*/ 244 w 1367"/>
                        <a:gd name="T63" fmla="*/ 496 h 1209"/>
                        <a:gd name="T64" fmla="*/ 227 w 1367"/>
                        <a:gd name="T65" fmla="*/ 243 h 1209"/>
                        <a:gd name="T66" fmla="*/ 481 w 1367"/>
                        <a:gd name="T67" fmla="*/ 226 h 1209"/>
                        <a:gd name="T68" fmla="*/ 497 w 1367"/>
                        <a:gd name="T69" fmla="*/ 480 h 12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</a:cxnLst>
                      <a:rect l="0" t="0" r="r" b="b"/>
                      <a:pathLst>
                        <a:path w="1367" h="1209">
                          <a:moveTo>
                            <a:pt x="1056" y="670"/>
                          </a:moveTo>
                          <a:cubicBezTo>
                            <a:pt x="1043" y="659"/>
                            <a:pt x="1028" y="644"/>
                            <a:pt x="1012" y="627"/>
                          </a:cubicBezTo>
                          <a:cubicBezTo>
                            <a:pt x="889" y="766"/>
                            <a:pt x="889" y="766"/>
                            <a:pt x="889" y="766"/>
                          </a:cubicBezTo>
                          <a:cubicBezTo>
                            <a:pt x="873" y="785"/>
                            <a:pt x="845" y="786"/>
                            <a:pt x="827" y="770"/>
                          </a:cubicBezTo>
                          <a:cubicBezTo>
                            <a:pt x="809" y="754"/>
                            <a:pt x="807" y="726"/>
                            <a:pt x="823" y="708"/>
                          </a:cubicBezTo>
                          <a:cubicBezTo>
                            <a:pt x="952" y="561"/>
                            <a:pt x="952" y="561"/>
                            <a:pt x="952" y="561"/>
                          </a:cubicBezTo>
                          <a:cubicBezTo>
                            <a:pt x="944" y="552"/>
                            <a:pt x="936" y="543"/>
                            <a:pt x="928" y="533"/>
                          </a:cubicBezTo>
                          <a:cubicBezTo>
                            <a:pt x="796" y="684"/>
                            <a:pt x="796" y="684"/>
                            <a:pt x="796" y="684"/>
                          </a:cubicBezTo>
                          <a:cubicBezTo>
                            <a:pt x="780" y="702"/>
                            <a:pt x="751" y="704"/>
                            <a:pt x="733" y="688"/>
                          </a:cubicBezTo>
                          <a:cubicBezTo>
                            <a:pt x="715" y="672"/>
                            <a:pt x="713" y="644"/>
                            <a:pt x="729" y="626"/>
                          </a:cubicBezTo>
                          <a:cubicBezTo>
                            <a:pt x="870" y="465"/>
                            <a:pt x="870" y="465"/>
                            <a:pt x="870" y="465"/>
                          </a:cubicBezTo>
                          <a:cubicBezTo>
                            <a:pt x="863" y="456"/>
                            <a:pt x="855" y="446"/>
                            <a:pt x="847" y="437"/>
                          </a:cubicBezTo>
                          <a:cubicBezTo>
                            <a:pt x="702" y="601"/>
                            <a:pt x="702" y="601"/>
                            <a:pt x="702" y="601"/>
                          </a:cubicBezTo>
                          <a:cubicBezTo>
                            <a:pt x="686" y="620"/>
                            <a:pt x="658" y="621"/>
                            <a:pt x="639" y="606"/>
                          </a:cubicBezTo>
                          <a:cubicBezTo>
                            <a:pt x="621" y="589"/>
                            <a:pt x="619" y="561"/>
                            <a:pt x="635" y="543"/>
                          </a:cubicBezTo>
                          <a:cubicBezTo>
                            <a:pt x="790" y="368"/>
                            <a:pt x="790" y="368"/>
                            <a:pt x="790" y="368"/>
                          </a:cubicBezTo>
                          <a:cubicBezTo>
                            <a:pt x="719" y="282"/>
                            <a:pt x="647" y="199"/>
                            <a:pt x="588" y="141"/>
                          </a:cubicBezTo>
                          <a:cubicBezTo>
                            <a:pt x="586" y="139"/>
                            <a:pt x="586" y="139"/>
                            <a:pt x="586" y="139"/>
                          </a:cubicBezTo>
                          <a:cubicBezTo>
                            <a:pt x="573" y="127"/>
                            <a:pt x="573" y="127"/>
                            <a:pt x="573" y="127"/>
                          </a:cubicBezTo>
                          <a:cubicBezTo>
                            <a:pt x="561" y="116"/>
                            <a:pt x="561" y="116"/>
                            <a:pt x="561" y="116"/>
                          </a:cubicBezTo>
                          <a:cubicBezTo>
                            <a:pt x="430" y="0"/>
                            <a:pt x="230" y="13"/>
                            <a:pt x="115" y="144"/>
                          </a:cubicBezTo>
                          <a:cubicBezTo>
                            <a:pt x="0" y="275"/>
                            <a:pt x="13" y="474"/>
                            <a:pt x="144" y="590"/>
                          </a:cubicBezTo>
                          <a:cubicBezTo>
                            <a:pt x="156" y="600"/>
                            <a:pt x="156" y="600"/>
                            <a:pt x="156" y="600"/>
                          </a:cubicBezTo>
                          <a:cubicBezTo>
                            <a:pt x="171" y="613"/>
                            <a:pt x="171" y="613"/>
                            <a:pt x="171" y="613"/>
                          </a:cubicBezTo>
                          <a:cubicBezTo>
                            <a:pt x="172" y="614"/>
                            <a:pt x="172" y="614"/>
                            <a:pt x="172" y="614"/>
                          </a:cubicBezTo>
                          <a:cubicBezTo>
                            <a:pt x="328" y="737"/>
                            <a:pt x="646" y="912"/>
                            <a:pt x="757" y="1010"/>
                          </a:cubicBezTo>
                          <a:cubicBezTo>
                            <a:pt x="818" y="1064"/>
                            <a:pt x="877" y="1134"/>
                            <a:pt x="940" y="1209"/>
                          </a:cubicBezTo>
                          <a:cubicBezTo>
                            <a:pt x="957" y="1148"/>
                            <a:pt x="988" y="1089"/>
                            <a:pt x="1033" y="1038"/>
                          </a:cubicBezTo>
                          <a:cubicBezTo>
                            <a:pt x="1118" y="942"/>
                            <a:pt x="1239" y="887"/>
                            <a:pt x="1367" y="887"/>
                          </a:cubicBezTo>
                          <a:cubicBezTo>
                            <a:pt x="1254" y="809"/>
                            <a:pt x="1139" y="743"/>
                            <a:pt x="1056" y="670"/>
                          </a:cubicBezTo>
                          <a:close/>
                          <a:moveTo>
                            <a:pt x="497" y="480"/>
                          </a:moveTo>
                          <a:cubicBezTo>
                            <a:pt x="432" y="554"/>
                            <a:pt x="318" y="562"/>
                            <a:pt x="244" y="496"/>
                          </a:cubicBezTo>
                          <a:cubicBezTo>
                            <a:pt x="169" y="431"/>
                            <a:pt x="162" y="317"/>
                            <a:pt x="227" y="243"/>
                          </a:cubicBezTo>
                          <a:cubicBezTo>
                            <a:pt x="293" y="168"/>
                            <a:pt x="406" y="161"/>
                            <a:pt x="481" y="226"/>
                          </a:cubicBezTo>
                          <a:cubicBezTo>
                            <a:pt x="555" y="292"/>
                            <a:pt x="563" y="405"/>
                            <a:pt x="497" y="480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51" name="Freeform 9"/>
                    <p:cNvSpPr>
                      <a:spLocks/>
                    </p:cNvSpPr>
                    <p:nvPr/>
                  </p:nvSpPr>
                  <p:spPr bwMode="auto">
                    <a:xfrm>
                      <a:off x="6383338" y="4194175"/>
                      <a:ext cx="584200" cy="517524"/>
                    </a:xfrm>
                    <a:custGeom>
                      <a:avLst/>
                      <a:gdLst>
                        <a:gd name="T0" fmla="*/ 684 w 684"/>
                        <a:gd name="T1" fmla="*/ 319 h 607"/>
                        <a:gd name="T2" fmla="*/ 222 w 684"/>
                        <a:gd name="T3" fmla="*/ 607 h 607"/>
                        <a:gd name="T4" fmla="*/ 0 w 684"/>
                        <a:gd name="T5" fmla="*/ 318 h 607"/>
                        <a:gd name="T6" fmla="*/ 369 w 684"/>
                        <a:gd name="T7" fmla="*/ 0 h 607"/>
                        <a:gd name="T8" fmla="*/ 507 w 684"/>
                        <a:gd name="T9" fmla="*/ 224 h 607"/>
                        <a:gd name="T10" fmla="*/ 684 w 684"/>
                        <a:gd name="T11" fmla="*/ 319 h 6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684" h="607">
                          <a:moveTo>
                            <a:pt x="684" y="319"/>
                          </a:moveTo>
                          <a:cubicBezTo>
                            <a:pt x="222" y="607"/>
                            <a:pt x="222" y="607"/>
                            <a:pt x="222" y="607"/>
                          </a:cubicBezTo>
                          <a:cubicBezTo>
                            <a:pt x="0" y="318"/>
                            <a:pt x="0" y="318"/>
                            <a:pt x="0" y="318"/>
                          </a:cubicBezTo>
                          <a:cubicBezTo>
                            <a:pt x="369" y="0"/>
                            <a:pt x="369" y="0"/>
                            <a:pt x="369" y="0"/>
                          </a:cubicBezTo>
                          <a:cubicBezTo>
                            <a:pt x="391" y="84"/>
                            <a:pt x="436" y="163"/>
                            <a:pt x="507" y="224"/>
                          </a:cubicBezTo>
                          <a:cubicBezTo>
                            <a:pt x="558" y="269"/>
                            <a:pt x="619" y="302"/>
                            <a:pt x="684" y="319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52" name="Freeform 10"/>
                    <p:cNvSpPr>
                      <a:spLocks/>
                    </p:cNvSpPr>
                    <p:nvPr/>
                  </p:nvSpPr>
                  <p:spPr bwMode="auto">
                    <a:xfrm>
                      <a:off x="6208713" y="4443413"/>
                      <a:ext cx="384176" cy="438150"/>
                    </a:xfrm>
                    <a:custGeom>
                      <a:avLst/>
                      <a:gdLst>
                        <a:gd name="T0" fmla="*/ 451 w 451"/>
                        <a:gd name="T1" fmla="*/ 406 h 513"/>
                        <a:gd name="T2" fmla="*/ 311 w 451"/>
                        <a:gd name="T3" fmla="*/ 513 h 513"/>
                        <a:gd name="T4" fmla="*/ 260 w 451"/>
                        <a:gd name="T5" fmla="*/ 434 h 513"/>
                        <a:gd name="T6" fmla="*/ 273 w 451"/>
                        <a:gd name="T7" fmla="*/ 388 h 513"/>
                        <a:gd name="T8" fmla="*/ 111 w 451"/>
                        <a:gd name="T9" fmla="*/ 177 h 513"/>
                        <a:gd name="T10" fmla="*/ 86 w 451"/>
                        <a:gd name="T11" fmla="*/ 176 h 513"/>
                        <a:gd name="T12" fmla="*/ 63 w 451"/>
                        <a:gd name="T13" fmla="*/ 177 h 513"/>
                        <a:gd name="T14" fmla="*/ 0 w 451"/>
                        <a:gd name="T15" fmla="*/ 107 h 513"/>
                        <a:gd name="T16" fmla="*/ 139 w 451"/>
                        <a:gd name="T17" fmla="*/ 0 h 513"/>
                        <a:gd name="T18" fmla="*/ 451 w 451"/>
                        <a:gd name="T19" fmla="*/ 406 h 5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51" h="513">
                          <a:moveTo>
                            <a:pt x="451" y="406"/>
                          </a:moveTo>
                          <a:cubicBezTo>
                            <a:pt x="311" y="513"/>
                            <a:pt x="311" y="513"/>
                            <a:pt x="311" y="513"/>
                          </a:cubicBezTo>
                          <a:cubicBezTo>
                            <a:pt x="297" y="486"/>
                            <a:pt x="280" y="460"/>
                            <a:pt x="260" y="434"/>
                          </a:cubicBezTo>
                          <a:cubicBezTo>
                            <a:pt x="267" y="419"/>
                            <a:pt x="271" y="404"/>
                            <a:pt x="273" y="388"/>
                          </a:cubicBezTo>
                          <a:cubicBezTo>
                            <a:pt x="286" y="286"/>
                            <a:pt x="214" y="191"/>
                            <a:pt x="111" y="177"/>
                          </a:cubicBezTo>
                          <a:cubicBezTo>
                            <a:pt x="102" y="176"/>
                            <a:pt x="95" y="176"/>
                            <a:pt x="86" y="176"/>
                          </a:cubicBezTo>
                          <a:cubicBezTo>
                            <a:pt x="78" y="176"/>
                            <a:pt x="71" y="176"/>
                            <a:pt x="63" y="177"/>
                          </a:cubicBezTo>
                          <a:cubicBezTo>
                            <a:pt x="44" y="151"/>
                            <a:pt x="23" y="128"/>
                            <a:pt x="0" y="107"/>
                          </a:cubicBezTo>
                          <a:cubicBezTo>
                            <a:pt x="139" y="0"/>
                            <a:pt x="139" y="0"/>
                            <a:pt x="139" y="0"/>
                          </a:cubicBezTo>
                          <a:lnTo>
                            <a:pt x="451" y="406"/>
                          </a:ln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53" name="Freeform 11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643563" y="4448175"/>
                      <a:ext cx="869950" cy="930275"/>
                    </a:xfrm>
                    <a:custGeom>
                      <a:avLst/>
                      <a:gdLst>
                        <a:gd name="T0" fmla="*/ 879 w 1019"/>
                        <a:gd name="T1" fmla="*/ 435 h 1092"/>
                        <a:gd name="T2" fmla="*/ 898 w 1019"/>
                        <a:gd name="T3" fmla="*/ 378 h 1092"/>
                        <a:gd name="T4" fmla="*/ 768 w 1019"/>
                        <a:gd name="T5" fmla="*/ 209 h 1092"/>
                        <a:gd name="T6" fmla="*/ 708 w 1019"/>
                        <a:gd name="T7" fmla="*/ 213 h 1092"/>
                        <a:gd name="T8" fmla="*/ 304 w 1019"/>
                        <a:gd name="T9" fmla="*/ 42 h 1092"/>
                        <a:gd name="T10" fmla="*/ 61 w 1019"/>
                        <a:gd name="T11" fmla="*/ 539 h 1092"/>
                        <a:gd name="T12" fmla="*/ 115 w 1019"/>
                        <a:gd name="T13" fmla="*/ 474 h 1092"/>
                        <a:gd name="T14" fmla="*/ 336 w 1019"/>
                        <a:gd name="T15" fmla="*/ 159 h 1092"/>
                        <a:gd name="T16" fmla="*/ 612 w 1019"/>
                        <a:gd name="T17" fmla="*/ 294 h 1092"/>
                        <a:gd name="T18" fmla="*/ 599 w 1019"/>
                        <a:gd name="T19" fmla="*/ 339 h 1092"/>
                        <a:gd name="T20" fmla="*/ 729 w 1019"/>
                        <a:gd name="T21" fmla="*/ 508 h 1092"/>
                        <a:gd name="T22" fmla="*/ 776 w 1019"/>
                        <a:gd name="T23" fmla="*/ 507 h 1092"/>
                        <a:gd name="T24" fmla="*/ 834 w 1019"/>
                        <a:gd name="T25" fmla="*/ 809 h 1092"/>
                        <a:gd name="T26" fmla="*/ 473 w 1019"/>
                        <a:gd name="T27" fmla="*/ 941 h 1092"/>
                        <a:gd name="T28" fmla="*/ 396 w 1019"/>
                        <a:gd name="T29" fmla="*/ 976 h 1092"/>
                        <a:gd name="T30" fmla="*/ 939 w 1019"/>
                        <a:gd name="T31" fmla="*/ 870 h 1092"/>
                        <a:gd name="T32" fmla="*/ 879 w 1019"/>
                        <a:gd name="T33" fmla="*/ 435 h 1092"/>
                        <a:gd name="T34" fmla="*/ 736 w 1019"/>
                        <a:gd name="T35" fmla="*/ 452 h 1092"/>
                        <a:gd name="T36" fmla="*/ 708 w 1019"/>
                        <a:gd name="T37" fmla="*/ 444 h 1092"/>
                        <a:gd name="T38" fmla="*/ 656 w 1019"/>
                        <a:gd name="T39" fmla="*/ 375 h 1092"/>
                        <a:gd name="T40" fmla="*/ 655 w 1019"/>
                        <a:gd name="T41" fmla="*/ 346 h 1092"/>
                        <a:gd name="T42" fmla="*/ 737 w 1019"/>
                        <a:gd name="T43" fmla="*/ 265 h 1092"/>
                        <a:gd name="T44" fmla="*/ 761 w 1019"/>
                        <a:gd name="T45" fmla="*/ 265 h 1092"/>
                        <a:gd name="T46" fmla="*/ 842 w 1019"/>
                        <a:gd name="T47" fmla="*/ 371 h 1092"/>
                        <a:gd name="T48" fmla="*/ 836 w 1019"/>
                        <a:gd name="T49" fmla="*/ 393 h 1092"/>
                        <a:gd name="T50" fmla="*/ 736 w 1019"/>
                        <a:gd name="T51" fmla="*/ 452 h 10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</a:cxnLst>
                      <a:rect l="0" t="0" r="r" b="b"/>
                      <a:pathLst>
                        <a:path w="1019" h="1092">
                          <a:moveTo>
                            <a:pt x="879" y="435"/>
                          </a:moveTo>
                          <a:cubicBezTo>
                            <a:pt x="888" y="418"/>
                            <a:pt x="895" y="399"/>
                            <a:pt x="898" y="378"/>
                          </a:cubicBezTo>
                          <a:cubicBezTo>
                            <a:pt x="909" y="296"/>
                            <a:pt x="851" y="220"/>
                            <a:pt x="768" y="209"/>
                          </a:cubicBezTo>
                          <a:cubicBezTo>
                            <a:pt x="747" y="206"/>
                            <a:pt x="727" y="208"/>
                            <a:pt x="708" y="213"/>
                          </a:cubicBezTo>
                          <a:cubicBezTo>
                            <a:pt x="617" y="73"/>
                            <a:pt x="456" y="0"/>
                            <a:pt x="304" y="42"/>
                          </a:cubicBezTo>
                          <a:cubicBezTo>
                            <a:pt x="109" y="96"/>
                            <a:pt x="0" y="318"/>
                            <a:pt x="61" y="539"/>
                          </a:cubicBezTo>
                          <a:cubicBezTo>
                            <a:pt x="115" y="474"/>
                            <a:pt x="115" y="474"/>
                            <a:pt x="115" y="474"/>
                          </a:cubicBezTo>
                          <a:cubicBezTo>
                            <a:pt x="135" y="303"/>
                            <a:pt x="192" y="199"/>
                            <a:pt x="336" y="159"/>
                          </a:cubicBezTo>
                          <a:cubicBezTo>
                            <a:pt x="451" y="128"/>
                            <a:pt x="555" y="193"/>
                            <a:pt x="612" y="294"/>
                          </a:cubicBezTo>
                          <a:cubicBezTo>
                            <a:pt x="605" y="308"/>
                            <a:pt x="601" y="323"/>
                            <a:pt x="599" y="339"/>
                          </a:cubicBezTo>
                          <a:cubicBezTo>
                            <a:pt x="588" y="422"/>
                            <a:pt x="646" y="497"/>
                            <a:pt x="729" y="508"/>
                          </a:cubicBezTo>
                          <a:cubicBezTo>
                            <a:pt x="745" y="510"/>
                            <a:pt x="760" y="510"/>
                            <a:pt x="776" y="507"/>
                          </a:cubicBezTo>
                          <a:cubicBezTo>
                            <a:pt x="858" y="588"/>
                            <a:pt x="895" y="706"/>
                            <a:pt x="834" y="809"/>
                          </a:cubicBezTo>
                          <a:cubicBezTo>
                            <a:pt x="759" y="937"/>
                            <a:pt x="643" y="965"/>
                            <a:pt x="473" y="941"/>
                          </a:cubicBezTo>
                          <a:cubicBezTo>
                            <a:pt x="396" y="976"/>
                            <a:pt x="396" y="976"/>
                            <a:pt x="396" y="976"/>
                          </a:cubicBezTo>
                          <a:cubicBezTo>
                            <a:pt x="594" y="1092"/>
                            <a:pt x="837" y="1044"/>
                            <a:pt x="939" y="870"/>
                          </a:cubicBezTo>
                          <a:cubicBezTo>
                            <a:pt x="1019" y="733"/>
                            <a:pt x="990" y="560"/>
                            <a:pt x="879" y="435"/>
                          </a:cubicBezTo>
                          <a:close/>
                          <a:moveTo>
                            <a:pt x="736" y="452"/>
                          </a:moveTo>
                          <a:cubicBezTo>
                            <a:pt x="726" y="451"/>
                            <a:pt x="717" y="448"/>
                            <a:pt x="708" y="444"/>
                          </a:cubicBezTo>
                          <a:cubicBezTo>
                            <a:pt x="681" y="431"/>
                            <a:pt x="661" y="405"/>
                            <a:pt x="656" y="375"/>
                          </a:cubicBezTo>
                          <a:cubicBezTo>
                            <a:pt x="654" y="366"/>
                            <a:pt x="654" y="356"/>
                            <a:pt x="655" y="346"/>
                          </a:cubicBezTo>
                          <a:cubicBezTo>
                            <a:pt x="661" y="303"/>
                            <a:pt x="695" y="270"/>
                            <a:pt x="737" y="265"/>
                          </a:cubicBezTo>
                          <a:cubicBezTo>
                            <a:pt x="745" y="264"/>
                            <a:pt x="753" y="264"/>
                            <a:pt x="761" y="265"/>
                          </a:cubicBezTo>
                          <a:cubicBezTo>
                            <a:pt x="812" y="272"/>
                            <a:pt x="849" y="319"/>
                            <a:pt x="842" y="371"/>
                          </a:cubicBezTo>
                          <a:cubicBezTo>
                            <a:pt x="841" y="379"/>
                            <a:pt x="839" y="386"/>
                            <a:pt x="836" y="393"/>
                          </a:cubicBezTo>
                          <a:cubicBezTo>
                            <a:pt x="821" y="432"/>
                            <a:pt x="780" y="458"/>
                            <a:pt x="736" y="452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54" name="Freeform 12"/>
                    <p:cNvSpPr>
                      <a:spLocks/>
                    </p:cNvSpPr>
                    <p:nvPr/>
                  </p:nvSpPr>
                  <p:spPr bwMode="auto">
                    <a:xfrm>
                      <a:off x="6923088" y="3959225"/>
                      <a:ext cx="285750" cy="285750"/>
                    </a:xfrm>
                    <a:custGeom>
                      <a:avLst/>
                      <a:gdLst>
                        <a:gd name="T0" fmla="*/ 275 w 334"/>
                        <a:gd name="T1" fmla="*/ 60 h 335"/>
                        <a:gd name="T2" fmla="*/ 275 w 334"/>
                        <a:gd name="T3" fmla="*/ 275 h 335"/>
                        <a:gd name="T4" fmla="*/ 59 w 334"/>
                        <a:gd name="T5" fmla="*/ 275 h 335"/>
                        <a:gd name="T6" fmla="*/ 59 w 334"/>
                        <a:gd name="T7" fmla="*/ 60 h 335"/>
                        <a:gd name="T8" fmla="*/ 275 w 334"/>
                        <a:gd name="T9" fmla="*/ 60 h 3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4" h="335">
                          <a:moveTo>
                            <a:pt x="275" y="60"/>
                          </a:moveTo>
                          <a:cubicBezTo>
                            <a:pt x="334" y="119"/>
                            <a:pt x="334" y="215"/>
                            <a:pt x="275" y="275"/>
                          </a:cubicBezTo>
                          <a:cubicBezTo>
                            <a:pt x="215" y="335"/>
                            <a:pt x="119" y="335"/>
                            <a:pt x="59" y="275"/>
                          </a:cubicBezTo>
                          <a:cubicBezTo>
                            <a:pt x="0" y="216"/>
                            <a:pt x="0" y="119"/>
                            <a:pt x="59" y="60"/>
                          </a:cubicBezTo>
                          <a:cubicBezTo>
                            <a:pt x="119" y="0"/>
                            <a:pt x="215" y="0"/>
                            <a:pt x="275" y="60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755" name="Freeform 13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696075" y="3732212"/>
                      <a:ext cx="739775" cy="738188"/>
                    </a:xfrm>
                    <a:custGeom>
                      <a:avLst/>
                      <a:gdLst>
                        <a:gd name="T0" fmla="*/ 691 w 868"/>
                        <a:gd name="T1" fmla="*/ 142 h 867"/>
                        <a:gd name="T2" fmla="*/ 142 w 868"/>
                        <a:gd name="T3" fmla="*/ 176 h 867"/>
                        <a:gd name="T4" fmla="*/ 177 w 868"/>
                        <a:gd name="T5" fmla="*/ 725 h 867"/>
                        <a:gd name="T6" fmla="*/ 726 w 868"/>
                        <a:gd name="T7" fmla="*/ 690 h 867"/>
                        <a:gd name="T8" fmla="*/ 691 w 868"/>
                        <a:gd name="T9" fmla="*/ 142 h 867"/>
                        <a:gd name="T10" fmla="*/ 606 w 868"/>
                        <a:gd name="T11" fmla="*/ 606 h 867"/>
                        <a:gd name="T12" fmla="*/ 261 w 868"/>
                        <a:gd name="T13" fmla="*/ 606 h 867"/>
                        <a:gd name="T14" fmla="*/ 261 w 868"/>
                        <a:gd name="T15" fmla="*/ 261 h 867"/>
                        <a:gd name="T16" fmla="*/ 606 w 868"/>
                        <a:gd name="T17" fmla="*/ 261 h 867"/>
                        <a:gd name="T18" fmla="*/ 606 w 868"/>
                        <a:gd name="T19" fmla="*/ 606 h 8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68" h="867">
                          <a:moveTo>
                            <a:pt x="691" y="142"/>
                          </a:moveTo>
                          <a:cubicBezTo>
                            <a:pt x="530" y="0"/>
                            <a:pt x="284" y="15"/>
                            <a:pt x="142" y="176"/>
                          </a:cubicBezTo>
                          <a:cubicBezTo>
                            <a:pt x="0" y="338"/>
                            <a:pt x="16" y="583"/>
                            <a:pt x="177" y="725"/>
                          </a:cubicBezTo>
                          <a:cubicBezTo>
                            <a:pt x="338" y="867"/>
                            <a:pt x="584" y="851"/>
                            <a:pt x="726" y="690"/>
                          </a:cubicBezTo>
                          <a:cubicBezTo>
                            <a:pt x="868" y="529"/>
                            <a:pt x="852" y="284"/>
                            <a:pt x="691" y="142"/>
                          </a:cubicBezTo>
                          <a:close/>
                          <a:moveTo>
                            <a:pt x="606" y="606"/>
                          </a:moveTo>
                          <a:cubicBezTo>
                            <a:pt x="511" y="701"/>
                            <a:pt x="357" y="701"/>
                            <a:pt x="261" y="606"/>
                          </a:cubicBezTo>
                          <a:cubicBezTo>
                            <a:pt x="166" y="511"/>
                            <a:pt x="166" y="356"/>
                            <a:pt x="261" y="261"/>
                          </a:cubicBezTo>
                          <a:cubicBezTo>
                            <a:pt x="357" y="166"/>
                            <a:pt x="511" y="166"/>
                            <a:pt x="606" y="261"/>
                          </a:cubicBezTo>
                          <a:cubicBezTo>
                            <a:pt x="702" y="356"/>
                            <a:pt x="702" y="511"/>
                            <a:pt x="606" y="606"/>
                          </a:cubicBez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744" name="Freeform: Shape 743"/>
                <p:cNvSpPr>
                  <a:spLocks noChangeAspect="1"/>
                </p:cNvSpPr>
                <p:nvPr/>
              </p:nvSpPr>
              <p:spPr>
                <a:xfrm>
                  <a:off x="8910643" y="3876526"/>
                  <a:ext cx="2592317" cy="502920"/>
                </a:xfrm>
                <a:custGeom>
                  <a:avLst/>
                  <a:gdLst>
                    <a:gd name="connsiteX0" fmla="*/ 105444 w 2003216"/>
                    <a:gd name="connsiteY0" fmla="*/ 332375 h 388632"/>
                    <a:gd name="connsiteX1" fmla="*/ 77902 w 2003216"/>
                    <a:gd name="connsiteY1" fmla="*/ 336379 h 388632"/>
                    <a:gd name="connsiteX2" fmla="*/ 55828 w 2003216"/>
                    <a:gd name="connsiteY2" fmla="*/ 343656 h 388632"/>
                    <a:gd name="connsiteX3" fmla="*/ 49480 w 2003216"/>
                    <a:gd name="connsiteY3" fmla="*/ 360015 h 388632"/>
                    <a:gd name="connsiteX4" fmla="*/ 55390 w 2003216"/>
                    <a:gd name="connsiteY4" fmla="*/ 374665 h 388632"/>
                    <a:gd name="connsiteX5" fmla="*/ 71846 w 2003216"/>
                    <a:gd name="connsiteY5" fmla="*/ 380428 h 388632"/>
                    <a:gd name="connsiteX6" fmla="*/ 95872 w 2003216"/>
                    <a:gd name="connsiteY6" fmla="*/ 369733 h 388632"/>
                    <a:gd name="connsiteX7" fmla="*/ 105444 w 2003216"/>
                    <a:gd name="connsiteY7" fmla="*/ 342142 h 388632"/>
                    <a:gd name="connsiteX8" fmla="*/ 1835482 w 2003216"/>
                    <a:gd name="connsiteY8" fmla="*/ 291940 h 388632"/>
                    <a:gd name="connsiteX9" fmla="*/ 1812188 w 2003216"/>
                    <a:gd name="connsiteY9" fmla="*/ 301365 h 388632"/>
                    <a:gd name="connsiteX10" fmla="*/ 1800810 w 2003216"/>
                    <a:gd name="connsiteY10" fmla="*/ 328371 h 388632"/>
                    <a:gd name="connsiteX11" fmla="*/ 1865076 w 2003216"/>
                    <a:gd name="connsiteY11" fmla="*/ 328371 h 388632"/>
                    <a:gd name="connsiteX12" fmla="*/ 1856774 w 2003216"/>
                    <a:gd name="connsiteY12" fmla="*/ 301512 h 388632"/>
                    <a:gd name="connsiteX13" fmla="*/ 1835482 w 2003216"/>
                    <a:gd name="connsiteY13" fmla="*/ 291940 h 388632"/>
                    <a:gd name="connsiteX14" fmla="*/ 1686696 w 2003216"/>
                    <a:gd name="connsiteY14" fmla="*/ 291940 h 388632"/>
                    <a:gd name="connsiteX15" fmla="*/ 1658520 w 2003216"/>
                    <a:gd name="connsiteY15" fmla="*/ 303856 h 388632"/>
                    <a:gd name="connsiteX16" fmla="*/ 1648020 w 2003216"/>
                    <a:gd name="connsiteY16" fmla="*/ 336965 h 388632"/>
                    <a:gd name="connsiteX17" fmla="*/ 1658276 w 2003216"/>
                    <a:gd name="connsiteY17" fmla="*/ 368512 h 388632"/>
                    <a:gd name="connsiteX18" fmla="*/ 1686306 w 2003216"/>
                    <a:gd name="connsiteY18" fmla="*/ 380428 h 388632"/>
                    <a:gd name="connsiteX19" fmla="*/ 1714142 w 2003216"/>
                    <a:gd name="connsiteY19" fmla="*/ 368708 h 388632"/>
                    <a:gd name="connsiteX20" fmla="*/ 1723908 w 2003216"/>
                    <a:gd name="connsiteY20" fmla="*/ 336184 h 388632"/>
                    <a:gd name="connsiteX21" fmla="*/ 1714190 w 2003216"/>
                    <a:gd name="connsiteY21" fmla="*/ 303367 h 388632"/>
                    <a:gd name="connsiteX22" fmla="*/ 1686696 w 2003216"/>
                    <a:gd name="connsiteY22" fmla="*/ 291940 h 388632"/>
                    <a:gd name="connsiteX23" fmla="*/ 1444958 w 2003216"/>
                    <a:gd name="connsiteY23" fmla="*/ 291940 h 388632"/>
                    <a:gd name="connsiteX24" fmla="*/ 1421664 w 2003216"/>
                    <a:gd name="connsiteY24" fmla="*/ 301365 h 388632"/>
                    <a:gd name="connsiteX25" fmla="*/ 1410286 w 2003216"/>
                    <a:gd name="connsiteY25" fmla="*/ 328371 h 388632"/>
                    <a:gd name="connsiteX26" fmla="*/ 1474552 w 2003216"/>
                    <a:gd name="connsiteY26" fmla="*/ 328371 h 388632"/>
                    <a:gd name="connsiteX27" fmla="*/ 1466250 w 2003216"/>
                    <a:gd name="connsiteY27" fmla="*/ 301512 h 388632"/>
                    <a:gd name="connsiteX28" fmla="*/ 1444958 w 2003216"/>
                    <a:gd name="connsiteY28" fmla="*/ 291940 h 388632"/>
                    <a:gd name="connsiteX29" fmla="*/ 1044908 w 2003216"/>
                    <a:gd name="connsiteY29" fmla="*/ 291940 h 388632"/>
                    <a:gd name="connsiteX30" fmla="*/ 1021614 w 2003216"/>
                    <a:gd name="connsiteY30" fmla="*/ 301365 h 388632"/>
                    <a:gd name="connsiteX31" fmla="*/ 1010236 w 2003216"/>
                    <a:gd name="connsiteY31" fmla="*/ 328371 h 388632"/>
                    <a:gd name="connsiteX32" fmla="*/ 1074502 w 2003216"/>
                    <a:gd name="connsiteY32" fmla="*/ 328371 h 388632"/>
                    <a:gd name="connsiteX33" fmla="*/ 1066200 w 2003216"/>
                    <a:gd name="connsiteY33" fmla="*/ 301512 h 388632"/>
                    <a:gd name="connsiteX34" fmla="*/ 1044908 w 2003216"/>
                    <a:gd name="connsiteY34" fmla="*/ 291940 h 388632"/>
                    <a:gd name="connsiteX35" fmla="*/ 740108 w 2003216"/>
                    <a:gd name="connsiteY35" fmla="*/ 291940 h 388632"/>
                    <a:gd name="connsiteX36" fmla="*/ 716814 w 2003216"/>
                    <a:gd name="connsiteY36" fmla="*/ 301365 h 388632"/>
                    <a:gd name="connsiteX37" fmla="*/ 705436 w 2003216"/>
                    <a:gd name="connsiteY37" fmla="*/ 328371 h 388632"/>
                    <a:gd name="connsiteX38" fmla="*/ 769702 w 2003216"/>
                    <a:gd name="connsiteY38" fmla="*/ 328371 h 388632"/>
                    <a:gd name="connsiteX39" fmla="*/ 761400 w 2003216"/>
                    <a:gd name="connsiteY39" fmla="*/ 301512 h 388632"/>
                    <a:gd name="connsiteX40" fmla="*/ 740108 w 2003216"/>
                    <a:gd name="connsiteY40" fmla="*/ 291940 h 388632"/>
                    <a:gd name="connsiteX41" fmla="*/ 467496 w 2003216"/>
                    <a:gd name="connsiteY41" fmla="*/ 291940 h 388632"/>
                    <a:gd name="connsiteX42" fmla="*/ 439320 w 2003216"/>
                    <a:gd name="connsiteY42" fmla="*/ 303856 h 388632"/>
                    <a:gd name="connsiteX43" fmla="*/ 428820 w 2003216"/>
                    <a:gd name="connsiteY43" fmla="*/ 336965 h 388632"/>
                    <a:gd name="connsiteX44" fmla="*/ 439076 w 2003216"/>
                    <a:gd name="connsiteY44" fmla="*/ 368512 h 388632"/>
                    <a:gd name="connsiteX45" fmla="*/ 467106 w 2003216"/>
                    <a:gd name="connsiteY45" fmla="*/ 380428 h 388632"/>
                    <a:gd name="connsiteX46" fmla="*/ 494942 w 2003216"/>
                    <a:gd name="connsiteY46" fmla="*/ 368708 h 388632"/>
                    <a:gd name="connsiteX47" fmla="*/ 504708 w 2003216"/>
                    <a:gd name="connsiteY47" fmla="*/ 336184 h 388632"/>
                    <a:gd name="connsiteX48" fmla="*/ 494990 w 2003216"/>
                    <a:gd name="connsiteY48" fmla="*/ 303367 h 388632"/>
                    <a:gd name="connsiteX49" fmla="*/ 467496 w 2003216"/>
                    <a:gd name="connsiteY49" fmla="*/ 291940 h 388632"/>
                    <a:gd name="connsiteX50" fmla="*/ 284080 w 2003216"/>
                    <a:gd name="connsiteY50" fmla="*/ 291940 h 388632"/>
                    <a:gd name="connsiteX51" fmla="*/ 258100 w 2003216"/>
                    <a:gd name="connsiteY51" fmla="*/ 304002 h 388632"/>
                    <a:gd name="connsiteX52" fmla="*/ 247844 w 2003216"/>
                    <a:gd name="connsiteY52" fmla="*/ 337161 h 388632"/>
                    <a:gd name="connsiteX53" fmla="*/ 257074 w 2003216"/>
                    <a:gd name="connsiteY53" fmla="*/ 369147 h 388632"/>
                    <a:gd name="connsiteX54" fmla="*/ 280856 w 2003216"/>
                    <a:gd name="connsiteY54" fmla="*/ 380428 h 388632"/>
                    <a:gd name="connsiteX55" fmla="*/ 307324 w 2003216"/>
                    <a:gd name="connsiteY55" fmla="*/ 369831 h 388632"/>
                    <a:gd name="connsiteX56" fmla="*/ 316702 w 2003216"/>
                    <a:gd name="connsiteY56" fmla="*/ 343997 h 388632"/>
                    <a:gd name="connsiteX57" fmla="*/ 316702 w 2003216"/>
                    <a:gd name="connsiteY57" fmla="*/ 325343 h 388632"/>
                    <a:gd name="connsiteX58" fmla="*/ 307862 w 2003216"/>
                    <a:gd name="connsiteY58" fmla="*/ 301658 h 388632"/>
                    <a:gd name="connsiteX59" fmla="*/ 284080 w 2003216"/>
                    <a:gd name="connsiteY59" fmla="*/ 291940 h 388632"/>
                    <a:gd name="connsiteX60" fmla="*/ 1283922 w 2003216"/>
                    <a:gd name="connsiteY60" fmla="*/ 286178 h 388632"/>
                    <a:gd name="connsiteX61" fmla="*/ 1292906 w 2003216"/>
                    <a:gd name="connsiteY61" fmla="*/ 286178 h 388632"/>
                    <a:gd name="connsiteX62" fmla="*/ 1292906 w 2003216"/>
                    <a:gd name="connsiteY62" fmla="*/ 386190 h 388632"/>
                    <a:gd name="connsiteX63" fmla="*/ 1283922 w 2003216"/>
                    <a:gd name="connsiteY63" fmla="*/ 386190 h 388632"/>
                    <a:gd name="connsiteX64" fmla="*/ 1174608 w 2003216"/>
                    <a:gd name="connsiteY64" fmla="*/ 286178 h 388632"/>
                    <a:gd name="connsiteX65" fmla="*/ 1184666 w 2003216"/>
                    <a:gd name="connsiteY65" fmla="*/ 286178 h 388632"/>
                    <a:gd name="connsiteX66" fmla="*/ 1214456 w 2003216"/>
                    <a:gd name="connsiteY66" fmla="*/ 365778 h 388632"/>
                    <a:gd name="connsiteX67" fmla="*/ 1217484 w 2003216"/>
                    <a:gd name="connsiteY67" fmla="*/ 376228 h 388632"/>
                    <a:gd name="connsiteX68" fmla="*/ 1217874 w 2003216"/>
                    <a:gd name="connsiteY68" fmla="*/ 376228 h 388632"/>
                    <a:gd name="connsiteX69" fmla="*/ 1220706 w 2003216"/>
                    <a:gd name="connsiteY69" fmla="*/ 366168 h 388632"/>
                    <a:gd name="connsiteX70" fmla="*/ 1251472 w 2003216"/>
                    <a:gd name="connsiteY70" fmla="*/ 286178 h 388632"/>
                    <a:gd name="connsiteX71" fmla="*/ 1261238 w 2003216"/>
                    <a:gd name="connsiteY71" fmla="*/ 286178 h 388632"/>
                    <a:gd name="connsiteX72" fmla="*/ 1221488 w 2003216"/>
                    <a:gd name="connsiteY72" fmla="*/ 386190 h 388632"/>
                    <a:gd name="connsiteX73" fmla="*/ 1213284 w 2003216"/>
                    <a:gd name="connsiteY73" fmla="*/ 386190 h 388632"/>
                    <a:gd name="connsiteX74" fmla="*/ 1616408 w 2003216"/>
                    <a:gd name="connsiteY74" fmla="*/ 284224 h 388632"/>
                    <a:gd name="connsiteX75" fmla="*/ 1626370 w 2003216"/>
                    <a:gd name="connsiteY75" fmla="*/ 285982 h 388632"/>
                    <a:gd name="connsiteX76" fmla="*/ 1626370 w 2003216"/>
                    <a:gd name="connsiteY76" fmla="*/ 295554 h 388632"/>
                    <a:gd name="connsiteX77" fmla="*/ 1615822 w 2003216"/>
                    <a:gd name="connsiteY77" fmla="*/ 292331 h 388632"/>
                    <a:gd name="connsiteX78" fmla="*/ 1595996 w 2003216"/>
                    <a:gd name="connsiteY78" fmla="*/ 304539 h 388632"/>
                    <a:gd name="connsiteX79" fmla="*/ 1587986 w 2003216"/>
                    <a:gd name="connsiteY79" fmla="*/ 339212 h 388632"/>
                    <a:gd name="connsiteX80" fmla="*/ 1587986 w 2003216"/>
                    <a:gd name="connsiteY80" fmla="*/ 386190 h 388632"/>
                    <a:gd name="connsiteX81" fmla="*/ 1579196 w 2003216"/>
                    <a:gd name="connsiteY81" fmla="*/ 386190 h 388632"/>
                    <a:gd name="connsiteX82" fmla="*/ 1579196 w 2003216"/>
                    <a:gd name="connsiteY82" fmla="*/ 286178 h 388632"/>
                    <a:gd name="connsiteX83" fmla="*/ 1587986 w 2003216"/>
                    <a:gd name="connsiteY83" fmla="*/ 286178 h 388632"/>
                    <a:gd name="connsiteX84" fmla="*/ 1587986 w 2003216"/>
                    <a:gd name="connsiteY84" fmla="*/ 308348 h 388632"/>
                    <a:gd name="connsiteX85" fmla="*/ 1588376 w 2003216"/>
                    <a:gd name="connsiteY85" fmla="*/ 308348 h 388632"/>
                    <a:gd name="connsiteX86" fmla="*/ 1599218 w 2003216"/>
                    <a:gd name="connsiteY86" fmla="*/ 290573 h 388632"/>
                    <a:gd name="connsiteX87" fmla="*/ 1616408 w 2003216"/>
                    <a:gd name="connsiteY87" fmla="*/ 284224 h 388632"/>
                    <a:gd name="connsiteX88" fmla="*/ 1149682 w 2003216"/>
                    <a:gd name="connsiteY88" fmla="*/ 284224 h 388632"/>
                    <a:gd name="connsiteX89" fmla="*/ 1159644 w 2003216"/>
                    <a:gd name="connsiteY89" fmla="*/ 285982 h 388632"/>
                    <a:gd name="connsiteX90" fmla="*/ 1159644 w 2003216"/>
                    <a:gd name="connsiteY90" fmla="*/ 295554 h 388632"/>
                    <a:gd name="connsiteX91" fmla="*/ 1149096 w 2003216"/>
                    <a:gd name="connsiteY91" fmla="*/ 292331 h 388632"/>
                    <a:gd name="connsiteX92" fmla="*/ 1129270 w 2003216"/>
                    <a:gd name="connsiteY92" fmla="*/ 304539 h 388632"/>
                    <a:gd name="connsiteX93" fmla="*/ 1121262 w 2003216"/>
                    <a:gd name="connsiteY93" fmla="*/ 339212 h 388632"/>
                    <a:gd name="connsiteX94" fmla="*/ 1121262 w 2003216"/>
                    <a:gd name="connsiteY94" fmla="*/ 386190 h 388632"/>
                    <a:gd name="connsiteX95" fmla="*/ 1112472 w 2003216"/>
                    <a:gd name="connsiteY95" fmla="*/ 386190 h 388632"/>
                    <a:gd name="connsiteX96" fmla="*/ 1112472 w 2003216"/>
                    <a:gd name="connsiteY96" fmla="*/ 286178 h 388632"/>
                    <a:gd name="connsiteX97" fmla="*/ 1121262 w 2003216"/>
                    <a:gd name="connsiteY97" fmla="*/ 286178 h 388632"/>
                    <a:gd name="connsiteX98" fmla="*/ 1121262 w 2003216"/>
                    <a:gd name="connsiteY98" fmla="*/ 308348 h 388632"/>
                    <a:gd name="connsiteX99" fmla="*/ 1121652 w 2003216"/>
                    <a:gd name="connsiteY99" fmla="*/ 308348 h 388632"/>
                    <a:gd name="connsiteX100" fmla="*/ 1132494 w 2003216"/>
                    <a:gd name="connsiteY100" fmla="*/ 290573 h 388632"/>
                    <a:gd name="connsiteX101" fmla="*/ 1149682 w 2003216"/>
                    <a:gd name="connsiteY101" fmla="*/ 284224 h 388632"/>
                    <a:gd name="connsiteX102" fmla="*/ 844882 w 2003216"/>
                    <a:gd name="connsiteY102" fmla="*/ 284224 h 388632"/>
                    <a:gd name="connsiteX103" fmla="*/ 854844 w 2003216"/>
                    <a:gd name="connsiteY103" fmla="*/ 285982 h 388632"/>
                    <a:gd name="connsiteX104" fmla="*/ 854844 w 2003216"/>
                    <a:gd name="connsiteY104" fmla="*/ 295554 h 388632"/>
                    <a:gd name="connsiteX105" fmla="*/ 844296 w 2003216"/>
                    <a:gd name="connsiteY105" fmla="*/ 292331 h 388632"/>
                    <a:gd name="connsiteX106" fmla="*/ 824470 w 2003216"/>
                    <a:gd name="connsiteY106" fmla="*/ 304539 h 388632"/>
                    <a:gd name="connsiteX107" fmla="*/ 816462 w 2003216"/>
                    <a:gd name="connsiteY107" fmla="*/ 339212 h 388632"/>
                    <a:gd name="connsiteX108" fmla="*/ 816462 w 2003216"/>
                    <a:gd name="connsiteY108" fmla="*/ 386190 h 388632"/>
                    <a:gd name="connsiteX109" fmla="*/ 807672 w 2003216"/>
                    <a:gd name="connsiteY109" fmla="*/ 386190 h 388632"/>
                    <a:gd name="connsiteX110" fmla="*/ 807672 w 2003216"/>
                    <a:gd name="connsiteY110" fmla="*/ 286178 h 388632"/>
                    <a:gd name="connsiteX111" fmla="*/ 816462 w 2003216"/>
                    <a:gd name="connsiteY111" fmla="*/ 286178 h 388632"/>
                    <a:gd name="connsiteX112" fmla="*/ 816462 w 2003216"/>
                    <a:gd name="connsiteY112" fmla="*/ 308348 h 388632"/>
                    <a:gd name="connsiteX113" fmla="*/ 816852 w 2003216"/>
                    <a:gd name="connsiteY113" fmla="*/ 308348 h 388632"/>
                    <a:gd name="connsiteX114" fmla="*/ 827694 w 2003216"/>
                    <a:gd name="connsiteY114" fmla="*/ 290573 h 388632"/>
                    <a:gd name="connsiteX115" fmla="*/ 844882 w 2003216"/>
                    <a:gd name="connsiteY115" fmla="*/ 284224 h 388632"/>
                    <a:gd name="connsiteX116" fmla="*/ 1930588 w 2003216"/>
                    <a:gd name="connsiteY116" fmla="*/ 283736 h 388632"/>
                    <a:gd name="connsiteX117" fmla="*/ 1952662 w 2003216"/>
                    <a:gd name="connsiteY117" fmla="*/ 289010 h 388632"/>
                    <a:gd name="connsiteX118" fmla="*/ 1952662 w 2003216"/>
                    <a:gd name="connsiteY118" fmla="*/ 299168 h 388632"/>
                    <a:gd name="connsiteX119" fmla="*/ 1929612 w 2003216"/>
                    <a:gd name="connsiteY119" fmla="*/ 291940 h 388632"/>
                    <a:gd name="connsiteX120" fmla="*/ 1913692 w 2003216"/>
                    <a:gd name="connsiteY120" fmla="*/ 297068 h 388632"/>
                    <a:gd name="connsiteX121" fmla="*/ 1907636 w 2003216"/>
                    <a:gd name="connsiteY121" fmla="*/ 310400 h 388632"/>
                    <a:gd name="connsiteX122" fmla="*/ 1911446 w 2003216"/>
                    <a:gd name="connsiteY122" fmla="*/ 321973 h 388632"/>
                    <a:gd name="connsiteX123" fmla="*/ 1928244 w 2003216"/>
                    <a:gd name="connsiteY123" fmla="*/ 332180 h 388632"/>
                    <a:gd name="connsiteX124" fmla="*/ 1949732 w 2003216"/>
                    <a:gd name="connsiteY124" fmla="*/ 345218 h 388632"/>
                    <a:gd name="connsiteX125" fmla="*/ 1955592 w 2003216"/>
                    <a:gd name="connsiteY125" fmla="*/ 361187 h 388632"/>
                    <a:gd name="connsiteX126" fmla="*/ 1946656 w 2003216"/>
                    <a:gd name="connsiteY126" fmla="*/ 380867 h 388632"/>
                    <a:gd name="connsiteX127" fmla="*/ 1921994 w 2003216"/>
                    <a:gd name="connsiteY127" fmla="*/ 388632 h 388632"/>
                    <a:gd name="connsiteX128" fmla="*/ 1897870 w 2003216"/>
                    <a:gd name="connsiteY128" fmla="*/ 381795 h 388632"/>
                    <a:gd name="connsiteX129" fmla="*/ 1897870 w 2003216"/>
                    <a:gd name="connsiteY129" fmla="*/ 370954 h 388632"/>
                    <a:gd name="connsiteX130" fmla="*/ 1910176 w 2003216"/>
                    <a:gd name="connsiteY130" fmla="*/ 377888 h 388632"/>
                    <a:gd name="connsiteX131" fmla="*/ 1922678 w 2003216"/>
                    <a:gd name="connsiteY131" fmla="*/ 380428 h 388632"/>
                    <a:gd name="connsiteX132" fmla="*/ 1946216 w 2003216"/>
                    <a:gd name="connsiteY132" fmla="*/ 361187 h 388632"/>
                    <a:gd name="connsiteX133" fmla="*/ 1941040 w 2003216"/>
                    <a:gd name="connsiteY133" fmla="*/ 349858 h 388632"/>
                    <a:gd name="connsiteX134" fmla="*/ 1924240 w 2003216"/>
                    <a:gd name="connsiteY134" fmla="*/ 340188 h 388632"/>
                    <a:gd name="connsiteX135" fmla="*/ 1904072 w 2003216"/>
                    <a:gd name="connsiteY135" fmla="*/ 327247 h 388632"/>
                    <a:gd name="connsiteX136" fmla="*/ 1898260 w 2003216"/>
                    <a:gd name="connsiteY136" fmla="*/ 310986 h 388632"/>
                    <a:gd name="connsiteX137" fmla="*/ 1907588 w 2003216"/>
                    <a:gd name="connsiteY137" fmla="*/ 291256 h 388632"/>
                    <a:gd name="connsiteX138" fmla="*/ 1930588 w 2003216"/>
                    <a:gd name="connsiteY138" fmla="*/ 283736 h 388632"/>
                    <a:gd name="connsiteX139" fmla="*/ 1835874 w 2003216"/>
                    <a:gd name="connsiteY139" fmla="*/ 283736 h 388632"/>
                    <a:gd name="connsiteX140" fmla="*/ 1864490 w 2003216"/>
                    <a:gd name="connsiteY140" fmla="*/ 296824 h 388632"/>
                    <a:gd name="connsiteX141" fmla="*/ 1874452 w 2003216"/>
                    <a:gd name="connsiteY141" fmla="*/ 332570 h 388632"/>
                    <a:gd name="connsiteX142" fmla="*/ 1874452 w 2003216"/>
                    <a:gd name="connsiteY142" fmla="*/ 336575 h 388632"/>
                    <a:gd name="connsiteX143" fmla="*/ 1800420 w 2003216"/>
                    <a:gd name="connsiteY143" fmla="*/ 336575 h 388632"/>
                    <a:gd name="connsiteX144" fmla="*/ 1809942 w 2003216"/>
                    <a:gd name="connsiteY144" fmla="*/ 368805 h 388632"/>
                    <a:gd name="connsiteX145" fmla="*/ 1836068 w 2003216"/>
                    <a:gd name="connsiteY145" fmla="*/ 380428 h 388632"/>
                    <a:gd name="connsiteX146" fmla="*/ 1868886 w 2003216"/>
                    <a:gd name="connsiteY146" fmla="*/ 368024 h 388632"/>
                    <a:gd name="connsiteX147" fmla="*/ 1868886 w 2003216"/>
                    <a:gd name="connsiteY147" fmla="*/ 377595 h 388632"/>
                    <a:gd name="connsiteX148" fmla="*/ 1834214 w 2003216"/>
                    <a:gd name="connsiteY148" fmla="*/ 388632 h 388632"/>
                    <a:gd name="connsiteX149" fmla="*/ 1802960 w 2003216"/>
                    <a:gd name="connsiteY149" fmla="*/ 374763 h 388632"/>
                    <a:gd name="connsiteX150" fmla="*/ 1791044 w 2003216"/>
                    <a:gd name="connsiteY150" fmla="*/ 335598 h 388632"/>
                    <a:gd name="connsiteX151" fmla="*/ 1803496 w 2003216"/>
                    <a:gd name="connsiteY151" fmla="*/ 298728 h 388632"/>
                    <a:gd name="connsiteX152" fmla="*/ 1835874 w 2003216"/>
                    <a:gd name="connsiteY152" fmla="*/ 283736 h 388632"/>
                    <a:gd name="connsiteX153" fmla="*/ 1687088 w 2003216"/>
                    <a:gd name="connsiteY153" fmla="*/ 283736 h 388632"/>
                    <a:gd name="connsiteX154" fmla="*/ 1720880 w 2003216"/>
                    <a:gd name="connsiteY154" fmla="*/ 297703 h 388632"/>
                    <a:gd name="connsiteX155" fmla="*/ 1733284 w 2003216"/>
                    <a:gd name="connsiteY155" fmla="*/ 336379 h 388632"/>
                    <a:gd name="connsiteX156" fmla="*/ 1720636 w 2003216"/>
                    <a:gd name="connsiteY156" fmla="*/ 374177 h 388632"/>
                    <a:gd name="connsiteX157" fmla="*/ 1686012 w 2003216"/>
                    <a:gd name="connsiteY157" fmla="*/ 388632 h 388632"/>
                    <a:gd name="connsiteX158" fmla="*/ 1651390 w 2003216"/>
                    <a:gd name="connsiteY158" fmla="*/ 374226 h 388632"/>
                    <a:gd name="connsiteX159" fmla="*/ 1638644 w 2003216"/>
                    <a:gd name="connsiteY159" fmla="*/ 336770 h 388632"/>
                    <a:gd name="connsiteX160" fmla="*/ 1651976 w 2003216"/>
                    <a:gd name="connsiteY160" fmla="*/ 297800 h 388632"/>
                    <a:gd name="connsiteX161" fmla="*/ 1687088 w 2003216"/>
                    <a:gd name="connsiteY161" fmla="*/ 283736 h 388632"/>
                    <a:gd name="connsiteX162" fmla="*/ 1445348 w 2003216"/>
                    <a:gd name="connsiteY162" fmla="*/ 283736 h 388632"/>
                    <a:gd name="connsiteX163" fmla="*/ 1473966 w 2003216"/>
                    <a:gd name="connsiteY163" fmla="*/ 296824 h 388632"/>
                    <a:gd name="connsiteX164" fmla="*/ 1483928 w 2003216"/>
                    <a:gd name="connsiteY164" fmla="*/ 332570 h 388632"/>
                    <a:gd name="connsiteX165" fmla="*/ 1483928 w 2003216"/>
                    <a:gd name="connsiteY165" fmla="*/ 336575 h 388632"/>
                    <a:gd name="connsiteX166" fmla="*/ 1409896 w 2003216"/>
                    <a:gd name="connsiteY166" fmla="*/ 336575 h 388632"/>
                    <a:gd name="connsiteX167" fmla="*/ 1419418 w 2003216"/>
                    <a:gd name="connsiteY167" fmla="*/ 368805 h 388632"/>
                    <a:gd name="connsiteX168" fmla="*/ 1445544 w 2003216"/>
                    <a:gd name="connsiteY168" fmla="*/ 380428 h 388632"/>
                    <a:gd name="connsiteX169" fmla="*/ 1478360 w 2003216"/>
                    <a:gd name="connsiteY169" fmla="*/ 368024 h 388632"/>
                    <a:gd name="connsiteX170" fmla="*/ 1478360 w 2003216"/>
                    <a:gd name="connsiteY170" fmla="*/ 377595 h 388632"/>
                    <a:gd name="connsiteX171" fmla="*/ 1443688 w 2003216"/>
                    <a:gd name="connsiteY171" fmla="*/ 388632 h 388632"/>
                    <a:gd name="connsiteX172" fmla="*/ 1412434 w 2003216"/>
                    <a:gd name="connsiteY172" fmla="*/ 374763 h 388632"/>
                    <a:gd name="connsiteX173" fmla="*/ 1400518 w 2003216"/>
                    <a:gd name="connsiteY173" fmla="*/ 335598 h 388632"/>
                    <a:gd name="connsiteX174" fmla="*/ 1412972 w 2003216"/>
                    <a:gd name="connsiteY174" fmla="*/ 298728 h 388632"/>
                    <a:gd name="connsiteX175" fmla="*/ 1445348 w 2003216"/>
                    <a:gd name="connsiteY175" fmla="*/ 283736 h 388632"/>
                    <a:gd name="connsiteX176" fmla="*/ 1364996 w 2003216"/>
                    <a:gd name="connsiteY176" fmla="*/ 283736 h 388632"/>
                    <a:gd name="connsiteX177" fmla="*/ 1387166 w 2003216"/>
                    <a:gd name="connsiteY177" fmla="*/ 288424 h 388632"/>
                    <a:gd name="connsiteX178" fmla="*/ 1387166 w 2003216"/>
                    <a:gd name="connsiteY178" fmla="*/ 298582 h 388632"/>
                    <a:gd name="connsiteX179" fmla="*/ 1363628 w 2003216"/>
                    <a:gd name="connsiteY179" fmla="*/ 291940 h 388632"/>
                    <a:gd name="connsiteX180" fmla="*/ 1335108 w 2003216"/>
                    <a:gd name="connsiteY180" fmla="*/ 304588 h 388632"/>
                    <a:gd name="connsiteX181" fmla="*/ 1324170 w 2003216"/>
                    <a:gd name="connsiteY181" fmla="*/ 337356 h 388632"/>
                    <a:gd name="connsiteX182" fmla="*/ 1334180 w 2003216"/>
                    <a:gd name="connsiteY182" fmla="*/ 368610 h 388632"/>
                    <a:gd name="connsiteX183" fmla="*/ 1360600 w 2003216"/>
                    <a:gd name="connsiteY183" fmla="*/ 380428 h 388632"/>
                    <a:gd name="connsiteX184" fmla="*/ 1386776 w 2003216"/>
                    <a:gd name="connsiteY184" fmla="*/ 372419 h 388632"/>
                    <a:gd name="connsiteX185" fmla="*/ 1386776 w 2003216"/>
                    <a:gd name="connsiteY185" fmla="*/ 381795 h 388632"/>
                    <a:gd name="connsiteX186" fmla="*/ 1360210 w 2003216"/>
                    <a:gd name="connsiteY186" fmla="*/ 388632 h 388632"/>
                    <a:gd name="connsiteX187" fmla="*/ 1327296 w 2003216"/>
                    <a:gd name="connsiteY187" fmla="*/ 374617 h 388632"/>
                    <a:gd name="connsiteX188" fmla="*/ 1314794 w 2003216"/>
                    <a:gd name="connsiteY188" fmla="*/ 337942 h 388632"/>
                    <a:gd name="connsiteX189" fmla="*/ 1328858 w 2003216"/>
                    <a:gd name="connsiteY189" fmla="*/ 298923 h 388632"/>
                    <a:gd name="connsiteX190" fmla="*/ 1364996 w 2003216"/>
                    <a:gd name="connsiteY190" fmla="*/ 283736 h 388632"/>
                    <a:gd name="connsiteX191" fmla="*/ 1045298 w 2003216"/>
                    <a:gd name="connsiteY191" fmla="*/ 283736 h 388632"/>
                    <a:gd name="connsiteX192" fmla="*/ 1073916 w 2003216"/>
                    <a:gd name="connsiteY192" fmla="*/ 296824 h 388632"/>
                    <a:gd name="connsiteX193" fmla="*/ 1083878 w 2003216"/>
                    <a:gd name="connsiteY193" fmla="*/ 332570 h 388632"/>
                    <a:gd name="connsiteX194" fmla="*/ 1083878 w 2003216"/>
                    <a:gd name="connsiteY194" fmla="*/ 336575 h 388632"/>
                    <a:gd name="connsiteX195" fmla="*/ 1009844 w 2003216"/>
                    <a:gd name="connsiteY195" fmla="*/ 336575 h 388632"/>
                    <a:gd name="connsiteX196" fmla="*/ 1019368 w 2003216"/>
                    <a:gd name="connsiteY196" fmla="*/ 368805 h 388632"/>
                    <a:gd name="connsiteX197" fmla="*/ 1045494 w 2003216"/>
                    <a:gd name="connsiteY197" fmla="*/ 380428 h 388632"/>
                    <a:gd name="connsiteX198" fmla="*/ 1078310 w 2003216"/>
                    <a:gd name="connsiteY198" fmla="*/ 368024 h 388632"/>
                    <a:gd name="connsiteX199" fmla="*/ 1078310 w 2003216"/>
                    <a:gd name="connsiteY199" fmla="*/ 377595 h 388632"/>
                    <a:gd name="connsiteX200" fmla="*/ 1043638 w 2003216"/>
                    <a:gd name="connsiteY200" fmla="*/ 388632 h 388632"/>
                    <a:gd name="connsiteX201" fmla="*/ 1012384 w 2003216"/>
                    <a:gd name="connsiteY201" fmla="*/ 374763 h 388632"/>
                    <a:gd name="connsiteX202" fmla="*/ 1000468 w 2003216"/>
                    <a:gd name="connsiteY202" fmla="*/ 335598 h 388632"/>
                    <a:gd name="connsiteX203" fmla="*/ 1012922 w 2003216"/>
                    <a:gd name="connsiteY203" fmla="*/ 298728 h 388632"/>
                    <a:gd name="connsiteX204" fmla="*/ 1045298 w 2003216"/>
                    <a:gd name="connsiteY204" fmla="*/ 283736 h 388632"/>
                    <a:gd name="connsiteX205" fmla="*/ 959038 w 2003216"/>
                    <a:gd name="connsiteY205" fmla="*/ 283736 h 388632"/>
                    <a:gd name="connsiteX206" fmla="*/ 981112 w 2003216"/>
                    <a:gd name="connsiteY206" fmla="*/ 289010 h 388632"/>
                    <a:gd name="connsiteX207" fmla="*/ 981112 w 2003216"/>
                    <a:gd name="connsiteY207" fmla="*/ 299168 h 388632"/>
                    <a:gd name="connsiteX208" fmla="*/ 958062 w 2003216"/>
                    <a:gd name="connsiteY208" fmla="*/ 291940 h 388632"/>
                    <a:gd name="connsiteX209" fmla="*/ 942142 w 2003216"/>
                    <a:gd name="connsiteY209" fmla="*/ 297068 h 388632"/>
                    <a:gd name="connsiteX210" fmla="*/ 936086 w 2003216"/>
                    <a:gd name="connsiteY210" fmla="*/ 310400 h 388632"/>
                    <a:gd name="connsiteX211" fmla="*/ 939896 w 2003216"/>
                    <a:gd name="connsiteY211" fmla="*/ 321973 h 388632"/>
                    <a:gd name="connsiteX212" fmla="*/ 956694 w 2003216"/>
                    <a:gd name="connsiteY212" fmla="*/ 332180 h 388632"/>
                    <a:gd name="connsiteX213" fmla="*/ 978182 w 2003216"/>
                    <a:gd name="connsiteY213" fmla="*/ 345218 h 388632"/>
                    <a:gd name="connsiteX214" fmla="*/ 984042 w 2003216"/>
                    <a:gd name="connsiteY214" fmla="*/ 361187 h 388632"/>
                    <a:gd name="connsiteX215" fmla="*/ 975104 w 2003216"/>
                    <a:gd name="connsiteY215" fmla="*/ 380867 h 388632"/>
                    <a:gd name="connsiteX216" fmla="*/ 950444 w 2003216"/>
                    <a:gd name="connsiteY216" fmla="*/ 388632 h 388632"/>
                    <a:gd name="connsiteX217" fmla="*/ 926320 w 2003216"/>
                    <a:gd name="connsiteY217" fmla="*/ 381795 h 388632"/>
                    <a:gd name="connsiteX218" fmla="*/ 926320 w 2003216"/>
                    <a:gd name="connsiteY218" fmla="*/ 370954 h 388632"/>
                    <a:gd name="connsiteX219" fmla="*/ 938626 w 2003216"/>
                    <a:gd name="connsiteY219" fmla="*/ 377888 h 388632"/>
                    <a:gd name="connsiteX220" fmla="*/ 951128 w 2003216"/>
                    <a:gd name="connsiteY220" fmla="*/ 380428 h 388632"/>
                    <a:gd name="connsiteX221" fmla="*/ 974666 w 2003216"/>
                    <a:gd name="connsiteY221" fmla="*/ 361187 h 388632"/>
                    <a:gd name="connsiteX222" fmla="*/ 969488 w 2003216"/>
                    <a:gd name="connsiteY222" fmla="*/ 349858 h 388632"/>
                    <a:gd name="connsiteX223" fmla="*/ 952690 w 2003216"/>
                    <a:gd name="connsiteY223" fmla="*/ 340188 h 388632"/>
                    <a:gd name="connsiteX224" fmla="*/ 932522 w 2003216"/>
                    <a:gd name="connsiteY224" fmla="*/ 327247 h 388632"/>
                    <a:gd name="connsiteX225" fmla="*/ 926710 w 2003216"/>
                    <a:gd name="connsiteY225" fmla="*/ 310986 h 388632"/>
                    <a:gd name="connsiteX226" fmla="*/ 936038 w 2003216"/>
                    <a:gd name="connsiteY226" fmla="*/ 291256 h 388632"/>
                    <a:gd name="connsiteX227" fmla="*/ 959038 w 2003216"/>
                    <a:gd name="connsiteY227" fmla="*/ 283736 h 388632"/>
                    <a:gd name="connsiteX228" fmla="*/ 740498 w 2003216"/>
                    <a:gd name="connsiteY228" fmla="*/ 283736 h 388632"/>
                    <a:gd name="connsiteX229" fmla="*/ 769116 w 2003216"/>
                    <a:gd name="connsiteY229" fmla="*/ 296824 h 388632"/>
                    <a:gd name="connsiteX230" fmla="*/ 779078 w 2003216"/>
                    <a:gd name="connsiteY230" fmla="*/ 332570 h 388632"/>
                    <a:gd name="connsiteX231" fmla="*/ 779078 w 2003216"/>
                    <a:gd name="connsiteY231" fmla="*/ 336575 h 388632"/>
                    <a:gd name="connsiteX232" fmla="*/ 705044 w 2003216"/>
                    <a:gd name="connsiteY232" fmla="*/ 336575 h 388632"/>
                    <a:gd name="connsiteX233" fmla="*/ 714568 w 2003216"/>
                    <a:gd name="connsiteY233" fmla="*/ 368805 h 388632"/>
                    <a:gd name="connsiteX234" fmla="*/ 740694 w 2003216"/>
                    <a:gd name="connsiteY234" fmla="*/ 380428 h 388632"/>
                    <a:gd name="connsiteX235" fmla="*/ 773510 w 2003216"/>
                    <a:gd name="connsiteY235" fmla="*/ 368024 h 388632"/>
                    <a:gd name="connsiteX236" fmla="*/ 773510 w 2003216"/>
                    <a:gd name="connsiteY236" fmla="*/ 377595 h 388632"/>
                    <a:gd name="connsiteX237" fmla="*/ 738838 w 2003216"/>
                    <a:gd name="connsiteY237" fmla="*/ 388632 h 388632"/>
                    <a:gd name="connsiteX238" fmla="*/ 707584 w 2003216"/>
                    <a:gd name="connsiteY238" fmla="*/ 374763 h 388632"/>
                    <a:gd name="connsiteX239" fmla="*/ 695668 w 2003216"/>
                    <a:gd name="connsiteY239" fmla="*/ 335598 h 388632"/>
                    <a:gd name="connsiteX240" fmla="*/ 708122 w 2003216"/>
                    <a:gd name="connsiteY240" fmla="*/ 298728 h 388632"/>
                    <a:gd name="connsiteX241" fmla="*/ 740498 w 2003216"/>
                    <a:gd name="connsiteY241" fmla="*/ 283736 h 388632"/>
                    <a:gd name="connsiteX242" fmla="*/ 467888 w 2003216"/>
                    <a:gd name="connsiteY242" fmla="*/ 283736 h 388632"/>
                    <a:gd name="connsiteX243" fmla="*/ 501680 w 2003216"/>
                    <a:gd name="connsiteY243" fmla="*/ 297703 h 388632"/>
                    <a:gd name="connsiteX244" fmla="*/ 514084 w 2003216"/>
                    <a:gd name="connsiteY244" fmla="*/ 336379 h 388632"/>
                    <a:gd name="connsiteX245" fmla="*/ 501436 w 2003216"/>
                    <a:gd name="connsiteY245" fmla="*/ 374177 h 388632"/>
                    <a:gd name="connsiteX246" fmla="*/ 466812 w 2003216"/>
                    <a:gd name="connsiteY246" fmla="*/ 388632 h 388632"/>
                    <a:gd name="connsiteX247" fmla="*/ 432190 w 2003216"/>
                    <a:gd name="connsiteY247" fmla="*/ 374226 h 388632"/>
                    <a:gd name="connsiteX248" fmla="*/ 419444 w 2003216"/>
                    <a:gd name="connsiteY248" fmla="*/ 336770 h 388632"/>
                    <a:gd name="connsiteX249" fmla="*/ 432776 w 2003216"/>
                    <a:gd name="connsiteY249" fmla="*/ 297800 h 388632"/>
                    <a:gd name="connsiteX250" fmla="*/ 467888 w 2003216"/>
                    <a:gd name="connsiteY250" fmla="*/ 283736 h 388632"/>
                    <a:gd name="connsiteX251" fmla="*/ 184482 w 2003216"/>
                    <a:gd name="connsiteY251" fmla="*/ 283736 h 388632"/>
                    <a:gd name="connsiteX252" fmla="*/ 209290 w 2003216"/>
                    <a:gd name="connsiteY252" fmla="*/ 294528 h 388632"/>
                    <a:gd name="connsiteX253" fmla="*/ 217884 w 2003216"/>
                    <a:gd name="connsiteY253" fmla="*/ 325343 h 388632"/>
                    <a:gd name="connsiteX254" fmla="*/ 217884 w 2003216"/>
                    <a:gd name="connsiteY254" fmla="*/ 386190 h 388632"/>
                    <a:gd name="connsiteX255" fmla="*/ 208898 w 2003216"/>
                    <a:gd name="connsiteY255" fmla="*/ 386190 h 388632"/>
                    <a:gd name="connsiteX256" fmla="*/ 208898 w 2003216"/>
                    <a:gd name="connsiteY256" fmla="*/ 327980 h 388632"/>
                    <a:gd name="connsiteX257" fmla="*/ 182918 w 2003216"/>
                    <a:gd name="connsiteY257" fmla="*/ 291940 h 388632"/>
                    <a:gd name="connsiteX258" fmla="*/ 159186 w 2003216"/>
                    <a:gd name="connsiteY258" fmla="*/ 302537 h 388632"/>
                    <a:gd name="connsiteX259" fmla="*/ 149906 w 2003216"/>
                    <a:gd name="connsiteY259" fmla="*/ 328761 h 388632"/>
                    <a:gd name="connsiteX260" fmla="*/ 149906 w 2003216"/>
                    <a:gd name="connsiteY260" fmla="*/ 386190 h 388632"/>
                    <a:gd name="connsiteX261" fmla="*/ 140922 w 2003216"/>
                    <a:gd name="connsiteY261" fmla="*/ 386190 h 388632"/>
                    <a:gd name="connsiteX262" fmla="*/ 140922 w 2003216"/>
                    <a:gd name="connsiteY262" fmla="*/ 286178 h 388632"/>
                    <a:gd name="connsiteX263" fmla="*/ 149906 w 2003216"/>
                    <a:gd name="connsiteY263" fmla="*/ 286178 h 388632"/>
                    <a:gd name="connsiteX264" fmla="*/ 149906 w 2003216"/>
                    <a:gd name="connsiteY264" fmla="*/ 304344 h 388632"/>
                    <a:gd name="connsiteX265" fmla="*/ 150298 w 2003216"/>
                    <a:gd name="connsiteY265" fmla="*/ 304344 h 388632"/>
                    <a:gd name="connsiteX266" fmla="*/ 184482 w 2003216"/>
                    <a:gd name="connsiteY266" fmla="*/ 283736 h 388632"/>
                    <a:gd name="connsiteX267" fmla="*/ 82102 w 2003216"/>
                    <a:gd name="connsiteY267" fmla="*/ 283736 h 388632"/>
                    <a:gd name="connsiteX268" fmla="*/ 105982 w 2003216"/>
                    <a:gd name="connsiteY268" fmla="*/ 293308 h 388632"/>
                    <a:gd name="connsiteX269" fmla="*/ 114430 w 2003216"/>
                    <a:gd name="connsiteY269" fmla="*/ 321143 h 388632"/>
                    <a:gd name="connsiteX270" fmla="*/ 114430 w 2003216"/>
                    <a:gd name="connsiteY270" fmla="*/ 386190 h 388632"/>
                    <a:gd name="connsiteX271" fmla="*/ 105444 w 2003216"/>
                    <a:gd name="connsiteY271" fmla="*/ 386190 h 388632"/>
                    <a:gd name="connsiteX272" fmla="*/ 105444 w 2003216"/>
                    <a:gd name="connsiteY272" fmla="*/ 366168 h 388632"/>
                    <a:gd name="connsiteX273" fmla="*/ 105054 w 2003216"/>
                    <a:gd name="connsiteY273" fmla="*/ 366168 h 388632"/>
                    <a:gd name="connsiteX274" fmla="*/ 91136 w 2003216"/>
                    <a:gd name="connsiteY274" fmla="*/ 382528 h 388632"/>
                    <a:gd name="connsiteX275" fmla="*/ 70870 w 2003216"/>
                    <a:gd name="connsiteY275" fmla="*/ 388632 h 388632"/>
                    <a:gd name="connsiteX276" fmla="*/ 48308 w 2003216"/>
                    <a:gd name="connsiteY276" fmla="*/ 380623 h 388632"/>
                    <a:gd name="connsiteX277" fmla="*/ 40006 w 2003216"/>
                    <a:gd name="connsiteY277" fmla="*/ 360406 h 388632"/>
                    <a:gd name="connsiteX278" fmla="*/ 74678 w 2003216"/>
                    <a:gd name="connsiteY278" fmla="*/ 328761 h 388632"/>
                    <a:gd name="connsiteX279" fmla="*/ 105444 w 2003216"/>
                    <a:gd name="connsiteY279" fmla="*/ 324171 h 388632"/>
                    <a:gd name="connsiteX280" fmla="*/ 81222 w 2003216"/>
                    <a:gd name="connsiteY280" fmla="*/ 291940 h 388632"/>
                    <a:gd name="connsiteX281" fmla="*/ 49090 w 2003216"/>
                    <a:gd name="connsiteY281" fmla="*/ 305223 h 388632"/>
                    <a:gd name="connsiteX282" fmla="*/ 49090 w 2003216"/>
                    <a:gd name="connsiteY282" fmla="*/ 294382 h 388632"/>
                    <a:gd name="connsiteX283" fmla="*/ 64180 w 2003216"/>
                    <a:gd name="connsiteY283" fmla="*/ 286861 h 388632"/>
                    <a:gd name="connsiteX284" fmla="*/ 82102 w 2003216"/>
                    <a:gd name="connsiteY284" fmla="*/ 283736 h 388632"/>
                    <a:gd name="connsiteX285" fmla="*/ 554156 w 2003216"/>
                    <a:gd name="connsiteY285" fmla="*/ 257170 h 388632"/>
                    <a:gd name="connsiteX286" fmla="*/ 554156 w 2003216"/>
                    <a:gd name="connsiteY286" fmla="*/ 286178 h 388632"/>
                    <a:gd name="connsiteX287" fmla="*/ 580526 w 2003216"/>
                    <a:gd name="connsiteY287" fmla="*/ 286178 h 388632"/>
                    <a:gd name="connsiteX288" fmla="*/ 580526 w 2003216"/>
                    <a:gd name="connsiteY288" fmla="*/ 294382 h 388632"/>
                    <a:gd name="connsiteX289" fmla="*/ 554156 w 2003216"/>
                    <a:gd name="connsiteY289" fmla="*/ 294382 h 388632"/>
                    <a:gd name="connsiteX290" fmla="*/ 554156 w 2003216"/>
                    <a:gd name="connsiteY290" fmla="*/ 360406 h 388632"/>
                    <a:gd name="connsiteX291" fmla="*/ 557428 w 2003216"/>
                    <a:gd name="connsiteY291" fmla="*/ 375398 h 388632"/>
                    <a:gd name="connsiteX292" fmla="*/ 568514 w 2003216"/>
                    <a:gd name="connsiteY292" fmla="*/ 380037 h 388632"/>
                    <a:gd name="connsiteX293" fmla="*/ 580526 w 2003216"/>
                    <a:gd name="connsiteY293" fmla="*/ 376423 h 388632"/>
                    <a:gd name="connsiteX294" fmla="*/ 580526 w 2003216"/>
                    <a:gd name="connsiteY294" fmla="*/ 384823 h 388632"/>
                    <a:gd name="connsiteX295" fmla="*/ 567342 w 2003216"/>
                    <a:gd name="connsiteY295" fmla="*/ 388144 h 388632"/>
                    <a:gd name="connsiteX296" fmla="*/ 545170 w 2003216"/>
                    <a:gd name="connsiteY296" fmla="*/ 361578 h 388632"/>
                    <a:gd name="connsiteX297" fmla="*/ 545170 w 2003216"/>
                    <a:gd name="connsiteY297" fmla="*/ 294382 h 388632"/>
                    <a:gd name="connsiteX298" fmla="*/ 527200 w 2003216"/>
                    <a:gd name="connsiteY298" fmla="*/ 294382 h 388632"/>
                    <a:gd name="connsiteX299" fmla="*/ 527200 w 2003216"/>
                    <a:gd name="connsiteY299" fmla="*/ 286178 h 388632"/>
                    <a:gd name="connsiteX300" fmla="*/ 545170 w 2003216"/>
                    <a:gd name="connsiteY300" fmla="*/ 286178 h 388632"/>
                    <a:gd name="connsiteX301" fmla="*/ 545170 w 2003216"/>
                    <a:gd name="connsiteY301" fmla="*/ 260198 h 388632"/>
                    <a:gd name="connsiteX302" fmla="*/ 549664 w 2003216"/>
                    <a:gd name="connsiteY302" fmla="*/ 258635 h 388632"/>
                    <a:gd name="connsiteX303" fmla="*/ 554156 w 2003216"/>
                    <a:gd name="connsiteY303" fmla="*/ 257170 h 388632"/>
                    <a:gd name="connsiteX304" fmla="*/ 1288316 w 2003216"/>
                    <a:gd name="connsiteY304" fmla="*/ 246134 h 388632"/>
                    <a:gd name="connsiteX305" fmla="*/ 1293640 w 2003216"/>
                    <a:gd name="connsiteY305" fmla="*/ 248087 h 388632"/>
                    <a:gd name="connsiteX306" fmla="*/ 1295934 w 2003216"/>
                    <a:gd name="connsiteY306" fmla="*/ 253361 h 388632"/>
                    <a:gd name="connsiteX307" fmla="*/ 1293688 w 2003216"/>
                    <a:gd name="connsiteY307" fmla="*/ 258733 h 388632"/>
                    <a:gd name="connsiteX308" fmla="*/ 1288316 w 2003216"/>
                    <a:gd name="connsiteY308" fmla="*/ 260979 h 388632"/>
                    <a:gd name="connsiteX309" fmla="*/ 1283140 w 2003216"/>
                    <a:gd name="connsiteY309" fmla="*/ 258831 h 388632"/>
                    <a:gd name="connsiteX310" fmla="*/ 1280894 w 2003216"/>
                    <a:gd name="connsiteY310" fmla="*/ 253361 h 388632"/>
                    <a:gd name="connsiteX311" fmla="*/ 1283188 w 2003216"/>
                    <a:gd name="connsiteY311" fmla="*/ 248136 h 388632"/>
                    <a:gd name="connsiteX312" fmla="*/ 1288316 w 2003216"/>
                    <a:gd name="connsiteY312" fmla="*/ 246134 h 388632"/>
                    <a:gd name="connsiteX313" fmla="*/ 1760172 w 2003216"/>
                    <a:gd name="connsiteY313" fmla="*/ 238125 h 388632"/>
                    <a:gd name="connsiteX314" fmla="*/ 1769156 w 2003216"/>
                    <a:gd name="connsiteY314" fmla="*/ 238125 h 388632"/>
                    <a:gd name="connsiteX315" fmla="*/ 1769156 w 2003216"/>
                    <a:gd name="connsiteY315" fmla="*/ 386190 h 388632"/>
                    <a:gd name="connsiteX316" fmla="*/ 1760172 w 2003216"/>
                    <a:gd name="connsiteY316" fmla="*/ 386190 h 388632"/>
                    <a:gd name="connsiteX317" fmla="*/ 598122 w 2003216"/>
                    <a:gd name="connsiteY317" fmla="*/ 238125 h 388632"/>
                    <a:gd name="connsiteX318" fmla="*/ 607106 w 2003216"/>
                    <a:gd name="connsiteY318" fmla="*/ 238125 h 388632"/>
                    <a:gd name="connsiteX319" fmla="*/ 607106 w 2003216"/>
                    <a:gd name="connsiteY319" fmla="*/ 304149 h 388632"/>
                    <a:gd name="connsiteX320" fmla="*/ 607498 w 2003216"/>
                    <a:gd name="connsiteY320" fmla="*/ 304149 h 388632"/>
                    <a:gd name="connsiteX321" fmla="*/ 641876 w 2003216"/>
                    <a:gd name="connsiteY321" fmla="*/ 283736 h 388632"/>
                    <a:gd name="connsiteX322" fmla="*/ 666586 w 2003216"/>
                    <a:gd name="connsiteY322" fmla="*/ 294187 h 388632"/>
                    <a:gd name="connsiteX323" fmla="*/ 675084 w 2003216"/>
                    <a:gd name="connsiteY323" fmla="*/ 324171 h 388632"/>
                    <a:gd name="connsiteX324" fmla="*/ 675084 w 2003216"/>
                    <a:gd name="connsiteY324" fmla="*/ 386190 h 388632"/>
                    <a:gd name="connsiteX325" fmla="*/ 666098 w 2003216"/>
                    <a:gd name="connsiteY325" fmla="*/ 386190 h 388632"/>
                    <a:gd name="connsiteX326" fmla="*/ 666098 w 2003216"/>
                    <a:gd name="connsiteY326" fmla="*/ 326222 h 388632"/>
                    <a:gd name="connsiteX327" fmla="*/ 659652 w 2003216"/>
                    <a:gd name="connsiteY327" fmla="*/ 300193 h 388632"/>
                    <a:gd name="connsiteX328" fmla="*/ 639532 w 2003216"/>
                    <a:gd name="connsiteY328" fmla="*/ 291940 h 388632"/>
                    <a:gd name="connsiteX329" fmla="*/ 616874 w 2003216"/>
                    <a:gd name="connsiteY329" fmla="*/ 302000 h 388632"/>
                    <a:gd name="connsiteX330" fmla="*/ 607106 w 2003216"/>
                    <a:gd name="connsiteY330" fmla="*/ 330812 h 388632"/>
                    <a:gd name="connsiteX331" fmla="*/ 607106 w 2003216"/>
                    <a:gd name="connsiteY331" fmla="*/ 386190 h 388632"/>
                    <a:gd name="connsiteX332" fmla="*/ 598122 w 2003216"/>
                    <a:gd name="connsiteY332" fmla="*/ 386190 h 388632"/>
                    <a:gd name="connsiteX333" fmla="*/ 316702 w 2003216"/>
                    <a:gd name="connsiteY333" fmla="*/ 238125 h 388632"/>
                    <a:gd name="connsiteX334" fmla="*/ 325686 w 2003216"/>
                    <a:gd name="connsiteY334" fmla="*/ 238125 h 388632"/>
                    <a:gd name="connsiteX335" fmla="*/ 325686 w 2003216"/>
                    <a:gd name="connsiteY335" fmla="*/ 386190 h 388632"/>
                    <a:gd name="connsiteX336" fmla="*/ 316702 w 2003216"/>
                    <a:gd name="connsiteY336" fmla="*/ 386190 h 388632"/>
                    <a:gd name="connsiteX337" fmla="*/ 316702 w 2003216"/>
                    <a:gd name="connsiteY337" fmla="*/ 368024 h 388632"/>
                    <a:gd name="connsiteX338" fmla="*/ 316310 w 2003216"/>
                    <a:gd name="connsiteY338" fmla="*/ 368024 h 388632"/>
                    <a:gd name="connsiteX339" fmla="*/ 301856 w 2003216"/>
                    <a:gd name="connsiteY339" fmla="*/ 383065 h 388632"/>
                    <a:gd name="connsiteX340" fmla="*/ 280270 w 2003216"/>
                    <a:gd name="connsiteY340" fmla="*/ 388632 h 388632"/>
                    <a:gd name="connsiteX341" fmla="*/ 250140 w 2003216"/>
                    <a:gd name="connsiteY341" fmla="*/ 375154 h 388632"/>
                    <a:gd name="connsiteX342" fmla="*/ 238468 w 2003216"/>
                    <a:gd name="connsiteY342" fmla="*/ 337942 h 388632"/>
                    <a:gd name="connsiteX343" fmla="*/ 251214 w 2003216"/>
                    <a:gd name="connsiteY343" fmla="*/ 298728 h 388632"/>
                    <a:gd name="connsiteX344" fmla="*/ 284276 w 2003216"/>
                    <a:gd name="connsiteY344" fmla="*/ 283736 h 388632"/>
                    <a:gd name="connsiteX345" fmla="*/ 316310 w 2003216"/>
                    <a:gd name="connsiteY345" fmla="*/ 302195 h 388632"/>
                    <a:gd name="connsiteX346" fmla="*/ 316702 w 2003216"/>
                    <a:gd name="connsiteY346" fmla="*/ 302195 h 388632"/>
                    <a:gd name="connsiteX347" fmla="*/ 1658020 w 2003216"/>
                    <a:gd name="connsiteY347" fmla="*/ 94250 h 388632"/>
                    <a:gd name="connsiteX348" fmla="*/ 1630476 w 2003216"/>
                    <a:gd name="connsiteY348" fmla="*/ 98254 h 388632"/>
                    <a:gd name="connsiteX349" fmla="*/ 1608404 w 2003216"/>
                    <a:gd name="connsiteY349" fmla="*/ 105531 h 388632"/>
                    <a:gd name="connsiteX350" fmla="*/ 1602056 w 2003216"/>
                    <a:gd name="connsiteY350" fmla="*/ 121890 h 388632"/>
                    <a:gd name="connsiteX351" fmla="*/ 1607964 w 2003216"/>
                    <a:gd name="connsiteY351" fmla="*/ 136540 h 388632"/>
                    <a:gd name="connsiteX352" fmla="*/ 1624422 w 2003216"/>
                    <a:gd name="connsiteY352" fmla="*/ 142303 h 388632"/>
                    <a:gd name="connsiteX353" fmla="*/ 1648448 w 2003216"/>
                    <a:gd name="connsiteY353" fmla="*/ 131608 h 388632"/>
                    <a:gd name="connsiteX354" fmla="*/ 1658020 w 2003216"/>
                    <a:gd name="connsiteY354" fmla="*/ 104017 h 388632"/>
                    <a:gd name="connsiteX355" fmla="*/ 1334170 w 2003216"/>
                    <a:gd name="connsiteY355" fmla="*/ 94250 h 388632"/>
                    <a:gd name="connsiteX356" fmla="*/ 1306626 w 2003216"/>
                    <a:gd name="connsiteY356" fmla="*/ 98254 h 388632"/>
                    <a:gd name="connsiteX357" fmla="*/ 1284554 w 2003216"/>
                    <a:gd name="connsiteY357" fmla="*/ 105531 h 388632"/>
                    <a:gd name="connsiteX358" fmla="*/ 1278206 w 2003216"/>
                    <a:gd name="connsiteY358" fmla="*/ 121890 h 388632"/>
                    <a:gd name="connsiteX359" fmla="*/ 1284114 w 2003216"/>
                    <a:gd name="connsiteY359" fmla="*/ 136540 h 388632"/>
                    <a:gd name="connsiteX360" fmla="*/ 1300572 w 2003216"/>
                    <a:gd name="connsiteY360" fmla="*/ 142303 h 388632"/>
                    <a:gd name="connsiteX361" fmla="*/ 1324598 w 2003216"/>
                    <a:gd name="connsiteY361" fmla="*/ 131608 h 388632"/>
                    <a:gd name="connsiteX362" fmla="*/ 1334170 w 2003216"/>
                    <a:gd name="connsiteY362" fmla="*/ 104017 h 388632"/>
                    <a:gd name="connsiteX363" fmla="*/ 1100932 w 2003216"/>
                    <a:gd name="connsiteY363" fmla="*/ 53815 h 388632"/>
                    <a:gd name="connsiteX364" fmla="*/ 1073878 w 2003216"/>
                    <a:gd name="connsiteY364" fmla="*/ 65535 h 388632"/>
                    <a:gd name="connsiteX365" fmla="*/ 1064306 w 2003216"/>
                    <a:gd name="connsiteY365" fmla="*/ 93078 h 388632"/>
                    <a:gd name="connsiteX366" fmla="*/ 1064306 w 2003216"/>
                    <a:gd name="connsiteY366" fmla="*/ 105677 h 388632"/>
                    <a:gd name="connsiteX367" fmla="*/ 1073780 w 2003216"/>
                    <a:gd name="connsiteY367" fmla="*/ 131510 h 388632"/>
                    <a:gd name="connsiteX368" fmla="*/ 1098686 w 2003216"/>
                    <a:gd name="connsiteY368" fmla="*/ 142303 h 388632"/>
                    <a:gd name="connsiteX369" fmla="*/ 1123592 w 2003216"/>
                    <a:gd name="connsiteY369" fmla="*/ 129166 h 388632"/>
                    <a:gd name="connsiteX370" fmla="*/ 1133164 w 2003216"/>
                    <a:gd name="connsiteY370" fmla="*/ 94641 h 388632"/>
                    <a:gd name="connsiteX371" fmla="*/ 1124372 w 2003216"/>
                    <a:gd name="connsiteY371" fmla="*/ 64852 h 388632"/>
                    <a:gd name="connsiteX372" fmla="*/ 1100932 w 2003216"/>
                    <a:gd name="connsiteY372" fmla="*/ 53815 h 388632"/>
                    <a:gd name="connsiteX373" fmla="*/ 734196 w 2003216"/>
                    <a:gd name="connsiteY373" fmla="*/ 53815 h 388632"/>
                    <a:gd name="connsiteX374" fmla="*/ 706020 w 2003216"/>
                    <a:gd name="connsiteY374" fmla="*/ 65731 h 388632"/>
                    <a:gd name="connsiteX375" fmla="*/ 695520 w 2003216"/>
                    <a:gd name="connsiteY375" fmla="*/ 98840 h 388632"/>
                    <a:gd name="connsiteX376" fmla="*/ 705776 w 2003216"/>
                    <a:gd name="connsiteY376" fmla="*/ 130387 h 388632"/>
                    <a:gd name="connsiteX377" fmla="*/ 733806 w 2003216"/>
                    <a:gd name="connsiteY377" fmla="*/ 142303 h 388632"/>
                    <a:gd name="connsiteX378" fmla="*/ 761642 w 2003216"/>
                    <a:gd name="connsiteY378" fmla="*/ 130583 h 388632"/>
                    <a:gd name="connsiteX379" fmla="*/ 771408 w 2003216"/>
                    <a:gd name="connsiteY379" fmla="*/ 98059 h 388632"/>
                    <a:gd name="connsiteX380" fmla="*/ 761690 w 2003216"/>
                    <a:gd name="connsiteY380" fmla="*/ 65242 h 388632"/>
                    <a:gd name="connsiteX381" fmla="*/ 734196 w 2003216"/>
                    <a:gd name="connsiteY381" fmla="*/ 53815 h 388632"/>
                    <a:gd name="connsiteX382" fmla="*/ 624682 w 2003216"/>
                    <a:gd name="connsiteY382" fmla="*/ 53815 h 388632"/>
                    <a:gd name="connsiteX383" fmla="*/ 597628 w 2003216"/>
                    <a:gd name="connsiteY383" fmla="*/ 65535 h 388632"/>
                    <a:gd name="connsiteX384" fmla="*/ 588056 w 2003216"/>
                    <a:gd name="connsiteY384" fmla="*/ 93078 h 388632"/>
                    <a:gd name="connsiteX385" fmla="*/ 588056 w 2003216"/>
                    <a:gd name="connsiteY385" fmla="*/ 105677 h 388632"/>
                    <a:gd name="connsiteX386" fmla="*/ 597530 w 2003216"/>
                    <a:gd name="connsiteY386" fmla="*/ 131510 h 388632"/>
                    <a:gd name="connsiteX387" fmla="*/ 622436 w 2003216"/>
                    <a:gd name="connsiteY387" fmla="*/ 142303 h 388632"/>
                    <a:gd name="connsiteX388" fmla="*/ 647342 w 2003216"/>
                    <a:gd name="connsiteY388" fmla="*/ 129166 h 388632"/>
                    <a:gd name="connsiteX389" fmla="*/ 656912 w 2003216"/>
                    <a:gd name="connsiteY389" fmla="*/ 94641 h 388632"/>
                    <a:gd name="connsiteX390" fmla="*/ 648122 w 2003216"/>
                    <a:gd name="connsiteY390" fmla="*/ 64852 h 388632"/>
                    <a:gd name="connsiteX391" fmla="*/ 624682 w 2003216"/>
                    <a:gd name="connsiteY391" fmla="*/ 53815 h 388632"/>
                    <a:gd name="connsiteX392" fmla="*/ 505596 w 2003216"/>
                    <a:gd name="connsiteY392" fmla="*/ 53815 h 388632"/>
                    <a:gd name="connsiteX393" fmla="*/ 477420 w 2003216"/>
                    <a:gd name="connsiteY393" fmla="*/ 65731 h 388632"/>
                    <a:gd name="connsiteX394" fmla="*/ 466920 w 2003216"/>
                    <a:gd name="connsiteY394" fmla="*/ 98840 h 388632"/>
                    <a:gd name="connsiteX395" fmla="*/ 477176 w 2003216"/>
                    <a:gd name="connsiteY395" fmla="*/ 130387 h 388632"/>
                    <a:gd name="connsiteX396" fmla="*/ 505206 w 2003216"/>
                    <a:gd name="connsiteY396" fmla="*/ 142303 h 388632"/>
                    <a:gd name="connsiteX397" fmla="*/ 533042 w 2003216"/>
                    <a:gd name="connsiteY397" fmla="*/ 130583 h 388632"/>
                    <a:gd name="connsiteX398" fmla="*/ 542808 w 2003216"/>
                    <a:gd name="connsiteY398" fmla="*/ 98059 h 388632"/>
                    <a:gd name="connsiteX399" fmla="*/ 533090 w 2003216"/>
                    <a:gd name="connsiteY399" fmla="*/ 65242 h 388632"/>
                    <a:gd name="connsiteX400" fmla="*/ 505596 w 2003216"/>
                    <a:gd name="connsiteY400" fmla="*/ 53815 h 388632"/>
                    <a:gd name="connsiteX401" fmla="*/ 1779222 w 2003216"/>
                    <a:gd name="connsiteY401" fmla="*/ 48053 h 388632"/>
                    <a:gd name="connsiteX402" fmla="*/ 1788206 w 2003216"/>
                    <a:gd name="connsiteY402" fmla="*/ 48053 h 388632"/>
                    <a:gd name="connsiteX403" fmla="*/ 1788206 w 2003216"/>
                    <a:gd name="connsiteY403" fmla="*/ 148065 h 388632"/>
                    <a:gd name="connsiteX404" fmla="*/ 1779222 w 2003216"/>
                    <a:gd name="connsiteY404" fmla="*/ 148065 h 388632"/>
                    <a:gd name="connsiteX405" fmla="*/ 864822 w 2003216"/>
                    <a:gd name="connsiteY405" fmla="*/ 48053 h 388632"/>
                    <a:gd name="connsiteX406" fmla="*/ 873806 w 2003216"/>
                    <a:gd name="connsiteY406" fmla="*/ 48053 h 388632"/>
                    <a:gd name="connsiteX407" fmla="*/ 873806 w 2003216"/>
                    <a:gd name="connsiteY407" fmla="*/ 148065 h 388632"/>
                    <a:gd name="connsiteX408" fmla="*/ 864822 w 2003216"/>
                    <a:gd name="connsiteY408" fmla="*/ 148065 h 388632"/>
                    <a:gd name="connsiteX409" fmla="*/ 93296 w 2003216"/>
                    <a:gd name="connsiteY409" fmla="*/ 48053 h 388632"/>
                    <a:gd name="connsiteX410" fmla="*/ 102282 w 2003216"/>
                    <a:gd name="connsiteY410" fmla="*/ 48053 h 388632"/>
                    <a:gd name="connsiteX411" fmla="*/ 102282 w 2003216"/>
                    <a:gd name="connsiteY411" fmla="*/ 148065 h 388632"/>
                    <a:gd name="connsiteX412" fmla="*/ 93296 w 2003216"/>
                    <a:gd name="connsiteY412" fmla="*/ 148065 h 388632"/>
                    <a:gd name="connsiteX413" fmla="*/ 1406858 w 2003216"/>
                    <a:gd name="connsiteY413" fmla="*/ 46099 h 388632"/>
                    <a:gd name="connsiteX414" fmla="*/ 1416820 w 2003216"/>
                    <a:gd name="connsiteY414" fmla="*/ 47857 h 388632"/>
                    <a:gd name="connsiteX415" fmla="*/ 1416820 w 2003216"/>
                    <a:gd name="connsiteY415" fmla="*/ 57429 h 388632"/>
                    <a:gd name="connsiteX416" fmla="*/ 1406272 w 2003216"/>
                    <a:gd name="connsiteY416" fmla="*/ 54206 h 388632"/>
                    <a:gd name="connsiteX417" fmla="*/ 1386446 w 2003216"/>
                    <a:gd name="connsiteY417" fmla="*/ 66414 h 388632"/>
                    <a:gd name="connsiteX418" fmla="*/ 1378436 w 2003216"/>
                    <a:gd name="connsiteY418" fmla="*/ 101087 h 388632"/>
                    <a:gd name="connsiteX419" fmla="*/ 1378436 w 2003216"/>
                    <a:gd name="connsiteY419" fmla="*/ 148065 h 388632"/>
                    <a:gd name="connsiteX420" fmla="*/ 1369646 w 2003216"/>
                    <a:gd name="connsiteY420" fmla="*/ 148065 h 388632"/>
                    <a:gd name="connsiteX421" fmla="*/ 1369646 w 2003216"/>
                    <a:gd name="connsiteY421" fmla="*/ 48053 h 388632"/>
                    <a:gd name="connsiteX422" fmla="*/ 1378436 w 2003216"/>
                    <a:gd name="connsiteY422" fmla="*/ 48053 h 388632"/>
                    <a:gd name="connsiteX423" fmla="*/ 1378436 w 2003216"/>
                    <a:gd name="connsiteY423" fmla="*/ 70223 h 388632"/>
                    <a:gd name="connsiteX424" fmla="*/ 1378828 w 2003216"/>
                    <a:gd name="connsiteY424" fmla="*/ 70223 h 388632"/>
                    <a:gd name="connsiteX425" fmla="*/ 1389668 w 2003216"/>
                    <a:gd name="connsiteY425" fmla="*/ 52448 h 388632"/>
                    <a:gd name="connsiteX426" fmla="*/ 1406858 w 2003216"/>
                    <a:gd name="connsiteY426" fmla="*/ 46099 h 388632"/>
                    <a:gd name="connsiteX427" fmla="*/ 435308 w 2003216"/>
                    <a:gd name="connsiteY427" fmla="*/ 46099 h 388632"/>
                    <a:gd name="connsiteX428" fmla="*/ 445270 w 2003216"/>
                    <a:gd name="connsiteY428" fmla="*/ 47857 h 388632"/>
                    <a:gd name="connsiteX429" fmla="*/ 445270 w 2003216"/>
                    <a:gd name="connsiteY429" fmla="*/ 57429 h 388632"/>
                    <a:gd name="connsiteX430" fmla="*/ 434722 w 2003216"/>
                    <a:gd name="connsiteY430" fmla="*/ 54206 h 388632"/>
                    <a:gd name="connsiteX431" fmla="*/ 414896 w 2003216"/>
                    <a:gd name="connsiteY431" fmla="*/ 66414 h 388632"/>
                    <a:gd name="connsiteX432" fmla="*/ 406886 w 2003216"/>
                    <a:gd name="connsiteY432" fmla="*/ 101087 h 388632"/>
                    <a:gd name="connsiteX433" fmla="*/ 406886 w 2003216"/>
                    <a:gd name="connsiteY433" fmla="*/ 148065 h 388632"/>
                    <a:gd name="connsiteX434" fmla="*/ 398096 w 2003216"/>
                    <a:gd name="connsiteY434" fmla="*/ 148065 h 388632"/>
                    <a:gd name="connsiteX435" fmla="*/ 398096 w 2003216"/>
                    <a:gd name="connsiteY435" fmla="*/ 48053 h 388632"/>
                    <a:gd name="connsiteX436" fmla="*/ 406886 w 2003216"/>
                    <a:gd name="connsiteY436" fmla="*/ 48053 h 388632"/>
                    <a:gd name="connsiteX437" fmla="*/ 406886 w 2003216"/>
                    <a:gd name="connsiteY437" fmla="*/ 70223 h 388632"/>
                    <a:gd name="connsiteX438" fmla="*/ 407276 w 2003216"/>
                    <a:gd name="connsiteY438" fmla="*/ 70223 h 388632"/>
                    <a:gd name="connsiteX439" fmla="*/ 418118 w 2003216"/>
                    <a:gd name="connsiteY439" fmla="*/ 52448 h 388632"/>
                    <a:gd name="connsiteX440" fmla="*/ 435308 w 2003216"/>
                    <a:gd name="connsiteY440" fmla="*/ 46099 h 388632"/>
                    <a:gd name="connsiteX441" fmla="*/ 168608 w 2003216"/>
                    <a:gd name="connsiteY441" fmla="*/ 46099 h 388632"/>
                    <a:gd name="connsiteX442" fmla="*/ 178570 w 2003216"/>
                    <a:gd name="connsiteY442" fmla="*/ 47857 h 388632"/>
                    <a:gd name="connsiteX443" fmla="*/ 178570 w 2003216"/>
                    <a:gd name="connsiteY443" fmla="*/ 57429 h 388632"/>
                    <a:gd name="connsiteX444" fmla="*/ 168022 w 2003216"/>
                    <a:gd name="connsiteY444" fmla="*/ 54206 h 388632"/>
                    <a:gd name="connsiteX445" fmla="*/ 148196 w 2003216"/>
                    <a:gd name="connsiteY445" fmla="*/ 66414 h 388632"/>
                    <a:gd name="connsiteX446" fmla="*/ 140186 w 2003216"/>
                    <a:gd name="connsiteY446" fmla="*/ 101087 h 388632"/>
                    <a:gd name="connsiteX447" fmla="*/ 140186 w 2003216"/>
                    <a:gd name="connsiteY447" fmla="*/ 148065 h 388632"/>
                    <a:gd name="connsiteX448" fmla="*/ 131396 w 2003216"/>
                    <a:gd name="connsiteY448" fmla="*/ 148065 h 388632"/>
                    <a:gd name="connsiteX449" fmla="*/ 131396 w 2003216"/>
                    <a:gd name="connsiteY449" fmla="*/ 48053 h 388632"/>
                    <a:gd name="connsiteX450" fmla="*/ 140186 w 2003216"/>
                    <a:gd name="connsiteY450" fmla="*/ 48053 h 388632"/>
                    <a:gd name="connsiteX451" fmla="*/ 140186 w 2003216"/>
                    <a:gd name="connsiteY451" fmla="*/ 70223 h 388632"/>
                    <a:gd name="connsiteX452" fmla="*/ 140576 w 2003216"/>
                    <a:gd name="connsiteY452" fmla="*/ 70223 h 388632"/>
                    <a:gd name="connsiteX453" fmla="*/ 151418 w 2003216"/>
                    <a:gd name="connsiteY453" fmla="*/ 52448 h 388632"/>
                    <a:gd name="connsiteX454" fmla="*/ 168608 w 2003216"/>
                    <a:gd name="connsiteY454" fmla="*/ 46099 h 388632"/>
                    <a:gd name="connsiteX455" fmla="*/ 1978214 w 2003216"/>
                    <a:gd name="connsiteY455" fmla="*/ 45611 h 388632"/>
                    <a:gd name="connsiteX456" fmla="*/ 2000286 w 2003216"/>
                    <a:gd name="connsiteY456" fmla="*/ 50885 h 388632"/>
                    <a:gd name="connsiteX457" fmla="*/ 2000286 w 2003216"/>
                    <a:gd name="connsiteY457" fmla="*/ 61043 h 388632"/>
                    <a:gd name="connsiteX458" fmla="*/ 1977236 w 2003216"/>
                    <a:gd name="connsiteY458" fmla="*/ 53815 h 388632"/>
                    <a:gd name="connsiteX459" fmla="*/ 1961316 w 2003216"/>
                    <a:gd name="connsiteY459" fmla="*/ 58943 h 388632"/>
                    <a:gd name="connsiteX460" fmla="*/ 1955262 w 2003216"/>
                    <a:gd name="connsiteY460" fmla="*/ 72275 h 388632"/>
                    <a:gd name="connsiteX461" fmla="*/ 1959070 w 2003216"/>
                    <a:gd name="connsiteY461" fmla="*/ 83848 h 388632"/>
                    <a:gd name="connsiteX462" fmla="*/ 1975870 w 2003216"/>
                    <a:gd name="connsiteY462" fmla="*/ 94055 h 388632"/>
                    <a:gd name="connsiteX463" fmla="*/ 1997356 w 2003216"/>
                    <a:gd name="connsiteY463" fmla="*/ 107093 h 388632"/>
                    <a:gd name="connsiteX464" fmla="*/ 2003216 w 2003216"/>
                    <a:gd name="connsiteY464" fmla="*/ 123062 h 388632"/>
                    <a:gd name="connsiteX465" fmla="*/ 1994280 w 2003216"/>
                    <a:gd name="connsiteY465" fmla="*/ 142742 h 388632"/>
                    <a:gd name="connsiteX466" fmla="*/ 1969618 w 2003216"/>
                    <a:gd name="connsiteY466" fmla="*/ 150507 h 388632"/>
                    <a:gd name="connsiteX467" fmla="*/ 1945494 w 2003216"/>
                    <a:gd name="connsiteY467" fmla="*/ 143670 h 388632"/>
                    <a:gd name="connsiteX468" fmla="*/ 1945494 w 2003216"/>
                    <a:gd name="connsiteY468" fmla="*/ 132829 h 388632"/>
                    <a:gd name="connsiteX469" fmla="*/ 1957800 w 2003216"/>
                    <a:gd name="connsiteY469" fmla="*/ 139763 h 388632"/>
                    <a:gd name="connsiteX470" fmla="*/ 1970302 w 2003216"/>
                    <a:gd name="connsiteY470" fmla="*/ 142303 h 388632"/>
                    <a:gd name="connsiteX471" fmla="*/ 1993840 w 2003216"/>
                    <a:gd name="connsiteY471" fmla="*/ 123062 h 388632"/>
                    <a:gd name="connsiteX472" fmla="*/ 1988664 w 2003216"/>
                    <a:gd name="connsiteY472" fmla="*/ 111733 h 388632"/>
                    <a:gd name="connsiteX473" fmla="*/ 1971866 w 2003216"/>
                    <a:gd name="connsiteY473" fmla="*/ 102063 h 388632"/>
                    <a:gd name="connsiteX474" fmla="*/ 1951696 w 2003216"/>
                    <a:gd name="connsiteY474" fmla="*/ 89122 h 388632"/>
                    <a:gd name="connsiteX475" fmla="*/ 1945886 w 2003216"/>
                    <a:gd name="connsiteY475" fmla="*/ 72861 h 388632"/>
                    <a:gd name="connsiteX476" fmla="*/ 1955212 w 2003216"/>
                    <a:gd name="connsiteY476" fmla="*/ 53132 h 388632"/>
                    <a:gd name="connsiteX477" fmla="*/ 1978214 w 2003216"/>
                    <a:gd name="connsiteY477" fmla="*/ 45611 h 388632"/>
                    <a:gd name="connsiteX478" fmla="*/ 1844864 w 2003216"/>
                    <a:gd name="connsiteY478" fmla="*/ 45611 h 388632"/>
                    <a:gd name="connsiteX479" fmla="*/ 1866936 w 2003216"/>
                    <a:gd name="connsiteY479" fmla="*/ 50885 h 388632"/>
                    <a:gd name="connsiteX480" fmla="*/ 1866936 w 2003216"/>
                    <a:gd name="connsiteY480" fmla="*/ 61043 h 388632"/>
                    <a:gd name="connsiteX481" fmla="*/ 1843888 w 2003216"/>
                    <a:gd name="connsiteY481" fmla="*/ 53815 h 388632"/>
                    <a:gd name="connsiteX482" fmla="*/ 1827968 w 2003216"/>
                    <a:gd name="connsiteY482" fmla="*/ 58943 h 388632"/>
                    <a:gd name="connsiteX483" fmla="*/ 1821912 w 2003216"/>
                    <a:gd name="connsiteY483" fmla="*/ 72275 h 388632"/>
                    <a:gd name="connsiteX484" fmla="*/ 1825720 w 2003216"/>
                    <a:gd name="connsiteY484" fmla="*/ 83848 h 388632"/>
                    <a:gd name="connsiteX485" fmla="*/ 1842520 w 2003216"/>
                    <a:gd name="connsiteY485" fmla="*/ 94055 h 388632"/>
                    <a:gd name="connsiteX486" fmla="*/ 1864006 w 2003216"/>
                    <a:gd name="connsiteY486" fmla="*/ 107093 h 388632"/>
                    <a:gd name="connsiteX487" fmla="*/ 1869866 w 2003216"/>
                    <a:gd name="connsiteY487" fmla="*/ 123062 h 388632"/>
                    <a:gd name="connsiteX488" fmla="*/ 1860930 w 2003216"/>
                    <a:gd name="connsiteY488" fmla="*/ 142742 h 388632"/>
                    <a:gd name="connsiteX489" fmla="*/ 1836268 w 2003216"/>
                    <a:gd name="connsiteY489" fmla="*/ 150507 h 388632"/>
                    <a:gd name="connsiteX490" fmla="*/ 1812144 w 2003216"/>
                    <a:gd name="connsiteY490" fmla="*/ 143670 h 388632"/>
                    <a:gd name="connsiteX491" fmla="*/ 1812144 w 2003216"/>
                    <a:gd name="connsiteY491" fmla="*/ 132829 h 388632"/>
                    <a:gd name="connsiteX492" fmla="*/ 1824452 w 2003216"/>
                    <a:gd name="connsiteY492" fmla="*/ 139763 h 388632"/>
                    <a:gd name="connsiteX493" fmla="*/ 1836952 w 2003216"/>
                    <a:gd name="connsiteY493" fmla="*/ 142303 h 388632"/>
                    <a:gd name="connsiteX494" fmla="*/ 1860490 w 2003216"/>
                    <a:gd name="connsiteY494" fmla="*/ 123062 h 388632"/>
                    <a:gd name="connsiteX495" fmla="*/ 1855314 w 2003216"/>
                    <a:gd name="connsiteY495" fmla="*/ 111733 h 388632"/>
                    <a:gd name="connsiteX496" fmla="*/ 1838516 w 2003216"/>
                    <a:gd name="connsiteY496" fmla="*/ 102063 h 388632"/>
                    <a:gd name="connsiteX497" fmla="*/ 1818346 w 2003216"/>
                    <a:gd name="connsiteY497" fmla="*/ 89122 h 388632"/>
                    <a:gd name="connsiteX498" fmla="*/ 1812536 w 2003216"/>
                    <a:gd name="connsiteY498" fmla="*/ 72861 h 388632"/>
                    <a:gd name="connsiteX499" fmla="*/ 1821862 w 2003216"/>
                    <a:gd name="connsiteY499" fmla="*/ 53132 h 388632"/>
                    <a:gd name="connsiteX500" fmla="*/ 1844864 w 2003216"/>
                    <a:gd name="connsiteY500" fmla="*/ 45611 h 388632"/>
                    <a:gd name="connsiteX501" fmla="*/ 1736470 w 2003216"/>
                    <a:gd name="connsiteY501" fmla="*/ 45611 h 388632"/>
                    <a:gd name="connsiteX502" fmla="*/ 1758640 w 2003216"/>
                    <a:gd name="connsiteY502" fmla="*/ 50299 h 388632"/>
                    <a:gd name="connsiteX503" fmla="*/ 1758640 w 2003216"/>
                    <a:gd name="connsiteY503" fmla="*/ 60457 h 388632"/>
                    <a:gd name="connsiteX504" fmla="*/ 1735104 w 2003216"/>
                    <a:gd name="connsiteY504" fmla="*/ 53815 h 388632"/>
                    <a:gd name="connsiteX505" fmla="*/ 1706584 w 2003216"/>
                    <a:gd name="connsiteY505" fmla="*/ 66463 h 388632"/>
                    <a:gd name="connsiteX506" fmla="*/ 1695644 w 2003216"/>
                    <a:gd name="connsiteY506" fmla="*/ 99231 h 388632"/>
                    <a:gd name="connsiteX507" fmla="*/ 1705656 w 2003216"/>
                    <a:gd name="connsiteY507" fmla="*/ 130485 h 388632"/>
                    <a:gd name="connsiteX508" fmla="*/ 1732076 w 2003216"/>
                    <a:gd name="connsiteY508" fmla="*/ 142303 h 388632"/>
                    <a:gd name="connsiteX509" fmla="*/ 1758250 w 2003216"/>
                    <a:gd name="connsiteY509" fmla="*/ 134294 h 388632"/>
                    <a:gd name="connsiteX510" fmla="*/ 1758250 w 2003216"/>
                    <a:gd name="connsiteY510" fmla="*/ 143670 h 388632"/>
                    <a:gd name="connsiteX511" fmla="*/ 1731684 w 2003216"/>
                    <a:gd name="connsiteY511" fmla="*/ 150507 h 388632"/>
                    <a:gd name="connsiteX512" fmla="*/ 1698770 w 2003216"/>
                    <a:gd name="connsiteY512" fmla="*/ 136492 h 388632"/>
                    <a:gd name="connsiteX513" fmla="*/ 1686268 w 2003216"/>
                    <a:gd name="connsiteY513" fmla="*/ 99817 h 388632"/>
                    <a:gd name="connsiteX514" fmla="*/ 1700332 w 2003216"/>
                    <a:gd name="connsiteY514" fmla="*/ 60798 h 388632"/>
                    <a:gd name="connsiteX515" fmla="*/ 1736470 w 2003216"/>
                    <a:gd name="connsiteY515" fmla="*/ 45611 h 388632"/>
                    <a:gd name="connsiteX516" fmla="*/ 1634676 w 2003216"/>
                    <a:gd name="connsiteY516" fmla="*/ 45611 h 388632"/>
                    <a:gd name="connsiteX517" fmla="*/ 1658556 w 2003216"/>
                    <a:gd name="connsiteY517" fmla="*/ 55183 h 388632"/>
                    <a:gd name="connsiteX518" fmla="*/ 1667004 w 2003216"/>
                    <a:gd name="connsiteY518" fmla="*/ 83018 h 388632"/>
                    <a:gd name="connsiteX519" fmla="*/ 1667004 w 2003216"/>
                    <a:gd name="connsiteY519" fmla="*/ 148065 h 388632"/>
                    <a:gd name="connsiteX520" fmla="*/ 1658020 w 2003216"/>
                    <a:gd name="connsiteY520" fmla="*/ 148065 h 388632"/>
                    <a:gd name="connsiteX521" fmla="*/ 1658020 w 2003216"/>
                    <a:gd name="connsiteY521" fmla="*/ 128043 h 388632"/>
                    <a:gd name="connsiteX522" fmla="*/ 1657628 w 2003216"/>
                    <a:gd name="connsiteY522" fmla="*/ 128043 h 388632"/>
                    <a:gd name="connsiteX523" fmla="*/ 1643710 w 2003216"/>
                    <a:gd name="connsiteY523" fmla="*/ 144403 h 388632"/>
                    <a:gd name="connsiteX524" fmla="*/ 1623444 w 2003216"/>
                    <a:gd name="connsiteY524" fmla="*/ 150507 h 388632"/>
                    <a:gd name="connsiteX525" fmla="*/ 1600884 w 2003216"/>
                    <a:gd name="connsiteY525" fmla="*/ 142498 h 388632"/>
                    <a:gd name="connsiteX526" fmla="*/ 1592582 w 2003216"/>
                    <a:gd name="connsiteY526" fmla="*/ 122281 h 388632"/>
                    <a:gd name="connsiteX527" fmla="*/ 1627254 w 2003216"/>
                    <a:gd name="connsiteY527" fmla="*/ 90636 h 388632"/>
                    <a:gd name="connsiteX528" fmla="*/ 1658020 w 2003216"/>
                    <a:gd name="connsiteY528" fmla="*/ 86046 h 388632"/>
                    <a:gd name="connsiteX529" fmla="*/ 1633798 w 2003216"/>
                    <a:gd name="connsiteY529" fmla="*/ 53815 h 388632"/>
                    <a:gd name="connsiteX530" fmla="*/ 1601664 w 2003216"/>
                    <a:gd name="connsiteY530" fmla="*/ 67098 h 388632"/>
                    <a:gd name="connsiteX531" fmla="*/ 1601664 w 2003216"/>
                    <a:gd name="connsiteY531" fmla="*/ 56257 h 388632"/>
                    <a:gd name="connsiteX532" fmla="*/ 1616754 w 2003216"/>
                    <a:gd name="connsiteY532" fmla="*/ 48736 h 388632"/>
                    <a:gd name="connsiteX533" fmla="*/ 1634676 w 2003216"/>
                    <a:gd name="connsiteY533" fmla="*/ 45611 h 388632"/>
                    <a:gd name="connsiteX534" fmla="*/ 1476268 w 2003216"/>
                    <a:gd name="connsiteY534" fmla="*/ 45611 h 388632"/>
                    <a:gd name="connsiteX535" fmla="*/ 1494972 w 2003216"/>
                    <a:gd name="connsiteY535" fmla="*/ 51911 h 388632"/>
                    <a:gd name="connsiteX536" fmla="*/ 1505470 w 2003216"/>
                    <a:gd name="connsiteY536" fmla="*/ 68465 h 388632"/>
                    <a:gd name="connsiteX537" fmla="*/ 1518900 w 2003216"/>
                    <a:gd name="connsiteY537" fmla="*/ 51618 h 388632"/>
                    <a:gd name="connsiteX538" fmla="*/ 1537896 w 2003216"/>
                    <a:gd name="connsiteY538" fmla="*/ 45611 h 388632"/>
                    <a:gd name="connsiteX539" fmla="*/ 1570712 w 2003216"/>
                    <a:gd name="connsiteY539" fmla="*/ 86241 h 388632"/>
                    <a:gd name="connsiteX540" fmla="*/ 1570712 w 2003216"/>
                    <a:gd name="connsiteY540" fmla="*/ 148065 h 388632"/>
                    <a:gd name="connsiteX541" fmla="*/ 1561728 w 2003216"/>
                    <a:gd name="connsiteY541" fmla="*/ 148065 h 388632"/>
                    <a:gd name="connsiteX542" fmla="*/ 1561728 w 2003216"/>
                    <a:gd name="connsiteY542" fmla="*/ 87901 h 388632"/>
                    <a:gd name="connsiteX543" fmla="*/ 1555818 w 2003216"/>
                    <a:gd name="connsiteY543" fmla="*/ 61433 h 388632"/>
                    <a:gd name="connsiteX544" fmla="*/ 1537116 w 2003216"/>
                    <a:gd name="connsiteY544" fmla="*/ 53815 h 388632"/>
                    <a:gd name="connsiteX545" fmla="*/ 1516702 w 2003216"/>
                    <a:gd name="connsiteY545" fmla="*/ 63973 h 388632"/>
                    <a:gd name="connsiteX546" fmla="*/ 1508108 w 2003216"/>
                    <a:gd name="connsiteY546" fmla="*/ 89464 h 388632"/>
                    <a:gd name="connsiteX547" fmla="*/ 1508108 w 2003216"/>
                    <a:gd name="connsiteY547" fmla="*/ 148065 h 388632"/>
                    <a:gd name="connsiteX548" fmla="*/ 1499122 w 2003216"/>
                    <a:gd name="connsiteY548" fmla="*/ 148065 h 388632"/>
                    <a:gd name="connsiteX549" fmla="*/ 1499122 w 2003216"/>
                    <a:gd name="connsiteY549" fmla="*/ 87218 h 388632"/>
                    <a:gd name="connsiteX550" fmla="*/ 1473728 w 2003216"/>
                    <a:gd name="connsiteY550" fmla="*/ 53815 h 388632"/>
                    <a:gd name="connsiteX551" fmla="*/ 1453414 w 2003216"/>
                    <a:gd name="connsiteY551" fmla="*/ 64022 h 388632"/>
                    <a:gd name="connsiteX552" fmla="*/ 1445306 w 2003216"/>
                    <a:gd name="connsiteY552" fmla="*/ 90441 h 388632"/>
                    <a:gd name="connsiteX553" fmla="*/ 1445306 w 2003216"/>
                    <a:gd name="connsiteY553" fmla="*/ 148065 h 388632"/>
                    <a:gd name="connsiteX554" fmla="*/ 1436322 w 2003216"/>
                    <a:gd name="connsiteY554" fmla="*/ 148065 h 388632"/>
                    <a:gd name="connsiteX555" fmla="*/ 1436322 w 2003216"/>
                    <a:gd name="connsiteY555" fmla="*/ 48053 h 388632"/>
                    <a:gd name="connsiteX556" fmla="*/ 1445306 w 2003216"/>
                    <a:gd name="connsiteY556" fmla="*/ 48053 h 388632"/>
                    <a:gd name="connsiteX557" fmla="*/ 1445306 w 2003216"/>
                    <a:gd name="connsiteY557" fmla="*/ 64656 h 388632"/>
                    <a:gd name="connsiteX558" fmla="*/ 1445698 w 2003216"/>
                    <a:gd name="connsiteY558" fmla="*/ 64656 h 388632"/>
                    <a:gd name="connsiteX559" fmla="*/ 1476268 w 2003216"/>
                    <a:gd name="connsiteY559" fmla="*/ 45611 h 388632"/>
                    <a:gd name="connsiteX560" fmla="*/ 1310826 w 2003216"/>
                    <a:gd name="connsiteY560" fmla="*/ 45611 h 388632"/>
                    <a:gd name="connsiteX561" fmla="*/ 1334706 w 2003216"/>
                    <a:gd name="connsiteY561" fmla="*/ 55183 h 388632"/>
                    <a:gd name="connsiteX562" fmla="*/ 1343154 w 2003216"/>
                    <a:gd name="connsiteY562" fmla="*/ 83018 h 388632"/>
                    <a:gd name="connsiteX563" fmla="*/ 1343154 w 2003216"/>
                    <a:gd name="connsiteY563" fmla="*/ 148065 h 388632"/>
                    <a:gd name="connsiteX564" fmla="*/ 1334170 w 2003216"/>
                    <a:gd name="connsiteY564" fmla="*/ 148065 h 388632"/>
                    <a:gd name="connsiteX565" fmla="*/ 1334170 w 2003216"/>
                    <a:gd name="connsiteY565" fmla="*/ 128043 h 388632"/>
                    <a:gd name="connsiteX566" fmla="*/ 1333778 w 2003216"/>
                    <a:gd name="connsiteY566" fmla="*/ 128043 h 388632"/>
                    <a:gd name="connsiteX567" fmla="*/ 1319860 w 2003216"/>
                    <a:gd name="connsiteY567" fmla="*/ 144403 h 388632"/>
                    <a:gd name="connsiteX568" fmla="*/ 1299594 w 2003216"/>
                    <a:gd name="connsiteY568" fmla="*/ 150507 h 388632"/>
                    <a:gd name="connsiteX569" fmla="*/ 1277034 w 2003216"/>
                    <a:gd name="connsiteY569" fmla="*/ 142498 h 388632"/>
                    <a:gd name="connsiteX570" fmla="*/ 1268732 w 2003216"/>
                    <a:gd name="connsiteY570" fmla="*/ 122281 h 388632"/>
                    <a:gd name="connsiteX571" fmla="*/ 1303404 w 2003216"/>
                    <a:gd name="connsiteY571" fmla="*/ 90636 h 388632"/>
                    <a:gd name="connsiteX572" fmla="*/ 1334170 w 2003216"/>
                    <a:gd name="connsiteY572" fmla="*/ 86046 h 388632"/>
                    <a:gd name="connsiteX573" fmla="*/ 1309948 w 2003216"/>
                    <a:gd name="connsiteY573" fmla="*/ 53815 h 388632"/>
                    <a:gd name="connsiteX574" fmla="*/ 1277814 w 2003216"/>
                    <a:gd name="connsiteY574" fmla="*/ 67098 h 388632"/>
                    <a:gd name="connsiteX575" fmla="*/ 1277814 w 2003216"/>
                    <a:gd name="connsiteY575" fmla="*/ 56257 h 388632"/>
                    <a:gd name="connsiteX576" fmla="*/ 1292904 w 2003216"/>
                    <a:gd name="connsiteY576" fmla="*/ 48736 h 388632"/>
                    <a:gd name="connsiteX577" fmla="*/ 1310826 w 2003216"/>
                    <a:gd name="connsiteY577" fmla="*/ 45611 h 388632"/>
                    <a:gd name="connsiteX578" fmla="*/ 1102104 w 2003216"/>
                    <a:gd name="connsiteY578" fmla="*/ 45611 h 388632"/>
                    <a:gd name="connsiteX579" fmla="*/ 1131844 w 2003216"/>
                    <a:gd name="connsiteY579" fmla="*/ 58747 h 388632"/>
                    <a:gd name="connsiteX580" fmla="*/ 1142540 w 2003216"/>
                    <a:gd name="connsiteY580" fmla="*/ 94445 h 388632"/>
                    <a:gd name="connsiteX581" fmla="*/ 1130282 w 2003216"/>
                    <a:gd name="connsiteY581" fmla="*/ 135026 h 388632"/>
                    <a:gd name="connsiteX582" fmla="*/ 1097904 w 2003216"/>
                    <a:gd name="connsiteY582" fmla="*/ 150507 h 388632"/>
                    <a:gd name="connsiteX583" fmla="*/ 1064698 w 2003216"/>
                    <a:gd name="connsiteY583" fmla="*/ 130290 h 388632"/>
                    <a:gd name="connsiteX584" fmla="*/ 1064306 w 2003216"/>
                    <a:gd name="connsiteY584" fmla="*/ 130290 h 388632"/>
                    <a:gd name="connsiteX585" fmla="*/ 1064306 w 2003216"/>
                    <a:gd name="connsiteY585" fmla="*/ 194067 h 388632"/>
                    <a:gd name="connsiteX586" fmla="*/ 1055322 w 2003216"/>
                    <a:gd name="connsiteY586" fmla="*/ 194067 h 388632"/>
                    <a:gd name="connsiteX587" fmla="*/ 1055322 w 2003216"/>
                    <a:gd name="connsiteY587" fmla="*/ 48053 h 388632"/>
                    <a:gd name="connsiteX588" fmla="*/ 1064306 w 2003216"/>
                    <a:gd name="connsiteY588" fmla="*/ 48053 h 388632"/>
                    <a:gd name="connsiteX589" fmla="*/ 1064306 w 2003216"/>
                    <a:gd name="connsiteY589" fmla="*/ 68661 h 388632"/>
                    <a:gd name="connsiteX590" fmla="*/ 1064698 w 2003216"/>
                    <a:gd name="connsiteY590" fmla="*/ 68661 h 388632"/>
                    <a:gd name="connsiteX591" fmla="*/ 1080080 w 2003216"/>
                    <a:gd name="connsiteY591" fmla="*/ 51618 h 388632"/>
                    <a:gd name="connsiteX592" fmla="*/ 1102104 w 2003216"/>
                    <a:gd name="connsiteY592" fmla="*/ 45611 h 388632"/>
                    <a:gd name="connsiteX593" fmla="*/ 945896 w 2003216"/>
                    <a:gd name="connsiteY593" fmla="*/ 45611 h 388632"/>
                    <a:gd name="connsiteX594" fmla="*/ 968066 w 2003216"/>
                    <a:gd name="connsiteY594" fmla="*/ 50299 h 388632"/>
                    <a:gd name="connsiteX595" fmla="*/ 968066 w 2003216"/>
                    <a:gd name="connsiteY595" fmla="*/ 60457 h 388632"/>
                    <a:gd name="connsiteX596" fmla="*/ 944528 w 2003216"/>
                    <a:gd name="connsiteY596" fmla="*/ 53815 h 388632"/>
                    <a:gd name="connsiteX597" fmla="*/ 916008 w 2003216"/>
                    <a:gd name="connsiteY597" fmla="*/ 66463 h 388632"/>
                    <a:gd name="connsiteX598" fmla="*/ 905070 w 2003216"/>
                    <a:gd name="connsiteY598" fmla="*/ 99231 h 388632"/>
                    <a:gd name="connsiteX599" fmla="*/ 915080 w 2003216"/>
                    <a:gd name="connsiteY599" fmla="*/ 130485 h 388632"/>
                    <a:gd name="connsiteX600" fmla="*/ 941500 w 2003216"/>
                    <a:gd name="connsiteY600" fmla="*/ 142303 h 388632"/>
                    <a:gd name="connsiteX601" fmla="*/ 967676 w 2003216"/>
                    <a:gd name="connsiteY601" fmla="*/ 134294 h 388632"/>
                    <a:gd name="connsiteX602" fmla="*/ 967676 w 2003216"/>
                    <a:gd name="connsiteY602" fmla="*/ 143670 h 388632"/>
                    <a:gd name="connsiteX603" fmla="*/ 941110 w 2003216"/>
                    <a:gd name="connsiteY603" fmla="*/ 150507 h 388632"/>
                    <a:gd name="connsiteX604" fmla="*/ 908196 w 2003216"/>
                    <a:gd name="connsiteY604" fmla="*/ 136492 h 388632"/>
                    <a:gd name="connsiteX605" fmla="*/ 895694 w 2003216"/>
                    <a:gd name="connsiteY605" fmla="*/ 99817 h 388632"/>
                    <a:gd name="connsiteX606" fmla="*/ 909758 w 2003216"/>
                    <a:gd name="connsiteY606" fmla="*/ 60798 h 388632"/>
                    <a:gd name="connsiteX607" fmla="*/ 945896 w 2003216"/>
                    <a:gd name="connsiteY607" fmla="*/ 45611 h 388632"/>
                    <a:gd name="connsiteX608" fmla="*/ 734588 w 2003216"/>
                    <a:gd name="connsiteY608" fmla="*/ 45611 h 388632"/>
                    <a:gd name="connsiteX609" fmla="*/ 768380 w 2003216"/>
                    <a:gd name="connsiteY609" fmla="*/ 59578 h 388632"/>
                    <a:gd name="connsiteX610" fmla="*/ 780784 w 2003216"/>
                    <a:gd name="connsiteY610" fmla="*/ 98254 h 388632"/>
                    <a:gd name="connsiteX611" fmla="*/ 768136 w 2003216"/>
                    <a:gd name="connsiteY611" fmla="*/ 136052 h 388632"/>
                    <a:gd name="connsiteX612" fmla="*/ 733512 w 2003216"/>
                    <a:gd name="connsiteY612" fmla="*/ 150507 h 388632"/>
                    <a:gd name="connsiteX613" fmla="*/ 698890 w 2003216"/>
                    <a:gd name="connsiteY613" fmla="*/ 136101 h 388632"/>
                    <a:gd name="connsiteX614" fmla="*/ 686144 w 2003216"/>
                    <a:gd name="connsiteY614" fmla="*/ 98645 h 388632"/>
                    <a:gd name="connsiteX615" fmla="*/ 699476 w 2003216"/>
                    <a:gd name="connsiteY615" fmla="*/ 59675 h 388632"/>
                    <a:gd name="connsiteX616" fmla="*/ 734588 w 2003216"/>
                    <a:gd name="connsiteY616" fmla="*/ 45611 h 388632"/>
                    <a:gd name="connsiteX617" fmla="*/ 505988 w 2003216"/>
                    <a:gd name="connsiteY617" fmla="*/ 45611 h 388632"/>
                    <a:gd name="connsiteX618" fmla="*/ 539780 w 2003216"/>
                    <a:gd name="connsiteY618" fmla="*/ 59578 h 388632"/>
                    <a:gd name="connsiteX619" fmla="*/ 552184 w 2003216"/>
                    <a:gd name="connsiteY619" fmla="*/ 98254 h 388632"/>
                    <a:gd name="connsiteX620" fmla="*/ 539536 w 2003216"/>
                    <a:gd name="connsiteY620" fmla="*/ 136052 h 388632"/>
                    <a:gd name="connsiteX621" fmla="*/ 504912 w 2003216"/>
                    <a:gd name="connsiteY621" fmla="*/ 150507 h 388632"/>
                    <a:gd name="connsiteX622" fmla="*/ 470290 w 2003216"/>
                    <a:gd name="connsiteY622" fmla="*/ 136101 h 388632"/>
                    <a:gd name="connsiteX623" fmla="*/ 457544 w 2003216"/>
                    <a:gd name="connsiteY623" fmla="*/ 98645 h 388632"/>
                    <a:gd name="connsiteX624" fmla="*/ 470876 w 2003216"/>
                    <a:gd name="connsiteY624" fmla="*/ 59675 h 388632"/>
                    <a:gd name="connsiteX625" fmla="*/ 505988 w 2003216"/>
                    <a:gd name="connsiteY625" fmla="*/ 45611 h 388632"/>
                    <a:gd name="connsiteX626" fmla="*/ 225614 w 2003216"/>
                    <a:gd name="connsiteY626" fmla="*/ 45611 h 388632"/>
                    <a:gd name="connsiteX627" fmla="*/ 247686 w 2003216"/>
                    <a:gd name="connsiteY627" fmla="*/ 50885 h 388632"/>
                    <a:gd name="connsiteX628" fmla="*/ 247686 w 2003216"/>
                    <a:gd name="connsiteY628" fmla="*/ 61043 h 388632"/>
                    <a:gd name="connsiteX629" fmla="*/ 224636 w 2003216"/>
                    <a:gd name="connsiteY629" fmla="*/ 53815 h 388632"/>
                    <a:gd name="connsiteX630" fmla="*/ 208716 w 2003216"/>
                    <a:gd name="connsiteY630" fmla="*/ 58943 h 388632"/>
                    <a:gd name="connsiteX631" fmla="*/ 202662 w 2003216"/>
                    <a:gd name="connsiteY631" fmla="*/ 72275 h 388632"/>
                    <a:gd name="connsiteX632" fmla="*/ 206470 w 2003216"/>
                    <a:gd name="connsiteY632" fmla="*/ 83848 h 388632"/>
                    <a:gd name="connsiteX633" fmla="*/ 223270 w 2003216"/>
                    <a:gd name="connsiteY633" fmla="*/ 94055 h 388632"/>
                    <a:gd name="connsiteX634" fmla="*/ 244756 w 2003216"/>
                    <a:gd name="connsiteY634" fmla="*/ 107093 h 388632"/>
                    <a:gd name="connsiteX635" fmla="*/ 250616 w 2003216"/>
                    <a:gd name="connsiteY635" fmla="*/ 123062 h 388632"/>
                    <a:gd name="connsiteX636" fmla="*/ 241680 w 2003216"/>
                    <a:gd name="connsiteY636" fmla="*/ 142742 h 388632"/>
                    <a:gd name="connsiteX637" fmla="*/ 217018 w 2003216"/>
                    <a:gd name="connsiteY637" fmla="*/ 150507 h 388632"/>
                    <a:gd name="connsiteX638" fmla="*/ 192894 w 2003216"/>
                    <a:gd name="connsiteY638" fmla="*/ 143670 h 388632"/>
                    <a:gd name="connsiteX639" fmla="*/ 192894 w 2003216"/>
                    <a:gd name="connsiteY639" fmla="*/ 132829 h 388632"/>
                    <a:gd name="connsiteX640" fmla="*/ 205200 w 2003216"/>
                    <a:gd name="connsiteY640" fmla="*/ 139763 h 388632"/>
                    <a:gd name="connsiteX641" fmla="*/ 217702 w 2003216"/>
                    <a:gd name="connsiteY641" fmla="*/ 142303 h 388632"/>
                    <a:gd name="connsiteX642" fmla="*/ 241240 w 2003216"/>
                    <a:gd name="connsiteY642" fmla="*/ 123062 h 388632"/>
                    <a:gd name="connsiteX643" fmla="*/ 236064 w 2003216"/>
                    <a:gd name="connsiteY643" fmla="*/ 111733 h 388632"/>
                    <a:gd name="connsiteX644" fmla="*/ 219266 w 2003216"/>
                    <a:gd name="connsiteY644" fmla="*/ 102063 h 388632"/>
                    <a:gd name="connsiteX645" fmla="*/ 199096 w 2003216"/>
                    <a:gd name="connsiteY645" fmla="*/ 89122 h 388632"/>
                    <a:gd name="connsiteX646" fmla="*/ 193286 w 2003216"/>
                    <a:gd name="connsiteY646" fmla="*/ 72861 h 388632"/>
                    <a:gd name="connsiteX647" fmla="*/ 202612 w 2003216"/>
                    <a:gd name="connsiteY647" fmla="*/ 53132 h 388632"/>
                    <a:gd name="connsiteX648" fmla="*/ 225614 w 2003216"/>
                    <a:gd name="connsiteY648" fmla="*/ 45611 h 388632"/>
                    <a:gd name="connsiteX649" fmla="*/ 1906706 w 2003216"/>
                    <a:gd name="connsiteY649" fmla="*/ 19045 h 388632"/>
                    <a:gd name="connsiteX650" fmla="*/ 1906706 w 2003216"/>
                    <a:gd name="connsiteY650" fmla="*/ 48053 h 388632"/>
                    <a:gd name="connsiteX651" fmla="*/ 1933076 w 2003216"/>
                    <a:gd name="connsiteY651" fmla="*/ 48053 h 388632"/>
                    <a:gd name="connsiteX652" fmla="*/ 1933076 w 2003216"/>
                    <a:gd name="connsiteY652" fmla="*/ 56257 h 388632"/>
                    <a:gd name="connsiteX653" fmla="*/ 1906706 w 2003216"/>
                    <a:gd name="connsiteY653" fmla="*/ 56257 h 388632"/>
                    <a:gd name="connsiteX654" fmla="*/ 1906706 w 2003216"/>
                    <a:gd name="connsiteY654" fmla="*/ 122281 h 388632"/>
                    <a:gd name="connsiteX655" fmla="*/ 1909978 w 2003216"/>
                    <a:gd name="connsiteY655" fmla="*/ 137273 h 388632"/>
                    <a:gd name="connsiteX656" fmla="*/ 1921064 w 2003216"/>
                    <a:gd name="connsiteY656" fmla="*/ 141912 h 388632"/>
                    <a:gd name="connsiteX657" fmla="*/ 1933076 w 2003216"/>
                    <a:gd name="connsiteY657" fmla="*/ 138298 h 388632"/>
                    <a:gd name="connsiteX658" fmla="*/ 1933076 w 2003216"/>
                    <a:gd name="connsiteY658" fmla="*/ 146698 h 388632"/>
                    <a:gd name="connsiteX659" fmla="*/ 1919892 w 2003216"/>
                    <a:gd name="connsiteY659" fmla="*/ 150019 h 388632"/>
                    <a:gd name="connsiteX660" fmla="*/ 1897720 w 2003216"/>
                    <a:gd name="connsiteY660" fmla="*/ 123453 h 388632"/>
                    <a:gd name="connsiteX661" fmla="*/ 1897720 w 2003216"/>
                    <a:gd name="connsiteY661" fmla="*/ 56257 h 388632"/>
                    <a:gd name="connsiteX662" fmla="*/ 1879750 w 2003216"/>
                    <a:gd name="connsiteY662" fmla="*/ 56257 h 388632"/>
                    <a:gd name="connsiteX663" fmla="*/ 1879750 w 2003216"/>
                    <a:gd name="connsiteY663" fmla="*/ 48053 h 388632"/>
                    <a:gd name="connsiteX664" fmla="*/ 1897720 w 2003216"/>
                    <a:gd name="connsiteY664" fmla="*/ 48053 h 388632"/>
                    <a:gd name="connsiteX665" fmla="*/ 1897720 w 2003216"/>
                    <a:gd name="connsiteY665" fmla="*/ 22073 h 388632"/>
                    <a:gd name="connsiteX666" fmla="*/ 1902214 w 2003216"/>
                    <a:gd name="connsiteY666" fmla="*/ 20510 h 388632"/>
                    <a:gd name="connsiteX667" fmla="*/ 1906706 w 2003216"/>
                    <a:gd name="connsiteY667" fmla="*/ 19045 h 388632"/>
                    <a:gd name="connsiteX668" fmla="*/ 820856 w 2003216"/>
                    <a:gd name="connsiteY668" fmla="*/ 19045 h 388632"/>
                    <a:gd name="connsiteX669" fmla="*/ 820856 w 2003216"/>
                    <a:gd name="connsiteY669" fmla="*/ 48053 h 388632"/>
                    <a:gd name="connsiteX670" fmla="*/ 847228 w 2003216"/>
                    <a:gd name="connsiteY670" fmla="*/ 48053 h 388632"/>
                    <a:gd name="connsiteX671" fmla="*/ 847228 w 2003216"/>
                    <a:gd name="connsiteY671" fmla="*/ 56257 h 388632"/>
                    <a:gd name="connsiteX672" fmla="*/ 820856 w 2003216"/>
                    <a:gd name="connsiteY672" fmla="*/ 56257 h 388632"/>
                    <a:gd name="connsiteX673" fmla="*/ 820856 w 2003216"/>
                    <a:gd name="connsiteY673" fmla="*/ 122281 h 388632"/>
                    <a:gd name="connsiteX674" fmla="*/ 824128 w 2003216"/>
                    <a:gd name="connsiteY674" fmla="*/ 137273 h 388632"/>
                    <a:gd name="connsiteX675" fmla="*/ 835214 w 2003216"/>
                    <a:gd name="connsiteY675" fmla="*/ 141912 h 388632"/>
                    <a:gd name="connsiteX676" fmla="*/ 847228 w 2003216"/>
                    <a:gd name="connsiteY676" fmla="*/ 138298 h 388632"/>
                    <a:gd name="connsiteX677" fmla="*/ 847228 w 2003216"/>
                    <a:gd name="connsiteY677" fmla="*/ 146698 h 388632"/>
                    <a:gd name="connsiteX678" fmla="*/ 834042 w 2003216"/>
                    <a:gd name="connsiteY678" fmla="*/ 150019 h 388632"/>
                    <a:gd name="connsiteX679" fmla="*/ 811872 w 2003216"/>
                    <a:gd name="connsiteY679" fmla="*/ 123453 h 388632"/>
                    <a:gd name="connsiteX680" fmla="*/ 811872 w 2003216"/>
                    <a:gd name="connsiteY680" fmla="*/ 56257 h 388632"/>
                    <a:gd name="connsiteX681" fmla="*/ 793900 w 2003216"/>
                    <a:gd name="connsiteY681" fmla="*/ 56257 h 388632"/>
                    <a:gd name="connsiteX682" fmla="*/ 793900 w 2003216"/>
                    <a:gd name="connsiteY682" fmla="*/ 48053 h 388632"/>
                    <a:gd name="connsiteX683" fmla="*/ 811872 w 2003216"/>
                    <a:gd name="connsiteY683" fmla="*/ 48053 h 388632"/>
                    <a:gd name="connsiteX684" fmla="*/ 811872 w 2003216"/>
                    <a:gd name="connsiteY684" fmla="*/ 22073 h 388632"/>
                    <a:gd name="connsiteX685" fmla="*/ 816364 w 2003216"/>
                    <a:gd name="connsiteY685" fmla="*/ 20510 h 388632"/>
                    <a:gd name="connsiteX686" fmla="*/ 820856 w 2003216"/>
                    <a:gd name="connsiteY686" fmla="*/ 19045 h 388632"/>
                    <a:gd name="connsiteX687" fmla="*/ 287456 w 2003216"/>
                    <a:gd name="connsiteY687" fmla="*/ 19045 h 388632"/>
                    <a:gd name="connsiteX688" fmla="*/ 287456 w 2003216"/>
                    <a:gd name="connsiteY688" fmla="*/ 48053 h 388632"/>
                    <a:gd name="connsiteX689" fmla="*/ 313826 w 2003216"/>
                    <a:gd name="connsiteY689" fmla="*/ 48053 h 388632"/>
                    <a:gd name="connsiteX690" fmla="*/ 313826 w 2003216"/>
                    <a:gd name="connsiteY690" fmla="*/ 56257 h 388632"/>
                    <a:gd name="connsiteX691" fmla="*/ 287456 w 2003216"/>
                    <a:gd name="connsiteY691" fmla="*/ 56257 h 388632"/>
                    <a:gd name="connsiteX692" fmla="*/ 287456 w 2003216"/>
                    <a:gd name="connsiteY692" fmla="*/ 122281 h 388632"/>
                    <a:gd name="connsiteX693" fmla="*/ 290728 w 2003216"/>
                    <a:gd name="connsiteY693" fmla="*/ 137273 h 388632"/>
                    <a:gd name="connsiteX694" fmla="*/ 301814 w 2003216"/>
                    <a:gd name="connsiteY694" fmla="*/ 141912 h 388632"/>
                    <a:gd name="connsiteX695" fmla="*/ 313826 w 2003216"/>
                    <a:gd name="connsiteY695" fmla="*/ 138298 h 388632"/>
                    <a:gd name="connsiteX696" fmla="*/ 313826 w 2003216"/>
                    <a:gd name="connsiteY696" fmla="*/ 146698 h 388632"/>
                    <a:gd name="connsiteX697" fmla="*/ 300642 w 2003216"/>
                    <a:gd name="connsiteY697" fmla="*/ 150019 h 388632"/>
                    <a:gd name="connsiteX698" fmla="*/ 278470 w 2003216"/>
                    <a:gd name="connsiteY698" fmla="*/ 123453 h 388632"/>
                    <a:gd name="connsiteX699" fmla="*/ 278470 w 2003216"/>
                    <a:gd name="connsiteY699" fmla="*/ 56257 h 388632"/>
                    <a:gd name="connsiteX700" fmla="*/ 260500 w 2003216"/>
                    <a:gd name="connsiteY700" fmla="*/ 56257 h 388632"/>
                    <a:gd name="connsiteX701" fmla="*/ 260500 w 2003216"/>
                    <a:gd name="connsiteY701" fmla="*/ 48053 h 388632"/>
                    <a:gd name="connsiteX702" fmla="*/ 278470 w 2003216"/>
                    <a:gd name="connsiteY702" fmla="*/ 48053 h 388632"/>
                    <a:gd name="connsiteX703" fmla="*/ 278470 w 2003216"/>
                    <a:gd name="connsiteY703" fmla="*/ 22073 h 388632"/>
                    <a:gd name="connsiteX704" fmla="*/ 282964 w 2003216"/>
                    <a:gd name="connsiteY704" fmla="*/ 20510 h 388632"/>
                    <a:gd name="connsiteX705" fmla="*/ 287456 w 2003216"/>
                    <a:gd name="connsiteY705" fmla="*/ 19045 h 388632"/>
                    <a:gd name="connsiteX706" fmla="*/ 1783616 w 2003216"/>
                    <a:gd name="connsiteY706" fmla="*/ 8009 h 388632"/>
                    <a:gd name="connsiteX707" fmla="*/ 1788940 w 2003216"/>
                    <a:gd name="connsiteY707" fmla="*/ 9962 h 388632"/>
                    <a:gd name="connsiteX708" fmla="*/ 1791234 w 2003216"/>
                    <a:gd name="connsiteY708" fmla="*/ 15236 h 388632"/>
                    <a:gd name="connsiteX709" fmla="*/ 1788988 w 2003216"/>
                    <a:gd name="connsiteY709" fmla="*/ 20608 h 388632"/>
                    <a:gd name="connsiteX710" fmla="*/ 1783616 w 2003216"/>
                    <a:gd name="connsiteY710" fmla="*/ 22854 h 388632"/>
                    <a:gd name="connsiteX711" fmla="*/ 1778440 w 2003216"/>
                    <a:gd name="connsiteY711" fmla="*/ 20706 h 388632"/>
                    <a:gd name="connsiteX712" fmla="*/ 1776194 w 2003216"/>
                    <a:gd name="connsiteY712" fmla="*/ 15236 h 388632"/>
                    <a:gd name="connsiteX713" fmla="*/ 1778488 w 2003216"/>
                    <a:gd name="connsiteY713" fmla="*/ 10011 h 388632"/>
                    <a:gd name="connsiteX714" fmla="*/ 1783616 w 2003216"/>
                    <a:gd name="connsiteY714" fmla="*/ 8009 h 388632"/>
                    <a:gd name="connsiteX715" fmla="*/ 869216 w 2003216"/>
                    <a:gd name="connsiteY715" fmla="*/ 8009 h 388632"/>
                    <a:gd name="connsiteX716" fmla="*/ 874540 w 2003216"/>
                    <a:gd name="connsiteY716" fmla="*/ 9962 h 388632"/>
                    <a:gd name="connsiteX717" fmla="*/ 876834 w 2003216"/>
                    <a:gd name="connsiteY717" fmla="*/ 15236 h 388632"/>
                    <a:gd name="connsiteX718" fmla="*/ 874588 w 2003216"/>
                    <a:gd name="connsiteY718" fmla="*/ 20608 h 388632"/>
                    <a:gd name="connsiteX719" fmla="*/ 869216 w 2003216"/>
                    <a:gd name="connsiteY719" fmla="*/ 22854 h 388632"/>
                    <a:gd name="connsiteX720" fmla="*/ 864040 w 2003216"/>
                    <a:gd name="connsiteY720" fmla="*/ 20706 h 388632"/>
                    <a:gd name="connsiteX721" fmla="*/ 861794 w 2003216"/>
                    <a:gd name="connsiteY721" fmla="*/ 15236 h 388632"/>
                    <a:gd name="connsiteX722" fmla="*/ 864088 w 2003216"/>
                    <a:gd name="connsiteY722" fmla="*/ 10011 h 388632"/>
                    <a:gd name="connsiteX723" fmla="*/ 869216 w 2003216"/>
                    <a:gd name="connsiteY723" fmla="*/ 8009 h 388632"/>
                    <a:gd name="connsiteX724" fmla="*/ 97692 w 2003216"/>
                    <a:gd name="connsiteY724" fmla="*/ 8009 h 388632"/>
                    <a:gd name="connsiteX725" fmla="*/ 103014 w 2003216"/>
                    <a:gd name="connsiteY725" fmla="*/ 9962 h 388632"/>
                    <a:gd name="connsiteX726" fmla="*/ 105310 w 2003216"/>
                    <a:gd name="connsiteY726" fmla="*/ 15236 h 388632"/>
                    <a:gd name="connsiteX727" fmla="*/ 103064 w 2003216"/>
                    <a:gd name="connsiteY727" fmla="*/ 20608 h 388632"/>
                    <a:gd name="connsiteX728" fmla="*/ 97692 w 2003216"/>
                    <a:gd name="connsiteY728" fmla="*/ 22854 h 388632"/>
                    <a:gd name="connsiteX729" fmla="*/ 92514 w 2003216"/>
                    <a:gd name="connsiteY729" fmla="*/ 20706 h 388632"/>
                    <a:gd name="connsiteX730" fmla="*/ 90268 w 2003216"/>
                    <a:gd name="connsiteY730" fmla="*/ 15236 h 388632"/>
                    <a:gd name="connsiteX731" fmla="*/ 92564 w 2003216"/>
                    <a:gd name="connsiteY731" fmla="*/ 10011 h 388632"/>
                    <a:gd name="connsiteX732" fmla="*/ 97692 w 2003216"/>
                    <a:gd name="connsiteY732" fmla="*/ 8009 h 388632"/>
                    <a:gd name="connsiteX733" fmla="*/ 0 w 2003216"/>
                    <a:gd name="connsiteY733" fmla="*/ 8009 h 388632"/>
                    <a:gd name="connsiteX734" fmla="*/ 65438 w 2003216"/>
                    <a:gd name="connsiteY734" fmla="*/ 8009 h 388632"/>
                    <a:gd name="connsiteX735" fmla="*/ 65438 w 2003216"/>
                    <a:gd name="connsiteY735" fmla="*/ 16897 h 388632"/>
                    <a:gd name="connsiteX736" fmla="*/ 9668 w 2003216"/>
                    <a:gd name="connsiteY736" fmla="*/ 16897 h 388632"/>
                    <a:gd name="connsiteX737" fmla="*/ 9668 w 2003216"/>
                    <a:gd name="connsiteY737" fmla="*/ 74033 h 388632"/>
                    <a:gd name="connsiteX738" fmla="*/ 61432 w 2003216"/>
                    <a:gd name="connsiteY738" fmla="*/ 74033 h 388632"/>
                    <a:gd name="connsiteX739" fmla="*/ 61432 w 2003216"/>
                    <a:gd name="connsiteY739" fmla="*/ 82823 h 388632"/>
                    <a:gd name="connsiteX740" fmla="*/ 9668 w 2003216"/>
                    <a:gd name="connsiteY740" fmla="*/ 82823 h 388632"/>
                    <a:gd name="connsiteX741" fmla="*/ 9668 w 2003216"/>
                    <a:gd name="connsiteY741" fmla="*/ 148065 h 388632"/>
                    <a:gd name="connsiteX742" fmla="*/ 0 w 2003216"/>
                    <a:gd name="connsiteY742" fmla="*/ 148065 h 388632"/>
                    <a:gd name="connsiteX743" fmla="*/ 1169622 w 2003216"/>
                    <a:gd name="connsiteY743" fmla="*/ 0 h 388632"/>
                    <a:gd name="connsiteX744" fmla="*/ 1178606 w 2003216"/>
                    <a:gd name="connsiteY744" fmla="*/ 0 h 388632"/>
                    <a:gd name="connsiteX745" fmla="*/ 1178606 w 2003216"/>
                    <a:gd name="connsiteY745" fmla="*/ 66024 h 388632"/>
                    <a:gd name="connsiteX746" fmla="*/ 1178998 w 2003216"/>
                    <a:gd name="connsiteY746" fmla="*/ 66024 h 388632"/>
                    <a:gd name="connsiteX747" fmla="*/ 1213376 w 2003216"/>
                    <a:gd name="connsiteY747" fmla="*/ 45611 h 388632"/>
                    <a:gd name="connsiteX748" fmla="*/ 1238086 w 2003216"/>
                    <a:gd name="connsiteY748" fmla="*/ 56062 h 388632"/>
                    <a:gd name="connsiteX749" fmla="*/ 1246584 w 2003216"/>
                    <a:gd name="connsiteY749" fmla="*/ 86046 h 388632"/>
                    <a:gd name="connsiteX750" fmla="*/ 1246584 w 2003216"/>
                    <a:gd name="connsiteY750" fmla="*/ 148065 h 388632"/>
                    <a:gd name="connsiteX751" fmla="*/ 1237598 w 2003216"/>
                    <a:gd name="connsiteY751" fmla="*/ 148065 h 388632"/>
                    <a:gd name="connsiteX752" fmla="*/ 1237598 w 2003216"/>
                    <a:gd name="connsiteY752" fmla="*/ 88097 h 388632"/>
                    <a:gd name="connsiteX753" fmla="*/ 1231152 w 2003216"/>
                    <a:gd name="connsiteY753" fmla="*/ 62068 h 388632"/>
                    <a:gd name="connsiteX754" fmla="*/ 1211032 w 2003216"/>
                    <a:gd name="connsiteY754" fmla="*/ 53815 h 388632"/>
                    <a:gd name="connsiteX755" fmla="*/ 1188374 w 2003216"/>
                    <a:gd name="connsiteY755" fmla="*/ 63875 h 388632"/>
                    <a:gd name="connsiteX756" fmla="*/ 1178606 w 2003216"/>
                    <a:gd name="connsiteY756" fmla="*/ 92687 h 388632"/>
                    <a:gd name="connsiteX757" fmla="*/ 1178606 w 2003216"/>
                    <a:gd name="connsiteY757" fmla="*/ 148065 h 388632"/>
                    <a:gd name="connsiteX758" fmla="*/ 1169622 w 2003216"/>
                    <a:gd name="connsiteY758" fmla="*/ 148065 h 388632"/>
                    <a:gd name="connsiteX759" fmla="*/ 579072 w 2003216"/>
                    <a:gd name="connsiteY759" fmla="*/ 0 h 388632"/>
                    <a:gd name="connsiteX760" fmla="*/ 588056 w 2003216"/>
                    <a:gd name="connsiteY760" fmla="*/ 0 h 388632"/>
                    <a:gd name="connsiteX761" fmla="*/ 588056 w 2003216"/>
                    <a:gd name="connsiteY761" fmla="*/ 68661 h 388632"/>
                    <a:gd name="connsiteX762" fmla="*/ 588448 w 2003216"/>
                    <a:gd name="connsiteY762" fmla="*/ 68661 h 388632"/>
                    <a:gd name="connsiteX763" fmla="*/ 603830 w 2003216"/>
                    <a:gd name="connsiteY763" fmla="*/ 51618 h 388632"/>
                    <a:gd name="connsiteX764" fmla="*/ 625854 w 2003216"/>
                    <a:gd name="connsiteY764" fmla="*/ 45611 h 388632"/>
                    <a:gd name="connsiteX765" fmla="*/ 655594 w 2003216"/>
                    <a:gd name="connsiteY765" fmla="*/ 58747 h 388632"/>
                    <a:gd name="connsiteX766" fmla="*/ 666290 w 2003216"/>
                    <a:gd name="connsiteY766" fmla="*/ 94445 h 388632"/>
                    <a:gd name="connsiteX767" fmla="*/ 653886 w 2003216"/>
                    <a:gd name="connsiteY767" fmla="*/ 135026 h 388632"/>
                    <a:gd name="connsiteX768" fmla="*/ 621654 w 2003216"/>
                    <a:gd name="connsiteY768" fmla="*/ 150507 h 388632"/>
                    <a:gd name="connsiteX769" fmla="*/ 588448 w 2003216"/>
                    <a:gd name="connsiteY769" fmla="*/ 130290 h 388632"/>
                    <a:gd name="connsiteX770" fmla="*/ 588056 w 2003216"/>
                    <a:gd name="connsiteY770" fmla="*/ 130290 h 388632"/>
                    <a:gd name="connsiteX771" fmla="*/ 588056 w 2003216"/>
                    <a:gd name="connsiteY771" fmla="*/ 148065 h 388632"/>
                    <a:gd name="connsiteX772" fmla="*/ 579072 w 2003216"/>
                    <a:gd name="connsiteY772" fmla="*/ 148065 h 388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</a:cxnLst>
                  <a:rect l="l" t="t" r="r" b="b"/>
                  <a:pathLst>
                    <a:path w="2003216" h="388632">
                      <a:moveTo>
                        <a:pt x="105444" y="332375"/>
                      </a:moveTo>
                      <a:lnTo>
                        <a:pt x="77902" y="336379"/>
                      </a:lnTo>
                      <a:cubicBezTo>
                        <a:pt x="67418" y="337877"/>
                        <a:pt x="60060" y="340302"/>
                        <a:pt x="55828" y="343656"/>
                      </a:cubicBezTo>
                      <a:cubicBezTo>
                        <a:pt x="51596" y="347009"/>
                        <a:pt x="49480" y="352462"/>
                        <a:pt x="49480" y="360015"/>
                      </a:cubicBezTo>
                      <a:cubicBezTo>
                        <a:pt x="49480" y="365940"/>
                        <a:pt x="51450" y="370824"/>
                        <a:pt x="55390" y="374665"/>
                      </a:cubicBezTo>
                      <a:cubicBezTo>
                        <a:pt x="59328" y="378507"/>
                        <a:pt x="64814" y="380428"/>
                        <a:pt x="71846" y="380428"/>
                      </a:cubicBezTo>
                      <a:cubicBezTo>
                        <a:pt x="81484" y="380428"/>
                        <a:pt x="89492" y="376863"/>
                        <a:pt x="95872" y="369733"/>
                      </a:cubicBezTo>
                      <a:cubicBezTo>
                        <a:pt x="102254" y="362603"/>
                        <a:pt x="105444" y="353406"/>
                        <a:pt x="105444" y="342142"/>
                      </a:cubicBezTo>
                      <a:close/>
                      <a:moveTo>
                        <a:pt x="1835482" y="291940"/>
                      </a:moveTo>
                      <a:cubicBezTo>
                        <a:pt x="1826106" y="291940"/>
                        <a:pt x="1818342" y="295082"/>
                        <a:pt x="1812188" y="301365"/>
                      </a:cubicBezTo>
                      <a:cubicBezTo>
                        <a:pt x="1806036" y="307649"/>
                        <a:pt x="1802244" y="316650"/>
                        <a:pt x="1800810" y="328371"/>
                      </a:cubicBezTo>
                      <a:lnTo>
                        <a:pt x="1865076" y="328371"/>
                      </a:lnTo>
                      <a:cubicBezTo>
                        <a:pt x="1864686" y="316846"/>
                        <a:pt x="1861918" y="307893"/>
                        <a:pt x="1856774" y="301512"/>
                      </a:cubicBezTo>
                      <a:cubicBezTo>
                        <a:pt x="1851630" y="295131"/>
                        <a:pt x="1844534" y="291940"/>
                        <a:pt x="1835482" y="291940"/>
                      </a:cubicBezTo>
                      <a:close/>
                      <a:moveTo>
                        <a:pt x="1686696" y="291940"/>
                      </a:moveTo>
                      <a:cubicBezTo>
                        <a:pt x="1674912" y="291940"/>
                        <a:pt x="1665518" y="295912"/>
                        <a:pt x="1658520" y="303856"/>
                      </a:cubicBezTo>
                      <a:cubicBezTo>
                        <a:pt x="1651520" y="311799"/>
                        <a:pt x="1648020" y="322836"/>
                        <a:pt x="1648020" y="336965"/>
                      </a:cubicBezTo>
                      <a:cubicBezTo>
                        <a:pt x="1648020" y="350053"/>
                        <a:pt x="1651438" y="360569"/>
                        <a:pt x="1658276" y="368512"/>
                      </a:cubicBezTo>
                      <a:cubicBezTo>
                        <a:pt x="1665112" y="376456"/>
                        <a:pt x="1674456" y="380428"/>
                        <a:pt x="1686306" y="380428"/>
                      </a:cubicBezTo>
                      <a:cubicBezTo>
                        <a:pt x="1698352" y="380428"/>
                        <a:pt x="1707630" y="376521"/>
                        <a:pt x="1714142" y="368708"/>
                      </a:cubicBezTo>
                      <a:cubicBezTo>
                        <a:pt x="1720652" y="360894"/>
                        <a:pt x="1723908" y="350053"/>
                        <a:pt x="1723908" y="336184"/>
                      </a:cubicBezTo>
                      <a:cubicBezTo>
                        <a:pt x="1723908" y="321924"/>
                        <a:pt x="1720668" y="310986"/>
                        <a:pt x="1714190" y="303367"/>
                      </a:cubicBezTo>
                      <a:cubicBezTo>
                        <a:pt x="1707712" y="295749"/>
                        <a:pt x="1698548" y="291940"/>
                        <a:pt x="1686696" y="291940"/>
                      </a:cubicBezTo>
                      <a:close/>
                      <a:moveTo>
                        <a:pt x="1444958" y="291940"/>
                      </a:moveTo>
                      <a:cubicBezTo>
                        <a:pt x="1435582" y="291940"/>
                        <a:pt x="1427816" y="295082"/>
                        <a:pt x="1421664" y="301365"/>
                      </a:cubicBezTo>
                      <a:cubicBezTo>
                        <a:pt x="1415510" y="307649"/>
                        <a:pt x="1411718" y="316650"/>
                        <a:pt x="1410286" y="328371"/>
                      </a:cubicBezTo>
                      <a:lnTo>
                        <a:pt x="1474552" y="328371"/>
                      </a:lnTo>
                      <a:cubicBezTo>
                        <a:pt x="1474160" y="316846"/>
                        <a:pt x="1471394" y="307893"/>
                        <a:pt x="1466250" y="301512"/>
                      </a:cubicBezTo>
                      <a:cubicBezTo>
                        <a:pt x="1461106" y="295131"/>
                        <a:pt x="1454008" y="291940"/>
                        <a:pt x="1444958" y="291940"/>
                      </a:cubicBezTo>
                      <a:close/>
                      <a:moveTo>
                        <a:pt x="1044908" y="291940"/>
                      </a:moveTo>
                      <a:cubicBezTo>
                        <a:pt x="1035532" y="291940"/>
                        <a:pt x="1027768" y="295082"/>
                        <a:pt x="1021614" y="301365"/>
                      </a:cubicBezTo>
                      <a:cubicBezTo>
                        <a:pt x="1015460" y="307649"/>
                        <a:pt x="1011668" y="316650"/>
                        <a:pt x="1010236" y="328371"/>
                      </a:cubicBezTo>
                      <a:lnTo>
                        <a:pt x="1074502" y="328371"/>
                      </a:lnTo>
                      <a:cubicBezTo>
                        <a:pt x="1074110" y="316846"/>
                        <a:pt x="1071344" y="307893"/>
                        <a:pt x="1066200" y="301512"/>
                      </a:cubicBezTo>
                      <a:cubicBezTo>
                        <a:pt x="1061056" y="295131"/>
                        <a:pt x="1053958" y="291940"/>
                        <a:pt x="1044908" y="291940"/>
                      </a:cubicBezTo>
                      <a:close/>
                      <a:moveTo>
                        <a:pt x="740108" y="291940"/>
                      </a:moveTo>
                      <a:cubicBezTo>
                        <a:pt x="730732" y="291940"/>
                        <a:pt x="722968" y="295082"/>
                        <a:pt x="716814" y="301365"/>
                      </a:cubicBezTo>
                      <a:cubicBezTo>
                        <a:pt x="710660" y="307649"/>
                        <a:pt x="706868" y="316650"/>
                        <a:pt x="705436" y="328371"/>
                      </a:cubicBezTo>
                      <a:lnTo>
                        <a:pt x="769702" y="328371"/>
                      </a:lnTo>
                      <a:cubicBezTo>
                        <a:pt x="769310" y="316846"/>
                        <a:pt x="766544" y="307893"/>
                        <a:pt x="761400" y="301512"/>
                      </a:cubicBezTo>
                      <a:cubicBezTo>
                        <a:pt x="756256" y="295131"/>
                        <a:pt x="749158" y="291940"/>
                        <a:pt x="740108" y="291940"/>
                      </a:cubicBezTo>
                      <a:close/>
                      <a:moveTo>
                        <a:pt x="467496" y="291940"/>
                      </a:moveTo>
                      <a:cubicBezTo>
                        <a:pt x="455712" y="291940"/>
                        <a:pt x="446318" y="295912"/>
                        <a:pt x="439320" y="303856"/>
                      </a:cubicBezTo>
                      <a:cubicBezTo>
                        <a:pt x="432320" y="311799"/>
                        <a:pt x="428820" y="322836"/>
                        <a:pt x="428820" y="336965"/>
                      </a:cubicBezTo>
                      <a:cubicBezTo>
                        <a:pt x="428820" y="350053"/>
                        <a:pt x="432238" y="360569"/>
                        <a:pt x="439076" y="368512"/>
                      </a:cubicBezTo>
                      <a:cubicBezTo>
                        <a:pt x="445912" y="376456"/>
                        <a:pt x="455256" y="380428"/>
                        <a:pt x="467106" y="380428"/>
                      </a:cubicBezTo>
                      <a:cubicBezTo>
                        <a:pt x="479152" y="380428"/>
                        <a:pt x="488430" y="376521"/>
                        <a:pt x="494942" y="368708"/>
                      </a:cubicBezTo>
                      <a:cubicBezTo>
                        <a:pt x="501452" y="360894"/>
                        <a:pt x="504708" y="350053"/>
                        <a:pt x="504708" y="336184"/>
                      </a:cubicBezTo>
                      <a:cubicBezTo>
                        <a:pt x="504708" y="321924"/>
                        <a:pt x="501468" y="310986"/>
                        <a:pt x="494990" y="303367"/>
                      </a:cubicBezTo>
                      <a:cubicBezTo>
                        <a:pt x="488512" y="295749"/>
                        <a:pt x="479348" y="291940"/>
                        <a:pt x="467496" y="291940"/>
                      </a:cubicBezTo>
                      <a:close/>
                      <a:moveTo>
                        <a:pt x="284080" y="291940"/>
                      </a:moveTo>
                      <a:cubicBezTo>
                        <a:pt x="273596" y="291940"/>
                        <a:pt x="264936" y="295961"/>
                        <a:pt x="258100" y="304002"/>
                      </a:cubicBezTo>
                      <a:cubicBezTo>
                        <a:pt x="251264" y="312044"/>
                        <a:pt x="247844" y="323096"/>
                        <a:pt x="247844" y="337161"/>
                      </a:cubicBezTo>
                      <a:cubicBezTo>
                        <a:pt x="247844" y="350964"/>
                        <a:pt x="250922" y="361627"/>
                        <a:pt x="257074" y="369147"/>
                      </a:cubicBezTo>
                      <a:cubicBezTo>
                        <a:pt x="263228" y="376668"/>
                        <a:pt x="271156" y="380428"/>
                        <a:pt x="280856" y="380428"/>
                      </a:cubicBezTo>
                      <a:cubicBezTo>
                        <a:pt x="292252" y="380428"/>
                        <a:pt x="301074" y="376895"/>
                        <a:pt x="307324" y="369831"/>
                      </a:cubicBezTo>
                      <a:cubicBezTo>
                        <a:pt x="313576" y="362766"/>
                        <a:pt x="316702" y="354155"/>
                        <a:pt x="316702" y="343997"/>
                      </a:cubicBezTo>
                      <a:lnTo>
                        <a:pt x="316702" y="325343"/>
                      </a:lnTo>
                      <a:cubicBezTo>
                        <a:pt x="316702" y="316032"/>
                        <a:pt x="313754" y="308137"/>
                        <a:pt x="307862" y="301658"/>
                      </a:cubicBezTo>
                      <a:cubicBezTo>
                        <a:pt x="301970" y="295180"/>
                        <a:pt x="294042" y="291940"/>
                        <a:pt x="284080" y="291940"/>
                      </a:cubicBezTo>
                      <a:close/>
                      <a:moveTo>
                        <a:pt x="1283922" y="286178"/>
                      </a:moveTo>
                      <a:lnTo>
                        <a:pt x="1292906" y="286178"/>
                      </a:lnTo>
                      <a:lnTo>
                        <a:pt x="1292906" y="386190"/>
                      </a:lnTo>
                      <a:lnTo>
                        <a:pt x="1283922" y="386190"/>
                      </a:lnTo>
                      <a:close/>
                      <a:moveTo>
                        <a:pt x="1174608" y="286178"/>
                      </a:moveTo>
                      <a:lnTo>
                        <a:pt x="1184666" y="286178"/>
                      </a:lnTo>
                      <a:lnTo>
                        <a:pt x="1214456" y="365778"/>
                      </a:lnTo>
                      <a:cubicBezTo>
                        <a:pt x="1215888" y="369619"/>
                        <a:pt x="1216898" y="373103"/>
                        <a:pt x="1217484" y="376228"/>
                      </a:cubicBezTo>
                      <a:lnTo>
                        <a:pt x="1217874" y="376228"/>
                      </a:lnTo>
                      <a:cubicBezTo>
                        <a:pt x="1218720" y="372126"/>
                        <a:pt x="1219664" y="368773"/>
                        <a:pt x="1220706" y="366168"/>
                      </a:cubicBezTo>
                      <a:lnTo>
                        <a:pt x="1251472" y="286178"/>
                      </a:lnTo>
                      <a:lnTo>
                        <a:pt x="1261238" y="286178"/>
                      </a:lnTo>
                      <a:lnTo>
                        <a:pt x="1221488" y="386190"/>
                      </a:lnTo>
                      <a:lnTo>
                        <a:pt x="1213284" y="386190"/>
                      </a:lnTo>
                      <a:close/>
                      <a:moveTo>
                        <a:pt x="1616408" y="284224"/>
                      </a:moveTo>
                      <a:cubicBezTo>
                        <a:pt x="1620120" y="284224"/>
                        <a:pt x="1623440" y="284810"/>
                        <a:pt x="1626370" y="285982"/>
                      </a:cubicBezTo>
                      <a:lnTo>
                        <a:pt x="1626370" y="295554"/>
                      </a:lnTo>
                      <a:cubicBezTo>
                        <a:pt x="1623376" y="293405"/>
                        <a:pt x="1619858" y="292331"/>
                        <a:pt x="1615822" y="292331"/>
                      </a:cubicBezTo>
                      <a:cubicBezTo>
                        <a:pt x="1607944" y="292331"/>
                        <a:pt x="1601334" y="296400"/>
                        <a:pt x="1595996" y="304539"/>
                      </a:cubicBezTo>
                      <a:cubicBezTo>
                        <a:pt x="1590656" y="312678"/>
                        <a:pt x="1587986" y="324236"/>
                        <a:pt x="1587986" y="339212"/>
                      </a:cubicBezTo>
                      <a:lnTo>
                        <a:pt x="1587986" y="386190"/>
                      </a:lnTo>
                      <a:lnTo>
                        <a:pt x="1579196" y="386190"/>
                      </a:lnTo>
                      <a:lnTo>
                        <a:pt x="1579196" y="286178"/>
                      </a:lnTo>
                      <a:lnTo>
                        <a:pt x="1587986" y="286178"/>
                      </a:lnTo>
                      <a:lnTo>
                        <a:pt x="1587986" y="308348"/>
                      </a:lnTo>
                      <a:lnTo>
                        <a:pt x="1588376" y="308348"/>
                      </a:lnTo>
                      <a:cubicBezTo>
                        <a:pt x="1590656" y="300730"/>
                        <a:pt x="1594270" y="294805"/>
                        <a:pt x="1599218" y="290573"/>
                      </a:cubicBezTo>
                      <a:cubicBezTo>
                        <a:pt x="1604166" y="286341"/>
                        <a:pt x="1609896" y="284224"/>
                        <a:pt x="1616408" y="284224"/>
                      </a:cubicBezTo>
                      <a:close/>
                      <a:moveTo>
                        <a:pt x="1149682" y="284224"/>
                      </a:moveTo>
                      <a:cubicBezTo>
                        <a:pt x="1153394" y="284224"/>
                        <a:pt x="1156716" y="284810"/>
                        <a:pt x="1159644" y="285982"/>
                      </a:cubicBezTo>
                      <a:lnTo>
                        <a:pt x="1159644" y="295554"/>
                      </a:lnTo>
                      <a:cubicBezTo>
                        <a:pt x="1156650" y="293405"/>
                        <a:pt x="1153134" y="292331"/>
                        <a:pt x="1149096" y="292331"/>
                      </a:cubicBezTo>
                      <a:cubicBezTo>
                        <a:pt x="1141218" y="292331"/>
                        <a:pt x="1134610" y="296400"/>
                        <a:pt x="1129270" y="304539"/>
                      </a:cubicBezTo>
                      <a:cubicBezTo>
                        <a:pt x="1123932" y="312678"/>
                        <a:pt x="1121262" y="324236"/>
                        <a:pt x="1121262" y="339212"/>
                      </a:cubicBezTo>
                      <a:lnTo>
                        <a:pt x="1121262" y="386190"/>
                      </a:lnTo>
                      <a:lnTo>
                        <a:pt x="1112472" y="386190"/>
                      </a:lnTo>
                      <a:lnTo>
                        <a:pt x="1112472" y="286178"/>
                      </a:lnTo>
                      <a:lnTo>
                        <a:pt x="1121262" y="286178"/>
                      </a:lnTo>
                      <a:lnTo>
                        <a:pt x="1121262" y="308348"/>
                      </a:lnTo>
                      <a:lnTo>
                        <a:pt x="1121652" y="308348"/>
                      </a:lnTo>
                      <a:cubicBezTo>
                        <a:pt x="1123932" y="300730"/>
                        <a:pt x="1127544" y="294805"/>
                        <a:pt x="1132494" y="290573"/>
                      </a:cubicBezTo>
                      <a:cubicBezTo>
                        <a:pt x="1137442" y="286341"/>
                        <a:pt x="1143172" y="284224"/>
                        <a:pt x="1149682" y="284224"/>
                      </a:cubicBezTo>
                      <a:close/>
                      <a:moveTo>
                        <a:pt x="844882" y="284224"/>
                      </a:moveTo>
                      <a:cubicBezTo>
                        <a:pt x="848594" y="284224"/>
                        <a:pt x="851914" y="284810"/>
                        <a:pt x="854844" y="285982"/>
                      </a:cubicBezTo>
                      <a:lnTo>
                        <a:pt x="854844" y="295554"/>
                      </a:lnTo>
                      <a:cubicBezTo>
                        <a:pt x="851850" y="293405"/>
                        <a:pt x="848334" y="292331"/>
                        <a:pt x="844296" y="292331"/>
                      </a:cubicBezTo>
                      <a:cubicBezTo>
                        <a:pt x="836418" y="292331"/>
                        <a:pt x="829810" y="296400"/>
                        <a:pt x="824470" y="304539"/>
                      </a:cubicBezTo>
                      <a:cubicBezTo>
                        <a:pt x="819132" y="312678"/>
                        <a:pt x="816462" y="324236"/>
                        <a:pt x="816462" y="339212"/>
                      </a:cubicBezTo>
                      <a:lnTo>
                        <a:pt x="816462" y="386190"/>
                      </a:lnTo>
                      <a:lnTo>
                        <a:pt x="807672" y="386190"/>
                      </a:lnTo>
                      <a:lnTo>
                        <a:pt x="807672" y="286178"/>
                      </a:lnTo>
                      <a:lnTo>
                        <a:pt x="816462" y="286178"/>
                      </a:lnTo>
                      <a:lnTo>
                        <a:pt x="816462" y="308348"/>
                      </a:lnTo>
                      <a:lnTo>
                        <a:pt x="816852" y="308348"/>
                      </a:lnTo>
                      <a:cubicBezTo>
                        <a:pt x="819132" y="300730"/>
                        <a:pt x="822744" y="294805"/>
                        <a:pt x="827694" y="290573"/>
                      </a:cubicBezTo>
                      <a:cubicBezTo>
                        <a:pt x="832642" y="286341"/>
                        <a:pt x="838372" y="284224"/>
                        <a:pt x="844882" y="284224"/>
                      </a:cubicBezTo>
                      <a:close/>
                      <a:moveTo>
                        <a:pt x="1930588" y="283736"/>
                      </a:moveTo>
                      <a:cubicBezTo>
                        <a:pt x="1939184" y="283736"/>
                        <a:pt x="1946542" y="285494"/>
                        <a:pt x="1952662" y="289010"/>
                      </a:cubicBezTo>
                      <a:lnTo>
                        <a:pt x="1952662" y="299168"/>
                      </a:lnTo>
                      <a:cubicBezTo>
                        <a:pt x="1945240" y="294349"/>
                        <a:pt x="1937556" y="291940"/>
                        <a:pt x="1929612" y="291940"/>
                      </a:cubicBezTo>
                      <a:cubicBezTo>
                        <a:pt x="1923036" y="291940"/>
                        <a:pt x="1917728" y="293649"/>
                        <a:pt x="1913692" y="297068"/>
                      </a:cubicBezTo>
                      <a:cubicBezTo>
                        <a:pt x="1909654" y="300486"/>
                        <a:pt x="1907636" y="304930"/>
                        <a:pt x="1907636" y="310400"/>
                      </a:cubicBezTo>
                      <a:cubicBezTo>
                        <a:pt x="1907636" y="315153"/>
                        <a:pt x="1908906" y="319011"/>
                        <a:pt x="1911446" y="321973"/>
                      </a:cubicBezTo>
                      <a:cubicBezTo>
                        <a:pt x="1913984" y="324936"/>
                        <a:pt x="1919584" y="328338"/>
                        <a:pt x="1928244" y="332180"/>
                      </a:cubicBezTo>
                      <a:cubicBezTo>
                        <a:pt x="1938662" y="336868"/>
                        <a:pt x="1945824" y="341214"/>
                        <a:pt x="1949732" y="345218"/>
                      </a:cubicBezTo>
                      <a:cubicBezTo>
                        <a:pt x="1953638" y="349223"/>
                        <a:pt x="1955592" y="354546"/>
                        <a:pt x="1955592" y="361187"/>
                      </a:cubicBezTo>
                      <a:cubicBezTo>
                        <a:pt x="1955592" y="369131"/>
                        <a:pt x="1952612" y="375691"/>
                        <a:pt x="1946656" y="380867"/>
                      </a:cubicBezTo>
                      <a:cubicBezTo>
                        <a:pt x="1940698" y="386044"/>
                        <a:pt x="1932476" y="388632"/>
                        <a:pt x="1921994" y="388632"/>
                      </a:cubicBezTo>
                      <a:cubicBezTo>
                        <a:pt x="1912358" y="388632"/>
                        <a:pt x="1904316" y="386353"/>
                        <a:pt x="1897870" y="381795"/>
                      </a:cubicBezTo>
                      <a:lnTo>
                        <a:pt x="1897870" y="370954"/>
                      </a:lnTo>
                      <a:cubicBezTo>
                        <a:pt x="1901256" y="373884"/>
                        <a:pt x="1905358" y="376195"/>
                        <a:pt x="1910176" y="377888"/>
                      </a:cubicBezTo>
                      <a:cubicBezTo>
                        <a:pt x="1914994" y="379581"/>
                        <a:pt x="1919162" y="380428"/>
                        <a:pt x="1922678" y="380428"/>
                      </a:cubicBezTo>
                      <a:cubicBezTo>
                        <a:pt x="1938370" y="380428"/>
                        <a:pt x="1946216" y="374014"/>
                        <a:pt x="1946216" y="361187"/>
                      </a:cubicBezTo>
                      <a:cubicBezTo>
                        <a:pt x="1946216" y="356759"/>
                        <a:pt x="1944490" y="352983"/>
                        <a:pt x="1941040" y="349858"/>
                      </a:cubicBezTo>
                      <a:cubicBezTo>
                        <a:pt x="1937588" y="346732"/>
                        <a:pt x="1931988" y="343509"/>
                        <a:pt x="1924240" y="340188"/>
                      </a:cubicBezTo>
                      <a:cubicBezTo>
                        <a:pt x="1914668" y="336021"/>
                        <a:pt x="1907946" y="331708"/>
                        <a:pt x="1904072" y="327247"/>
                      </a:cubicBezTo>
                      <a:cubicBezTo>
                        <a:pt x="1900198" y="322787"/>
                        <a:pt x="1898260" y="317367"/>
                        <a:pt x="1898260" y="310986"/>
                      </a:cubicBezTo>
                      <a:cubicBezTo>
                        <a:pt x="1898260" y="302846"/>
                        <a:pt x="1901370" y="296270"/>
                        <a:pt x="1907588" y="291256"/>
                      </a:cubicBezTo>
                      <a:cubicBezTo>
                        <a:pt x="1913806" y="286243"/>
                        <a:pt x="1921472" y="283736"/>
                        <a:pt x="1930588" y="283736"/>
                      </a:cubicBezTo>
                      <a:close/>
                      <a:moveTo>
                        <a:pt x="1835874" y="283736"/>
                      </a:moveTo>
                      <a:cubicBezTo>
                        <a:pt x="1848310" y="283736"/>
                        <a:pt x="1857848" y="288099"/>
                        <a:pt x="1864490" y="296824"/>
                      </a:cubicBezTo>
                      <a:cubicBezTo>
                        <a:pt x="1871132" y="305549"/>
                        <a:pt x="1874452" y="317464"/>
                        <a:pt x="1874452" y="332570"/>
                      </a:cubicBezTo>
                      <a:lnTo>
                        <a:pt x="1874452" y="336575"/>
                      </a:lnTo>
                      <a:lnTo>
                        <a:pt x="1800420" y="336575"/>
                      </a:lnTo>
                      <a:cubicBezTo>
                        <a:pt x="1800420" y="350313"/>
                        <a:pt x="1803594" y="361057"/>
                        <a:pt x="1809942" y="368805"/>
                      </a:cubicBezTo>
                      <a:cubicBezTo>
                        <a:pt x="1816292" y="376554"/>
                        <a:pt x="1825000" y="380428"/>
                        <a:pt x="1836068" y="380428"/>
                      </a:cubicBezTo>
                      <a:cubicBezTo>
                        <a:pt x="1847268" y="380428"/>
                        <a:pt x="1858208" y="376293"/>
                        <a:pt x="1868886" y="368024"/>
                      </a:cubicBezTo>
                      <a:lnTo>
                        <a:pt x="1868886" y="377595"/>
                      </a:lnTo>
                      <a:cubicBezTo>
                        <a:pt x="1858532" y="384953"/>
                        <a:pt x="1846976" y="388632"/>
                        <a:pt x="1834214" y="388632"/>
                      </a:cubicBezTo>
                      <a:cubicBezTo>
                        <a:pt x="1821320" y="388632"/>
                        <a:pt x="1810904" y="384009"/>
                        <a:pt x="1802960" y="374763"/>
                      </a:cubicBezTo>
                      <a:cubicBezTo>
                        <a:pt x="1795016" y="365517"/>
                        <a:pt x="1791044" y="352462"/>
                        <a:pt x="1791044" y="335598"/>
                      </a:cubicBezTo>
                      <a:cubicBezTo>
                        <a:pt x="1791044" y="321013"/>
                        <a:pt x="1795194" y="308723"/>
                        <a:pt x="1803496" y="298728"/>
                      </a:cubicBezTo>
                      <a:cubicBezTo>
                        <a:pt x="1811798" y="288733"/>
                        <a:pt x="1822590" y="283736"/>
                        <a:pt x="1835874" y="283736"/>
                      </a:cubicBezTo>
                      <a:close/>
                      <a:moveTo>
                        <a:pt x="1687088" y="283736"/>
                      </a:moveTo>
                      <a:cubicBezTo>
                        <a:pt x="1701346" y="283736"/>
                        <a:pt x="1712612" y="288392"/>
                        <a:pt x="1720880" y="297703"/>
                      </a:cubicBezTo>
                      <a:cubicBezTo>
                        <a:pt x="1729150" y="307014"/>
                        <a:pt x="1733284" y="319906"/>
                        <a:pt x="1733284" y="336379"/>
                      </a:cubicBezTo>
                      <a:cubicBezTo>
                        <a:pt x="1733284" y="351941"/>
                        <a:pt x="1729068" y="364540"/>
                        <a:pt x="1720636" y="374177"/>
                      </a:cubicBezTo>
                      <a:cubicBezTo>
                        <a:pt x="1712204" y="383814"/>
                        <a:pt x="1700664" y="388632"/>
                        <a:pt x="1686012" y="388632"/>
                      </a:cubicBezTo>
                      <a:cubicBezTo>
                        <a:pt x="1671428" y="388632"/>
                        <a:pt x="1659886" y="383830"/>
                        <a:pt x="1651390" y="374226"/>
                      </a:cubicBezTo>
                      <a:cubicBezTo>
                        <a:pt x="1642892" y="364622"/>
                        <a:pt x="1638644" y="352136"/>
                        <a:pt x="1638644" y="336770"/>
                      </a:cubicBezTo>
                      <a:cubicBezTo>
                        <a:pt x="1638644" y="320166"/>
                        <a:pt x="1643088" y="307176"/>
                        <a:pt x="1651976" y="297800"/>
                      </a:cubicBezTo>
                      <a:cubicBezTo>
                        <a:pt x="1660864" y="288424"/>
                        <a:pt x="1672568" y="283736"/>
                        <a:pt x="1687088" y="283736"/>
                      </a:cubicBezTo>
                      <a:close/>
                      <a:moveTo>
                        <a:pt x="1445348" y="283736"/>
                      </a:moveTo>
                      <a:cubicBezTo>
                        <a:pt x="1457784" y="283736"/>
                        <a:pt x="1467324" y="288099"/>
                        <a:pt x="1473966" y="296824"/>
                      </a:cubicBezTo>
                      <a:cubicBezTo>
                        <a:pt x="1480606" y="305549"/>
                        <a:pt x="1483928" y="317464"/>
                        <a:pt x="1483928" y="332570"/>
                      </a:cubicBezTo>
                      <a:lnTo>
                        <a:pt x="1483928" y="336575"/>
                      </a:lnTo>
                      <a:lnTo>
                        <a:pt x="1409896" y="336575"/>
                      </a:lnTo>
                      <a:cubicBezTo>
                        <a:pt x="1409896" y="350313"/>
                        <a:pt x="1413068" y="361057"/>
                        <a:pt x="1419418" y="368805"/>
                      </a:cubicBezTo>
                      <a:cubicBezTo>
                        <a:pt x="1425766" y="376554"/>
                        <a:pt x="1434474" y="380428"/>
                        <a:pt x="1445544" y="380428"/>
                      </a:cubicBezTo>
                      <a:cubicBezTo>
                        <a:pt x="1456744" y="380428"/>
                        <a:pt x="1467682" y="376293"/>
                        <a:pt x="1478360" y="368024"/>
                      </a:cubicBezTo>
                      <a:lnTo>
                        <a:pt x="1478360" y="377595"/>
                      </a:lnTo>
                      <a:cubicBezTo>
                        <a:pt x="1468008" y="384953"/>
                        <a:pt x="1456450" y="388632"/>
                        <a:pt x="1443688" y="388632"/>
                      </a:cubicBezTo>
                      <a:cubicBezTo>
                        <a:pt x="1430796" y="388632"/>
                        <a:pt x="1420378" y="384009"/>
                        <a:pt x="1412434" y="374763"/>
                      </a:cubicBezTo>
                      <a:cubicBezTo>
                        <a:pt x="1404490" y="365517"/>
                        <a:pt x="1400518" y="352462"/>
                        <a:pt x="1400518" y="335598"/>
                      </a:cubicBezTo>
                      <a:cubicBezTo>
                        <a:pt x="1400518" y="321013"/>
                        <a:pt x="1404670" y="308723"/>
                        <a:pt x="1412972" y="298728"/>
                      </a:cubicBezTo>
                      <a:cubicBezTo>
                        <a:pt x="1421274" y="288733"/>
                        <a:pt x="1432066" y="283736"/>
                        <a:pt x="1445348" y="283736"/>
                      </a:cubicBezTo>
                      <a:close/>
                      <a:moveTo>
                        <a:pt x="1364996" y="283736"/>
                      </a:moveTo>
                      <a:cubicBezTo>
                        <a:pt x="1372614" y="283736"/>
                        <a:pt x="1380004" y="285299"/>
                        <a:pt x="1387166" y="288424"/>
                      </a:cubicBezTo>
                      <a:lnTo>
                        <a:pt x="1387166" y="298582"/>
                      </a:lnTo>
                      <a:cubicBezTo>
                        <a:pt x="1380004" y="294154"/>
                        <a:pt x="1372158" y="291940"/>
                        <a:pt x="1363628" y="291940"/>
                      </a:cubicBezTo>
                      <a:cubicBezTo>
                        <a:pt x="1351908" y="291940"/>
                        <a:pt x="1342402" y="296156"/>
                        <a:pt x="1335108" y="304588"/>
                      </a:cubicBezTo>
                      <a:cubicBezTo>
                        <a:pt x="1327816" y="313020"/>
                        <a:pt x="1324170" y="323943"/>
                        <a:pt x="1324170" y="337356"/>
                      </a:cubicBezTo>
                      <a:cubicBezTo>
                        <a:pt x="1324170" y="350313"/>
                        <a:pt x="1327508" y="360731"/>
                        <a:pt x="1334180" y="368610"/>
                      </a:cubicBezTo>
                      <a:cubicBezTo>
                        <a:pt x="1340856" y="376488"/>
                        <a:pt x="1349662" y="380428"/>
                        <a:pt x="1360600" y="380428"/>
                      </a:cubicBezTo>
                      <a:cubicBezTo>
                        <a:pt x="1370628" y="380428"/>
                        <a:pt x="1379352" y="377758"/>
                        <a:pt x="1386776" y="372419"/>
                      </a:cubicBezTo>
                      <a:lnTo>
                        <a:pt x="1386776" y="381795"/>
                      </a:lnTo>
                      <a:cubicBezTo>
                        <a:pt x="1379352" y="386353"/>
                        <a:pt x="1370498" y="388632"/>
                        <a:pt x="1360210" y="388632"/>
                      </a:cubicBezTo>
                      <a:cubicBezTo>
                        <a:pt x="1346600" y="388632"/>
                        <a:pt x="1335630" y="383960"/>
                        <a:pt x="1327296" y="374617"/>
                      </a:cubicBezTo>
                      <a:cubicBezTo>
                        <a:pt x="1318960" y="365273"/>
                        <a:pt x="1314794" y="353048"/>
                        <a:pt x="1314794" y="337942"/>
                      </a:cubicBezTo>
                      <a:cubicBezTo>
                        <a:pt x="1314794" y="322055"/>
                        <a:pt x="1319482" y="309048"/>
                        <a:pt x="1328858" y="298923"/>
                      </a:cubicBezTo>
                      <a:cubicBezTo>
                        <a:pt x="1338234" y="288798"/>
                        <a:pt x="1350280" y="283736"/>
                        <a:pt x="1364996" y="283736"/>
                      </a:cubicBezTo>
                      <a:close/>
                      <a:moveTo>
                        <a:pt x="1045298" y="283736"/>
                      </a:moveTo>
                      <a:cubicBezTo>
                        <a:pt x="1057736" y="283736"/>
                        <a:pt x="1067274" y="288099"/>
                        <a:pt x="1073916" y="296824"/>
                      </a:cubicBezTo>
                      <a:cubicBezTo>
                        <a:pt x="1080556" y="305549"/>
                        <a:pt x="1083878" y="317464"/>
                        <a:pt x="1083878" y="332570"/>
                      </a:cubicBezTo>
                      <a:lnTo>
                        <a:pt x="1083878" y="336575"/>
                      </a:lnTo>
                      <a:lnTo>
                        <a:pt x="1009844" y="336575"/>
                      </a:lnTo>
                      <a:cubicBezTo>
                        <a:pt x="1009844" y="350313"/>
                        <a:pt x="1013020" y="361057"/>
                        <a:pt x="1019368" y="368805"/>
                      </a:cubicBezTo>
                      <a:cubicBezTo>
                        <a:pt x="1025716" y="376554"/>
                        <a:pt x="1034424" y="380428"/>
                        <a:pt x="1045494" y="380428"/>
                      </a:cubicBezTo>
                      <a:cubicBezTo>
                        <a:pt x="1056694" y="380428"/>
                        <a:pt x="1067632" y="376293"/>
                        <a:pt x="1078310" y="368024"/>
                      </a:cubicBezTo>
                      <a:lnTo>
                        <a:pt x="1078310" y="377595"/>
                      </a:lnTo>
                      <a:cubicBezTo>
                        <a:pt x="1067958" y="384953"/>
                        <a:pt x="1056400" y="388632"/>
                        <a:pt x="1043638" y="388632"/>
                      </a:cubicBezTo>
                      <a:cubicBezTo>
                        <a:pt x="1030746" y="388632"/>
                        <a:pt x="1020328" y="384009"/>
                        <a:pt x="1012384" y="374763"/>
                      </a:cubicBezTo>
                      <a:cubicBezTo>
                        <a:pt x="1004440" y="365517"/>
                        <a:pt x="1000468" y="352462"/>
                        <a:pt x="1000468" y="335598"/>
                      </a:cubicBezTo>
                      <a:cubicBezTo>
                        <a:pt x="1000468" y="321013"/>
                        <a:pt x="1004620" y="308723"/>
                        <a:pt x="1012922" y="298728"/>
                      </a:cubicBezTo>
                      <a:cubicBezTo>
                        <a:pt x="1021224" y="288733"/>
                        <a:pt x="1032016" y="283736"/>
                        <a:pt x="1045298" y="283736"/>
                      </a:cubicBezTo>
                      <a:close/>
                      <a:moveTo>
                        <a:pt x="959038" y="283736"/>
                      </a:moveTo>
                      <a:cubicBezTo>
                        <a:pt x="967634" y="283736"/>
                        <a:pt x="974992" y="285494"/>
                        <a:pt x="981112" y="289010"/>
                      </a:cubicBezTo>
                      <a:lnTo>
                        <a:pt x="981112" y="299168"/>
                      </a:lnTo>
                      <a:cubicBezTo>
                        <a:pt x="973688" y="294349"/>
                        <a:pt x="966006" y="291940"/>
                        <a:pt x="958062" y="291940"/>
                      </a:cubicBezTo>
                      <a:cubicBezTo>
                        <a:pt x="951486" y="291940"/>
                        <a:pt x="946180" y="293649"/>
                        <a:pt x="942142" y="297068"/>
                      </a:cubicBezTo>
                      <a:cubicBezTo>
                        <a:pt x="938104" y="300486"/>
                        <a:pt x="936086" y="304930"/>
                        <a:pt x="936086" y="310400"/>
                      </a:cubicBezTo>
                      <a:cubicBezTo>
                        <a:pt x="936086" y="315153"/>
                        <a:pt x="937356" y="319011"/>
                        <a:pt x="939896" y="321973"/>
                      </a:cubicBezTo>
                      <a:cubicBezTo>
                        <a:pt x="942436" y="324936"/>
                        <a:pt x="948034" y="328338"/>
                        <a:pt x="956694" y="332180"/>
                      </a:cubicBezTo>
                      <a:cubicBezTo>
                        <a:pt x="967112" y="336868"/>
                        <a:pt x="974276" y="341214"/>
                        <a:pt x="978182" y="345218"/>
                      </a:cubicBezTo>
                      <a:cubicBezTo>
                        <a:pt x="982088" y="349223"/>
                        <a:pt x="984042" y="354546"/>
                        <a:pt x="984042" y="361187"/>
                      </a:cubicBezTo>
                      <a:cubicBezTo>
                        <a:pt x="984042" y="369131"/>
                        <a:pt x="981064" y="375691"/>
                        <a:pt x="975104" y="380867"/>
                      </a:cubicBezTo>
                      <a:cubicBezTo>
                        <a:pt x="969148" y="386044"/>
                        <a:pt x="960928" y="388632"/>
                        <a:pt x="950444" y="388632"/>
                      </a:cubicBezTo>
                      <a:cubicBezTo>
                        <a:pt x="940808" y="388632"/>
                        <a:pt x="932766" y="386353"/>
                        <a:pt x="926320" y="381795"/>
                      </a:cubicBezTo>
                      <a:lnTo>
                        <a:pt x="926320" y="370954"/>
                      </a:lnTo>
                      <a:cubicBezTo>
                        <a:pt x="929706" y="373884"/>
                        <a:pt x="933808" y="376195"/>
                        <a:pt x="938626" y="377888"/>
                      </a:cubicBezTo>
                      <a:cubicBezTo>
                        <a:pt x="943444" y="379581"/>
                        <a:pt x="947612" y="380428"/>
                        <a:pt x="951128" y="380428"/>
                      </a:cubicBezTo>
                      <a:cubicBezTo>
                        <a:pt x="966820" y="380428"/>
                        <a:pt x="974666" y="374014"/>
                        <a:pt x="974666" y="361187"/>
                      </a:cubicBezTo>
                      <a:cubicBezTo>
                        <a:pt x="974666" y="356759"/>
                        <a:pt x="972940" y="352983"/>
                        <a:pt x="969488" y="349858"/>
                      </a:cubicBezTo>
                      <a:cubicBezTo>
                        <a:pt x="966038" y="346732"/>
                        <a:pt x="960438" y="343509"/>
                        <a:pt x="952690" y="340188"/>
                      </a:cubicBezTo>
                      <a:cubicBezTo>
                        <a:pt x="943118" y="336021"/>
                        <a:pt x="936396" y="331708"/>
                        <a:pt x="932522" y="327247"/>
                      </a:cubicBezTo>
                      <a:cubicBezTo>
                        <a:pt x="928648" y="322787"/>
                        <a:pt x="926710" y="317367"/>
                        <a:pt x="926710" y="310986"/>
                      </a:cubicBezTo>
                      <a:cubicBezTo>
                        <a:pt x="926710" y="302846"/>
                        <a:pt x="929820" y="296270"/>
                        <a:pt x="936038" y="291256"/>
                      </a:cubicBezTo>
                      <a:cubicBezTo>
                        <a:pt x="942256" y="286243"/>
                        <a:pt x="949924" y="283736"/>
                        <a:pt x="959038" y="283736"/>
                      </a:cubicBezTo>
                      <a:close/>
                      <a:moveTo>
                        <a:pt x="740498" y="283736"/>
                      </a:moveTo>
                      <a:cubicBezTo>
                        <a:pt x="752936" y="283736"/>
                        <a:pt x="762474" y="288099"/>
                        <a:pt x="769116" y="296824"/>
                      </a:cubicBezTo>
                      <a:cubicBezTo>
                        <a:pt x="775756" y="305549"/>
                        <a:pt x="779078" y="317464"/>
                        <a:pt x="779078" y="332570"/>
                      </a:cubicBezTo>
                      <a:lnTo>
                        <a:pt x="779078" y="336575"/>
                      </a:lnTo>
                      <a:lnTo>
                        <a:pt x="705044" y="336575"/>
                      </a:lnTo>
                      <a:cubicBezTo>
                        <a:pt x="705044" y="350313"/>
                        <a:pt x="708220" y="361057"/>
                        <a:pt x="714568" y="368805"/>
                      </a:cubicBezTo>
                      <a:cubicBezTo>
                        <a:pt x="720916" y="376554"/>
                        <a:pt x="729624" y="380428"/>
                        <a:pt x="740694" y="380428"/>
                      </a:cubicBezTo>
                      <a:cubicBezTo>
                        <a:pt x="751894" y="380428"/>
                        <a:pt x="762832" y="376293"/>
                        <a:pt x="773510" y="368024"/>
                      </a:cubicBezTo>
                      <a:lnTo>
                        <a:pt x="773510" y="377595"/>
                      </a:lnTo>
                      <a:cubicBezTo>
                        <a:pt x="763158" y="384953"/>
                        <a:pt x="751600" y="388632"/>
                        <a:pt x="738838" y="388632"/>
                      </a:cubicBezTo>
                      <a:cubicBezTo>
                        <a:pt x="725946" y="388632"/>
                        <a:pt x="715528" y="384009"/>
                        <a:pt x="707584" y="374763"/>
                      </a:cubicBezTo>
                      <a:cubicBezTo>
                        <a:pt x="699640" y="365517"/>
                        <a:pt x="695668" y="352462"/>
                        <a:pt x="695668" y="335598"/>
                      </a:cubicBezTo>
                      <a:cubicBezTo>
                        <a:pt x="695668" y="321013"/>
                        <a:pt x="699820" y="308723"/>
                        <a:pt x="708122" y="298728"/>
                      </a:cubicBezTo>
                      <a:cubicBezTo>
                        <a:pt x="716424" y="288733"/>
                        <a:pt x="727216" y="283736"/>
                        <a:pt x="740498" y="283736"/>
                      </a:cubicBezTo>
                      <a:close/>
                      <a:moveTo>
                        <a:pt x="467888" y="283736"/>
                      </a:moveTo>
                      <a:cubicBezTo>
                        <a:pt x="482146" y="283736"/>
                        <a:pt x="493412" y="288392"/>
                        <a:pt x="501680" y="297703"/>
                      </a:cubicBezTo>
                      <a:cubicBezTo>
                        <a:pt x="509950" y="307014"/>
                        <a:pt x="514084" y="319906"/>
                        <a:pt x="514084" y="336379"/>
                      </a:cubicBezTo>
                      <a:cubicBezTo>
                        <a:pt x="514084" y="351941"/>
                        <a:pt x="509868" y="364540"/>
                        <a:pt x="501436" y="374177"/>
                      </a:cubicBezTo>
                      <a:cubicBezTo>
                        <a:pt x="493004" y="383814"/>
                        <a:pt x="481464" y="388632"/>
                        <a:pt x="466812" y="388632"/>
                      </a:cubicBezTo>
                      <a:cubicBezTo>
                        <a:pt x="452228" y="388632"/>
                        <a:pt x="440686" y="383830"/>
                        <a:pt x="432190" y="374226"/>
                      </a:cubicBezTo>
                      <a:cubicBezTo>
                        <a:pt x="423692" y="364622"/>
                        <a:pt x="419444" y="352136"/>
                        <a:pt x="419444" y="336770"/>
                      </a:cubicBezTo>
                      <a:cubicBezTo>
                        <a:pt x="419444" y="320166"/>
                        <a:pt x="423888" y="307176"/>
                        <a:pt x="432776" y="297800"/>
                      </a:cubicBezTo>
                      <a:cubicBezTo>
                        <a:pt x="441664" y="288424"/>
                        <a:pt x="453368" y="283736"/>
                        <a:pt x="467888" y="283736"/>
                      </a:cubicBezTo>
                      <a:close/>
                      <a:moveTo>
                        <a:pt x="184482" y="283736"/>
                      </a:moveTo>
                      <a:cubicBezTo>
                        <a:pt x="195290" y="283736"/>
                        <a:pt x="203560" y="287333"/>
                        <a:pt x="209290" y="294528"/>
                      </a:cubicBezTo>
                      <a:cubicBezTo>
                        <a:pt x="215020" y="301723"/>
                        <a:pt x="217884" y="311995"/>
                        <a:pt x="217884" y="325343"/>
                      </a:cubicBezTo>
                      <a:lnTo>
                        <a:pt x="217884" y="386190"/>
                      </a:lnTo>
                      <a:lnTo>
                        <a:pt x="208898" y="386190"/>
                      </a:lnTo>
                      <a:lnTo>
                        <a:pt x="208898" y="327980"/>
                      </a:lnTo>
                      <a:cubicBezTo>
                        <a:pt x="208898" y="303953"/>
                        <a:pt x="200238" y="291940"/>
                        <a:pt x="182918" y="291940"/>
                      </a:cubicBezTo>
                      <a:cubicBezTo>
                        <a:pt x="173282" y="291940"/>
                        <a:pt x="165370" y="295473"/>
                        <a:pt x="159186" y="302537"/>
                      </a:cubicBezTo>
                      <a:cubicBezTo>
                        <a:pt x="153000" y="309602"/>
                        <a:pt x="149906" y="318343"/>
                        <a:pt x="149906" y="328761"/>
                      </a:cubicBezTo>
                      <a:lnTo>
                        <a:pt x="149906" y="386190"/>
                      </a:lnTo>
                      <a:lnTo>
                        <a:pt x="140922" y="386190"/>
                      </a:lnTo>
                      <a:lnTo>
                        <a:pt x="140922" y="286178"/>
                      </a:lnTo>
                      <a:lnTo>
                        <a:pt x="149906" y="286178"/>
                      </a:lnTo>
                      <a:lnTo>
                        <a:pt x="149906" y="304344"/>
                      </a:lnTo>
                      <a:lnTo>
                        <a:pt x="150298" y="304344"/>
                      </a:lnTo>
                      <a:cubicBezTo>
                        <a:pt x="157590" y="290605"/>
                        <a:pt x="168984" y="283736"/>
                        <a:pt x="184482" y="283736"/>
                      </a:cubicBezTo>
                      <a:close/>
                      <a:moveTo>
                        <a:pt x="82102" y="283736"/>
                      </a:moveTo>
                      <a:cubicBezTo>
                        <a:pt x="92390" y="283736"/>
                        <a:pt x="100350" y="286927"/>
                        <a:pt x="105982" y="293308"/>
                      </a:cubicBezTo>
                      <a:cubicBezTo>
                        <a:pt x="111614" y="299689"/>
                        <a:pt x="114430" y="308967"/>
                        <a:pt x="114430" y="321143"/>
                      </a:cubicBezTo>
                      <a:lnTo>
                        <a:pt x="114430" y="386190"/>
                      </a:lnTo>
                      <a:lnTo>
                        <a:pt x="105444" y="386190"/>
                      </a:lnTo>
                      <a:lnTo>
                        <a:pt x="105444" y="366168"/>
                      </a:lnTo>
                      <a:lnTo>
                        <a:pt x="105054" y="366168"/>
                      </a:lnTo>
                      <a:cubicBezTo>
                        <a:pt x="101864" y="373005"/>
                        <a:pt x="97224" y="378458"/>
                        <a:pt x="91136" y="382528"/>
                      </a:cubicBezTo>
                      <a:cubicBezTo>
                        <a:pt x="85048" y="386597"/>
                        <a:pt x="78292" y="388632"/>
                        <a:pt x="70870" y="388632"/>
                      </a:cubicBezTo>
                      <a:cubicBezTo>
                        <a:pt x="61364" y="388632"/>
                        <a:pt x="53842" y="385962"/>
                        <a:pt x="48308" y="380623"/>
                      </a:cubicBezTo>
                      <a:cubicBezTo>
                        <a:pt x="42774" y="375284"/>
                        <a:pt x="40006" y="368545"/>
                        <a:pt x="40006" y="360406"/>
                      </a:cubicBezTo>
                      <a:cubicBezTo>
                        <a:pt x="40006" y="342956"/>
                        <a:pt x="51564" y="332407"/>
                        <a:pt x="74678" y="328761"/>
                      </a:cubicBezTo>
                      <a:lnTo>
                        <a:pt x="105444" y="324171"/>
                      </a:lnTo>
                      <a:cubicBezTo>
                        <a:pt x="105444" y="302684"/>
                        <a:pt x="97370" y="291940"/>
                        <a:pt x="81222" y="291940"/>
                      </a:cubicBezTo>
                      <a:cubicBezTo>
                        <a:pt x="70218" y="291940"/>
                        <a:pt x="59508" y="296368"/>
                        <a:pt x="49090" y="305223"/>
                      </a:cubicBezTo>
                      <a:lnTo>
                        <a:pt x="49090" y="294382"/>
                      </a:lnTo>
                      <a:cubicBezTo>
                        <a:pt x="52800" y="291452"/>
                        <a:pt x="57830" y="288945"/>
                        <a:pt x="64180" y="286861"/>
                      </a:cubicBezTo>
                      <a:cubicBezTo>
                        <a:pt x="70528" y="284778"/>
                        <a:pt x="76502" y="283736"/>
                        <a:pt x="82102" y="283736"/>
                      </a:cubicBezTo>
                      <a:close/>
                      <a:moveTo>
                        <a:pt x="554156" y="257170"/>
                      </a:moveTo>
                      <a:lnTo>
                        <a:pt x="554156" y="286178"/>
                      </a:lnTo>
                      <a:lnTo>
                        <a:pt x="580526" y="286178"/>
                      </a:lnTo>
                      <a:lnTo>
                        <a:pt x="580526" y="294382"/>
                      </a:lnTo>
                      <a:lnTo>
                        <a:pt x="554156" y="294382"/>
                      </a:lnTo>
                      <a:lnTo>
                        <a:pt x="554156" y="360406"/>
                      </a:lnTo>
                      <a:cubicBezTo>
                        <a:pt x="554156" y="367308"/>
                        <a:pt x="555248" y="372305"/>
                        <a:pt x="557428" y="375398"/>
                      </a:cubicBezTo>
                      <a:cubicBezTo>
                        <a:pt x="559610" y="378491"/>
                        <a:pt x="563304" y="380037"/>
                        <a:pt x="568514" y="380037"/>
                      </a:cubicBezTo>
                      <a:cubicBezTo>
                        <a:pt x="572226" y="380037"/>
                        <a:pt x="576230" y="378833"/>
                        <a:pt x="580526" y="376423"/>
                      </a:cubicBezTo>
                      <a:lnTo>
                        <a:pt x="580526" y="384823"/>
                      </a:lnTo>
                      <a:cubicBezTo>
                        <a:pt x="575838" y="387037"/>
                        <a:pt x="571444" y="388144"/>
                        <a:pt x="567342" y="388144"/>
                      </a:cubicBezTo>
                      <a:cubicBezTo>
                        <a:pt x="552562" y="388144"/>
                        <a:pt x="545170" y="379288"/>
                        <a:pt x="545170" y="361578"/>
                      </a:cubicBezTo>
                      <a:lnTo>
                        <a:pt x="545170" y="294382"/>
                      </a:lnTo>
                      <a:lnTo>
                        <a:pt x="527200" y="294382"/>
                      </a:lnTo>
                      <a:lnTo>
                        <a:pt x="527200" y="286178"/>
                      </a:lnTo>
                      <a:lnTo>
                        <a:pt x="545170" y="286178"/>
                      </a:lnTo>
                      <a:lnTo>
                        <a:pt x="545170" y="260198"/>
                      </a:lnTo>
                      <a:cubicBezTo>
                        <a:pt x="546604" y="259677"/>
                        <a:pt x="548100" y="259156"/>
                        <a:pt x="549664" y="258635"/>
                      </a:cubicBezTo>
                      <a:cubicBezTo>
                        <a:pt x="551226" y="258179"/>
                        <a:pt x="552724" y="257691"/>
                        <a:pt x="554156" y="257170"/>
                      </a:cubicBezTo>
                      <a:close/>
                      <a:moveTo>
                        <a:pt x="1288316" y="246134"/>
                      </a:moveTo>
                      <a:cubicBezTo>
                        <a:pt x="1290334" y="246134"/>
                        <a:pt x="1292108" y="246785"/>
                        <a:pt x="1293640" y="248087"/>
                      </a:cubicBezTo>
                      <a:cubicBezTo>
                        <a:pt x="1295170" y="249389"/>
                        <a:pt x="1295934" y="251147"/>
                        <a:pt x="1295934" y="253361"/>
                      </a:cubicBezTo>
                      <a:cubicBezTo>
                        <a:pt x="1295934" y="255445"/>
                        <a:pt x="1295186" y="257235"/>
                        <a:pt x="1293688" y="258733"/>
                      </a:cubicBezTo>
                      <a:cubicBezTo>
                        <a:pt x="1292190" y="260230"/>
                        <a:pt x="1290400" y="260979"/>
                        <a:pt x="1288316" y="260979"/>
                      </a:cubicBezTo>
                      <a:cubicBezTo>
                        <a:pt x="1286364" y="260979"/>
                        <a:pt x="1284638" y="260263"/>
                        <a:pt x="1283140" y="258831"/>
                      </a:cubicBezTo>
                      <a:cubicBezTo>
                        <a:pt x="1281642" y="257398"/>
                        <a:pt x="1280894" y="255575"/>
                        <a:pt x="1280894" y="253361"/>
                      </a:cubicBezTo>
                      <a:cubicBezTo>
                        <a:pt x="1280894" y="251212"/>
                        <a:pt x="1281658" y="249471"/>
                        <a:pt x="1283188" y="248136"/>
                      </a:cubicBezTo>
                      <a:cubicBezTo>
                        <a:pt x="1284718" y="246801"/>
                        <a:pt x="1286428" y="246134"/>
                        <a:pt x="1288316" y="246134"/>
                      </a:cubicBezTo>
                      <a:close/>
                      <a:moveTo>
                        <a:pt x="1760172" y="238125"/>
                      </a:moveTo>
                      <a:lnTo>
                        <a:pt x="1769156" y="238125"/>
                      </a:lnTo>
                      <a:lnTo>
                        <a:pt x="1769156" y="386190"/>
                      </a:lnTo>
                      <a:lnTo>
                        <a:pt x="1760172" y="386190"/>
                      </a:lnTo>
                      <a:close/>
                      <a:moveTo>
                        <a:pt x="598122" y="238125"/>
                      </a:moveTo>
                      <a:lnTo>
                        <a:pt x="607106" y="238125"/>
                      </a:lnTo>
                      <a:lnTo>
                        <a:pt x="607106" y="304149"/>
                      </a:lnTo>
                      <a:lnTo>
                        <a:pt x="607498" y="304149"/>
                      </a:lnTo>
                      <a:cubicBezTo>
                        <a:pt x="615376" y="290540"/>
                        <a:pt x="626836" y="283736"/>
                        <a:pt x="641876" y="283736"/>
                      </a:cubicBezTo>
                      <a:cubicBezTo>
                        <a:pt x="652686" y="283736"/>
                        <a:pt x="660922" y="287220"/>
                        <a:pt x="666586" y="294187"/>
                      </a:cubicBezTo>
                      <a:cubicBezTo>
                        <a:pt x="672252" y="301154"/>
                        <a:pt x="675084" y="311148"/>
                        <a:pt x="675084" y="324171"/>
                      </a:cubicBezTo>
                      <a:lnTo>
                        <a:pt x="675084" y="386190"/>
                      </a:lnTo>
                      <a:lnTo>
                        <a:pt x="666098" y="386190"/>
                      </a:lnTo>
                      <a:lnTo>
                        <a:pt x="666098" y="326222"/>
                      </a:lnTo>
                      <a:cubicBezTo>
                        <a:pt x="666098" y="314371"/>
                        <a:pt x="663950" y="305695"/>
                        <a:pt x="659652" y="300193"/>
                      </a:cubicBezTo>
                      <a:cubicBezTo>
                        <a:pt x="655354" y="294691"/>
                        <a:pt x="648648" y="291940"/>
                        <a:pt x="639532" y="291940"/>
                      </a:cubicBezTo>
                      <a:cubicBezTo>
                        <a:pt x="630938" y="291940"/>
                        <a:pt x="623384" y="295293"/>
                        <a:pt x="616874" y="302000"/>
                      </a:cubicBezTo>
                      <a:cubicBezTo>
                        <a:pt x="610362" y="308707"/>
                        <a:pt x="607106" y="318311"/>
                        <a:pt x="607106" y="330812"/>
                      </a:cubicBezTo>
                      <a:lnTo>
                        <a:pt x="607106" y="386190"/>
                      </a:lnTo>
                      <a:lnTo>
                        <a:pt x="598122" y="386190"/>
                      </a:lnTo>
                      <a:close/>
                      <a:moveTo>
                        <a:pt x="316702" y="238125"/>
                      </a:moveTo>
                      <a:lnTo>
                        <a:pt x="325686" y="238125"/>
                      </a:lnTo>
                      <a:lnTo>
                        <a:pt x="325686" y="386190"/>
                      </a:lnTo>
                      <a:lnTo>
                        <a:pt x="316702" y="386190"/>
                      </a:lnTo>
                      <a:lnTo>
                        <a:pt x="316702" y="368024"/>
                      </a:lnTo>
                      <a:lnTo>
                        <a:pt x="316310" y="368024"/>
                      </a:lnTo>
                      <a:cubicBezTo>
                        <a:pt x="313054" y="374340"/>
                        <a:pt x="308236" y="379353"/>
                        <a:pt x="301856" y="383065"/>
                      </a:cubicBezTo>
                      <a:cubicBezTo>
                        <a:pt x="295474" y="386776"/>
                        <a:pt x="288280" y="388632"/>
                        <a:pt x="280270" y="388632"/>
                      </a:cubicBezTo>
                      <a:cubicBezTo>
                        <a:pt x="267964" y="388632"/>
                        <a:pt x="257920" y="384139"/>
                        <a:pt x="250140" y="375154"/>
                      </a:cubicBezTo>
                      <a:cubicBezTo>
                        <a:pt x="242360" y="366168"/>
                        <a:pt x="238468" y="353764"/>
                        <a:pt x="238468" y="337942"/>
                      </a:cubicBezTo>
                      <a:cubicBezTo>
                        <a:pt x="238468" y="321794"/>
                        <a:pt x="242718" y="308723"/>
                        <a:pt x="251214" y="298728"/>
                      </a:cubicBezTo>
                      <a:cubicBezTo>
                        <a:pt x="259712" y="288733"/>
                        <a:pt x="270732" y="283736"/>
                        <a:pt x="284276" y="283736"/>
                      </a:cubicBezTo>
                      <a:cubicBezTo>
                        <a:pt x="299252" y="283736"/>
                        <a:pt x="309930" y="289889"/>
                        <a:pt x="316310" y="302195"/>
                      </a:cubicBezTo>
                      <a:lnTo>
                        <a:pt x="316702" y="302195"/>
                      </a:lnTo>
                      <a:close/>
                      <a:moveTo>
                        <a:pt x="1658020" y="94250"/>
                      </a:moveTo>
                      <a:lnTo>
                        <a:pt x="1630476" y="98254"/>
                      </a:lnTo>
                      <a:cubicBezTo>
                        <a:pt x="1619994" y="99752"/>
                        <a:pt x="1612636" y="102177"/>
                        <a:pt x="1608404" y="105531"/>
                      </a:cubicBezTo>
                      <a:cubicBezTo>
                        <a:pt x="1604172" y="108884"/>
                        <a:pt x="1602056" y="114337"/>
                        <a:pt x="1602056" y="121890"/>
                      </a:cubicBezTo>
                      <a:cubicBezTo>
                        <a:pt x="1602056" y="127815"/>
                        <a:pt x="1604024" y="132699"/>
                        <a:pt x="1607964" y="136540"/>
                      </a:cubicBezTo>
                      <a:cubicBezTo>
                        <a:pt x="1611904" y="140382"/>
                        <a:pt x="1617390" y="142303"/>
                        <a:pt x="1624422" y="142303"/>
                      </a:cubicBezTo>
                      <a:cubicBezTo>
                        <a:pt x="1634058" y="142303"/>
                        <a:pt x="1642066" y="138738"/>
                        <a:pt x="1648448" y="131608"/>
                      </a:cubicBezTo>
                      <a:cubicBezTo>
                        <a:pt x="1654828" y="124478"/>
                        <a:pt x="1658020" y="115281"/>
                        <a:pt x="1658020" y="104017"/>
                      </a:cubicBezTo>
                      <a:close/>
                      <a:moveTo>
                        <a:pt x="1334170" y="94250"/>
                      </a:moveTo>
                      <a:lnTo>
                        <a:pt x="1306626" y="98254"/>
                      </a:lnTo>
                      <a:cubicBezTo>
                        <a:pt x="1296144" y="99752"/>
                        <a:pt x="1288786" y="102177"/>
                        <a:pt x="1284554" y="105531"/>
                      </a:cubicBezTo>
                      <a:cubicBezTo>
                        <a:pt x="1280322" y="108884"/>
                        <a:pt x="1278206" y="114337"/>
                        <a:pt x="1278206" y="121890"/>
                      </a:cubicBezTo>
                      <a:cubicBezTo>
                        <a:pt x="1278206" y="127815"/>
                        <a:pt x="1280176" y="132699"/>
                        <a:pt x="1284114" y="136540"/>
                      </a:cubicBezTo>
                      <a:cubicBezTo>
                        <a:pt x="1288054" y="140382"/>
                        <a:pt x="1293540" y="142303"/>
                        <a:pt x="1300572" y="142303"/>
                      </a:cubicBezTo>
                      <a:cubicBezTo>
                        <a:pt x="1310208" y="142303"/>
                        <a:pt x="1318216" y="138738"/>
                        <a:pt x="1324598" y="131608"/>
                      </a:cubicBezTo>
                      <a:cubicBezTo>
                        <a:pt x="1330978" y="124478"/>
                        <a:pt x="1334170" y="115281"/>
                        <a:pt x="1334170" y="104017"/>
                      </a:cubicBezTo>
                      <a:close/>
                      <a:moveTo>
                        <a:pt x="1100932" y="53815"/>
                      </a:moveTo>
                      <a:cubicBezTo>
                        <a:pt x="1089278" y="53815"/>
                        <a:pt x="1080260" y="57722"/>
                        <a:pt x="1073878" y="65535"/>
                      </a:cubicBezTo>
                      <a:cubicBezTo>
                        <a:pt x="1067498" y="73349"/>
                        <a:pt x="1064306" y="82530"/>
                        <a:pt x="1064306" y="93078"/>
                      </a:cubicBezTo>
                      <a:lnTo>
                        <a:pt x="1064306" y="105677"/>
                      </a:lnTo>
                      <a:cubicBezTo>
                        <a:pt x="1064306" y="115704"/>
                        <a:pt x="1067464" y="124316"/>
                        <a:pt x="1073780" y="131510"/>
                      </a:cubicBezTo>
                      <a:cubicBezTo>
                        <a:pt x="1080096" y="138705"/>
                        <a:pt x="1088398" y="142303"/>
                        <a:pt x="1098686" y="142303"/>
                      </a:cubicBezTo>
                      <a:cubicBezTo>
                        <a:pt x="1108908" y="142303"/>
                        <a:pt x="1117210" y="137924"/>
                        <a:pt x="1123592" y="129166"/>
                      </a:cubicBezTo>
                      <a:cubicBezTo>
                        <a:pt x="1129972" y="120409"/>
                        <a:pt x="1133164" y="108900"/>
                        <a:pt x="1133164" y="94641"/>
                      </a:cubicBezTo>
                      <a:cubicBezTo>
                        <a:pt x="1133164" y="82139"/>
                        <a:pt x="1130232" y="72209"/>
                        <a:pt x="1124372" y="64852"/>
                      </a:cubicBezTo>
                      <a:cubicBezTo>
                        <a:pt x="1118512" y="57494"/>
                        <a:pt x="1110700" y="53815"/>
                        <a:pt x="1100932" y="53815"/>
                      </a:cubicBezTo>
                      <a:close/>
                      <a:moveTo>
                        <a:pt x="734196" y="53815"/>
                      </a:moveTo>
                      <a:cubicBezTo>
                        <a:pt x="722412" y="53815"/>
                        <a:pt x="713018" y="57787"/>
                        <a:pt x="706020" y="65731"/>
                      </a:cubicBezTo>
                      <a:cubicBezTo>
                        <a:pt x="699020" y="73674"/>
                        <a:pt x="695520" y="84711"/>
                        <a:pt x="695520" y="98840"/>
                      </a:cubicBezTo>
                      <a:cubicBezTo>
                        <a:pt x="695520" y="111928"/>
                        <a:pt x="698938" y="122444"/>
                        <a:pt x="705776" y="130387"/>
                      </a:cubicBezTo>
                      <a:cubicBezTo>
                        <a:pt x="712612" y="138331"/>
                        <a:pt x="721956" y="142303"/>
                        <a:pt x="733806" y="142303"/>
                      </a:cubicBezTo>
                      <a:cubicBezTo>
                        <a:pt x="745852" y="142303"/>
                        <a:pt x="755130" y="138396"/>
                        <a:pt x="761642" y="130583"/>
                      </a:cubicBezTo>
                      <a:cubicBezTo>
                        <a:pt x="768152" y="122769"/>
                        <a:pt x="771408" y="111928"/>
                        <a:pt x="771408" y="98059"/>
                      </a:cubicBezTo>
                      <a:cubicBezTo>
                        <a:pt x="771408" y="83799"/>
                        <a:pt x="768168" y="72861"/>
                        <a:pt x="761690" y="65242"/>
                      </a:cubicBezTo>
                      <a:cubicBezTo>
                        <a:pt x="755212" y="57624"/>
                        <a:pt x="746048" y="53815"/>
                        <a:pt x="734196" y="53815"/>
                      </a:cubicBezTo>
                      <a:close/>
                      <a:moveTo>
                        <a:pt x="624682" y="53815"/>
                      </a:moveTo>
                      <a:cubicBezTo>
                        <a:pt x="613028" y="53815"/>
                        <a:pt x="604010" y="57722"/>
                        <a:pt x="597628" y="65535"/>
                      </a:cubicBezTo>
                      <a:cubicBezTo>
                        <a:pt x="591248" y="73349"/>
                        <a:pt x="588056" y="82530"/>
                        <a:pt x="588056" y="93078"/>
                      </a:cubicBezTo>
                      <a:lnTo>
                        <a:pt x="588056" y="105677"/>
                      </a:lnTo>
                      <a:cubicBezTo>
                        <a:pt x="588056" y="115704"/>
                        <a:pt x="591214" y="124316"/>
                        <a:pt x="597530" y="131510"/>
                      </a:cubicBezTo>
                      <a:cubicBezTo>
                        <a:pt x="603846" y="138705"/>
                        <a:pt x="612148" y="142303"/>
                        <a:pt x="622436" y="142303"/>
                      </a:cubicBezTo>
                      <a:cubicBezTo>
                        <a:pt x="632658" y="142303"/>
                        <a:pt x="640960" y="137924"/>
                        <a:pt x="647342" y="129166"/>
                      </a:cubicBezTo>
                      <a:cubicBezTo>
                        <a:pt x="653722" y="120409"/>
                        <a:pt x="656912" y="108900"/>
                        <a:pt x="656912" y="94641"/>
                      </a:cubicBezTo>
                      <a:cubicBezTo>
                        <a:pt x="656912" y="82139"/>
                        <a:pt x="653982" y="72209"/>
                        <a:pt x="648122" y="64852"/>
                      </a:cubicBezTo>
                      <a:cubicBezTo>
                        <a:pt x="642262" y="57494"/>
                        <a:pt x="634450" y="53815"/>
                        <a:pt x="624682" y="53815"/>
                      </a:cubicBezTo>
                      <a:close/>
                      <a:moveTo>
                        <a:pt x="505596" y="53815"/>
                      </a:moveTo>
                      <a:cubicBezTo>
                        <a:pt x="493812" y="53815"/>
                        <a:pt x="484418" y="57787"/>
                        <a:pt x="477420" y="65731"/>
                      </a:cubicBezTo>
                      <a:cubicBezTo>
                        <a:pt x="470420" y="73674"/>
                        <a:pt x="466920" y="84711"/>
                        <a:pt x="466920" y="98840"/>
                      </a:cubicBezTo>
                      <a:cubicBezTo>
                        <a:pt x="466920" y="111928"/>
                        <a:pt x="470338" y="122444"/>
                        <a:pt x="477176" y="130387"/>
                      </a:cubicBezTo>
                      <a:cubicBezTo>
                        <a:pt x="484012" y="138331"/>
                        <a:pt x="493356" y="142303"/>
                        <a:pt x="505206" y="142303"/>
                      </a:cubicBezTo>
                      <a:cubicBezTo>
                        <a:pt x="517252" y="142303"/>
                        <a:pt x="526530" y="138396"/>
                        <a:pt x="533042" y="130583"/>
                      </a:cubicBezTo>
                      <a:cubicBezTo>
                        <a:pt x="539552" y="122769"/>
                        <a:pt x="542808" y="111928"/>
                        <a:pt x="542808" y="98059"/>
                      </a:cubicBezTo>
                      <a:cubicBezTo>
                        <a:pt x="542808" y="83799"/>
                        <a:pt x="539568" y="72861"/>
                        <a:pt x="533090" y="65242"/>
                      </a:cubicBezTo>
                      <a:cubicBezTo>
                        <a:pt x="526612" y="57624"/>
                        <a:pt x="517448" y="53815"/>
                        <a:pt x="505596" y="53815"/>
                      </a:cubicBezTo>
                      <a:close/>
                      <a:moveTo>
                        <a:pt x="1779222" y="48053"/>
                      </a:moveTo>
                      <a:lnTo>
                        <a:pt x="1788206" y="48053"/>
                      </a:lnTo>
                      <a:lnTo>
                        <a:pt x="1788206" y="148065"/>
                      </a:lnTo>
                      <a:lnTo>
                        <a:pt x="1779222" y="148065"/>
                      </a:lnTo>
                      <a:close/>
                      <a:moveTo>
                        <a:pt x="864822" y="48053"/>
                      </a:moveTo>
                      <a:lnTo>
                        <a:pt x="873806" y="48053"/>
                      </a:lnTo>
                      <a:lnTo>
                        <a:pt x="873806" y="148065"/>
                      </a:lnTo>
                      <a:lnTo>
                        <a:pt x="864822" y="148065"/>
                      </a:lnTo>
                      <a:close/>
                      <a:moveTo>
                        <a:pt x="93296" y="48053"/>
                      </a:moveTo>
                      <a:lnTo>
                        <a:pt x="102282" y="48053"/>
                      </a:lnTo>
                      <a:lnTo>
                        <a:pt x="102282" y="148065"/>
                      </a:lnTo>
                      <a:lnTo>
                        <a:pt x="93296" y="148065"/>
                      </a:lnTo>
                      <a:close/>
                      <a:moveTo>
                        <a:pt x="1406858" y="46099"/>
                      </a:moveTo>
                      <a:cubicBezTo>
                        <a:pt x="1410570" y="46099"/>
                        <a:pt x="1413890" y="46685"/>
                        <a:pt x="1416820" y="47857"/>
                      </a:cubicBezTo>
                      <a:lnTo>
                        <a:pt x="1416820" y="57429"/>
                      </a:lnTo>
                      <a:cubicBezTo>
                        <a:pt x="1413824" y="55280"/>
                        <a:pt x="1410308" y="54206"/>
                        <a:pt x="1406272" y="54206"/>
                      </a:cubicBezTo>
                      <a:cubicBezTo>
                        <a:pt x="1398394" y="54206"/>
                        <a:pt x="1391784" y="58275"/>
                        <a:pt x="1386446" y="66414"/>
                      </a:cubicBezTo>
                      <a:cubicBezTo>
                        <a:pt x="1381106" y="74553"/>
                        <a:pt x="1378436" y="86111"/>
                        <a:pt x="1378436" y="101087"/>
                      </a:cubicBezTo>
                      <a:lnTo>
                        <a:pt x="1378436" y="148065"/>
                      </a:lnTo>
                      <a:lnTo>
                        <a:pt x="1369646" y="148065"/>
                      </a:lnTo>
                      <a:lnTo>
                        <a:pt x="1369646" y="48053"/>
                      </a:lnTo>
                      <a:lnTo>
                        <a:pt x="1378436" y="48053"/>
                      </a:lnTo>
                      <a:lnTo>
                        <a:pt x="1378436" y="70223"/>
                      </a:lnTo>
                      <a:lnTo>
                        <a:pt x="1378828" y="70223"/>
                      </a:lnTo>
                      <a:cubicBezTo>
                        <a:pt x="1381106" y="62605"/>
                        <a:pt x="1384720" y="56680"/>
                        <a:pt x="1389668" y="52448"/>
                      </a:cubicBezTo>
                      <a:cubicBezTo>
                        <a:pt x="1394616" y="48216"/>
                        <a:pt x="1400346" y="46099"/>
                        <a:pt x="1406858" y="46099"/>
                      </a:cubicBezTo>
                      <a:close/>
                      <a:moveTo>
                        <a:pt x="435308" y="46099"/>
                      </a:moveTo>
                      <a:cubicBezTo>
                        <a:pt x="439020" y="46099"/>
                        <a:pt x="442340" y="46685"/>
                        <a:pt x="445270" y="47857"/>
                      </a:cubicBezTo>
                      <a:lnTo>
                        <a:pt x="445270" y="57429"/>
                      </a:lnTo>
                      <a:cubicBezTo>
                        <a:pt x="442274" y="55280"/>
                        <a:pt x="438758" y="54206"/>
                        <a:pt x="434722" y="54206"/>
                      </a:cubicBezTo>
                      <a:cubicBezTo>
                        <a:pt x="426844" y="54206"/>
                        <a:pt x="420234" y="58275"/>
                        <a:pt x="414896" y="66414"/>
                      </a:cubicBezTo>
                      <a:cubicBezTo>
                        <a:pt x="409556" y="74553"/>
                        <a:pt x="406886" y="86111"/>
                        <a:pt x="406886" y="101087"/>
                      </a:cubicBezTo>
                      <a:lnTo>
                        <a:pt x="406886" y="148065"/>
                      </a:lnTo>
                      <a:lnTo>
                        <a:pt x="398096" y="148065"/>
                      </a:lnTo>
                      <a:lnTo>
                        <a:pt x="398096" y="48053"/>
                      </a:lnTo>
                      <a:lnTo>
                        <a:pt x="406886" y="48053"/>
                      </a:lnTo>
                      <a:lnTo>
                        <a:pt x="406886" y="70223"/>
                      </a:lnTo>
                      <a:lnTo>
                        <a:pt x="407276" y="70223"/>
                      </a:lnTo>
                      <a:cubicBezTo>
                        <a:pt x="409556" y="62605"/>
                        <a:pt x="413170" y="56680"/>
                        <a:pt x="418118" y="52448"/>
                      </a:cubicBezTo>
                      <a:cubicBezTo>
                        <a:pt x="423066" y="48216"/>
                        <a:pt x="428796" y="46099"/>
                        <a:pt x="435308" y="46099"/>
                      </a:cubicBezTo>
                      <a:close/>
                      <a:moveTo>
                        <a:pt x="168608" y="46099"/>
                      </a:moveTo>
                      <a:cubicBezTo>
                        <a:pt x="172320" y="46099"/>
                        <a:pt x="175640" y="46685"/>
                        <a:pt x="178570" y="47857"/>
                      </a:cubicBezTo>
                      <a:lnTo>
                        <a:pt x="178570" y="57429"/>
                      </a:lnTo>
                      <a:cubicBezTo>
                        <a:pt x="175574" y="55280"/>
                        <a:pt x="172058" y="54206"/>
                        <a:pt x="168022" y="54206"/>
                      </a:cubicBezTo>
                      <a:cubicBezTo>
                        <a:pt x="160144" y="54206"/>
                        <a:pt x="153534" y="58275"/>
                        <a:pt x="148196" y="66414"/>
                      </a:cubicBezTo>
                      <a:cubicBezTo>
                        <a:pt x="142856" y="74553"/>
                        <a:pt x="140186" y="86111"/>
                        <a:pt x="140186" y="101087"/>
                      </a:cubicBezTo>
                      <a:lnTo>
                        <a:pt x="140186" y="148065"/>
                      </a:lnTo>
                      <a:lnTo>
                        <a:pt x="131396" y="148065"/>
                      </a:lnTo>
                      <a:lnTo>
                        <a:pt x="131396" y="48053"/>
                      </a:lnTo>
                      <a:lnTo>
                        <a:pt x="140186" y="48053"/>
                      </a:lnTo>
                      <a:lnTo>
                        <a:pt x="140186" y="70223"/>
                      </a:lnTo>
                      <a:lnTo>
                        <a:pt x="140576" y="70223"/>
                      </a:lnTo>
                      <a:cubicBezTo>
                        <a:pt x="142856" y="62605"/>
                        <a:pt x="146470" y="56680"/>
                        <a:pt x="151418" y="52448"/>
                      </a:cubicBezTo>
                      <a:cubicBezTo>
                        <a:pt x="156366" y="48216"/>
                        <a:pt x="162096" y="46099"/>
                        <a:pt x="168608" y="46099"/>
                      </a:cubicBezTo>
                      <a:close/>
                      <a:moveTo>
                        <a:pt x="1978214" y="45611"/>
                      </a:moveTo>
                      <a:cubicBezTo>
                        <a:pt x="1986808" y="45611"/>
                        <a:pt x="1994166" y="47369"/>
                        <a:pt x="2000286" y="50885"/>
                      </a:cubicBezTo>
                      <a:lnTo>
                        <a:pt x="2000286" y="61043"/>
                      </a:lnTo>
                      <a:cubicBezTo>
                        <a:pt x="1992864" y="56224"/>
                        <a:pt x="1985180" y="53815"/>
                        <a:pt x="1977236" y="53815"/>
                      </a:cubicBezTo>
                      <a:cubicBezTo>
                        <a:pt x="1970660" y="53815"/>
                        <a:pt x="1965354" y="55524"/>
                        <a:pt x="1961316" y="58943"/>
                      </a:cubicBezTo>
                      <a:cubicBezTo>
                        <a:pt x="1957280" y="62361"/>
                        <a:pt x="1955262" y="66805"/>
                        <a:pt x="1955262" y="72275"/>
                      </a:cubicBezTo>
                      <a:cubicBezTo>
                        <a:pt x="1955262" y="77028"/>
                        <a:pt x="1956532" y="80886"/>
                        <a:pt x="1959070" y="83848"/>
                      </a:cubicBezTo>
                      <a:cubicBezTo>
                        <a:pt x="1961610" y="86811"/>
                        <a:pt x="1967210" y="90213"/>
                        <a:pt x="1975870" y="94055"/>
                      </a:cubicBezTo>
                      <a:cubicBezTo>
                        <a:pt x="1986288" y="98743"/>
                        <a:pt x="1993450" y="103089"/>
                        <a:pt x="1997356" y="107093"/>
                      </a:cubicBezTo>
                      <a:cubicBezTo>
                        <a:pt x="2001264" y="111098"/>
                        <a:pt x="2003216" y="116421"/>
                        <a:pt x="2003216" y="123062"/>
                      </a:cubicBezTo>
                      <a:cubicBezTo>
                        <a:pt x="2003216" y="131006"/>
                        <a:pt x="2000238" y="137566"/>
                        <a:pt x="1994280" y="142742"/>
                      </a:cubicBezTo>
                      <a:cubicBezTo>
                        <a:pt x="1988322" y="147919"/>
                        <a:pt x="1980102" y="150507"/>
                        <a:pt x="1969618" y="150507"/>
                      </a:cubicBezTo>
                      <a:cubicBezTo>
                        <a:pt x="1959982" y="150507"/>
                        <a:pt x="1951940" y="148228"/>
                        <a:pt x="1945494" y="143670"/>
                      </a:cubicBezTo>
                      <a:lnTo>
                        <a:pt x="1945494" y="132829"/>
                      </a:lnTo>
                      <a:cubicBezTo>
                        <a:pt x="1948880" y="135759"/>
                        <a:pt x="1952982" y="138070"/>
                        <a:pt x="1957800" y="139763"/>
                      </a:cubicBezTo>
                      <a:cubicBezTo>
                        <a:pt x="1962620" y="141456"/>
                        <a:pt x="1966786" y="142303"/>
                        <a:pt x="1970302" y="142303"/>
                      </a:cubicBezTo>
                      <a:cubicBezTo>
                        <a:pt x="1985994" y="142303"/>
                        <a:pt x="1993840" y="135889"/>
                        <a:pt x="1993840" y="123062"/>
                      </a:cubicBezTo>
                      <a:cubicBezTo>
                        <a:pt x="1993840" y="118634"/>
                        <a:pt x="1992116" y="114858"/>
                        <a:pt x="1988664" y="111733"/>
                      </a:cubicBezTo>
                      <a:cubicBezTo>
                        <a:pt x="1985214" y="108607"/>
                        <a:pt x="1979614" y="105384"/>
                        <a:pt x="1971866" y="102063"/>
                      </a:cubicBezTo>
                      <a:cubicBezTo>
                        <a:pt x="1962294" y="97896"/>
                        <a:pt x="1955572" y="93583"/>
                        <a:pt x="1951696" y="89122"/>
                      </a:cubicBezTo>
                      <a:cubicBezTo>
                        <a:pt x="1947822" y="84662"/>
                        <a:pt x="1945886" y="79242"/>
                        <a:pt x="1945886" y="72861"/>
                      </a:cubicBezTo>
                      <a:cubicBezTo>
                        <a:pt x="1945886" y="64721"/>
                        <a:pt x="1948994" y="58145"/>
                        <a:pt x="1955212" y="53132"/>
                      </a:cubicBezTo>
                      <a:cubicBezTo>
                        <a:pt x="1961432" y="48118"/>
                        <a:pt x="1969098" y="45611"/>
                        <a:pt x="1978214" y="45611"/>
                      </a:cubicBezTo>
                      <a:close/>
                      <a:moveTo>
                        <a:pt x="1844864" y="45611"/>
                      </a:moveTo>
                      <a:cubicBezTo>
                        <a:pt x="1853458" y="45611"/>
                        <a:pt x="1860816" y="47369"/>
                        <a:pt x="1866936" y="50885"/>
                      </a:cubicBezTo>
                      <a:lnTo>
                        <a:pt x="1866936" y="61043"/>
                      </a:lnTo>
                      <a:cubicBezTo>
                        <a:pt x="1859514" y="56224"/>
                        <a:pt x="1851830" y="53815"/>
                        <a:pt x="1843888" y="53815"/>
                      </a:cubicBezTo>
                      <a:cubicBezTo>
                        <a:pt x="1837310" y="53815"/>
                        <a:pt x="1832004" y="55524"/>
                        <a:pt x="1827968" y="58943"/>
                      </a:cubicBezTo>
                      <a:cubicBezTo>
                        <a:pt x="1823930" y="62361"/>
                        <a:pt x="1821912" y="66805"/>
                        <a:pt x="1821912" y="72275"/>
                      </a:cubicBezTo>
                      <a:cubicBezTo>
                        <a:pt x="1821912" y="77028"/>
                        <a:pt x="1823182" y="80886"/>
                        <a:pt x="1825720" y="83848"/>
                      </a:cubicBezTo>
                      <a:cubicBezTo>
                        <a:pt x="1828260" y="86811"/>
                        <a:pt x="1833860" y="90213"/>
                        <a:pt x="1842520" y="94055"/>
                      </a:cubicBezTo>
                      <a:cubicBezTo>
                        <a:pt x="1852938" y="98743"/>
                        <a:pt x="1860100" y="103089"/>
                        <a:pt x="1864006" y="107093"/>
                      </a:cubicBezTo>
                      <a:cubicBezTo>
                        <a:pt x="1867914" y="111098"/>
                        <a:pt x="1869866" y="116421"/>
                        <a:pt x="1869866" y="123062"/>
                      </a:cubicBezTo>
                      <a:cubicBezTo>
                        <a:pt x="1869866" y="131006"/>
                        <a:pt x="1866888" y="137566"/>
                        <a:pt x="1860930" y="142742"/>
                      </a:cubicBezTo>
                      <a:cubicBezTo>
                        <a:pt x="1854972" y="147919"/>
                        <a:pt x="1846752" y="150507"/>
                        <a:pt x="1836268" y="150507"/>
                      </a:cubicBezTo>
                      <a:cubicBezTo>
                        <a:pt x="1826632" y="150507"/>
                        <a:pt x="1818592" y="148228"/>
                        <a:pt x="1812144" y="143670"/>
                      </a:cubicBezTo>
                      <a:lnTo>
                        <a:pt x="1812144" y="132829"/>
                      </a:lnTo>
                      <a:cubicBezTo>
                        <a:pt x="1815530" y="135759"/>
                        <a:pt x="1819632" y="138070"/>
                        <a:pt x="1824452" y="139763"/>
                      </a:cubicBezTo>
                      <a:cubicBezTo>
                        <a:pt x="1829270" y="141456"/>
                        <a:pt x="1833436" y="142303"/>
                        <a:pt x="1836952" y="142303"/>
                      </a:cubicBezTo>
                      <a:cubicBezTo>
                        <a:pt x="1852644" y="142303"/>
                        <a:pt x="1860490" y="135889"/>
                        <a:pt x="1860490" y="123062"/>
                      </a:cubicBezTo>
                      <a:cubicBezTo>
                        <a:pt x="1860490" y="118634"/>
                        <a:pt x="1858766" y="114858"/>
                        <a:pt x="1855314" y="111733"/>
                      </a:cubicBezTo>
                      <a:cubicBezTo>
                        <a:pt x="1851864" y="108607"/>
                        <a:pt x="1846264" y="105384"/>
                        <a:pt x="1838516" y="102063"/>
                      </a:cubicBezTo>
                      <a:cubicBezTo>
                        <a:pt x="1828944" y="97896"/>
                        <a:pt x="1822220" y="93583"/>
                        <a:pt x="1818346" y="89122"/>
                      </a:cubicBezTo>
                      <a:cubicBezTo>
                        <a:pt x="1814472" y="84662"/>
                        <a:pt x="1812536" y="79242"/>
                        <a:pt x="1812536" y="72861"/>
                      </a:cubicBezTo>
                      <a:cubicBezTo>
                        <a:pt x="1812536" y="64721"/>
                        <a:pt x="1815644" y="58145"/>
                        <a:pt x="1821862" y="53132"/>
                      </a:cubicBezTo>
                      <a:cubicBezTo>
                        <a:pt x="1828080" y="48118"/>
                        <a:pt x="1835748" y="45611"/>
                        <a:pt x="1844864" y="45611"/>
                      </a:cubicBezTo>
                      <a:close/>
                      <a:moveTo>
                        <a:pt x="1736470" y="45611"/>
                      </a:moveTo>
                      <a:cubicBezTo>
                        <a:pt x="1744088" y="45611"/>
                        <a:pt x="1751478" y="47174"/>
                        <a:pt x="1758640" y="50299"/>
                      </a:cubicBezTo>
                      <a:lnTo>
                        <a:pt x="1758640" y="60457"/>
                      </a:lnTo>
                      <a:cubicBezTo>
                        <a:pt x="1751478" y="56029"/>
                        <a:pt x="1743632" y="53815"/>
                        <a:pt x="1735104" y="53815"/>
                      </a:cubicBezTo>
                      <a:cubicBezTo>
                        <a:pt x="1723382" y="53815"/>
                        <a:pt x="1713876" y="58031"/>
                        <a:pt x="1706584" y="66463"/>
                      </a:cubicBezTo>
                      <a:cubicBezTo>
                        <a:pt x="1699292" y="74895"/>
                        <a:pt x="1695644" y="85818"/>
                        <a:pt x="1695644" y="99231"/>
                      </a:cubicBezTo>
                      <a:cubicBezTo>
                        <a:pt x="1695644" y="112188"/>
                        <a:pt x="1698982" y="122606"/>
                        <a:pt x="1705656" y="130485"/>
                      </a:cubicBezTo>
                      <a:cubicBezTo>
                        <a:pt x="1712330" y="138364"/>
                        <a:pt x="1721136" y="142303"/>
                        <a:pt x="1732076" y="142303"/>
                      </a:cubicBezTo>
                      <a:cubicBezTo>
                        <a:pt x="1742102" y="142303"/>
                        <a:pt x="1750828" y="139633"/>
                        <a:pt x="1758250" y="134294"/>
                      </a:cubicBezTo>
                      <a:lnTo>
                        <a:pt x="1758250" y="143670"/>
                      </a:lnTo>
                      <a:cubicBezTo>
                        <a:pt x="1750828" y="148228"/>
                        <a:pt x="1741972" y="150507"/>
                        <a:pt x="1731684" y="150507"/>
                      </a:cubicBezTo>
                      <a:cubicBezTo>
                        <a:pt x="1718076" y="150507"/>
                        <a:pt x="1707104" y="145835"/>
                        <a:pt x="1698770" y="136492"/>
                      </a:cubicBezTo>
                      <a:cubicBezTo>
                        <a:pt x="1690436" y="127148"/>
                        <a:pt x="1686268" y="114923"/>
                        <a:pt x="1686268" y="99817"/>
                      </a:cubicBezTo>
                      <a:cubicBezTo>
                        <a:pt x="1686268" y="83930"/>
                        <a:pt x="1690956" y="70923"/>
                        <a:pt x="1700332" y="60798"/>
                      </a:cubicBezTo>
                      <a:cubicBezTo>
                        <a:pt x="1709710" y="50674"/>
                        <a:pt x="1721756" y="45611"/>
                        <a:pt x="1736470" y="45611"/>
                      </a:cubicBezTo>
                      <a:close/>
                      <a:moveTo>
                        <a:pt x="1634676" y="45611"/>
                      </a:moveTo>
                      <a:cubicBezTo>
                        <a:pt x="1644964" y="45611"/>
                        <a:pt x="1652924" y="48802"/>
                        <a:pt x="1658556" y="55183"/>
                      </a:cubicBezTo>
                      <a:cubicBezTo>
                        <a:pt x="1664188" y="61564"/>
                        <a:pt x="1667004" y="70842"/>
                        <a:pt x="1667004" y="83018"/>
                      </a:cubicBezTo>
                      <a:lnTo>
                        <a:pt x="1667004" y="148065"/>
                      </a:lnTo>
                      <a:lnTo>
                        <a:pt x="1658020" y="148065"/>
                      </a:lnTo>
                      <a:lnTo>
                        <a:pt x="1658020" y="128043"/>
                      </a:lnTo>
                      <a:lnTo>
                        <a:pt x="1657628" y="128043"/>
                      </a:lnTo>
                      <a:cubicBezTo>
                        <a:pt x="1654438" y="134880"/>
                        <a:pt x="1649798" y="140333"/>
                        <a:pt x="1643710" y="144403"/>
                      </a:cubicBezTo>
                      <a:cubicBezTo>
                        <a:pt x="1637622" y="148472"/>
                        <a:pt x="1630868" y="150507"/>
                        <a:pt x="1623444" y="150507"/>
                      </a:cubicBezTo>
                      <a:cubicBezTo>
                        <a:pt x="1613938" y="150507"/>
                        <a:pt x="1606418" y="147837"/>
                        <a:pt x="1600884" y="142498"/>
                      </a:cubicBezTo>
                      <a:cubicBezTo>
                        <a:pt x="1595348" y="137159"/>
                        <a:pt x="1592582" y="130420"/>
                        <a:pt x="1592582" y="122281"/>
                      </a:cubicBezTo>
                      <a:cubicBezTo>
                        <a:pt x="1592582" y="104831"/>
                        <a:pt x="1604138" y="94282"/>
                        <a:pt x="1627254" y="90636"/>
                      </a:cubicBezTo>
                      <a:lnTo>
                        <a:pt x="1658020" y="86046"/>
                      </a:lnTo>
                      <a:cubicBezTo>
                        <a:pt x="1658020" y="64559"/>
                        <a:pt x="1649946" y="53815"/>
                        <a:pt x="1633798" y="53815"/>
                      </a:cubicBezTo>
                      <a:cubicBezTo>
                        <a:pt x="1622794" y="53815"/>
                        <a:pt x="1612082" y="58243"/>
                        <a:pt x="1601664" y="67098"/>
                      </a:cubicBezTo>
                      <a:lnTo>
                        <a:pt x="1601664" y="56257"/>
                      </a:lnTo>
                      <a:cubicBezTo>
                        <a:pt x="1605376" y="53327"/>
                        <a:pt x="1610406" y="50820"/>
                        <a:pt x="1616754" y="48736"/>
                      </a:cubicBezTo>
                      <a:cubicBezTo>
                        <a:pt x="1623102" y="46653"/>
                        <a:pt x="1629076" y="45611"/>
                        <a:pt x="1634676" y="45611"/>
                      </a:cubicBezTo>
                      <a:close/>
                      <a:moveTo>
                        <a:pt x="1476268" y="45611"/>
                      </a:moveTo>
                      <a:cubicBezTo>
                        <a:pt x="1483560" y="45611"/>
                        <a:pt x="1489794" y="47711"/>
                        <a:pt x="1494972" y="51911"/>
                      </a:cubicBezTo>
                      <a:cubicBezTo>
                        <a:pt x="1500148" y="56110"/>
                        <a:pt x="1503648" y="61629"/>
                        <a:pt x="1505470" y="68465"/>
                      </a:cubicBezTo>
                      <a:cubicBezTo>
                        <a:pt x="1508596" y="61238"/>
                        <a:pt x="1513072" y="55622"/>
                        <a:pt x="1518900" y="51618"/>
                      </a:cubicBezTo>
                      <a:cubicBezTo>
                        <a:pt x="1524728" y="47613"/>
                        <a:pt x="1531060" y="45611"/>
                        <a:pt x="1537896" y="45611"/>
                      </a:cubicBezTo>
                      <a:cubicBezTo>
                        <a:pt x="1559774" y="45611"/>
                        <a:pt x="1570712" y="59154"/>
                        <a:pt x="1570712" y="86241"/>
                      </a:cubicBezTo>
                      <a:lnTo>
                        <a:pt x="1570712" y="148065"/>
                      </a:lnTo>
                      <a:lnTo>
                        <a:pt x="1561728" y="148065"/>
                      </a:lnTo>
                      <a:lnTo>
                        <a:pt x="1561728" y="87901"/>
                      </a:lnTo>
                      <a:cubicBezTo>
                        <a:pt x="1561728" y="75335"/>
                        <a:pt x="1559758" y="66512"/>
                        <a:pt x="1555818" y="61433"/>
                      </a:cubicBezTo>
                      <a:cubicBezTo>
                        <a:pt x="1551880" y="56355"/>
                        <a:pt x="1545644" y="53815"/>
                        <a:pt x="1537116" y="53815"/>
                      </a:cubicBezTo>
                      <a:cubicBezTo>
                        <a:pt x="1529236" y="53815"/>
                        <a:pt x="1522432" y="57201"/>
                        <a:pt x="1516702" y="63973"/>
                      </a:cubicBezTo>
                      <a:cubicBezTo>
                        <a:pt x="1510972" y="70744"/>
                        <a:pt x="1508108" y="79242"/>
                        <a:pt x="1508108" y="89464"/>
                      </a:cubicBezTo>
                      <a:lnTo>
                        <a:pt x="1508108" y="148065"/>
                      </a:lnTo>
                      <a:lnTo>
                        <a:pt x="1499122" y="148065"/>
                      </a:lnTo>
                      <a:lnTo>
                        <a:pt x="1499122" y="87218"/>
                      </a:lnTo>
                      <a:cubicBezTo>
                        <a:pt x="1499122" y="64949"/>
                        <a:pt x="1490658" y="53815"/>
                        <a:pt x="1473728" y="53815"/>
                      </a:cubicBezTo>
                      <a:cubicBezTo>
                        <a:pt x="1465590" y="53815"/>
                        <a:pt x="1458818" y="57217"/>
                        <a:pt x="1453414" y="64022"/>
                      </a:cubicBezTo>
                      <a:cubicBezTo>
                        <a:pt x="1448008" y="70826"/>
                        <a:pt x="1445306" y="79632"/>
                        <a:pt x="1445306" y="90441"/>
                      </a:cubicBezTo>
                      <a:lnTo>
                        <a:pt x="1445306" y="148065"/>
                      </a:lnTo>
                      <a:lnTo>
                        <a:pt x="1436322" y="148065"/>
                      </a:lnTo>
                      <a:lnTo>
                        <a:pt x="1436322" y="48053"/>
                      </a:lnTo>
                      <a:lnTo>
                        <a:pt x="1445306" y="48053"/>
                      </a:lnTo>
                      <a:lnTo>
                        <a:pt x="1445306" y="64656"/>
                      </a:lnTo>
                      <a:lnTo>
                        <a:pt x="1445698" y="64656"/>
                      </a:lnTo>
                      <a:cubicBezTo>
                        <a:pt x="1452664" y="51959"/>
                        <a:pt x="1462854" y="45611"/>
                        <a:pt x="1476268" y="45611"/>
                      </a:cubicBezTo>
                      <a:close/>
                      <a:moveTo>
                        <a:pt x="1310826" y="45611"/>
                      </a:moveTo>
                      <a:cubicBezTo>
                        <a:pt x="1321114" y="45611"/>
                        <a:pt x="1329074" y="48802"/>
                        <a:pt x="1334706" y="55183"/>
                      </a:cubicBezTo>
                      <a:cubicBezTo>
                        <a:pt x="1340338" y="61564"/>
                        <a:pt x="1343154" y="70842"/>
                        <a:pt x="1343154" y="83018"/>
                      </a:cubicBezTo>
                      <a:lnTo>
                        <a:pt x="1343154" y="148065"/>
                      </a:lnTo>
                      <a:lnTo>
                        <a:pt x="1334170" y="148065"/>
                      </a:lnTo>
                      <a:lnTo>
                        <a:pt x="1334170" y="128043"/>
                      </a:lnTo>
                      <a:lnTo>
                        <a:pt x="1333778" y="128043"/>
                      </a:lnTo>
                      <a:cubicBezTo>
                        <a:pt x="1330588" y="134880"/>
                        <a:pt x="1325948" y="140333"/>
                        <a:pt x="1319860" y="144403"/>
                      </a:cubicBezTo>
                      <a:cubicBezTo>
                        <a:pt x="1313772" y="148472"/>
                        <a:pt x="1307018" y="150507"/>
                        <a:pt x="1299594" y="150507"/>
                      </a:cubicBezTo>
                      <a:cubicBezTo>
                        <a:pt x="1290088" y="150507"/>
                        <a:pt x="1282568" y="147837"/>
                        <a:pt x="1277034" y="142498"/>
                      </a:cubicBezTo>
                      <a:cubicBezTo>
                        <a:pt x="1271498" y="137159"/>
                        <a:pt x="1268732" y="130420"/>
                        <a:pt x="1268732" y="122281"/>
                      </a:cubicBezTo>
                      <a:cubicBezTo>
                        <a:pt x="1268732" y="104831"/>
                        <a:pt x="1280288" y="94282"/>
                        <a:pt x="1303404" y="90636"/>
                      </a:cubicBezTo>
                      <a:lnTo>
                        <a:pt x="1334170" y="86046"/>
                      </a:lnTo>
                      <a:cubicBezTo>
                        <a:pt x="1334170" y="64559"/>
                        <a:pt x="1326096" y="53815"/>
                        <a:pt x="1309948" y="53815"/>
                      </a:cubicBezTo>
                      <a:cubicBezTo>
                        <a:pt x="1298944" y="53815"/>
                        <a:pt x="1288232" y="58243"/>
                        <a:pt x="1277814" y="67098"/>
                      </a:cubicBezTo>
                      <a:lnTo>
                        <a:pt x="1277814" y="56257"/>
                      </a:lnTo>
                      <a:cubicBezTo>
                        <a:pt x="1281526" y="53327"/>
                        <a:pt x="1286556" y="50820"/>
                        <a:pt x="1292904" y="48736"/>
                      </a:cubicBezTo>
                      <a:cubicBezTo>
                        <a:pt x="1299252" y="46653"/>
                        <a:pt x="1305226" y="45611"/>
                        <a:pt x="1310826" y="45611"/>
                      </a:cubicBezTo>
                      <a:close/>
                      <a:moveTo>
                        <a:pt x="1102104" y="45611"/>
                      </a:moveTo>
                      <a:cubicBezTo>
                        <a:pt x="1114802" y="45611"/>
                        <a:pt x="1124714" y="49990"/>
                        <a:pt x="1131844" y="58747"/>
                      </a:cubicBezTo>
                      <a:cubicBezTo>
                        <a:pt x="1138974" y="67505"/>
                        <a:pt x="1142540" y="79404"/>
                        <a:pt x="1142540" y="94445"/>
                      </a:cubicBezTo>
                      <a:cubicBezTo>
                        <a:pt x="1142540" y="111179"/>
                        <a:pt x="1138454" y="124706"/>
                        <a:pt x="1130282" y="135026"/>
                      </a:cubicBezTo>
                      <a:cubicBezTo>
                        <a:pt x="1122110" y="145347"/>
                        <a:pt x="1111318" y="150507"/>
                        <a:pt x="1097904" y="150507"/>
                      </a:cubicBezTo>
                      <a:cubicBezTo>
                        <a:pt x="1082928" y="150507"/>
                        <a:pt x="1071860" y="143768"/>
                        <a:pt x="1064698" y="130290"/>
                      </a:cubicBezTo>
                      <a:lnTo>
                        <a:pt x="1064306" y="130290"/>
                      </a:lnTo>
                      <a:lnTo>
                        <a:pt x="1064306" y="194067"/>
                      </a:lnTo>
                      <a:lnTo>
                        <a:pt x="1055322" y="194067"/>
                      </a:lnTo>
                      <a:lnTo>
                        <a:pt x="1055322" y="48053"/>
                      </a:lnTo>
                      <a:lnTo>
                        <a:pt x="1064306" y="48053"/>
                      </a:lnTo>
                      <a:lnTo>
                        <a:pt x="1064306" y="68661"/>
                      </a:lnTo>
                      <a:lnTo>
                        <a:pt x="1064698" y="68661"/>
                      </a:lnTo>
                      <a:cubicBezTo>
                        <a:pt x="1068278" y="61303"/>
                        <a:pt x="1073406" y="55622"/>
                        <a:pt x="1080080" y="51618"/>
                      </a:cubicBezTo>
                      <a:cubicBezTo>
                        <a:pt x="1086754" y="47613"/>
                        <a:pt x="1094096" y="45611"/>
                        <a:pt x="1102104" y="45611"/>
                      </a:cubicBezTo>
                      <a:close/>
                      <a:moveTo>
                        <a:pt x="945896" y="45611"/>
                      </a:moveTo>
                      <a:cubicBezTo>
                        <a:pt x="953514" y="45611"/>
                        <a:pt x="960904" y="47174"/>
                        <a:pt x="968066" y="50299"/>
                      </a:cubicBezTo>
                      <a:lnTo>
                        <a:pt x="968066" y="60457"/>
                      </a:lnTo>
                      <a:cubicBezTo>
                        <a:pt x="960904" y="56029"/>
                        <a:pt x="953058" y="53815"/>
                        <a:pt x="944528" y="53815"/>
                      </a:cubicBezTo>
                      <a:cubicBezTo>
                        <a:pt x="932808" y="53815"/>
                        <a:pt x="923302" y="58031"/>
                        <a:pt x="916008" y="66463"/>
                      </a:cubicBezTo>
                      <a:cubicBezTo>
                        <a:pt x="908716" y="74895"/>
                        <a:pt x="905070" y="85818"/>
                        <a:pt x="905070" y="99231"/>
                      </a:cubicBezTo>
                      <a:cubicBezTo>
                        <a:pt x="905070" y="112188"/>
                        <a:pt x="908408" y="122606"/>
                        <a:pt x="915080" y="130485"/>
                      </a:cubicBezTo>
                      <a:cubicBezTo>
                        <a:pt x="921756" y="138364"/>
                        <a:pt x="930562" y="142303"/>
                        <a:pt x="941500" y="142303"/>
                      </a:cubicBezTo>
                      <a:cubicBezTo>
                        <a:pt x="951528" y="142303"/>
                        <a:pt x="960252" y="139633"/>
                        <a:pt x="967676" y="134294"/>
                      </a:cubicBezTo>
                      <a:lnTo>
                        <a:pt x="967676" y="143670"/>
                      </a:lnTo>
                      <a:cubicBezTo>
                        <a:pt x="960252" y="148228"/>
                        <a:pt x="951398" y="150507"/>
                        <a:pt x="941110" y="150507"/>
                      </a:cubicBezTo>
                      <a:cubicBezTo>
                        <a:pt x="927500" y="150507"/>
                        <a:pt x="916530" y="145835"/>
                        <a:pt x="908196" y="136492"/>
                      </a:cubicBezTo>
                      <a:cubicBezTo>
                        <a:pt x="899860" y="127148"/>
                        <a:pt x="895694" y="114923"/>
                        <a:pt x="895694" y="99817"/>
                      </a:cubicBezTo>
                      <a:cubicBezTo>
                        <a:pt x="895694" y="83930"/>
                        <a:pt x="900382" y="70923"/>
                        <a:pt x="909758" y="60798"/>
                      </a:cubicBezTo>
                      <a:cubicBezTo>
                        <a:pt x="919134" y="50674"/>
                        <a:pt x="931180" y="45611"/>
                        <a:pt x="945896" y="45611"/>
                      </a:cubicBezTo>
                      <a:close/>
                      <a:moveTo>
                        <a:pt x="734588" y="45611"/>
                      </a:moveTo>
                      <a:cubicBezTo>
                        <a:pt x="748846" y="45611"/>
                        <a:pt x="760112" y="50267"/>
                        <a:pt x="768380" y="59578"/>
                      </a:cubicBezTo>
                      <a:cubicBezTo>
                        <a:pt x="776650" y="68889"/>
                        <a:pt x="780784" y="81781"/>
                        <a:pt x="780784" y="98254"/>
                      </a:cubicBezTo>
                      <a:cubicBezTo>
                        <a:pt x="780784" y="113816"/>
                        <a:pt x="776568" y="126415"/>
                        <a:pt x="768136" y="136052"/>
                      </a:cubicBezTo>
                      <a:cubicBezTo>
                        <a:pt x="759704" y="145689"/>
                        <a:pt x="748164" y="150507"/>
                        <a:pt x="733512" y="150507"/>
                      </a:cubicBezTo>
                      <a:cubicBezTo>
                        <a:pt x="718928" y="150507"/>
                        <a:pt x="707386" y="145705"/>
                        <a:pt x="698890" y="136101"/>
                      </a:cubicBezTo>
                      <a:cubicBezTo>
                        <a:pt x="690392" y="126497"/>
                        <a:pt x="686144" y="114011"/>
                        <a:pt x="686144" y="98645"/>
                      </a:cubicBezTo>
                      <a:cubicBezTo>
                        <a:pt x="686144" y="82041"/>
                        <a:pt x="690588" y="69051"/>
                        <a:pt x="699476" y="59675"/>
                      </a:cubicBezTo>
                      <a:cubicBezTo>
                        <a:pt x="708364" y="50299"/>
                        <a:pt x="720068" y="45611"/>
                        <a:pt x="734588" y="45611"/>
                      </a:cubicBezTo>
                      <a:close/>
                      <a:moveTo>
                        <a:pt x="505988" y="45611"/>
                      </a:moveTo>
                      <a:cubicBezTo>
                        <a:pt x="520246" y="45611"/>
                        <a:pt x="531512" y="50267"/>
                        <a:pt x="539780" y="59578"/>
                      </a:cubicBezTo>
                      <a:cubicBezTo>
                        <a:pt x="548050" y="68889"/>
                        <a:pt x="552184" y="81781"/>
                        <a:pt x="552184" y="98254"/>
                      </a:cubicBezTo>
                      <a:cubicBezTo>
                        <a:pt x="552184" y="113816"/>
                        <a:pt x="547968" y="126415"/>
                        <a:pt x="539536" y="136052"/>
                      </a:cubicBezTo>
                      <a:cubicBezTo>
                        <a:pt x="531104" y="145689"/>
                        <a:pt x="519564" y="150507"/>
                        <a:pt x="504912" y="150507"/>
                      </a:cubicBezTo>
                      <a:cubicBezTo>
                        <a:pt x="490328" y="150507"/>
                        <a:pt x="478786" y="145705"/>
                        <a:pt x="470290" y="136101"/>
                      </a:cubicBezTo>
                      <a:cubicBezTo>
                        <a:pt x="461792" y="126497"/>
                        <a:pt x="457544" y="114011"/>
                        <a:pt x="457544" y="98645"/>
                      </a:cubicBezTo>
                      <a:cubicBezTo>
                        <a:pt x="457544" y="82041"/>
                        <a:pt x="461988" y="69051"/>
                        <a:pt x="470876" y="59675"/>
                      </a:cubicBezTo>
                      <a:cubicBezTo>
                        <a:pt x="479764" y="50299"/>
                        <a:pt x="491468" y="45611"/>
                        <a:pt x="505988" y="45611"/>
                      </a:cubicBezTo>
                      <a:close/>
                      <a:moveTo>
                        <a:pt x="225614" y="45611"/>
                      </a:moveTo>
                      <a:cubicBezTo>
                        <a:pt x="234208" y="45611"/>
                        <a:pt x="241566" y="47369"/>
                        <a:pt x="247686" y="50885"/>
                      </a:cubicBezTo>
                      <a:lnTo>
                        <a:pt x="247686" y="61043"/>
                      </a:lnTo>
                      <a:cubicBezTo>
                        <a:pt x="240264" y="56224"/>
                        <a:pt x="232580" y="53815"/>
                        <a:pt x="224636" y="53815"/>
                      </a:cubicBezTo>
                      <a:cubicBezTo>
                        <a:pt x="218060" y="53815"/>
                        <a:pt x="212754" y="55524"/>
                        <a:pt x="208716" y="58943"/>
                      </a:cubicBezTo>
                      <a:cubicBezTo>
                        <a:pt x="204680" y="62361"/>
                        <a:pt x="202662" y="66805"/>
                        <a:pt x="202662" y="72275"/>
                      </a:cubicBezTo>
                      <a:cubicBezTo>
                        <a:pt x="202662" y="77028"/>
                        <a:pt x="203932" y="80886"/>
                        <a:pt x="206470" y="83848"/>
                      </a:cubicBezTo>
                      <a:cubicBezTo>
                        <a:pt x="209010" y="86811"/>
                        <a:pt x="214610" y="90213"/>
                        <a:pt x="223270" y="94055"/>
                      </a:cubicBezTo>
                      <a:cubicBezTo>
                        <a:pt x="233688" y="98743"/>
                        <a:pt x="240850" y="103089"/>
                        <a:pt x="244756" y="107093"/>
                      </a:cubicBezTo>
                      <a:cubicBezTo>
                        <a:pt x="248664" y="111098"/>
                        <a:pt x="250616" y="116421"/>
                        <a:pt x="250616" y="123062"/>
                      </a:cubicBezTo>
                      <a:cubicBezTo>
                        <a:pt x="250616" y="131006"/>
                        <a:pt x="247638" y="137566"/>
                        <a:pt x="241680" y="142742"/>
                      </a:cubicBezTo>
                      <a:cubicBezTo>
                        <a:pt x="235722" y="147919"/>
                        <a:pt x="227502" y="150507"/>
                        <a:pt x="217018" y="150507"/>
                      </a:cubicBezTo>
                      <a:cubicBezTo>
                        <a:pt x="207382" y="150507"/>
                        <a:pt x="199340" y="148228"/>
                        <a:pt x="192894" y="143670"/>
                      </a:cubicBezTo>
                      <a:lnTo>
                        <a:pt x="192894" y="132829"/>
                      </a:lnTo>
                      <a:cubicBezTo>
                        <a:pt x="196280" y="135759"/>
                        <a:pt x="200382" y="138070"/>
                        <a:pt x="205200" y="139763"/>
                      </a:cubicBezTo>
                      <a:cubicBezTo>
                        <a:pt x="210020" y="141456"/>
                        <a:pt x="214186" y="142303"/>
                        <a:pt x="217702" y="142303"/>
                      </a:cubicBezTo>
                      <a:cubicBezTo>
                        <a:pt x="233394" y="142303"/>
                        <a:pt x="241240" y="135889"/>
                        <a:pt x="241240" y="123062"/>
                      </a:cubicBezTo>
                      <a:cubicBezTo>
                        <a:pt x="241240" y="118634"/>
                        <a:pt x="239516" y="114858"/>
                        <a:pt x="236064" y="111733"/>
                      </a:cubicBezTo>
                      <a:cubicBezTo>
                        <a:pt x="232614" y="108607"/>
                        <a:pt x="227014" y="105384"/>
                        <a:pt x="219266" y="102063"/>
                      </a:cubicBezTo>
                      <a:cubicBezTo>
                        <a:pt x="209694" y="97896"/>
                        <a:pt x="202970" y="93583"/>
                        <a:pt x="199096" y="89122"/>
                      </a:cubicBezTo>
                      <a:cubicBezTo>
                        <a:pt x="195222" y="84662"/>
                        <a:pt x="193286" y="79242"/>
                        <a:pt x="193286" y="72861"/>
                      </a:cubicBezTo>
                      <a:cubicBezTo>
                        <a:pt x="193286" y="64721"/>
                        <a:pt x="196394" y="58145"/>
                        <a:pt x="202612" y="53132"/>
                      </a:cubicBezTo>
                      <a:cubicBezTo>
                        <a:pt x="208832" y="48118"/>
                        <a:pt x="216498" y="45611"/>
                        <a:pt x="225614" y="45611"/>
                      </a:cubicBezTo>
                      <a:close/>
                      <a:moveTo>
                        <a:pt x="1906706" y="19045"/>
                      </a:moveTo>
                      <a:lnTo>
                        <a:pt x="1906706" y="48053"/>
                      </a:lnTo>
                      <a:lnTo>
                        <a:pt x="1933076" y="48053"/>
                      </a:lnTo>
                      <a:lnTo>
                        <a:pt x="1933076" y="56257"/>
                      </a:lnTo>
                      <a:lnTo>
                        <a:pt x="1906706" y="56257"/>
                      </a:lnTo>
                      <a:lnTo>
                        <a:pt x="1906706" y="122281"/>
                      </a:lnTo>
                      <a:cubicBezTo>
                        <a:pt x="1906706" y="129183"/>
                        <a:pt x="1907796" y="134180"/>
                        <a:pt x="1909978" y="137273"/>
                      </a:cubicBezTo>
                      <a:cubicBezTo>
                        <a:pt x="1912160" y="140366"/>
                        <a:pt x="1915854" y="141912"/>
                        <a:pt x="1921064" y="141912"/>
                      </a:cubicBezTo>
                      <a:cubicBezTo>
                        <a:pt x="1924776" y="141912"/>
                        <a:pt x="1928780" y="140708"/>
                        <a:pt x="1933076" y="138298"/>
                      </a:cubicBezTo>
                      <a:lnTo>
                        <a:pt x="1933076" y="146698"/>
                      </a:lnTo>
                      <a:cubicBezTo>
                        <a:pt x="1928388" y="148912"/>
                        <a:pt x="1923994" y="150019"/>
                        <a:pt x="1919892" y="150019"/>
                      </a:cubicBezTo>
                      <a:cubicBezTo>
                        <a:pt x="1905112" y="150019"/>
                        <a:pt x="1897720" y="141163"/>
                        <a:pt x="1897720" y="123453"/>
                      </a:cubicBezTo>
                      <a:lnTo>
                        <a:pt x="1897720" y="56257"/>
                      </a:lnTo>
                      <a:lnTo>
                        <a:pt x="1879750" y="56257"/>
                      </a:lnTo>
                      <a:lnTo>
                        <a:pt x="1879750" y="48053"/>
                      </a:lnTo>
                      <a:lnTo>
                        <a:pt x="1897720" y="48053"/>
                      </a:lnTo>
                      <a:lnTo>
                        <a:pt x="1897720" y="22073"/>
                      </a:lnTo>
                      <a:cubicBezTo>
                        <a:pt x="1899154" y="21552"/>
                        <a:pt x="1900652" y="21031"/>
                        <a:pt x="1902214" y="20510"/>
                      </a:cubicBezTo>
                      <a:cubicBezTo>
                        <a:pt x="1903776" y="20054"/>
                        <a:pt x="1905274" y="19566"/>
                        <a:pt x="1906706" y="19045"/>
                      </a:cubicBezTo>
                      <a:close/>
                      <a:moveTo>
                        <a:pt x="820856" y="19045"/>
                      </a:moveTo>
                      <a:lnTo>
                        <a:pt x="820856" y="48053"/>
                      </a:lnTo>
                      <a:lnTo>
                        <a:pt x="847228" y="48053"/>
                      </a:lnTo>
                      <a:lnTo>
                        <a:pt x="847228" y="56257"/>
                      </a:lnTo>
                      <a:lnTo>
                        <a:pt x="820856" y="56257"/>
                      </a:lnTo>
                      <a:lnTo>
                        <a:pt x="820856" y="122281"/>
                      </a:lnTo>
                      <a:cubicBezTo>
                        <a:pt x="820856" y="129183"/>
                        <a:pt x="821948" y="134180"/>
                        <a:pt x="824128" y="137273"/>
                      </a:cubicBezTo>
                      <a:cubicBezTo>
                        <a:pt x="826310" y="140366"/>
                        <a:pt x="830004" y="141912"/>
                        <a:pt x="835214" y="141912"/>
                      </a:cubicBezTo>
                      <a:cubicBezTo>
                        <a:pt x="838924" y="141912"/>
                        <a:pt x="842930" y="140708"/>
                        <a:pt x="847228" y="138298"/>
                      </a:cubicBezTo>
                      <a:lnTo>
                        <a:pt x="847228" y="146698"/>
                      </a:lnTo>
                      <a:cubicBezTo>
                        <a:pt x="842538" y="148912"/>
                        <a:pt x="838144" y="150019"/>
                        <a:pt x="834042" y="150019"/>
                      </a:cubicBezTo>
                      <a:cubicBezTo>
                        <a:pt x="819262" y="150019"/>
                        <a:pt x="811872" y="141163"/>
                        <a:pt x="811872" y="123453"/>
                      </a:cubicBezTo>
                      <a:lnTo>
                        <a:pt x="811872" y="56257"/>
                      </a:lnTo>
                      <a:lnTo>
                        <a:pt x="793900" y="56257"/>
                      </a:lnTo>
                      <a:lnTo>
                        <a:pt x="793900" y="48053"/>
                      </a:lnTo>
                      <a:lnTo>
                        <a:pt x="811872" y="48053"/>
                      </a:lnTo>
                      <a:lnTo>
                        <a:pt x="811872" y="22073"/>
                      </a:lnTo>
                      <a:cubicBezTo>
                        <a:pt x="813304" y="21552"/>
                        <a:pt x="814800" y="21031"/>
                        <a:pt x="816364" y="20510"/>
                      </a:cubicBezTo>
                      <a:cubicBezTo>
                        <a:pt x="817926" y="20054"/>
                        <a:pt x="819424" y="19566"/>
                        <a:pt x="820856" y="19045"/>
                      </a:cubicBezTo>
                      <a:close/>
                      <a:moveTo>
                        <a:pt x="287456" y="19045"/>
                      </a:moveTo>
                      <a:lnTo>
                        <a:pt x="287456" y="48053"/>
                      </a:lnTo>
                      <a:lnTo>
                        <a:pt x="313826" y="48053"/>
                      </a:lnTo>
                      <a:lnTo>
                        <a:pt x="313826" y="56257"/>
                      </a:lnTo>
                      <a:lnTo>
                        <a:pt x="287456" y="56257"/>
                      </a:lnTo>
                      <a:lnTo>
                        <a:pt x="287456" y="122281"/>
                      </a:lnTo>
                      <a:cubicBezTo>
                        <a:pt x="287456" y="129183"/>
                        <a:pt x="288548" y="134180"/>
                        <a:pt x="290728" y="137273"/>
                      </a:cubicBezTo>
                      <a:cubicBezTo>
                        <a:pt x="292910" y="140366"/>
                        <a:pt x="296604" y="141912"/>
                        <a:pt x="301814" y="141912"/>
                      </a:cubicBezTo>
                      <a:cubicBezTo>
                        <a:pt x="305526" y="141912"/>
                        <a:pt x="309530" y="140708"/>
                        <a:pt x="313826" y="138298"/>
                      </a:cubicBezTo>
                      <a:lnTo>
                        <a:pt x="313826" y="146698"/>
                      </a:lnTo>
                      <a:cubicBezTo>
                        <a:pt x="309138" y="148912"/>
                        <a:pt x="304744" y="150019"/>
                        <a:pt x="300642" y="150019"/>
                      </a:cubicBezTo>
                      <a:cubicBezTo>
                        <a:pt x="285862" y="150019"/>
                        <a:pt x="278470" y="141163"/>
                        <a:pt x="278470" y="123453"/>
                      </a:cubicBezTo>
                      <a:lnTo>
                        <a:pt x="278470" y="56257"/>
                      </a:lnTo>
                      <a:lnTo>
                        <a:pt x="260500" y="56257"/>
                      </a:lnTo>
                      <a:lnTo>
                        <a:pt x="260500" y="48053"/>
                      </a:lnTo>
                      <a:lnTo>
                        <a:pt x="278470" y="48053"/>
                      </a:lnTo>
                      <a:lnTo>
                        <a:pt x="278470" y="22073"/>
                      </a:lnTo>
                      <a:cubicBezTo>
                        <a:pt x="279904" y="21552"/>
                        <a:pt x="281400" y="21031"/>
                        <a:pt x="282964" y="20510"/>
                      </a:cubicBezTo>
                      <a:cubicBezTo>
                        <a:pt x="284526" y="20054"/>
                        <a:pt x="286024" y="19566"/>
                        <a:pt x="287456" y="19045"/>
                      </a:cubicBezTo>
                      <a:close/>
                      <a:moveTo>
                        <a:pt x="1783616" y="8009"/>
                      </a:moveTo>
                      <a:cubicBezTo>
                        <a:pt x="1785634" y="8009"/>
                        <a:pt x="1787408" y="8660"/>
                        <a:pt x="1788940" y="9962"/>
                      </a:cubicBezTo>
                      <a:cubicBezTo>
                        <a:pt x="1790470" y="11264"/>
                        <a:pt x="1791234" y="13022"/>
                        <a:pt x="1791234" y="15236"/>
                      </a:cubicBezTo>
                      <a:cubicBezTo>
                        <a:pt x="1791234" y="17320"/>
                        <a:pt x="1790486" y="19110"/>
                        <a:pt x="1788988" y="20608"/>
                      </a:cubicBezTo>
                      <a:cubicBezTo>
                        <a:pt x="1787490" y="22105"/>
                        <a:pt x="1785700" y="22854"/>
                        <a:pt x="1783616" y="22854"/>
                      </a:cubicBezTo>
                      <a:cubicBezTo>
                        <a:pt x="1781664" y="22854"/>
                        <a:pt x="1779938" y="22138"/>
                        <a:pt x="1778440" y="20706"/>
                      </a:cubicBezTo>
                      <a:cubicBezTo>
                        <a:pt x="1776942" y="19273"/>
                        <a:pt x="1776194" y="17450"/>
                        <a:pt x="1776194" y="15236"/>
                      </a:cubicBezTo>
                      <a:cubicBezTo>
                        <a:pt x="1776194" y="13087"/>
                        <a:pt x="1776958" y="11346"/>
                        <a:pt x="1778488" y="10011"/>
                      </a:cubicBezTo>
                      <a:cubicBezTo>
                        <a:pt x="1780018" y="8676"/>
                        <a:pt x="1781728" y="8009"/>
                        <a:pt x="1783616" y="8009"/>
                      </a:cubicBezTo>
                      <a:close/>
                      <a:moveTo>
                        <a:pt x="869216" y="8009"/>
                      </a:moveTo>
                      <a:cubicBezTo>
                        <a:pt x="871234" y="8009"/>
                        <a:pt x="873008" y="8660"/>
                        <a:pt x="874540" y="9962"/>
                      </a:cubicBezTo>
                      <a:cubicBezTo>
                        <a:pt x="876070" y="11264"/>
                        <a:pt x="876834" y="13022"/>
                        <a:pt x="876834" y="15236"/>
                      </a:cubicBezTo>
                      <a:cubicBezTo>
                        <a:pt x="876834" y="17320"/>
                        <a:pt x="876086" y="19110"/>
                        <a:pt x="874588" y="20608"/>
                      </a:cubicBezTo>
                      <a:cubicBezTo>
                        <a:pt x="873090" y="22105"/>
                        <a:pt x="871300" y="22854"/>
                        <a:pt x="869216" y="22854"/>
                      </a:cubicBezTo>
                      <a:cubicBezTo>
                        <a:pt x="867264" y="22854"/>
                        <a:pt x="865538" y="22138"/>
                        <a:pt x="864040" y="20706"/>
                      </a:cubicBezTo>
                      <a:cubicBezTo>
                        <a:pt x="862542" y="19273"/>
                        <a:pt x="861794" y="17450"/>
                        <a:pt x="861794" y="15236"/>
                      </a:cubicBezTo>
                      <a:cubicBezTo>
                        <a:pt x="861794" y="13087"/>
                        <a:pt x="862558" y="11346"/>
                        <a:pt x="864088" y="10011"/>
                      </a:cubicBezTo>
                      <a:cubicBezTo>
                        <a:pt x="865618" y="8676"/>
                        <a:pt x="867328" y="8009"/>
                        <a:pt x="869216" y="8009"/>
                      </a:cubicBezTo>
                      <a:close/>
                      <a:moveTo>
                        <a:pt x="97692" y="8009"/>
                      </a:moveTo>
                      <a:cubicBezTo>
                        <a:pt x="99710" y="8009"/>
                        <a:pt x="101484" y="8660"/>
                        <a:pt x="103014" y="9962"/>
                      </a:cubicBezTo>
                      <a:cubicBezTo>
                        <a:pt x="104544" y="11264"/>
                        <a:pt x="105310" y="13022"/>
                        <a:pt x="105310" y="15236"/>
                      </a:cubicBezTo>
                      <a:cubicBezTo>
                        <a:pt x="105310" y="17320"/>
                        <a:pt x="104560" y="19110"/>
                        <a:pt x="103064" y="20608"/>
                      </a:cubicBezTo>
                      <a:cubicBezTo>
                        <a:pt x="101566" y="22105"/>
                        <a:pt x="99774" y="22854"/>
                        <a:pt x="97692" y="22854"/>
                      </a:cubicBezTo>
                      <a:cubicBezTo>
                        <a:pt x="95738" y="22854"/>
                        <a:pt x="94012" y="22138"/>
                        <a:pt x="92514" y="20706"/>
                      </a:cubicBezTo>
                      <a:cubicBezTo>
                        <a:pt x="91018" y="19273"/>
                        <a:pt x="90268" y="17450"/>
                        <a:pt x="90268" y="15236"/>
                      </a:cubicBezTo>
                      <a:cubicBezTo>
                        <a:pt x="90268" y="13087"/>
                        <a:pt x="91034" y="11346"/>
                        <a:pt x="92564" y="10011"/>
                      </a:cubicBezTo>
                      <a:cubicBezTo>
                        <a:pt x="94094" y="8676"/>
                        <a:pt x="95804" y="8009"/>
                        <a:pt x="97692" y="8009"/>
                      </a:cubicBezTo>
                      <a:close/>
                      <a:moveTo>
                        <a:pt x="0" y="8009"/>
                      </a:moveTo>
                      <a:lnTo>
                        <a:pt x="65438" y="8009"/>
                      </a:lnTo>
                      <a:lnTo>
                        <a:pt x="65438" y="16897"/>
                      </a:lnTo>
                      <a:lnTo>
                        <a:pt x="9668" y="16897"/>
                      </a:lnTo>
                      <a:lnTo>
                        <a:pt x="9668" y="74033"/>
                      </a:lnTo>
                      <a:lnTo>
                        <a:pt x="61432" y="74033"/>
                      </a:lnTo>
                      <a:lnTo>
                        <a:pt x="61432" y="82823"/>
                      </a:lnTo>
                      <a:lnTo>
                        <a:pt x="9668" y="82823"/>
                      </a:lnTo>
                      <a:lnTo>
                        <a:pt x="9668" y="148065"/>
                      </a:lnTo>
                      <a:lnTo>
                        <a:pt x="0" y="148065"/>
                      </a:lnTo>
                      <a:close/>
                      <a:moveTo>
                        <a:pt x="1169622" y="0"/>
                      </a:moveTo>
                      <a:lnTo>
                        <a:pt x="1178606" y="0"/>
                      </a:lnTo>
                      <a:lnTo>
                        <a:pt x="1178606" y="66024"/>
                      </a:lnTo>
                      <a:lnTo>
                        <a:pt x="1178998" y="66024"/>
                      </a:lnTo>
                      <a:cubicBezTo>
                        <a:pt x="1186876" y="52415"/>
                        <a:pt x="1198336" y="45611"/>
                        <a:pt x="1213376" y="45611"/>
                      </a:cubicBezTo>
                      <a:cubicBezTo>
                        <a:pt x="1224186" y="45611"/>
                        <a:pt x="1232422" y="49095"/>
                        <a:pt x="1238086" y="56062"/>
                      </a:cubicBezTo>
                      <a:cubicBezTo>
                        <a:pt x="1243752" y="63029"/>
                        <a:pt x="1246584" y="73023"/>
                        <a:pt x="1246584" y="86046"/>
                      </a:cubicBezTo>
                      <a:lnTo>
                        <a:pt x="1246584" y="148065"/>
                      </a:lnTo>
                      <a:lnTo>
                        <a:pt x="1237598" y="148065"/>
                      </a:lnTo>
                      <a:lnTo>
                        <a:pt x="1237598" y="88097"/>
                      </a:lnTo>
                      <a:cubicBezTo>
                        <a:pt x="1237598" y="76246"/>
                        <a:pt x="1235450" y="67570"/>
                        <a:pt x="1231152" y="62068"/>
                      </a:cubicBezTo>
                      <a:cubicBezTo>
                        <a:pt x="1226856" y="56566"/>
                        <a:pt x="1220148" y="53815"/>
                        <a:pt x="1211032" y="53815"/>
                      </a:cubicBezTo>
                      <a:cubicBezTo>
                        <a:pt x="1202438" y="53815"/>
                        <a:pt x="1194884" y="57168"/>
                        <a:pt x="1188374" y="63875"/>
                      </a:cubicBezTo>
                      <a:cubicBezTo>
                        <a:pt x="1181862" y="70582"/>
                        <a:pt x="1178606" y="80186"/>
                        <a:pt x="1178606" y="92687"/>
                      </a:cubicBezTo>
                      <a:lnTo>
                        <a:pt x="1178606" y="148065"/>
                      </a:lnTo>
                      <a:lnTo>
                        <a:pt x="1169622" y="148065"/>
                      </a:lnTo>
                      <a:close/>
                      <a:moveTo>
                        <a:pt x="579072" y="0"/>
                      </a:moveTo>
                      <a:lnTo>
                        <a:pt x="588056" y="0"/>
                      </a:lnTo>
                      <a:lnTo>
                        <a:pt x="588056" y="68661"/>
                      </a:lnTo>
                      <a:lnTo>
                        <a:pt x="588448" y="68661"/>
                      </a:lnTo>
                      <a:cubicBezTo>
                        <a:pt x="592028" y="61303"/>
                        <a:pt x="597156" y="55622"/>
                        <a:pt x="603830" y="51618"/>
                      </a:cubicBezTo>
                      <a:cubicBezTo>
                        <a:pt x="610504" y="47613"/>
                        <a:pt x="617846" y="45611"/>
                        <a:pt x="625854" y="45611"/>
                      </a:cubicBezTo>
                      <a:cubicBezTo>
                        <a:pt x="638552" y="45611"/>
                        <a:pt x="648464" y="49990"/>
                        <a:pt x="655594" y="58747"/>
                      </a:cubicBezTo>
                      <a:cubicBezTo>
                        <a:pt x="662724" y="67505"/>
                        <a:pt x="666290" y="79404"/>
                        <a:pt x="666290" y="94445"/>
                      </a:cubicBezTo>
                      <a:cubicBezTo>
                        <a:pt x="666290" y="111179"/>
                        <a:pt x="662154" y="124706"/>
                        <a:pt x="653886" y="135026"/>
                      </a:cubicBezTo>
                      <a:cubicBezTo>
                        <a:pt x="645616" y="145347"/>
                        <a:pt x="634872" y="150507"/>
                        <a:pt x="621654" y="150507"/>
                      </a:cubicBezTo>
                      <a:cubicBezTo>
                        <a:pt x="606678" y="150507"/>
                        <a:pt x="595610" y="143768"/>
                        <a:pt x="588448" y="130290"/>
                      </a:cubicBezTo>
                      <a:lnTo>
                        <a:pt x="588056" y="130290"/>
                      </a:lnTo>
                      <a:lnTo>
                        <a:pt x="588056" y="148065"/>
                      </a:lnTo>
                      <a:lnTo>
                        <a:pt x="579072" y="148065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Здесь текст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430" name="Implantable cell phones"/>
              <p:cNvGrpSpPr/>
              <p:nvPr/>
            </p:nvGrpSpPr>
            <p:grpSpPr>
              <a:xfrm>
                <a:off x="28621290" y="2343473"/>
                <a:ext cx="2651210" cy="2162345"/>
                <a:chOff x="9093847" y="2210893"/>
                <a:chExt cx="2651210" cy="2162345"/>
              </a:xfrm>
            </p:grpSpPr>
            <p:grpSp>
              <p:nvGrpSpPr>
                <p:cNvPr id="720" name="Group 719"/>
                <p:cNvGrpSpPr/>
                <p:nvPr/>
              </p:nvGrpSpPr>
              <p:grpSpPr>
                <a:xfrm>
                  <a:off x="9811803" y="2210893"/>
                  <a:ext cx="1514228" cy="1454688"/>
                  <a:chOff x="6322529" y="2970810"/>
                  <a:chExt cx="1759326" cy="1690148"/>
                </a:xfrm>
              </p:grpSpPr>
              <p:sp>
                <p:nvSpPr>
                  <p:cNvPr id="722" name="Freeform 25"/>
                  <p:cNvSpPr>
                    <a:spLocks/>
                  </p:cNvSpPr>
                  <p:nvPr/>
                </p:nvSpPr>
                <p:spPr bwMode="auto">
                  <a:xfrm>
                    <a:off x="6322529" y="2970810"/>
                    <a:ext cx="480156" cy="1690148"/>
                  </a:xfrm>
                  <a:custGeom>
                    <a:avLst/>
                    <a:gdLst>
                      <a:gd name="T0" fmla="*/ 821 w 835"/>
                      <a:gd name="T1" fmla="*/ 1504 h 2951"/>
                      <a:gd name="T2" fmla="*/ 801 w 835"/>
                      <a:gd name="T3" fmla="*/ 1405 h 2951"/>
                      <a:gd name="T4" fmla="*/ 748 w 835"/>
                      <a:gd name="T5" fmla="*/ 903 h 2951"/>
                      <a:gd name="T6" fmla="*/ 591 w 835"/>
                      <a:gd name="T7" fmla="*/ 535 h 2951"/>
                      <a:gd name="T8" fmla="*/ 520 w 835"/>
                      <a:gd name="T9" fmla="*/ 359 h 2951"/>
                      <a:gd name="T10" fmla="*/ 547 w 835"/>
                      <a:gd name="T11" fmla="*/ 158 h 2951"/>
                      <a:gd name="T12" fmla="*/ 382 w 835"/>
                      <a:gd name="T13" fmla="*/ 11 h 2951"/>
                      <a:gd name="T14" fmla="*/ 289 w 835"/>
                      <a:gd name="T15" fmla="*/ 269 h 2951"/>
                      <a:gd name="T16" fmla="*/ 318 w 835"/>
                      <a:gd name="T17" fmla="*/ 364 h 2951"/>
                      <a:gd name="T18" fmla="*/ 345 w 835"/>
                      <a:gd name="T19" fmla="*/ 479 h 2951"/>
                      <a:gd name="T20" fmla="*/ 231 w 835"/>
                      <a:gd name="T21" fmla="*/ 537 h 2951"/>
                      <a:gd name="T22" fmla="*/ 88 w 835"/>
                      <a:gd name="T23" fmla="*/ 985 h 2951"/>
                      <a:gd name="T24" fmla="*/ 31 w 835"/>
                      <a:gd name="T25" fmla="*/ 1428 h 2951"/>
                      <a:gd name="T26" fmla="*/ 6 w 835"/>
                      <a:gd name="T27" fmla="*/ 1561 h 2951"/>
                      <a:gd name="T28" fmla="*/ 21 w 835"/>
                      <a:gd name="T29" fmla="*/ 1638 h 2951"/>
                      <a:gd name="T30" fmla="*/ 41 w 835"/>
                      <a:gd name="T31" fmla="*/ 1662 h 2951"/>
                      <a:gd name="T32" fmla="*/ 97 w 835"/>
                      <a:gd name="T33" fmla="*/ 1629 h 2951"/>
                      <a:gd name="T34" fmla="*/ 115 w 835"/>
                      <a:gd name="T35" fmla="*/ 1463 h 2951"/>
                      <a:gd name="T36" fmla="*/ 167 w 835"/>
                      <a:gd name="T37" fmla="*/ 1249 h 2951"/>
                      <a:gd name="T38" fmla="*/ 223 w 835"/>
                      <a:gd name="T39" fmla="*/ 925 h 2951"/>
                      <a:gd name="T40" fmla="*/ 258 w 835"/>
                      <a:gd name="T41" fmla="*/ 1050 h 2951"/>
                      <a:gd name="T42" fmla="*/ 243 w 835"/>
                      <a:gd name="T43" fmla="*/ 1160 h 2951"/>
                      <a:gd name="T44" fmla="*/ 152 w 835"/>
                      <a:gd name="T45" fmla="*/ 1590 h 2951"/>
                      <a:gd name="T46" fmla="*/ 194 w 835"/>
                      <a:gd name="T47" fmla="*/ 1798 h 2951"/>
                      <a:gd name="T48" fmla="*/ 277 w 835"/>
                      <a:gd name="T49" fmla="*/ 2522 h 2951"/>
                      <a:gd name="T50" fmla="*/ 284 w 835"/>
                      <a:gd name="T51" fmla="*/ 2845 h 2951"/>
                      <a:gd name="T52" fmla="*/ 253 w 835"/>
                      <a:gd name="T53" fmla="*/ 2940 h 2951"/>
                      <a:gd name="T54" fmla="*/ 265 w 835"/>
                      <a:gd name="T55" fmla="*/ 2942 h 2951"/>
                      <a:gd name="T56" fmla="*/ 301 w 835"/>
                      <a:gd name="T57" fmla="*/ 2946 h 2951"/>
                      <a:gd name="T58" fmla="*/ 329 w 835"/>
                      <a:gd name="T59" fmla="*/ 2946 h 2951"/>
                      <a:gd name="T60" fmla="*/ 396 w 835"/>
                      <a:gd name="T61" fmla="*/ 2940 h 2951"/>
                      <a:gd name="T62" fmla="*/ 381 w 835"/>
                      <a:gd name="T63" fmla="*/ 2705 h 2951"/>
                      <a:gd name="T64" fmla="*/ 412 w 835"/>
                      <a:gd name="T65" fmla="*/ 2308 h 2951"/>
                      <a:gd name="T66" fmla="*/ 416 w 835"/>
                      <a:gd name="T67" fmla="*/ 1746 h 2951"/>
                      <a:gd name="T68" fmla="*/ 419 w 835"/>
                      <a:gd name="T69" fmla="*/ 1756 h 2951"/>
                      <a:gd name="T70" fmla="*/ 444 w 835"/>
                      <a:gd name="T71" fmla="*/ 2124 h 2951"/>
                      <a:gd name="T72" fmla="*/ 455 w 835"/>
                      <a:gd name="T73" fmla="*/ 2691 h 2951"/>
                      <a:gd name="T74" fmla="*/ 433 w 835"/>
                      <a:gd name="T75" fmla="*/ 2855 h 2951"/>
                      <a:gd name="T76" fmla="*/ 492 w 835"/>
                      <a:gd name="T77" fmla="*/ 2951 h 2951"/>
                      <a:gd name="T78" fmla="*/ 522 w 835"/>
                      <a:gd name="T79" fmla="*/ 2949 h 2951"/>
                      <a:gd name="T80" fmla="*/ 563 w 835"/>
                      <a:gd name="T81" fmla="*/ 2942 h 2951"/>
                      <a:gd name="T82" fmla="*/ 581 w 835"/>
                      <a:gd name="T83" fmla="*/ 2941 h 2951"/>
                      <a:gd name="T84" fmla="*/ 570 w 835"/>
                      <a:gd name="T85" fmla="*/ 2872 h 2951"/>
                      <a:gd name="T86" fmla="*/ 538 w 835"/>
                      <a:gd name="T87" fmla="*/ 2705 h 2951"/>
                      <a:gd name="T88" fmla="*/ 598 w 835"/>
                      <a:gd name="T89" fmla="*/ 2077 h 2951"/>
                      <a:gd name="T90" fmla="*/ 674 w 835"/>
                      <a:gd name="T91" fmla="*/ 1649 h 2951"/>
                      <a:gd name="T92" fmla="*/ 589 w 835"/>
                      <a:gd name="T93" fmla="*/ 1153 h 2951"/>
                      <a:gd name="T94" fmla="*/ 612 w 835"/>
                      <a:gd name="T95" fmla="*/ 923 h 2951"/>
                      <a:gd name="T96" fmla="*/ 670 w 835"/>
                      <a:gd name="T97" fmla="*/ 1253 h 2951"/>
                      <a:gd name="T98" fmla="*/ 719 w 835"/>
                      <a:gd name="T99" fmla="*/ 1466 h 2951"/>
                      <a:gd name="T100" fmla="*/ 730 w 835"/>
                      <a:gd name="T101" fmla="*/ 1634 h 2951"/>
                      <a:gd name="T102" fmla="*/ 791 w 835"/>
                      <a:gd name="T103" fmla="*/ 1669 h 2951"/>
                      <a:gd name="T104" fmla="*/ 814 w 835"/>
                      <a:gd name="T105" fmla="*/ 1639 h 2951"/>
                      <a:gd name="T106" fmla="*/ 832 w 835"/>
                      <a:gd name="T107" fmla="*/ 1606 h 29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835" h="2951">
                        <a:moveTo>
                          <a:pt x="832" y="1606"/>
                        </a:moveTo>
                        <a:cubicBezTo>
                          <a:pt x="831" y="1601"/>
                          <a:pt x="831" y="1596"/>
                          <a:pt x="830" y="1589"/>
                        </a:cubicBezTo>
                        <a:cubicBezTo>
                          <a:pt x="831" y="1583"/>
                          <a:pt x="831" y="1575"/>
                          <a:pt x="830" y="1571"/>
                        </a:cubicBezTo>
                        <a:cubicBezTo>
                          <a:pt x="831" y="1571"/>
                          <a:pt x="831" y="1571"/>
                          <a:pt x="831" y="1571"/>
                        </a:cubicBezTo>
                        <a:cubicBezTo>
                          <a:pt x="829" y="1559"/>
                          <a:pt x="826" y="1543"/>
                          <a:pt x="825" y="1535"/>
                        </a:cubicBezTo>
                        <a:cubicBezTo>
                          <a:pt x="825" y="1524"/>
                          <a:pt x="823" y="1514"/>
                          <a:pt x="821" y="1504"/>
                        </a:cubicBezTo>
                        <a:cubicBezTo>
                          <a:pt x="821" y="1502"/>
                          <a:pt x="820" y="1498"/>
                          <a:pt x="818" y="1491"/>
                        </a:cubicBezTo>
                        <a:cubicBezTo>
                          <a:pt x="817" y="1485"/>
                          <a:pt x="815" y="1477"/>
                          <a:pt x="815" y="1472"/>
                        </a:cubicBezTo>
                        <a:cubicBezTo>
                          <a:pt x="814" y="1465"/>
                          <a:pt x="811" y="1455"/>
                          <a:pt x="808" y="1442"/>
                        </a:cubicBezTo>
                        <a:cubicBezTo>
                          <a:pt x="807" y="1438"/>
                          <a:pt x="805" y="1433"/>
                          <a:pt x="804" y="1428"/>
                        </a:cubicBezTo>
                        <a:cubicBezTo>
                          <a:pt x="804" y="1426"/>
                          <a:pt x="804" y="1424"/>
                          <a:pt x="803" y="1422"/>
                        </a:cubicBezTo>
                        <a:cubicBezTo>
                          <a:pt x="803" y="1418"/>
                          <a:pt x="802" y="1412"/>
                          <a:pt x="801" y="1405"/>
                        </a:cubicBezTo>
                        <a:cubicBezTo>
                          <a:pt x="797" y="1377"/>
                          <a:pt x="790" y="1331"/>
                          <a:pt x="787" y="1304"/>
                        </a:cubicBezTo>
                        <a:cubicBezTo>
                          <a:pt x="786" y="1294"/>
                          <a:pt x="785" y="1285"/>
                          <a:pt x="784" y="1275"/>
                        </a:cubicBezTo>
                        <a:cubicBezTo>
                          <a:pt x="779" y="1226"/>
                          <a:pt x="774" y="1175"/>
                          <a:pt x="760" y="1126"/>
                        </a:cubicBezTo>
                        <a:cubicBezTo>
                          <a:pt x="745" y="1076"/>
                          <a:pt x="746" y="1036"/>
                          <a:pt x="747" y="985"/>
                        </a:cubicBezTo>
                        <a:cubicBezTo>
                          <a:pt x="747" y="974"/>
                          <a:pt x="747" y="964"/>
                          <a:pt x="747" y="953"/>
                        </a:cubicBezTo>
                        <a:cubicBezTo>
                          <a:pt x="748" y="936"/>
                          <a:pt x="748" y="920"/>
                          <a:pt x="748" y="903"/>
                        </a:cubicBezTo>
                        <a:cubicBezTo>
                          <a:pt x="751" y="810"/>
                          <a:pt x="753" y="704"/>
                          <a:pt x="719" y="623"/>
                        </a:cubicBezTo>
                        <a:cubicBezTo>
                          <a:pt x="695" y="566"/>
                          <a:pt x="660" y="549"/>
                          <a:pt x="605" y="538"/>
                        </a:cubicBezTo>
                        <a:cubicBezTo>
                          <a:pt x="605" y="538"/>
                          <a:pt x="604" y="538"/>
                          <a:pt x="604" y="538"/>
                        </a:cubicBezTo>
                        <a:cubicBezTo>
                          <a:pt x="604" y="537"/>
                          <a:pt x="604" y="537"/>
                          <a:pt x="604" y="537"/>
                        </a:cubicBezTo>
                        <a:cubicBezTo>
                          <a:pt x="603" y="537"/>
                          <a:pt x="602" y="537"/>
                          <a:pt x="602" y="537"/>
                        </a:cubicBezTo>
                        <a:cubicBezTo>
                          <a:pt x="598" y="536"/>
                          <a:pt x="594" y="536"/>
                          <a:pt x="591" y="535"/>
                        </a:cubicBezTo>
                        <a:cubicBezTo>
                          <a:pt x="558" y="529"/>
                          <a:pt x="524" y="523"/>
                          <a:pt x="500" y="500"/>
                        </a:cubicBezTo>
                        <a:cubicBezTo>
                          <a:pt x="500" y="499"/>
                          <a:pt x="488" y="491"/>
                          <a:pt x="489" y="417"/>
                        </a:cubicBezTo>
                        <a:cubicBezTo>
                          <a:pt x="489" y="414"/>
                          <a:pt x="489" y="412"/>
                          <a:pt x="490" y="410"/>
                        </a:cubicBezTo>
                        <a:cubicBezTo>
                          <a:pt x="501" y="382"/>
                          <a:pt x="506" y="376"/>
                          <a:pt x="513" y="366"/>
                        </a:cubicBezTo>
                        <a:cubicBezTo>
                          <a:pt x="514" y="363"/>
                          <a:pt x="518" y="364"/>
                          <a:pt x="519" y="361"/>
                        </a:cubicBezTo>
                        <a:cubicBezTo>
                          <a:pt x="520" y="359"/>
                          <a:pt x="520" y="359"/>
                          <a:pt x="520" y="359"/>
                        </a:cubicBezTo>
                        <a:cubicBezTo>
                          <a:pt x="529" y="358"/>
                          <a:pt x="539" y="349"/>
                          <a:pt x="545" y="339"/>
                        </a:cubicBezTo>
                        <a:cubicBezTo>
                          <a:pt x="545" y="339"/>
                          <a:pt x="557" y="319"/>
                          <a:pt x="557" y="319"/>
                        </a:cubicBezTo>
                        <a:cubicBezTo>
                          <a:pt x="559" y="313"/>
                          <a:pt x="559" y="306"/>
                          <a:pt x="559" y="301"/>
                        </a:cubicBezTo>
                        <a:cubicBezTo>
                          <a:pt x="561" y="290"/>
                          <a:pt x="560" y="282"/>
                          <a:pt x="555" y="276"/>
                        </a:cubicBezTo>
                        <a:cubicBezTo>
                          <a:pt x="554" y="275"/>
                          <a:pt x="547" y="272"/>
                          <a:pt x="545" y="271"/>
                        </a:cubicBezTo>
                        <a:cubicBezTo>
                          <a:pt x="554" y="231"/>
                          <a:pt x="555" y="192"/>
                          <a:pt x="547" y="158"/>
                        </a:cubicBezTo>
                        <a:cubicBezTo>
                          <a:pt x="553" y="118"/>
                          <a:pt x="552" y="78"/>
                          <a:pt x="510" y="35"/>
                        </a:cubicBezTo>
                        <a:cubicBezTo>
                          <a:pt x="492" y="17"/>
                          <a:pt x="475" y="4"/>
                          <a:pt x="449" y="1"/>
                        </a:cubicBezTo>
                        <a:cubicBezTo>
                          <a:pt x="432" y="0"/>
                          <a:pt x="401" y="4"/>
                          <a:pt x="388" y="12"/>
                        </a:cubicBezTo>
                        <a:cubicBezTo>
                          <a:pt x="387" y="12"/>
                          <a:pt x="385" y="12"/>
                          <a:pt x="383" y="11"/>
                        </a:cubicBezTo>
                        <a:cubicBezTo>
                          <a:pt x="383" y="11"/>
                          <a:pt x="383" y="11"/>
                          <a:pt x="383" y="11"/>
                        </a:cubicBezTo>
                        <a:cubicBezTo>
                          <a:pt x="382" y="11"/>
                          <a:pt x="382" y="11"/>
                          <a:pt x="382" y="11"/>
                        </a:cubicBezTo>
                        <a:cubicBezTo>
                          <a:pt x="379" y="10"/>
                          <a:pt x="376" y="10"/>
                          <a:pt x="373" y="10"/>
                        </a:cubicBezTo>
                        <a:cubicBezTo>
                          <a:pt x="343" y="8"/>
                          <a:pt x="305" y="25"/>
                          <a:pt x="289" y="48"/>
                        </a:cubicBezTo>
                        <a:cubicBezTo>
                          <a:pt x="270" y="74"/>
                          <a:pt x="263" y="124"/>
                          <a:pt x="286" y="152"/>
                        </a:cubicBezTo>
                        <a:cubicBezTo>
                          <a:pt x="283" y="158"/>
                          <a:pt x="281" y="165"/>
                          <a:pt x="280" y="172"/>
                        </a:cubicBezTo>
                        <a:cubicBezTo>
                          <a:pt x="277" y="198"/>
                          <a:pt x="277" y="228"/>
                          <a:pt x="284" y="254"/>
                        </a:cubicBezTo>
                        <a:cubicBezTo>
                          <a:pt x="285" y="259"/>
                          <a:pt x="287" y="264"/>
                          <a:pt x="289" y="269"/>
                        </a:cubicBezTo>
                        <a:cubicBezTo>
                          <a:pt x="286" y="271"/>
                          <a:pt x="280" y="275"/>
                          <a:pt x="280" y="276"/>
                        </a:cubicBezTo>
                        <a:cubicBezTo>
                          <a:pt x="275" y="282"/>
                          <a:pt x="274" y="290"/>
                          <a:pt x="276" y="301"/>
                        </a:cubicBezTo>
                        <a:cubicBezTo>
                          <a:pt x="275" y="306"/>
                          <a:pt x="278" y="317"/>
                          <a:pt x="280" y="323"/>
                        </a:cubicBezTo>
                        <a:cubicBezTo>
                          <a:pt x="282" y="327"/>
                          <a:pt x="283" y="327"/>
                          <a:pt x="286" y="331"/>
                        </a:cubicBezTo>
                        <a:cubicBezTo>
                          <a:pt x="292" y="341"/>
                          <a:pt x="301" y="351"/>
                          <a:pt x="312" y="353"/>
                        </a:cubicBezTo>
                        <a:cubicBezTo>
                          <a:pt x="313" y="357"/>
                          <a:pt x="316" y="361"/>
                          <a:pt x="318" y="364"/>
                        </a:cubicBezTo>
                        <a:cubicBezTo>
                          <a:pt x="319" y="368"/>
                          <a:pt x="321" y="372"/>
                          <a:pt x="323" y="376"/>
                        </a:cubicBezTo>
                        <a:cubicBezTo>
                          <a:pt x="324" y="379"/>
                          <a:pt x="326" y="387"/>
                          <a:pt x="329" y="390"/>
                        </a:cubicBezTo>
                        <a:cubicBezTo>
                          <a:pt x="333" y="401"/>
                          <a:pt x="338" y="413"/>
                          <a:pt x="342" y="424"/>
                        </a:cubicBezTo>
                        <a:cubicBezTo>
                          <a:pt x="343" y="430"/>
                          <a:pt x="347" y="445"/>
                          <a:pt x="348" y="451"/>
                        </a:cubicBezTo>
                        <a:cubicBezTo>
                          <a:pt x="349" y="460"/>
                          <a:pt x="346" y="461"/>
                          <a:pt x="347" y="470"/>
                        </a:cubicBezTo>
                        <a:cubicBezTo>
                          <a:pt x="346" y="473"/>
                          <a:pt x="345" y="476"/>
                          <a:pt x="345" y="479"/>
                        </a:cubicBezTo>
                        <a:cubicBezTo>
                          <a:pt x="344" y="482"/>
                          <a:pt x="337" y="494"/>
                          <a:pt x="337" y="495"/>
                        </a:cubicBezTo>
                        <a:cubicBezTo>
                          <a:pt x="337" y="496"/>
                          <a:pt x="336" y="497"/>
                          <a:pt x="336" y="497"/>
                        </a:cubicBezTo>
                        <a:cubicBezTo>
                          <a:pt x="336" y="498"/>
                          <a:pt x="335" y="499"/>
                          <a:pt x="335" y="500"/>
                        </a:cubicBezTo>
                        <a:cubicBezTo>
                          <a:pt x="311" y="523"/>
                          <a:pt x="277" y="529"/>
                          <a:pt x="244" y="535"/>
                        </a:cubicBezTo>
                        <a:cubicBezTo>
                          <a:pt x="240" y="536"/>
                          <a:pt x="237" y="536"/>
                          <a:pt x="233" y="537"/>
                        </a:cubicBezTo>
                        <a:cubicBezTo>
                          <a:pt x="233" y="537"/>
                          <a:pt x="232" y="537"/>
                          <a:pt x="231" y="537"/>
                        </a:cubicBezTo>
                        <a:cubicBezTo>
                          <a:pt x="231" y="538"/>
                          <a:pt x="231" y="538"/>
                          <a:pt x="231" y="538"/>
                        </a:cubicBezTo>
                        <a:cubicBezTo>
                          <a:pt x="231" y="538"/>
                          <a:pt x="230" y="538"/>
                          <a:pt x="230" y="538"/>
                        </a:cubicBezTo>
                        <a:cubicBezTo>
                          <a:pt x="175" y="549"/>
                          <a:pt x="140" y="566"/>
                          <a:pt x="116" y="623"/>
                        </a:cubicBezTo>
                        <a:cubicBezTo>
                          <a:pt x="82" y="704"/>
                          <a:pt x="84" y="810"/>
                          <a:pt x="87" y="903"/>
                        </a:cubicBezTo>
                        <a:cubicBezTo>
                          <a:pt x="87" y="920"/>
                          <a:pt x="87" y="936"/>
                          <a:pt x="88" y="953"/>
                        </a:cubicBezTo>
                        <a:cubicBezTo>
                          <a:pt x="88" y="964"/>
                          <a:pt x="88" y="974"/>
                          <a:pt x="88" y="985"/>
                        </a:cubicBezTo>
                        <a:cubicBezTo>
                          <a:pt x="89" y="1036"/>
                          <a:pt x="90" y="1076"/>
                          <a:pt x="75" y="1126"/>
                        </a:cubicBezTo>
                        <a:cubicBezTo>
                          <a:pt x="61" y="1175"/>
                          <a:pt x="56" y="1226"/>
                          <a:pt x="51" y="1275"/>
                        </a:cubicBezTo>
                        <a:cubicBezTo>
                          <a:pt x="50" y="1285"/>
                          <a:pt x="49" y="1294"/>
                          <a:pt x="48" y="1304"/>
                        </a:cubicBezTo>
                        <a:cubicBezTo>
                          <a:pt x="45" y="1331"/>
                          <a:pt x="38" y="1377"/>
                          <a:pt x="34" y="1405"/>
                        </a:cubicBezTo>
                        <a:cubicBezTo>
                          <a:pt x="33" y="1412"/>
                          <a:pt x="32" y="1418"/>
                          <a:pt x="32" y="1422"/>
                        </a:cubicBezTo>
                        <a:cubicBezTo>
                          <a:pt x="31" y="1424"/>
                          <a:pt x="31" y="1426"/>
                          <a:pt x="31" y="1428"/>
                        </a:cubicBezTo>
                        <a:cubicBezTo>
                          <a:pt x="30" y="1433"/>
                          <a:pt x="28" y="1438"/>
                          <a:pt x="27" y="1442"/>
                        </a:cubicBezTo>
                        <a:cubicBezTo>
                          <a:pt x="24" y="1455"/>
                          <a:pt x="21" y="1465"/>
                          <a:pt x="20" y="1472"/>
                        </a:cubicBezTo>
                        <a:cubicBezTo>
                          <a:pt x="20" y="1477"/>
                          <a:pt x="18" y="1485"/>
                          <a:pt x="17" y="1491"/>
                        </a:cubicBezTo>
                        <a:cubicBezTo>
                          <a:pt x="15" y="1498"/>
                          <a:pt x="14" y="1502"/>
                          <a:pt x="14" y="1504"/>
                        </a:cubicBezTo>
                        <a:cubicBezTo>
                          <a:pt x="12" y="1514"/>
                          <a:pt x="10" y="1524"/>
                          <a:pt x="9" y="1535"/>
                        </a:cubicBezTo>
                        <a:cubicBezTo>
                          <a:pt x="9" y="1543"/>
                          <a:pt x="8" y="1550"/>
                          <a:pt x="6" y="1561"/>
                        </a:cubicBezTo>
                        <a:cubicBezTo>
                          <a:pt x="6" y="1561"/>
                          <a:pt x="4" y="1601"/>
                          <a:pt x="3" y="1606"/>
                        </a:cubicBezTo>
                        <a:cubicBezTo>
                          <a:pt x="3" y="1613"/>
                          <a:pt x="2" y="1620"/>
                          <a:pt x="1" y="1630"/>
                        </a:cubicBezTo>
                        <a:cubicBezTo>
                          <a:pt x="0" y="1633"/>
                          <a:pt x="1" y="1636"/>
                          <a:pt x="3" y="1638"/>
                        </a:cubicBezTo>
                        <a:cubicBezTo>
                          <a:pt x="5" y="1640"/>
                          <a:pt x="7" y="1641"/>
                          <a:pt x="10" y="1641"/>
                        </a:cubicBezTo>
                        <a:cubicBezTo>
                          <a:pt x="10" y="1641"/>
                          <a:pt x="10" y="1641"/>
                          <a:pt x="10" y="1641"/>
                        </a:cubicBezTo>
                        <a:cubicBezTo>
                          <a:pt x="14" y="1641"/>
                          <a:pt x="18" y="1640"/>
                          <a:pt x="21" y="1638"/>
                        </a:cubicBezTo>
                        <a:cubicBezTo>
                          <a:pt x="21" y="1638"/>
                          <a:pt x="21" y="1639"/>
                          <a:pt x="21" y="1639"/>
                        </a:cubicBezTo>
                        <a:cubicBezTo>
                          <a:pt x="21" y="1647"/>
                          <a:pt x="21" y="1652"/>
                          <a:pt x="22" y="1657"/>
                        </a:cubicBezTo>
                        <a:cubicBezTo>
                          <a:pt x="23" y="1661"/>
                          <a:pt x="27" y="1664"/>
                          <a:pt x="31" y="1664"/>
                        </a:cubicBezTo>
                        <a:cubicBezTo>
                          <a:pt x="32" y="1664"/>
                          <a:pt x="32" y="1664"/>
                          <a:pt x="32" y="1664"/>
                        </a:cubicBezTo>
                        <a:cubicBezTo>
                          <a:pt x="36" y="1663"/>
                          <a:pt x="39" y="1662"/>
                          <a:pt x="42" y="1660"/>
                        </a:cubicBezTo>
                        <a:cubicBezTo>
                          <a:pt x="42" y="1660"/>
                          <a:pt x="42" y="1661"/>
                          <a:pt x="41" y="1662"/>
                        </a:cubicBezTo>
                        <a:cubicBezTo>
                          <a:pt x="41" y="1665"/>
                          <a:pt x="42" y="1667"/>
                          <a:pt x="44" y="1669"/>
                        </a:cubicBezTo>
                        <a:cubicBezTo>
                          <a:pt x="46" y="1671"/>
                          <a:pt x="48" y="1672"/>
                          <a:pt x="51" y="1672"/>
                        </a:cubicBezTo>
                        <a:cubicBezTo>
                          <a:pt x="69" y="1672"/>
                          <a:pt x="73" y="1644"/>
                          <a:pt x="78" y="1602"/>
                        </a:cubicBezTo>
                        <a:cubicBezTo>
                          <a:pt x="80" y="1591"/>
                          <a:pt x="82" y="1575"/>
                          <a:pt x="84" y="1563"/>
                        </a:cubicBezTo>
                        <a:cubicBezTo>
                          <a:pt x="85" y="1570"/>
                          <a:pt x="86" y="1576"/>
                          <a:pt x="86" y="1583"/>
                        </a:cubicBezTo>
                        <a:cubicBezTo>
                          <a:pt x="87" y="1597"/>
                          <a:pt x="87" y="1612"/>
                          <a:pt x="97" y="1629"/>
                        </a:cubicBezTo>
                        <a:cubicBezTo>
                          <a:pt x="98" y="1632"/>
                          <a:pt x="102" y="1634"/>
                          <a:pt x="105" y="1634"/>
                        </a:cubicBezTo>
                        <a:cubicBezTo>
                          <a:pt x="106" y="1634"/>
                          <a:pt x="107" y="1634"/>
                          <a:pt x="107" y="1634"/>
                        </a:cubicBezTo>
                        <a:cubicBezTo>
                          <a:pt x="112" y="1633"/>
                          <a:pt x="115" y="1629"/>
                          <a:pt x="115" y="1624"/>
                        </a:cubicBezTo>
                        <a:cubicBezTo>
                          <a:pt x="115" y="1608"/>
                          <a:pt x="117" y="1594"/>
                          <a:pt x="119" y="1580"/>
                        </a:cubicBezTo>
                        <a:cubicBezTo>
                          <a:pt x="123" y="1549"/>
                          <a:pt x="125" y="1519"/>
                          <a:pt x="119" y="1487"/>
                        </a:cubicBezTo>
                        <a:cubicBezTo>
                          <a:pt x="117" y="1479"/>
                          <a:pt x="116" y="1471"/>
                          <a:pt x="115" y="1463"/>
                        </a:cubicBezTo>
                        <a:cubicBezTo>
                          <a:pt x="114" y="1459"/>
                          <a:pt x="113" y="1451"/>
                          <a:pt x="113" y="1451"/>
                        </a:cubicBezTo>
                        <a:cubicBezTo>
                          <a:pt x="113" y="1447"/>
                          <a:pt x="110" y="1437"/>
                          <a:pt x="109" y="1434"/>
                        </a:cubicBezTo>
                        <a:cubicBezTo>
                          <a:pt x="112" y="1407"/>
                          <a:pt x="120" y="1381"/>
                          <a:pt x="131" y="1346"/>
                        </a:cubicBezTo>
                        <a:cubicBezTo>
                          <a:pt x="138" y="1324"/>
                          <a:pt x="147" y="1301"/>
                          <a:pt x="155" y="1279"/>
                        </a:cubicBezTo>
                        <a:cubicBezTo>
                          <a:pt x="158" y="1270"/>
                          <a:pt x="161" y="1261"/>
                          <a:pt x="165" y="1253"/>
                        </a:cubicBezTo>
                        <a:cubicBezTo>
                          <a:pt x="166" y="1252"/>
                          <a:pt x="167" y="1250"/>
                          <a:pt x="167" y="1249"/>
                        </a:cubicBezTo>
                        <a:cubicBezTo>
                          <a:pt x="176" y="1226"/>
                          <a:pt x="184" y="1202"/>
                          <a:pt x="191" y="1177"/>
                        </a:cubicBezTo>
                        <a:cubicBezTo>
                          <a:pt x="207" y="1117"/>
                          <a:pt x="207" y="1050"/>
                          <a:pt x="207" y="991"/>
                        </a:cubicBezTo>
                        <a:cubicBezTo>
                          <a:pt x="207" y="973"/>
                          <a:pt x="212" y="933"/>
                          <a:pt x="216" y="899"/>
                        </a:cubicBezTo>
                        <a:cubicBezTo>
                          <a:pt x="216" y="899"/>
                          <a:pt x="217" y="898"/>
                          <a:pt x="217" y="898"/>
                        </a:cubicBezTo>
                        <a:cubicBezTo>
                          <a:pt x="218" y="905"/>
                          <a:pt x="220" y="913"/>
                          <a:pt x="222" y="923"/>
                        </a:cubicBezTo>
                        <a:cubicBezTo>
                          <a:pt x="223" y="924"/>
                          <a:pt x="223" y="924"/>
                          <a:pt x="223" y="925"/>
                        </a:cubicBezTo>
                        <a:cubicBezTo>
                          <a:pt x="230" y="942"/>
                          <a:pt x="240" y="976"/>
                          <a:pt x="244" y="1003"/>
                        </a:cubicBezTo>
                        <a:cubicBezTo>
                          <a:pt x="244" y="1003"/>
                          <a:pt x="245" y="1003"/>
                          <a:pt x="245" y="1003"/>
                        </a:cubicBezTo>
                        <a:cubicBezTo>
                          <a:pt x="245" y="1005"/>
                          <a:pt x="246" y="1007"/>
                          <a:pt x="246" y="1009"/>
                        </a:cubicBezTo>
                        <a:cubicBezTo>
                          <a:pt x="247" y="1009"/>
                          <a:pt x="247" y="1010"/>
                          <a:pt x="247" y="1010"/>
                        </a:cubicBezTo>
                        <a:cubicBezTo>
                          <a:pt x="252" y="1030"/>
                          <a:pt x="254" y="1037"/>
                          <a:pt x="253" y="1031"/>
                        </a:cubicBezTo>
                        <a:cubicBezTo>
                          <a:pt x="254" y="1036"/>
                          <a:pt x="257" y="1046"/>
                          <a:pt x="258" y="1050"/>
                        </a:cubicBezTo>
                        <a:cubicBezTo>
                          <a:pt x="260" y="1049"/>
                          <a:pt x="263" y="1102"/>
                          <a:pt x="263" y="1117"/>
                        </a:cubicBezTo>
                        <a:cubicBezTo>
                          <a:pt x="262" y="1118"/>
                          <a:pt x="262" y="1119"/>
                          <a:pt x="262" y="1120"/>
                        </a:cubicBezTo>
                        <a:cubicBezTo>
                          <a:pt x="262" y="1120"/>
                          <a:pt x="262" y="1120"/>
                          <a:pt x="262" y="1121"/>
                        </a:cubicBezTo>
                        <a:cubicBezTo>
                          <a:pt x="262" y="1122"/>
                          <a:pt x="261" y="1122"/>
                          <a:pt x="261" y="1123"/>
                        </a:cubicBezTo>
                        <a:cubicBezTo>
                          <a:pt x="261" y="1123"/>
                          <a:pt x="262" y="1123"/>
                          <a:pt x="262" y="1123"/>
                        </a:cubicBezTo>
                        <a:cubicBezTo>
                          <a:pt x="258" y="1137"/>
                          <a:pt x="251" y="1148"/>
                          <a:pt x="243" y="1160"/>
                        </a:cubicBezTo>
                        <a:cubicBezTo>
                          <a:pt x="242" y="1162"/>
                          <a:pt x="241" y="1163"/>
                          <a:pt x="240" y="1165"/>
                        </a:cubicBezTo>
                        <a:cubicBezTo>
                          <a:pt x="198" y="1231"/>
                          <a:pt x="154" y="1330"/>
                          <a:pt x="147" y="1460"/>
                        </a:cubicBezTo>
                        <a:cubicBezTo>
                          <a:pt x="147" y="1462"/>
                          <a:pt x="142" y="1497"/>
                          <a:pt x="151" y="1584"/>
                        </a:cubicBezTo>
                        <a:cubicBezTo>
                          <a:pt x="151" y="1585"/>
                          <a:pt x="151" y="1585"/>
                          <a:pt x="151" y="1585"/>
                        </a:cubicBezTo>
                        <a:cubicBezTo>
                          <a:pt x="151" y="1587"/>
                          <a:pt x="152" y="1588"/>
                          <a:pt x="152" y="1589"/>
                        </a:cubicBezTo>
                        <a:cubicBezTo>
                          <a:pt x="152" y="1589"/>
                          <a:pt x="152" y="1589"/>
                          <a:pt x="152" y="1590"/>
                        </a:cubicBezTo>
                        <a:cubicBezTo>
                          <a:pt x="152" y="1590"/>
                          <a:pt x="152" y="1590"/>
                          <a:pt x="152" y="1590"/>
                        </a:cubicBezTo>
                        <a:cubicBezTo>
                          <a:pt x="154" y="1608"/>
                          <a:pt x="157" y="1627"/>
                          <a:pt x="161" y="1649"/>
                        </a:cubicBezTo>
                        <a:cubicBezTo>
                          <a:pt x="164" y="1666"/>
                          <a:pt x="168" y="1684"/>
                          <a:pt x="172" y="1704"/>
                        </a:cubicBezTo>
                        <a:cubicBezTo>
                          <a:pt x="172" y="1705"/>
                          <a:pt x="172" y="1706"/>
                          <a:pt x="172" y="1706"/>
                        </a:cubicBezTo>
                        <a:cubicBezTo>
                          <a:pt x="177" y="1727"/>
                          <a:pt x="182" y="1748"/>
                          <a:pt x="188" y="1772"/>
                        </a:cubicBezTo>
                        <a:cubicBezTo>
                          <a:pt x="190" y="1781"/>
                          <a:pt x="192" y="1789"/>
                          <a:pt x="194" y="1798"/>
                        </a:cubicBezTo>
                        <a:cubicBezTo>
                          <a:pt x="205" y="1840"/>
                          <a:pt x="216" y="1884"/>
                          <a:pt x="225" y="1931"/>
                        </a:cubicBezTo>
                        <a:cubicBezTo>
                          <a:pt x="234" y="1977"/>
                          <a:pt x="242" y="2028"/>
                          <a:pt x="237" y="2077"/>
                        </a:cubicBezTo>
                        <a:cubicBezTo>
                          <a:pt x="236" y="2087"/>
                          <a:pt x="235" y="2098"/>
                          <a:pt x="234" y="2108"/>
                        </a:cubicBezTo>
                        <a:cubicBezTo>
                          <a:pt x="228" y="2174"/>
                          <a:pt x="231" y="2237"/>
                          <a:pt x="234" y="2297"/>
                        </a:cubicBezTo>
                        <a:cubicBezTo>
                          <a:pt x="237" y="2365"/>
                          <a:pt x="246" y="2418"/>
                          <a:pt x="264" y="2479"/>
                        </a:cubicBezTo>
                        <a:cubicBezTo>
                          <a:pt x="268" y="2493"/>
                          <a:pt x="273" y="2507"/>
                          <a:pt x="277" y="2522"/>
                        </a:cubicBezTo>
                        <a:cubicBezTo>
                          <a:pt x="292" y="2566"/>
                          <a:pt x="294" y="2642"/>
                          <a:pt x="296" y="2687"/>
                        </a:cubicBezTo>
                        <a:cubicBezTo>
                          <a:pt x="296" y="2693"/>
                          <a:pt x="297" y="2699"/>
                          <a:pt x="297" y="2705"/>
                        </a:cubicBezTo>
                        <a:cubicBezTo>
                          <a:pt x="299" y="2731"/>
                          <a:pt x="300" y="2759"/>
                          <a:pt x="300" y="2787"/>
                        </a:cubicBezTo>
                        <a:cubicBezTo>
                          <a:pt x="300" y="2789"/>
                          <a:pt x="300" y="2789"/>
                          <a:pt x="300" y="2789"/>
                        </a:cubicBezTo>
                        <a:cubicBezTo>
                          <a:pt x="298" y="2802"/>
                          <a:pt x="293" y="2829"/>
                          <a:pt x="290" y="2835"/>
                        </a:cubicBezTo>
                        <a:cubicBezTo>
                          <a:pt x="288" y="2838"/>
                          <a:pt x="286" y="2842"/>
                          <a:pt x="284" y="2845"/>
                        </a:cubicBezTo>
                        <a:cubicBezTo>
                          <a:pt x="279" y="2853"/>
                          <a:pt x="274" y="2861"/>
                          <a:pt x="269" y="2868"/>
                        </a:cubicBezTo>
                        <a:cubicBezTo>
                          <a:pt x="265" y="2872"/>
                          <a:pt x="270" y="2868"/>
                          <a:pt x="265" y="2872"/>
                        </a:cubicBezTo>
                        <a:cubicBezTo>
                          <a:pt x="260" y="2876"/>
                          <a:pt x="244" y="2901"/>
                          <a:pt x="240" y="2907"/>
                        </a:cubicBezTo>
                        <a:cubicBezTo>
                          <a:pt x="230" y="2917"/>
                          <a:pt x="227" y="2927"/>
                          <a:pt x="231" y="2936"/>
                        </a:cubicBezTo>
                        <a:cubicBezTo>
                          <a:pt x="233" y="2941"/>
                          <a:pt x="246" y="2941"/>
                          <a:pt x="254" y="2941"/>
                        </a:cubicBezTo>
                        <a:cubicBezTo>
                          <a:pt x="254" y="2941"/>
                          <a:pt x="253" y="2941"/>
                          <a:pt x="253" y="2940"/>
                        </a:cubicBezTo>
                        <a:cubicBezTo>
                          <a:pt x="253" y="2940"/>
                          <a:pt x="254" y="2939"/>
                          <a:pt x="256" y="2937"/>
                        </a:cubicBezTo>
                        <a:cubicBezTo>
                          <a:pt x="255" y="2939"/>
                          <a:pt x="255" y="2941"/>
                          <a:pt x="254" y="2941"/>
                        </a:cubicBezTo>
                        <a:cubicBezTo>
                          <a:pt x="254" y="2941"/>
                          <a:pt x="255" y="2941"/>
                          <a:pt x="255" y="2941"/>
                        </a:cubicBezTo>
                        <a:cubicBezTo>
                          <a:pt x="255" y="2942"/>
                          <a:pt x="258" y="2944"/>
                          <a:pt x="257" y="2941"/>
                        </a:cubicBezTo>
                        <a:cubicBezTo>
                          <a:pt x="258" y="2942"/>
                          <a:pt x="260" y="2942"/>
                          <a:pt x="262" y="2942"/>
                        </a:cubicBezTo>
                        <a:cubicBezTo>
                          <a:pt x="263" y="2942"/>
                          <a:pt x="264" y="2942"/>
                          <a:pt x="265" y="2942"/>
                        </a:cubicBezTo>
                        <a:cubicBezTo>
                          <a:pt x="266" y="2942"/>
                          <a:pt x="267" y="2942"/>
                          <a:pt x="269" y="2942"/>
                        </a:cubicBezTo>
                        <a:cubicBezTo>
                          <a:pt x="270" y="2942"/>
                          <a:pt x="271" y="2942"/>
                          <a:pt x="272" y="2942"/>
                        </a:cubicBezTo>
                        <a:cubicBezTo>
                          <a:pt x="276" y="2945"/>
                          <a:pt x="281" y="2947"/>
                          <a:pt x="286" y="2947"/>
                        </a:cubicBezTo>
                        <a:cubicBezTo>
                          <a:pt x="287" y="2947"/>
                          <a:pt x="288" y="2947"/>
                          <a:pt x="289" y="2947"/>
                        </a:cubicBezTo>
                        <a:cubicBezTo>
                          <a:pt x="290" y="2947"/>
                          <a:pt x="291" y="2947"/>
                          <a:pt x="292" y="2947"/>
                        </a:cubicBezTo>
                        <a:cubicBezTo>
                          <a:pt x="295" y="2947"/>
                          <a:pt x="298" y="2947"/>
                          <a:pt x="301" y="2946"/>
                        </a:cubicBezTo>
                        <a:cubicBezTo>
                          <a:pt x="304" y="2948"/>
                          <a:pt x="307" y="2949"/>
                          <a:pt x="311" y="2949"/>
                        </a:cubicBezTo>
                        <a:cubicBezTo>
                          <a:pt x="311" y="2949"/>
                          <a:pt x="312" y="2949"/>
                          <a:pt x="313" y="2949"/>
                        </a:cubicBezTo>
                        <a:cubicBezTo>
                          <a:pt x="314" y="2949"/>
                          <a:pt x="315" y="2949"/>
                          <a:pt x="316" y="2949"/>
                        </a:cubicBezTo>
                        <a:cubicBezTo>
                          <a:pt x="316" y="2949"/>
                          <a:pt x="317" y="2949"/>
                          <a:pt x="317" y="2949"/>
                        </a:cubicBezTo>
                        <a:cubicBezTo>
                          <a:pt x="318" y="2949"/>
                          <a:pt x="319" y="2949"/>
                          <a:pt x="320" y="2949"/>
                        </a:cubicBezTo>
                        <a:cubicBezTo>
                          <a:pt x="324" y="2949"/>
                          <a:pt x="327" y="2948"/>
                          <a:pt x="329" y="2946"/>
                        </a:cubicBezTo>
                        <a:cubicBezTo>
                          <a:pt x="330" y="2947"/>
                          <a:pt x="331" y="2947"/>
                          <a:pt x="332" y="2948"/>
                        </a:cubicBezTo>
                        <a:cubicBezTo>
                          <a:pt x="335" y="2950"/>
                          <a:pt x="339" y="2951"/>
                          <a:pt x="343" y="2951"/>
                        </a:cubicBezTo>
                        <a:cubicBezTo>
                          <a:pt x="344" y="2951"/>
                          <a:pt x="346" y="2951"/>
                          <a:pt x="347" y="2950"/>
                        </a:cubicBezTo>
                        <a:cubicBezTo>
                          <a:pt x="348" y="2951"/>
                          <a:pt x="349" y="2951"/>
                          <a:pt x="350" y="2951"/>
                        </a:cubicBezTo>
                        <a:cubicBezTo>
                          <a:pt x="353" y="2951"/>
                          <a:pt x="356" y="2950"/>
                          <a:pt x="358" y="2950"/>
                        </a:cubicBezTo>
                        <a:cubicBezTo>
                          <a:pt x="372" y="2938"/>
                          <a:pt x="382" y="2943"/>
                          <a:pt x="396" y="2940"/>
                        </a:cubicBezTo>
                        <a:cubicBezTo>
                          <a:pt x="405" y="2938"/>
                          <a:pt x="403" y="2934"/>
                          <a:pt x="407" y="2924"/>
                        </a:cubicBezTo>
                        <a:cubicBezTo>
                          <a:pt x="413" y="2913"/>
                          <a:pt x="408" y="2882"/>
                          <a:pt x="401" y="2855"/>
                        </a:cubicBezTo>
                        <a:cubicBezTo>
                          <a:pt x="397" y="2838"/>
                          <a:pt x="392" y="2802"/>
                          <a:pt x="387" y="2778"/>
                        </a:cubicBezTo>
                        <a:cubicBezTo>
                          <a:pt x="387" y="2766"/>
                          <a:pt x="386" y="2758"/>
                          <a:pt x="384" y="2752"/>
                        </a:cubicBezTo>
                        <a:cubicBezTo>
                          <a:pt x="384" y="2743"/>
                          <a:pt x="383" y="2735"/>
                          <a:pt x="383" y="2728"/>
                        </a:cubicBezTo>
                        <a:cubicBezTo>
                          <a:pt x="382" y="2719"/>
                          <a:pt x="382" y="2711"/>
                          <a:pt x="381" y="2705"/>
                        </a:cubicBezTo>
                        <a:cubicBezTo>
                          <a:pt x="381" y="2702"/>
                          <a:pt x="381" y="2698"/>
                          <a:pt x="380" y="2693"/>
                        </a:cubicBezTo>
                        <a:cubicBezTo>
                          <a:pt x="380" y="2692"/>
                          <a:pt x="380" y="2692"/>
                          <a:pt x="380" y="2691"/>
                        </a:cubicBezTo>
                        <a:cubicBezTo>
                          <a:pt x="380" y="2690"/>
                          <a:pt x="380" y="2690"/>
                          <a:pt x="380" y="2690"/>
                        </a:cubicBezTo>
                        <a:cubicBezTo>
                          <a:pt x="376" y="2614"/>
                          <a:pt x="387" y="2528"/>
                          <a:pt x="397" y="2473"/>
                        </a:cubicBezTo>
                        <a:cubicBezTo>
                          <a:pt x="404" y="2431"/>
                          <a:pt x="412" y="2391"/>
                          <a:pt x="413" y="2345"/>
                        </a:cubicBezTo>
                        <a:cubicBezTo>
                          <a:pt x="413" y="2332"/>
                          <a:pt x="413" y="2320"/>
                          <a:pt x="412" y="2308"/>
                        </a:cubicBezTo>
                        <a:cubicBezTo>
                          <a:pt x="411" y="2279"/>
                          <a:pt x="406" y="2251"/>
                          <a:pt x="402" y="2225"/>
                        </a:cubicBezTo>
                        <a:cubicBezTo>
                          <a:pt x="396" y="2192"/>
                          <a:pt x="391" y="2160"/>
                          <a:pt x="391" y="2124"/>
                        </a:cubicBezTo>
                        <a:cubicBezTo>
                          <a:pt x="391" y="2112"/>
                          <a:pt x="391" y="2100"/>
                          <a:pt x="391" y="2088"/>
                        </a:cubicBezTo>
                        <a:cubicBezTo>
                          <a:pt x="390" y="2037"/>
                          <a:pt x="390" y="1984"/>
                          <a:pt x="394" y="1934"/>
                        </a:cubicBezTo>
                        <a:cubicBezTo>
                          <a:pt x="397" y="1900"/>
                          <a:pt x="402" y="1866"/>
                          <a:pt x="406" y="1833"/>
                        </a:cubicBezTo>
                        <a:cubicBezTo>
                          <a:pt x="409" y="1805"/>
                          <a:pt x="413" y="1775"/>
                          <a:pt x="416" y="1746"/>
                        </a:cubicBezTo>
                        <a:cubicBezTo>
                          <a:pt x="416" y="1746"/>
                          <a:pt x="416" y="1746"/>
                          <a:pt x="416" y="1746"/>
                        </a:cubicBezTo>
                        <a:cubicBezTo>
                          <a:pt x="416" y="1756"/>
                          <a:pt x="416" y="1756"/>
                          <a:pt x="416" y="1756"/>
                        </a:cubicBezTo>
                        <a:cubicBezTo>
                          <a:pt x="416" y="1753"/>
                          <a:pt x="417" y="1749"/>
                          <a:pt x="417" y="1746"/>
                        </a:cubicBezTo>
                        <a:cubicBezTo>
                          <a:pt x="417" y="1745"/>
                          <a:pt x="417" y="1744"/>
                          <a:pt x="417" y="1742"/>
                        </a:cubicBezTo>
                        <a:cubicBezTo>
                          <a:pt x="418" y="1744"/>
                          <a:pt x="418" y="1745"/>
                          <a:pt x="418" y="1746"/>
                        </a:cubicBezTo>
                        <a:cubicBezTo>
                          <a:pt x="418" y="1749"/>
                          <a:pt x="419" y="1753"/>
                          <a:pt x="419" y="1756"/>
                        </a:cubicBezTo>
                        <a:cubicBezTo>
                          <a:pt x="419" y="1746"/>
                          <a:pt x="419" y="1746"/>
                          <a:pt x="419" y="1746"/>
                        </a:cubicBezTo>
                        <a:cubicBezTo>
                          <a:pt x="419" y="1746"/>
                          <a:pt x="419" y="1746"/>
                          <a:pt x="419" y="1746"/>
                        </a:cubicBezTo>
                        <a:cubicBezTo>
                          <a:pt x="422" y="1775"/>
                          <a:pt x="425" y="1805"/>
                          <a:pt x="429" y="1833"/>
                        </a:cubicBezTo>
                        <a:cubicBezTo>
                          <a:pt x="433" y="1866"/>
                          <a:pt x="438" y="1900"/>
                          <a:pt x="441" y="1934"/>
                        </a:cubicBezTo>
                        <a:cubicBezTo>
                          <a:pt x="445" y="1984"/>
                          <a:pt x="445" y="2037"/>
                          <a:pt x="444" y="2088"/>
                        </a:cubicBezTo>
                        <a:cubicBezTo>
                          <a:pt x="444" y="2100"/>
                          <a:pt x="444" y="2112"/>
                          <a:pt x="444" y="2124"/>
                        </a:cubicBezTo>
                        <a:cubicBezTo>
                          <a:pt x="444" y="2160"/>
                          <a:pt x="439" y="2192"/>
                          <a:pt x="433" y="2225"/>
                        </a:cubicBezTo>
                        <a:cubicBezTo>
                          <a:pt x="429" y="2251"/>
                          <a:pt x="424" y="2279"/>
                          <a:pt x="423" y="2308"/>
                        </a:cubicBezTo>
                        <a:cubicBezTo>
                          <a:pt x="422" y="2320"/>
                          <a:pt x="422" y="2332"/>
                          <a:pt x="422" y="2345"/>
                        </a:cubicBezTo>
                        <a:cubicBezTo>
                          <a:pt x="423" y="2391"/>
                          <a:pt x="430" y="2431"/>
                          <a:pt x="438" y="2473"/>
                        </a:cubicBezTo>
                        <a:cubicBezTo>
                          <a:pt x="448" y="2528"/>
                          <a:pt x="459" y="2614"/>
                          <a:pt x="455" y="2690"/>
                        </a:cubicBezTo>
                        <a:cubicBezTo>
                          <a:pt x="455" y="2691"/>
                          <a:pt x="455" y="2691"/>
                          <a:pt x="455" y="2691"/>
                        </a:cubicBezTo>
                        <a:cubicBezTo>
                          <a:pt x="455" y="2692"/>
                          <a:pt x="455" y="2692"/>
                          <a:pt x="455" y="2693"/>
                        </a:cubicBezTo>
                        <a:cubicBezTo>
                          <a:pt x="454" y="2698"/>
                          <a:pt x="454" y="2702"/>
                          <a:pt x="454" y="2705"/>
                        </a:cubicBezTo>
                        <a:cubicBezTo>
                          <a:pt x="453" y="2711"/>
                          <a:pt x="453" y="2719"/>
                          <a:pt x="452" y="2728"/>
                        </a:cubicBezTo>
                        <a:cubicBezTo>
                          <a:pt x="452" y="2735"/>
                          <a:pt x="451" y="2743"/>
                          <a:pt x="451" y="2752"/>
                        </a:cubicBezTo>
                        <a:cubicBezTo>
                          <a:pt x="449" y="2758"/>
                          <a:pt x="448" y="2766"/>
                          <a:pt x="448" y="2778"/>
                        </a:cubicBezTo>
                        <a:cubicBezTo>
                          <a:pt x="443" y="2802"/>
                          <a:pt x="438" y="2838"/>
                          <a:pt x="433" y="2855"/>
                        </a:cubicBezTo>
                        <a:cubicBezTo>
                          <a:pt x="427" y="2882"/>
                          <a:pt x="422" y="2913"/>
                          <a:pt x="427" y="2924"/>
                        </a:cubicBezTo>
                        <a:cubicBezTo>
                          <a:pt x="432" y="2934"/>
                          <a:pt x="430" y="2938"/>
                          <a:pt x="439" y="2940"/>
                        </a:cubicBezTo>
                        <a:cubicBezTo>
                          <a:pt x="453" y="2943"/>
                          <a:pt x="463" y="2938"/>
                          <a:pt x="476" y="2950"/>
                        </a:cubicBezTo>
                        <a:cubicBezTo>
                          <a:pt x="479" y="2950"/>
                          <a:pt x="482" y="2951"/>
                          <a:pt x="485" y="2951"/>
                        </a:cubicBezTo>
                        <a:cubicBezTo>
                          <a:pt x="486" y="2951"/>
                          <a:pt x="487" y="2951"/>
                          <a:pt x="488" y="2950"/>
                        </a:cubicBezTo>
                        <a:cubicBezTo>
                          <a:pt x="489" y="2951"/>
                          <a:pt x="490" y="2951"/>
                          <a:pt x="492" y="2951"/>
                        </a:cubicBezTo>
                        <a:cubicBezTo>
                          <a:pt x="496" y="2951"/>
                          <a:pt x="500" y="2950"/>
                          <a:pt x="503" y="2948"/>
                        </a:cubicBezTo>
                        <a:cubicBezTo>
                          <a:pt x="504" y="2947"/>
                          <a:pt x="505" y="2947"/>
                          <a:pt x="506" y="2946"/>
                        </a:cubicBezTo>
                        <a:cubicBezTo>
                          <a:pt x="508" y="2948"/>
                          <a:pt x="511" y="2949"/>
                          <a:pt x="515" y="2949"/>
                        </a:cubicBezTo>
                        <a:cubicBezTo>
                          <a:pt x="516" y="2949"/>
                          <a:pt x="517" y="2949"/>
                          <a:pt x="518" y="2949"/>
                        </a:cubicBezTo>
                        <a:cubicBezTo>
                          <a:pt x="518" y="2949"/>
                          <a:pt x="518" y="2949"/>
                          <a:pt x="519" y="2949"/>
                        </a:cubicBezTo>
                        <a:cubicBezTo>
                          <a:pt x="520" y="2949"/>
                          <a:pt x="521" y="2949"/>
                          <a:pt x="522" y="2949"/>
                        </a:cubicBezTo>
                        <a:cubicBezTo>
                          <a:pt x="523" y="2949"/>
                          <a:pt x="523" y="2949"/>
                          <a:pt x="524" y="2949"/>
                        </a:cubicBezTo>
                        <a:cubicBezTo>
                          <a:pt x="528" y="2949"/>
                          <a:pt x="531" y="2948"/>
                          <a:pt x="534" y="2946"/>
                        </a:cubicBezTo>
                        <a:cubicBezTo>
                          <a:pt x="537" y="2947"/>
                          <a:pt x="540" y="2947"/>
                          <a:pt x="542" y="2947"/>
                        </a:cubicBezTo>
                        <a:cubicBezTo>
                          <a:pt x="543" y="2947"/>
                          <a:pt x="544" y="2947"/>
                          <a:pt x="545" y="2947"/>
                        </a:cubicBezTo>
                        <a:cubicBezTo>
                          <a:pt x="547" y="2947"/>
                          <a:pt x="548" y="2947"/>
                          <a:pt x="549" y="2947"/>
                        </a:cubicBezTo>
                        <a:cubicBezTo>
                          <a:pt x="554" y="2947"/>
                          <a:pt x="559" y="2945"/>
                          <a:pt x="563" y="2942"/>
                        </a:cubicBezTo>
                        <a:cubicBezTo>
                          <a:pt x="564" y="2942"/>
                          <a:pt x="565" y="2942"/>
                          <a:pt x="566" y="2942"/>
                        </a:cubicBezTo>
                        <a:cubicBezTo>
                          <a:pt x="567" y="2942"/>
                          <a:pt x="569" y="2942"/>
                          <a:pt x="570" y="2942"/>
                        </a:cubicBezTo>
                        <a:cubicBezTo>
                          <a:pt x="571" y="2942"/>
                          <a:pt x="572" y="2942"/>
                          <a:pt x="573" y="2942"/>
                        </a:cubicBezTo>
                        <a:cubicBezTo>
                          <a:pt x="575" y="2942"/>
                          <a:pt x="576" y="2942"/>
                          <a:pt x="578" y="2941"/>
                        </a:cubicBezTo>
                        <a:cubicBezTo>
                          <a:pt x="577" y="2944"/>
                          <a:pt x="579" y="2942"/>
                          <a:pt x="580" y="2941"/>
                        </a:cubicBezTo>
                        <a:cubicBezTo>
                          <a:pt x="580" y="2941"/>
                          <a:pt x="581" y="2941"/>
                          <a:pt x="581" y="2941"/>
                        </a:cubicBezTo>
                        <a:cubicBezTo>
                          <a:pt x="580" y="2941"/>
                          <a:pt x="580" y="2939"/>
                          <a:pt x="579" y="2937"/>
                        </a:cubicBezTo>
                        <a:cubicBezTo>
                          <a:pt x="581" y="2939"/>
                          <a:pt x="582" y="2940"/>
                          <a:pt x="582" y="2940"/>
                        </a:cubicBezTo>
                        <a:cubicBezTo>
                          <a:pt x="582" y="2941"/>
                          <a:pt x="581" y="2941"/>
                          <a:pt x="581" y="2941"/>
                        </a:cubicBezTo>
                        <a:cubicBezTo>
                          <a:pt x="589" y="2941"/>
                          <a:pt x="602" y="2941"/>
                          <a:pt x="604" y="2936"/>
                        </a:cubicBezTo>
                        <a:cubicBezTo>
                          <a:pt x="608" y="2927"/>
                          <a:pt x="605" y="2917"/>
                          <a:pt x="595" y="2907"/>
                        </a:cubicBezTo>
                        <a:cubicBezTo>
                          <a:pt x="591" y="2901"/>
                          <a:pt x="575" y="2876"/>
                          <a:pt x="570" y="2872"/>
                        </a:cubicBezTo>
                        <a:cubicBezTo>
                          <a:pt x="565" y="2868"/>
                          <a:pt x="570" y="2872"/>
                          <a:pt x="566" y="2868"/>
                        </a:cubicBezTo>
                        <a:cubicBezTo>
                          <a:pt x="561" y="2861"/>
                          <a:pt x="556" y="2853"/>
                          <a:pt x="551" y="2845"/>
                        </a:cubicBezTo>
                        <a:cubicBezTo>
                          <a:pt x="549" y="2842"/>
                          <a:pt x="547" y="2838"/>
                          <a:pt x="545" y="2835"/>
                        </a:cubicBezTo>
                        <a:cubicBezTo>
                          <a:pt x="541" y="2829"/>
                          <a:pt x="537" y="2802"/>
                          <a:pt x="535" y="2789"/>
                        </a:cubicBezTo>
                        <a:cubicBezTo>
                          <a:pt x="535" y="2787"/>
                          <a:pt x="535" y="2787"/>
                          <a:pt x="535" y="2787"/>
                        </a:cubicBezTo>
                        <a:cubicBezTo>
                          <a:pt x="535" y="2759"/>
                          <a:pt x="536" y="2731"/>
                          <a:pt x="538" y="2705"/>
                        </a:cubicBezTo>
                        <a:cubicBezTo>
                          <a:pt x="538" y="2699"/>
                          <a:pt x="539" y="2693"/>
                          <a:pt x="539" y="2687"/>
                        </a:cubicBezTo>
                        <a:cubicBezTo>
                          <a:pt x="541" y="2642"/>
                          <a:pt x="543" y="2566"/>
                          <a:pt x="557" y="2522"/>
                        </a:cubicBezTo>
                        <a:cubicBezTo>
                          <a:pt x="562" y="2507"/>
                          <a:pt x="567" y="2493"/>
                          <a:pt x="571" y="2479"/>
                        </a:cubicBezTo>
                        <a:cubicBezTo>
                          <a:pt x="589" y="2418"/>
                          <a:pt x="598" y="2365"/>
                          <a:pt x="601" y="2297"/>
                        </a:cubicBezTo>
                        <a:cubicBezTo>
                          <a:pt x="604" y="2237"/>
                          <a:pt x="607" y="2174"/>
                          <a:pt x="601" y="2108"/>
                        </a:cubicBezTo>
                        <a:cubicBezTo>
                          <a:pt x="600" y="2098"/>
                          <a:pt x="599" y="2087"/>
                          <a:pt x="598" y="2077"/>
                        </a:cubicBezTo>
                        <a:cubicBezTo>
                          <a:pt x="593" y="2028"/>
                          <a:pt x="601" y="1977"/>
                          <a:pt x="610" y="1931"/>
                        </a:cubicBezTo>
                        <a:cubicBezTo>
                          <a:pt x="619" y="1884"/>
                          <a:pt x="630" y="1840"/>
                          <a:pt x="641" y="1798"/>
                        </a:cubicBezTo>
                        <a:cubicBezTo>
                          <a:pt x="643" y="1789"/>
                          <a:pt x="645" y="1781"/>
                          <a:pt x="647" y="1772"/>
                        </a:cubicBezTo>
                        <a:cubicBezTo>
                          <a:pt x="653" y="1748"/>
                          <a:pt x="658" y="1727"/>
                          <a:pt x="663" y="1706"/>
                        </a:cubicBezTo>
                        <a:cubicBezTo>
                          <a:pt x="663" y="1706"/>
                          <a:pt x="663" y="1705"/>
                          <a:pt x="663" y="1704"/>
                        </a:cubicBezTo>
                        <a:cubicBezTo>
                          <a:pt x="667" y="1684"/>
                          <a:pt x="671" y="1666"/>
                          <a:pt x="674" y="1649"/>
                        </a:cubicBezTo>
                        <a:cubicBezTo>
                          <a:pt x="678" y="1625"/>
                          <a:pt x="681" y="1605"/>
                          <a:pt x="684" y="1585"/>
                        </a:cubicBezTo>
                        <a:cubicBezTo>
                          <a:pt x="684" y="1585"/>
                          <a:pt x="684" y="1585"/>
                          <a:pt x="684" y="1584"/>
                        </a:cubicBezTo>
                        <a:cubicBezTo>
                          <a:pt x="688" y="1548"/>
                          <a:pt x="692" y="1467"/>
                          <a:pt x="687" y="1445"/>
                        </a:cubicBezTo>
                        <a:cubicBezTo>
                          <a:pt x="678" y="1322"/>
                          <a:pt x="635" y="1228"/>
                          <a:pt x="595" y="1165"/>
                        </a:cubicBezTo>
                        <a:cubicBezTo>
                          <a:pt x="594" y="1163"/>
                          <a:pt x="593" y="1162"/>
                          <a:pt x="592" y="1160"/>
                        </a:cubicBezTo>
                        <a:cubicBezTo>
                          <a:pt x="591" y="1159"/>
                          <a:pt x="590" y="1156"/>
                          <a:pt x="589" y="1153"/>
                        </a:cubicBezTo>
                        <a:cubicBezTo>
                          <a:pt x="589" y="1153"/>
                          <a:pt x="589" y="1153"/>
                          <a:pt x="588" y="1152"/>
                        </a:cubicBezTo>
                        <a:cubicBezTo>
                          <a:pt x="585" y="1142"/>
                          <a:pt x="581" y="1132"/>
                          <a:pt x="578" y="1122"/>
                        </a:cubicBezTo>
                        <a:cubicBezTo>
                          <a:pt x="582" y="1100"/>
                          <a:pt x="583" y="1052"/>
                          <a:pt x="584" y="1042"/>
                        </a:cubicBezTo>
                        <a:cubicBezTo>
                          <a:pt x="585" y="1041"/>
                          <a:pt x="588" y="1001"/>
                          <a:pt x="589" y="1001"/>
                        </a:cubicBezTo>
                        <a:cubicBezTo>
                          <a:pt x="591" y="994"/>
                          <a:pt x="607" y="937"/>
                          <a:pt x="612" y="925"/>
                        </a:cubicBezTo>
                        <a:cubicBezTo>
                          <a:pt x="612" y="924"/>
                          <a:pt x="612" y="924"/>
                          <a:pt x="612" y="923"/>
                        </a:cubicBezTo>
                        <a:cubicBezTo>
                          <a:pt x="615" y="913"/>
                          <a:pt x="617" y="905"/>
                          <a:pt x="618" y="898"/>
                        </a:cubicBezTo>
                        <a:cubicBezTo>
                          <a:pt x="618" y="898"/>
                          <a:pt x="618" y="899"/>
                          <a:pt x="618" y="899"/>
                        </a:cubicBezTo>
                        <a:cubicBezTo>
                          <a:pt x="623" y="933"/>
                          <a:pt x="628" y="973"/>
                          <a:pt x="628" y="991"/>
                        </a:cubicBezTo>
                        <a:cubicBezTo>
                          <a:pt x="628" y="1050"/>
                          <a:pt x="628" y="1117"/>
                          <a:pt x="644" y="1177"/>
                        </a:cubicBezTo>
                        <a:cubicBezTo>
                          <a:pt x="651" y="1202"/>
                          <a:pt x="659" y="1226"/>
                          <a:pt x="668" y="1249"/>
                        </a:cubicBezTo>
                        <a:cubicBezTo>
                          <a:pt x="668" y="1250"/>
                          <a:pt x="669" y="1252"/>
                          <a:pt x="670" y="1253"/>
                        </a:cubicBezTo>
                        <a:cubicBezTo>
                          <a:pt x="673" y="1261"/>
                          <a:pt x="677" y="1270"/>
                          <a:pt x="680" y="1279"/>
                        </a:cubicBezTo>
                        <a:cubicBezTo>
                          <a:pt x="688" y="1301"/>
                          <a:pt x="697" y="1324"/>
                          <a:pt x="704" y="1346"/>
                        </a:cubicBezTo>
                        <a:cubicBezTo>
                          <a:pt x="715" y="1381"/>
                          <a:pt x="721" y="1413"/>
                          <a:pt x="724" y="1441"/>
                        </a:cubicBezTo>
                        <a:cubicBezTo>
                          <a:pt x="723" y="1444"/>
                          <a:pt x="722" y="1447"/>
                          <a:pt x="722" y="1451"/>
                        </a:cubicBezTo>
                        <a:cubicBezTo>
                          <a:pt x="723" y="1451"/>
                          <a:pt x="723" y="1451"/>
                          <a:pt x="723" y="1451"/>
                        </a:cubicBezTo>
                        <a:cubicBezTo>
                          <a:pt x="722" y="1456"/>
                          <a:pt x="720" y="1461"/>
                          <a:pt x="719" y="1466"/>
                        </a:cubicBezTo>
                        <a:cubicBezTo>
                          <a:pt x="718" y="1470"/>
                          <a:pt x="717" y="1474"/>
                          <a:pt x="717" y="1477"/>
                        </a:cubicBezTo>
                        <a:cubicBezTo>
                          <a:pt x="714" y="1488"/>
                          <a:pt x="712" y="1499"/>
                          <a:pt x="711" y="1511"/>
                        </a:cubicBezTo>
                        <a:cubicBezTo>
                          <a:pt x="708" y="1537"/>
                          <a:pt x="716" y="1562"/>
                          <a:pt x="717" y="1588"/>
                        </a:cubicBezTo>
                        <a:cubicBezTo>
                          <a:pt x="719" y="1600"/>
                          <a:pt x="720" y="1611"/>
                          <a:pt x="720" y="1624"/>
                        </a:cubicBezTo>
                        <a:cubicBezTo>
                          <a:pt x="720" y="1629"/>
                          <a:pt x="723" y="1633"/>
                          <a:pt x="728" y="1634"/>
                        </a:cubicBezTo>
                        <a:cubicBezTo>
                          <a:pt x="728" y="1634"/>
                          <a:pt x="729" y="1634"/>
                          <a:pt x="730" y="1634"/>
                        </a:cubicBezTo>
                        <a:cubicBezTo>
                          <a:pt x="733" y="1634"/>
                          <a:pt x="737" y="1632"/>
                          <a:pt x="738" y="1629"/>
                        </a:cubicBezTo>
                        <a:cubicBezTo>
                          <a:pt x="747" y="1612"/>
                          <a:pt x="748" y="1597"/>
                          <a:pt x="749" y="1583"/>
                        </a:cubicBezTo>
                        <a:cubicBezTo>
                          <a:pt x="749" y="1576"/>
                          <a:pt x="750" y="1570"/>
                          <a:pt x="751" y="1563"/>
                        </a:cubicBezTo>
                        <a:cubicBezTo>
                          <a:pt x="753" y="1575"/>
                          <a:pt x="755" y="1591"/>
                          <a:pt x="757" y="1602"/>
                        </a:cubicBezTo>
                        <a:cubicBezTo>
                          <a:pt x="762" y="1644"/>
                          <a:pt x="766" y="1672"/>
                          <a:pt x="784" y="1672"/>
                        </a:cubicBezTo>
                        <a:cubicBezTo>
                          <a:pt x="786" y="1672"/>
                          <a:pt x="789" y="1671"/>
                          <a:pt x="791" y="1669"/>
                        </a:cubicBezTo>
                        <a:cubicBezTo>
                          <a:pt x="793" y="1667"/>
                          <a:pt x="794" y="1665"/>
                          <a:pt x="793" y="1662"/>
                        </a:cubicBezTo>
                        <a:cubicBezTo>
                          <a:pt x="793" y="1661"/>
                          <a:pt x="793" y="1660"/>
                          <a:pt x="793" y="1660"/>
                        </a:cubicBezTo>
                        <a:cubicBezTo>
                          <a:pt x="796" y="1662"/>
                          <a:pt x="799" y="1663"/>
                          <a:pt x="803" y="1664"/>
                        </a:cubicBezTo>
                        <a:cubicBezTo>
                          <a:pt x="803" y="1664"/>
                          <a:pt x="803" y="1664"/>
                          <a:pt x="804" y="1664"/>
                        </a:cubicBezTo>
                        <a:cubicBezTo>
                          <a:pt x="808" y="1664"/>
                          <a:pt x="812" y="1661"/>
                          <a:pt x="813" y="1657"/>
                        </a:cubicBezTo>
                        <a:cubicBezTo>
                          <a:pt x="814" y="1652"/>
                          <a:pt x="814" y="1647"/>
                          <a:pt x="814" y="1639"/>
                        </a:cubicBezTo>
                        <a:cubicBezTo>
                          <a:pt x="814" y="1639"/>
                          <a:pt x="814" y="1638"/>
                          <a:pt x="814" y="1638"/>
                        </a:cubicBezTo>
                        <a:cubicBezTo>
                          <a:pt x="817" y="1640"/>
                          <a:pt x="820" y="1641"/>
                          <a:pt x="825" y="1641"/>
                        </a:cubicBezTo>
                        <a:cubicBezTo>
                          <a:pt x="825" y="1641"/>
                          <a:pt x="825" y="1641"/>
                          <a:pt x="825" y="1641"/>
                        </a:cubicBezTo>
                        <a:cubicBezTo>
                          <a:pt x="828" y="1641"/>
                          <a:pt x="830" y="1640"/>
                          <a:pt x="832" y="1638"/>
                        </a:cubicBezTo>
                        <a:cubicBezTo>
                          <a:pt x="834" y="1636"/>
                          <a:pt x="835" y="1633"/>
                          <a:pt x="834" y="1630"/>
                        </a:cubicBezTo>
                        <a:cubicBezTo>
                          <a:pt x="833" y="1620"/>
                          <a:pt x="832" y="1613"/>
                          <a:pt x="832" y="1606"/>
                        </a:cubicBezTo>
                        <a:close/>
                      </a:path>
                    </a:pathLst>
                  </a:custGeom>
                  <a:solidFill>
                    <a:schemeClr val="accent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723" name="Straight Connector 722"/>
                  <p:cNvCxnSpPr>
                    <a:stCxn id="727" idx="5"/>
                    <a:endCxn id="736" idx="2"/>
                  </p:cNvCxnSpPr>
                  <p:nvPr/>
                </p:nvCxnSpPr>
                <p:spPr>
                  <a:xfrm>
                    <a:off x="6699290" y="3422261"/>
                    <a:ext cx="157087" cy="625958"/>
                  </a:xfrm>
                  <a:prstGeom prst="line">
                    <a:avLst/>
                  </a:prstGeom>
                  <a:ln w="76200">
                    <a:solidFill>
                      <a:schemeClr val="accent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4" name="Straight Connector 723"/>
                  <p:cNvCxnSpPr>
                    <a:stCxn id="732" idx="1"/>
                  </p:cNvCxnSpPr>
                  <p:nvPr/>
                </p:nvCxnSpPr>
                <p:spPr>
                  <a:xfrm>
                    <a:off x="6699002" y="3386393"/>
                    <a:ext cx="622480" cy="67807"/>
                  </a:xfrm>
                  <a:prstGeom prst="line">
                    <a:avLst/>
                  </a:prstGeom>
                  <a:ln w="76200">
                    <a:solidFill>
                      <a:schemeClr val="accent4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725" name="Group 724"/>
                  <p:cNvGrpSpPr/>
                  <p:nvPr/>
                </p:nvGrpSpPr>
                <p:grpSpPr>
                  <a:xfrm>
                    <a:off x="6856377" y="3435480"/>
                    <a:ext cx="1225478" cy="1225478"/>
                    <a:chOff x="6856377" y="3435480"/>
                    <a:chExt cx="1225478" cy="1225478"/>
                  </a:xfrm>
                </p:grpSpPr>
                <p:grpSp>
                  <p:nvGrpSpPr>
                    <p:cNvPr id="735" name="Group 734"/>
                    <p:cNvGrpSpPr/>
                    <p:nvPr/>
                  </p:nvGrpSpPr>
                  <p:grpSpPr>
                    <a:xfrm>
                      <a:off x="6961015" y="3706592"/>
                      <a:ext cx="1034872" cy="718500"/>
                      <a:chOff x="7540626" y="3217863"/>
                      <a:chExt cx="1973262" cy="1370013"/>
                    </a:xfrm>
                  </p:grpSpPr>
                  <p:sp>
                    <p:nvSpPr>
                      <p:cNvPr id="737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424863" y="4094163"/>
                        <a:ext cx="290513" cy="493713"/>
                      </a:xfrm>
                      <a:custGeom>
                        <a:avLst/>
                        <a:gdLst>
                          <a:gd name="T0" fmla="*/ 0 w 183"/>
                          <a:gd name="T1" fmla="*/ 55 h 311"/>
                          <a:gd name="T2" fmla="*/ 68 w 183"/>
                          <a:gd name="T3" fmla="*/ 161 h 311"/>
                          <a:gd name="T4" fmla="*/ 92 w 183"/>
                          <a:gd name="T5" fmla="*/ 150 h 311"/>
                          <a:gd name="T6" fmla="*/ 107 w 183"/>
                          <a:gd name="T7" fmla="*/ 311 h 311"/>
                          <a:gd name="T8" fmla="*/ 147 w 183"/>
                          <a:gd name="T9" fmla="*/ 292 h 311"/>
                          <a:gd name="T10" fmla="*/ 159 w 183"/>
                          <a:gd name="T11" fmla="*/ 117 h 311"/>
                          <a:gd name="T12" fmla="*/ 183 w 183"/>
                          <a:gd name="T13" fmla="*/ 106 h 311"/>
                          <a:gd name="T14" fmla="*/ 115 w 183"/>
                          <a:gd name="T15" fmla="*/ 0 h 311"/>
                          <a:gd name="T16" fmla="*/ 0 w 183"/>
                          <a:gd name="T17" fmla="*/ 55 h 3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3" h="311">
                            <a:moveTo>
                              <a:pt x="0" y="55"/>
                            </a:moveTo>
                            <a:lnTo>
                              <a:pt x="68" y="161"/>
                            </a:lnTo>
                            <a:lnTo>
                              <a:pt x="92" y="150"/>
                            </a:lnTo>
                            <a:lnTo>
                              <a:pt x="107" y="311"/>
                            </a:lnTo>
                            <a:lnTo>
                              <a:pt x="147" y="292"/>
                            </a:lnTo>
                            <a:lnTo>
                              <a:pt x="159" y="117"/>
                            </a:lnTo>
                            <a:lnTo>
                              <a:pt x="183" y="106"/>
                            </a:lnTo>
                            <a:lnTo>
                              <a:pt x="115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38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689976" y="3967163"/>
                        <a:ext cx="292100" cy="492125"/>
                      </a:xfrm>
                      <a:custGeom>
                        <a:avLst/>
                        <a:gdLst>
                          <a:gd name="T0" fmla="*/ 0 w 184"/>
                          <a:gd name="T1" fmla="*/ 55 h 310"/>
                          <a:gd name="T2" fmla="*/ 68 w 184"/>
                          <a:gd name="T3" fmla="*/ 160 h 310"/>
                          <a:gd name="T4" fmla="*/ 92 w 184"/>
                          <a:gd name="T5" fmla="*/ 149 h 310"/>
                          <a:gd name="T6" fmla="*/ 108 w 184"/>
                          <a:gd name="T7" fmla="*/ 310 h 310"/>
                          <a:gd name="T8" fmla="*/ 147 w 184"/>
                          <a:gd name="T9" fmla="*/ 291 h 310"/>
                          <a:gd name="T10" fmla="*/ 160 w 184"/>
                          <a:gd name="T11" fmla="*/ 116 h 310"/>
                          <a:gd name="T12" fmla="*/ 184 w 184"/>
                          <a:gd name="T13" fmla="*/ 105 h 310"/>
                          <a:gd name="T14" fmla="*/ 116 w 184"/>
                          <a:gd name="T15" fmla="*/ 0 h 310"/>
                          <a:gd name="T16" fmla="*/ 0 w 184"/>
                          <a:gd name="T17" fmla="*/ 55 h 31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0">
                            <a:moveTo>
                              <a:pt x="0" y="55"/>
                            </a:moveTo>
                            <a:lnTo>
                              <a:pt x="68" y="160"/>
                            </a:lnTo>
                            <a:lnTo>
                              <a:pt x="92" y="149"/>
                            </a:lnTo>
                            <a:lnTo>
                              <a:pt x="108" y="310"/>
                            </a:lnTo>
                            <a:lnTo>
                              <a:pt x="147" y="291"/>
                            </a:lnTo>
                            <a:lnTo>
                              <a:pt x="160" y="116"/>
                            </a:lnTo>
                            <a:lnTo>
                              <a:pt x="184" y="105"/>
                            </a:lnTo>
                            <a:lnTo>
                              <a:pt x="116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39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955088" y="3838575"/>
                        <a:ext cx="292100" cy="493713"/>
                      </a:xfrm>
                      <a:custGeom>
                        <a:avLst/>
                        <a:gdLst>
                          <a:gd name="T0" fmla="*/ 0 w 184"/>
                          <a:gd name="T1" fmla="*/ 56 h 311"/>
                          <a:gd name="T2" fmla="*/ 69 w 184"/>
                          <a:gd name="T3" fmla="*/ 161 h 311"/>
                          <a:gd name="T4" fmla="*/ 93 w 184"/>
                          <a:gd name="T5" fmla="*/ 150 h 311"/>
                          <a:gd name="T6" fmla="*/ 109 w 184"/>
                          <a:gd name="T7" fmla="*/ 311 h 311"/>
                          <a:gd name="T8" fmla="*/ 148 w 184"/>
                          <a:gd name="T9" fmla="*/ 292 h 311"/>
                          <a:gd name="T10" fmla="*/ 160 w 184"/>
                          <a:gd name="T11" fmla="*/ 117 h 311"/>
                          <a:gd name="T12" fmla="*/ 184 w 184"/>
                          <a:gd name="T13" fmla="*/ 106 h 311"/>
                          <a:gd name="T14" fmla="*/ 117 w 184"/>
                          <a:gd name="T15" fmla="*/ 0 h 311"/>
                          <a:gd name="T16" fmla="*/ 0 w 184"/>
                          <a:gd name="T17" fmla="*/ 56 h 3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1">
                            <a:moveTo>
                              <a:pt x="0" y="56"/>
                            </a:moveTo>
                            <a:lnTo>
                              <a:pt x="69" y="161"/>
                            </a:lnTo>
                            <a:lnTo>
                              <a:pt x="93" y="150"/>
                            </a:lnTo>
                            <a:lnTo>
                              <a:pt x="109" y="311"/>
                            </a:lnTo>
                            <a:lnTo>
                              <a:pt x="148" y="292"/>
                            </a:lnTo>
                            <a:lnTo>
                              <a:pt x="160" y="117"/>
                            </a:lnTo>
                            <a:lnTo>
                              <a:pt x="184" y="106"/>
                            </a:lnTo>
                            <a:lnTo>
                              <a:pt x="117" y="0"/>
                            </a:lnTo>
                            <a:lnTo>
                              <a:pt x="0" y="56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40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9221788" y="3711575"/>
                        <a:ext cx="292100" cy="492125"/>
                      </a:xfrm>
                      <a:custGeom>
                        <a:avLst/>
                        <a:gdLst>
                          <a:gd name="T0" fmla="*/ 0 w 184"/>
                          <a:gd name="T1" fmla="*/ 55 h 310"/>
                          <a:gd name="T2" fmla="*/ 68 w 184"/>
                          <a:gd name="T3" fmla="*/ 161 h 310"/>
                          <a:gd name="T4" fmla="*/ 92 w 184"/>
                          <a:gd name="T5" fmla="*/ 149 h 310"/>
                          <a:gd name="T6" fmla="*/ 108 w 184"/>
                          <a:gd name="T7" fmla="*/ 310 h 310"/>
                          <a:gd name="T8" fmla="*/ 147 w 184"/>
                          <a:gd name="T9" fmla="*/ 292 h 310"/>
                          <a:gd name="T10" fmla="*/ 160 w 184"/>
                          <a:gd name="T11" fmla="*/ 117 h 310"/>
                          <a:gd name="T12" fmla="*/ 184 w 184"/>
                          <a:gd name="T13" fmla="*/ 105 h 310"/>
                          <a:gd name="T14" fmla="*/ 116 w 184"/>
                          <a:gd name="T15" fmla="*/ 0 h 310"/>
                          <a:gd name="T16" fmla="*/ 0 w 184"/>
                          <a:gd name="T17" fmla="*/ 55 h 31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0">
                            <a:moveTo>
                              <a:pt x="0" y="55"/>
                            </a:moveTo>
                            <a:lnTo>
                              <a:pt x="68" y="161"/>
                            </a:lnTo>
                            <a:lnTo>
                              <a:pt x="92" y="149"/>
                            </a:lnTo>
                            <a:lnTo>
                              <a:pt x="108" y="310"/>
                            </a:lnTo>
                            <a:lnTo>
                              <a:pt x="147" y="292"/>
                            </a:lnTo>
                            <a:lnTo>
                              <a:pt x="160" y="117"/>
                            </a:lnTo>
                            <a:lnTo>
                              <a:pt x="184" y="105"/>
                            </a:lnTo>
                            <a:lnTo>
                              <a:pt x="116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41" name="Freeform 34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7573963" y="3230563"/>
                        <a:ext cx="1906588" cy="1092200"/>
                      </a:xfrm>
                      <a:custGeom>
                        <a:avLst/>
                        <a:gdLst>
                          <a:gd name="T0" fmla="*/ 1953 w 1963"/>
                          <a:gd name="T1" fmla="*/ 381 h 1126"/>
                          <a:gd name="T2" fmla="*/ 1170 w 1963"/>
                          <a:gd name="T3" fmla="*/ 2 h 1126"/>
                          <a:gd name="T4" fmla="*/ 1159 w 1963"/>
                          <a:gd name="T5" fmla="*/ 0 h 1126"/>
                          <a:gd name="T6" fmla="*/ 0 w 1963"/>
                          <a:gd name="T7" fmla="*/ 564 h 1126"/>
                          <a:gd name="T8" fmla="*/ 0 w 1963"/>
                          <a:gd name="T9" fmla="*/ 669 h 1126"/>
                          <a:gd name="T10" fmla="*/ 56 w 1963"/>
                          <a:gd name="T11" fmla="*/ 778 h 1126"/>
                          <a:gd name="T12" fmla="*/ 360 w 1963"/>
                          <a:gd name="T13" fmla="*/ 956 h 1126"/>
                          <a:gd name="T14" fmla="*/ 370 w 1963"/>
                          <a:gd name="T15" fmla="*/ 961 h 1126"/>
                          <a:gd name="T16" fmla="*/ 789 w 1963"/>
                          <a:gd name="T17" fmla="*/ 1122 h 1126"/>
                          <a:gd name="T18" fmla="*/ 802 w 1963"/>
                          <a:gd name="T19" fmla="*/ 1126 h 1126"/>
                          <a:gd name="T20" fmla="*/ 1890 w 1963"/>
                          <a:gd name="T21" fmla="*/ 596 h 1126"/>
                          <a:gd name="T22" fmla="*/ 1963 w 1963"/>
                          <a:gd name="T23" fmla="*/ 481 h 1126"/>
                          <a:gd name="T24" fmla="*/ 1963 w 1963"/>
                          <a:gd name="T25" fmla="*/ 392 h 1126"/>
                          <a:gd name="T26" fmla="*/ 1953 w 1963"/>
                          <a:gd name="T27" fmla="*/ 381 h 1126"/>
                          <a:gd name="T28" fmla="*/ 785 w 1963"/>
                          <a:gd name="T29" fmla="*/ 894 h 1126"/>
                          <a:gd name="T30" fmla="*/ 445 w 1963"/>
                          <a:gd name="T31" fmla="*/ 757 h 1126"/>
                          <a:gd name="T32" fmla="*/ 161 w 1963"/>
                          <a:gd name="T33" fmla="*/ 593 h 1126"/>
                          <a:gd name="T34" fmla="*/ 1178 w 1963"/>
                          <a:gd name="T35" fmla="*/ 98 h 1126"/>
                          <a:gd name="T36" fmla="*/ 1801 w 1963"/>
                          <a:gd name="T37" fmla="*/ 399 h 1126"/>
                          <a:gd name="T38" fmla="*/ 785 w 1963"/>
                          <a:gd name="T39" fmla="*/ 894 h 112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</a:cxnLst>
                        <a:rect l="0" t="0" r="r" b="b"/>
                        <a:pathLst>
                          <a:path w="1963" h="1126">
                            <a:moveTo>
                              <a:pt x="1953" y="381"/>
                            </a:moveTo>
                            <a:cubicBezTo>
                              <a:pt x="1788" y="214"/>
                              <a:pt x="1364" y="36"/>
                              <a:pt x="1170" y="2"/>
                            </a:cubicBezTo>
                            <a:cubicBezTo>
                              <a:pt x="1159" y="0"/>
                              <a:pt x="1159" y="0"/>
                              <a:pt x="1159" y="0"/>
                            </a:cubicBezTo>
                            <a:cubicBezTo>
                              <a:pt x="0" y="564"/>
                              <a:pt x="0" y="564"/>
                              <a:pt x="0" y="564"/>
                            </a:cubicBezTo>
                            <a:cubicBezTo>
                              <a:pt x="0" y="669"/>
                              <a:pt x="0" y="669"/>
                              <a:pt x="0" y="669"/>
                            </a:cubicBezTo>
                            <a:cubicBezTo>
                              <a:pt x="0" y="713"/>
                              <a:pt x="21" y="753"/>
                              <a:pt x="56" y="778"/>
                            </a:cubicBezTo>
                            <a:cubicBezTo>
                              <a:pt x="110" y="816"/>
                              <a:pt x="222" y="890"/>
                              <a:pt x="360" y="956"/>
                            </a:cubicBezTo>
                            <a:cubicBezTo>
                              <a:pt x="370" y="961"/>
                              <a:pt x="370" y="961"/>
                              <a:pt x="370" y="961"/>
                            </a:cubicBezTo>
                            <a:cubicBezTo>
                              <a:pt x="495" y="1020"/>
                              <a:pt x="604" y="1072"/>
                              <a:pt x="789" y="1122"/>
                            </a:cubicBezTo>
                            <a:cubicBezTo>
                              <a:pt x="802" y="1126"/>
                              <a:pt x="802" y="1126"/>
                              <a:pt x="802" y="1126"/>
                            </a:cubicBezTo>
                            <a:cubicBezTo>
                              <a:pt x="1890" y="596"/>
                              <a:pt x="1890" y="596"/>
                              <a:pt x="1890" y="596"/>
                            </a:cubicBezTo>
                            <a:cubicBezTo>
                              <a:pt x="1934" y="575"/>
                              <a:pt x="1963" y="530"/>
                              <a:pt x="1963" y="481"/>
                            </a:cubicBezTo>
                            <a:cubicBezTo>
                              <a:pt x="1963" y="392"/>
                              <a:pt x="1963" y="392"/>
                              <a:pt x="1963" y="392"/>
                            </a:cubicBezTo>
                            <a:lnTo>
                              <a:pt x="1953" y="381"/>
                            </a:lnTo>
                            <a:close/>
                            <a:moveTo>
                              <a:pt x="785" y="894"/>
                            </a:moveTo>
                            <a:cubicBezTo>
                              <a:pt x="674" y="858"/>
                              <a:pt x="557" y="811"/>
                              <a:pt x="445" y="757"/>
                            </a:cubicBezTo>
                            <a:cubicBezTo>
                              <a:pt x="333" y="703"/>
                              <a:pt x="236" y="646"/>
                              <a:pt x="161" y="593"/>
                            </a:cubicBezTo>
                            <a:cubicBezTo>
                              <a:pt x="1178" y="98"/>
                              <a:pt x="1178" y="98"/>
                              <a:pt x="1178" y="98"/>
                            </a:cubicBezTo>
                            <a:cubicBezTo>
                              <a:pt x="1351" y="132"/>
                              <a:pt x="1674" y="287"/>
                              <a:pt x="1801" y="399"/>
                            </a:cubicBezTo>
                            <a:lnTo>
                              <a:pt x="785" y="894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42" name="Freeform 35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7540626" y="3217863"/>
                        <a:ext cx="1166813" cy="528638"/>
                      </a:xfrm>
                      <a:custGeom>
                        <a:avLst/>
                        <a:gdLst>
                          <a:gd name="T0" fmla="*/ 0 w 735"/>
                          <a:gd name="T1" fmla="*/ 296 h 333"/>
                          <a:gd name="T2" fmla="*/ 115 w 735"/>
                          <a:gd name="T3" fmla="*/ 333 h 333"/>
                          <a:gd name="T4" fmla="*/ 232 w 735"/>
                          <a:gd name="T5" fmla="*/ 278 h 333"/>
                          <a:gd name="T6" fmla="*/ 116 w 735"/>
                          <a:gd name="T7" fmla="*/ 240 h 333"/>
                          <a:gd name="T8" fmla="*/ 0 w 735"/>
                          <a:gd name="T9" fmla="*/ 296 h 333"/>
                          <a:gd name="T10" fmla="*/ 619 w 735"/>
                          <a:gd name="T11" fmla="*/ 0 h 333"/>
                          <a:gd name="T12" fmla="*/ 503 w 735"/>
                          <a:gd name="T13" fmla="*/ 55 h 333"/>
                          <a:gd name="T14" fmla="*/ 619 w 735"/>
                          <a:gd name="T15" fmla="*/ 94 h 333"/>
                          <a:gd name="T16" fmla="*/ 735 w 735"/>
                          <a:gd name="T17" fmla="*/ 39 h 333"/>
                          <a:gd name="T18" fmla="*/ 619 w 735"/>
                          <a:gd name="T19" fmla="*/ 0 h 333"/>
                          <a:gd name="T20" fmla="*/ 168 w 735"/>
                          <a:gd name="T21" fmla="*/ 216 h 333"/>
                          <a:gd name="T22" fmla="*/ 284 w 735"/>
                          <a:gd name="T23" fmla="*/ 253 h 333"/>
                          <a:gd name="T24" fmla="*/ 400 w 735"/>
                          <a:gd name="T25" fmla="*/ 198 h 333"/>
                          <a:gd name="T26" fmla="*/ 284 w 735"/>
                          <a:gd name="T27" fmla="*/ 160 h 333"/>
                          <a:gd name="T28" fmla="*/ 168 w 735"/>
                          <a:gd name="T29" fmla="*/ 216 h 333"/>
                          <a:gd name="T30" fmla="*/ 336 w 735"/>
                          <a:gd name="T31" fmla="*/ 135 h 333"/>
                          <a:gd name="T32" fmla="*/ 451 w 735"/>
                          <a:gd name="T33" fmla="*/ 174 h 333"/>
                          <a:gd name="T34" fmla="*/ 567 w 735"/>
                          <a:gd name="T35" fmla="*/ 119 h 333"/>
                          <a:gd name="T36" fmla="*/ 451 w 735"/>
                          <a:gd name="T37" fmla="*/ 80 h 333"/>
                          <a:gd name="T38" fmla="*/ 336 w 735"/>
                          <a:gd name="T39" fmla="*/ 135 h 33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</a:cxnLst>
                        <a:rect l="0" t="0" r="r" b="b"/>
                        <a:pathLst>
                          <a:path w="735" h="333">
                            <a:moveTo>
                              <a:pt x="0" y="296"/>
                            </a:moveTo>
                            <a:lnTo>
                              <a:pt x="115" y="333"/>
                            </a:lnTo>
                            <a:lnTo>
                              <a:pt x="232" y="278"/>
                            </a:lnTo>
                            <a:lnTo>
                              <a:pt x="116" y="240"/>
                            </a:lnTo>
                            <a:lnTo>
                              <a:pt x="0" y="296"/>
                            </a:lnTo>
                            <a:close/>
                            <a:moveTo>
                              <a:pt x="619" y="0"/>
                            </a:moveTo>
                            <a:lnTo>
                              <a:pt x="503" y="55"/>
                            </a:lnTo>
                            <a:lnTo>
                              <a:pt x="619" y="94"/>
                            </a:lnTo>
                            <a:lnTo>
                              <a:pt x="735" y="39"/>
                            </a:lnTo>
                            <a:lnTo>
                              <a:pt x="619" y="0"/>
                            </a:lnTo>
                            <a:close/>
                            <a:moveTo>
                              <a:pt x="168" y="216"/>
                            </a:moveTo>
                            <a:lnTo>
                              <a:pt x="284" y="253"/>
                            </a:lnTo>
                            <a:lnTo>
                              <a:pt x="400" y="198"/>
                            </a:lnTo>
                            <a:lnTo>
                              <a:pt x="284" y="160"/>
                            </a:lnTo>
                            <a:lnTo>
                              <a:pt x="168" y="216"/>
                            </a:lnTo>
                            <a:close/>
                            <a:moveTo>
                              <a:pt x="336" y="135"/>
                            </a:moveTo>
                            <a:lnTo>
                              <a:pt x="451" y="174"/>
                            </a:lnTo>
                            <a:lnTo>
                              <a:pt x="567" y="119"/>
                            </a:lnTo>
                            <a:lnTo>
                              <a:pt x="451" y="80"/>
                            </a:lnTo>
                            <a:lnTo>
                              <a:pt x="336" y="135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736" name="Oval 735"/>
                    <p:cNvSpPr/>
                    <p:nvPr/>
                  </p:nvSpPr>
                  <p:spPr>
                    <a:xfrm>
                      <a:off x="6856377" y="3435480"/>
                      <a:ext cx="1225478" cy="1225478"/>
                    </a:xfrm>
                    <a:prstGeom prst="ellipse">
                      <a:avLst/>
                    </a:prstGeom>
                    <a:noFill/>
                    <a:ln w="76200">
                      <a:solidFill>
                        <a:schemeClr val="accent4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726" name="Group 725"/>
                  <p:cNvGrpSpPr/>
                  <p:nvPr/>
                </p:nvGrpSpPr>
                <p:grpSpPr>
                  <a:xfrm>
                    <a:off x="6601058" y="3324029"/>
                    <a:ext cx="115086" cy="115086"/>
                    <a:chOff x="6637954" y="3343833"/>
                    <a:chExt cx="208029" cy="208029"/>
                  </a:xfrm>
                </p:grpSpPr>
                <p:sp>
                  <p:nvSpPr>
                    <p:cNvPr id="727" name="Oval 726"/>
                    <p:cNvSpPr/>
                    <p:nvPr/>
                  </p:nvSpPr>
                  <p:spPr>
                    <a:xfrm>
                      <a:off x="6637954" y="3343833"/>
                      <a:ext cx="208029" cy="208029"/>
                    </a:xfrm>
                    <a:prstGeom prst="ellipse">
                      <a:avLst/>
                    </a:prstGeom>
                    <a:solidFill>
                      <a:schemeClr val="bg1"/>
                    </a:solidFill>
                    <a:ln w="3175">
                      <a:solidFill>
                        <a:srgbClr val="969696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728" name="Group 727"/>
                    <p:cNvGrpSpPr/>
                    <p:nvPr/>
                  </p:nvGrpSpPr>
                  <p:grpSpPr>
                    <a:xfrm>
                      <a:off x="6655717" y="3389855"/>
                      <a:ext cx="175673" cy="121968"/>
                      <a:chOff x="7540626" y="3217863"/>
                      <a:chExt cx="1973262" cy="1370013"/>
                    </a:xfrm>
                  </p:grpSpPr>
                  <p:sp>
                    <p:nvSpPr>
                      <p:cNvPr id="729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424863" y="4094163"/>
                        <a:ext cx="290513" cy="493713"/>
                      </a:xfrm>
                      <a:custGeom>
                        <a:avLst/>
                        <a:gdLst>
                          <a:gd name="T0" fmla="*/ 0 w 183"/>
                          <a:gd name="T1" fmla="*/ 55 h 311"/>
                          <a:gd name="T2" fmla="*/ 68 w 183"/>
                          <a:gd name="T3" fmla="*/ 161 h 311"/>
                          <a:gd name="T4" fmla="*/ 92 w 183"/>
                          <a:gd name="T5" fmla="*/ 150 h 311"/>
                          <a:gd name="T6" fmla="*/ 107 w 183"/>
                          <a:gd name="T7" fmla="*/ 311 h 311"/>
                          <a:gd name="T8" fmla="*/ 147 w 183"/>
                          <a:gd name="T9" fmla="*/ 292 h 311"/>
                          <a:gd name="T10" fmla="*/ 159 w 183"/>
                          <a:gd name="T11" fmla="*/ 117 h 311"/>
                          <a:gd name="T12" fmla="*/ 183 w 183"/>
                          <a:gd name="T13" fmla="*/ 106 h 311"/>
                          <a:gd name="T14" fmla="*/ 115 w 183"/>
                          <a:gd name="T15" fmla="*/ 0 h 311"/>
                          <a:gd name="T16" fmla="*/ 0 w 183"/>
                          <a:gd name="T17" fmla="*/ 55 h 3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3" h="311">
                            <a:moveTo>
                              <a:pt x="0" y="55"/>
                            </a:moveTo>
                            <a:lnTo>
                              <a:pt x="68" y="161"/>
                            </a:lnTo>
                            <a:lnTo>
                              <a:pt x="92" y="150"/>
                            </a:lnTo>
                            <a:lnTo>
                              <a:pt x="107" y="311"/>
                            </a:lnTo>
                            <a:lnTo>
                              <a:pt x="147" y="292"/>
                            </a:lnTo>
                            <a:lnTo>
                              <a:pt x="159" y="117"/>
                            </a:lnTo>
                            <a:lnTo>
                              <a:pt x="183" y="106"/>
                            </a:lnTo>
                            <a:lnTo>
                              <a:pt x="115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30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689976" y="3967163"/>
                        <a:ext cx="292100" cy="492125"/>
                      </a:xfrm>
                      <a:custGeom>
                        <a:avLst/>
                        <a:gdLst>
                          <a:gd name="T0" fmla="*/ 0 w 184"/>
                          <a:gd name="T1" fmla="*/ 55 h 310"/>
                          <a:gd name="T2" fmla="*/ 68 w 184"/>
                          <a:gd name="T3" fmla="*/ 160 h 310"/>
                          <a:gd name="T4" fmla="*/ 92 w 184"/>
                          <a:gd name="T5" fmla="*/ 149 h 310"/>
                          <a:gd name="T6" fmla="*/ 108 w 184"/>
                          <a:gd name="T7" fmla="*/ 310 h 310"/>
                          <a:gd name="T8" fmla="*/ 147 w 184"/>
                          <a:gd name="T9" fmla="*/ 291 h 310"/>
                          <a:gd name="T10" fmla="*/ 160 w 184"/>
                          <a:gd name="T11" fmla="*/ 116 h 310"/>
                          <a:gd name="T12" fmla="*/ 184 w 184"/>
                          <a:gd name="T13" fmla="*/ 105 h 310"/>
                          <a:gd name="T14" fmla="*/ 116 w 184"/>
                          <a:gd name="T15" fmla="*/ 0 h 310"/>
                          <a:gd name="T16" fmla="*/ 0 w 184"/>
                          <a:gd name="T17" fmla="*/ 55 h 31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0">
                            <a:moveTo>
                              <a:pt x="0" y="55"/>
                            </a:moveTo>
                            <a:lnTo>
                              <a:pt x="68" y="160"/>
                            </a:lnTo>
                            <a:lnTo>
                              <a:pt x="92" y="149"/>
                            </a:lnTo>
                            <a:lnTo>
                              <a:pt x="108" y="310"/>
                            </a:lnTo>
                            <a:lnTo>
                              <a:pt x="147" y="291"/>
                            </a:lnTo>
                            <a:lnTo>
                              <a:pt x="160" y="116"/>
                            </a:lnTo>
                            <a:lnTo>
                              <a:pt x="184" y="105"/>
                            </a:lnTo>
                            <a:lnTo>
                              <a:pt x="116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31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955088" y="3838575"/>
                        <a:ext cx="292100" cy="493713"/>
                      </a:xfrm>
                      <a:custGeom>
                        <a:avLst/>
                        <a:gdLst>
                          <a:gd name="T0" fmla="*/ 0 w 184"/>
                          <a:gd name="T1" fmla="*/ 56 h 311"/>
                          <a:gd name="T2" fmla="*/ 69 w 184"/>
                          <a:gd name="T3" fmla="*/ 161 h 311"/>
                          <a:gd name="T4" fmla="*/ 93 w 184"/>
                          <a:gd name="T5" fmla="*/ 150 h 311"/>
                          <a:gd name="T6" fmla="*/ 109 w 184"/>
                          <a:gd name="T7" fmla="*/ 311 h 311"/>
                          <a:gd name="T8" fmla="*/ 148 w 184"/>
                          <a:gd name="T9" fmla="*/ 292 h 311"/>
                          <a:gd name="T10" fmla="*/ 160 w 184"/>
                          <a:gd name="T11" fmla="*/ 117 h 311"/>
                          <a:gd name="T12" fmla="*/ 184 w 184"/>
                          <a:gd name="T13" fmla="*/ 106 h 311"/>
                          <a:gd name="T14" fmla="*/ 117 w 184"/>
                          <a:gd name="T15" fmla="*/ 0 h 311"/>
                          <a:gd name="T16" fmla="*/ 0 w 184"/>
                          <a:gd name="T17" fmla="*/ 56 h 3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1">
                            <a:moveTo>
                              <a:pt x="0" y="56"/>
                            </a:moveTo>
                            <a:lnTo>
                              <a:pt x="69" y="161"/>
                            </a:lnTo>
                            <a:lnTo>
                              <a:pt x="93" y="150"/>
                            </a:lnTo>
                            <a:lnTo>
                              <a:pt x="109" y="311"/>
                            </a:lnTo>
                            <a:lnTo>
                              <a:pt x="148" y="292"/>
                            </a:lnTo>
                            <a:lnTo>
                              <a:pt x="160" y="117"/>
                            </a:lnTo>
                            <a:lnTo>
                              <a:pt x="184" y="106"/>
                            </a:lnTo>
                            <a:lnTo>
                              <a:pt x="117" y="0"/>
                            </a:lnTo>
                            <a:lnTo>
                              <a:pt x="0" y="56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32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9221788" y="3711575"/>
                        <a:ext cx="292100" cy="492125"/>
                      </a:xfrm>
                      <a:custGeom>
                        <a:avLst/>
                        <a:gdLst>
                          <a:gd name="T0" fmla="*/ 0 w 184"/>
                          <a:gd name="T1" fmla="*/ 55 h 310"/>
                          <a:gd name="T2" fmla="*/ 68 w 184"/>
                          <a:gd name="T3" fmla="*/ 161 h 310"/>
                          <a:gd name="T4" fmla="*/ 92 w 184"/>
                          <a:gd name="T5" fmla="*/ 149 h 310"/>
                          <a:gd name="T6" fmla="*/ 108 w 184"/>
                          <a:gd name="T7" fmla="*/ 310 h 310"/>
                          <a:gd name="T8" fmla="*/ 147 w 184"/>
                          <a:gd name="T9" fmla="*/ 292 h 310"/>
                          <a:gd name="T10" fmla="*/ 160 w 184"/>
                          <a:gd name="T11" fmla="*/ 117 h 310"/>
                          <a:gd name="T12" fmla="*/ 184 w 184"/>
                          <a:gd name="T13" fmla="*/ 105 h 310"/>
                          <a:gd name="T14" fmla="*/ 116 w 184"/>
                          <a:gd name="T15" fmla="*/ 0 h 310"/>
                          <a:gd name="T16" fmla="*/ 0 w 184"/>
                          <a:gd name="T17" fmla="*/ 55 h 31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4" h="310">
                            <a:moveTo>
                              <a:pt x="0" y="55"/>
                            </a:moveTo>
                            <a:lnTo>
                              <a:pt x="68" y="161"/>
                            </a:lnTo>
                            <a:lnTo>
                              <a:pt x="92" y="149"/>
                            </a:lnTo>
                            <a:lnTo>
                              <a:pt x="108" y="310"/>
                            </a:lnTo>
                            <a:lnTo>
                              <a:pt x="147" y="292"/>
                            </a:lnTo>
                            <a:lnTo>
                              <a:pt x="160" y="117"/>
                            </a:lnTo>
                            <a:lnTo>
                              <a:pt x="184" y="105"/>
                            </a:lnTo>
                            <a:lnTo>
                              <a:pt x="116" y="0"/>
                            </a:lnTo>
                            <a:lnTo>
                              <a:pt x="0" y="55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33" name="Freeform 34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7573963" y="3230563"/>
                        <a:ext cx="1906588" cy="1092200"/>
                      </a:xfrm>
                      <a:custGeom>
                        <a:avLst/>
                        <a:gdLst>
                          <a:gd name="T0" fmla="*/ 1953 w 1963"/>
                          <a:gd name="T1" fmla="*/ 381 h 1126"/>
                          <a:gd name="T2" fmla="*/ 1170 w 1963"/>
                          <a:gd name="T3" fmla="*/ 2 h 1126"/>
                          <a:gd name="T4" fmla="*/ 1159 w 1963"/>
                          <a:gd name="T5" fmla="*/ 0 h 1126"/>
                          <a:gd name="T6" fmla="*/ 0 w 1963"/>
                          <a:gd name="T7" fmla="*/ 564 h 1126"/>
                          <a:gd name="T8" fmla="*/ 0 w 1963"/>
                          <a:gd name="T9" fmla="*/ 669 h 1126"/>
                          <a:gd name="T10" fmla="*/ 56 w 1963"/>
                          <a:gd name="T11" fmla="*/ 778 h 1126"/>
                          <a:gd name="T12" fmla="*/ 360 w 1963"/>
                          <a:gd name="T13" fmla="*/ 956 h 1126"/>
                          <a:gd name="T14" fmla="*/ 370 w 1963"/>
                          <a:gd name="T15" fmla="*/ 961 h 1126"/>
                          <a:gd name="T16" fmla="*/ 789 w 1963"/>
                          <a:gd name="T17" fmla="*/ 1122 h 1126"/>
                          <a:gd name="T18" fmla="*/ 802 w 1963"/>
                          <a:gd name="T19" fmla="*/ 1126 h 1126"/>
                          <a:gd name="T20" fmla="*/ 1890 w 1963"/>
                          <a:gd name="T21" fmla="*/ 596 h 1126"/>
                          <a:gd name="T22" fmla="*/ 1963 w 1963"/>
                          <a:gd name="T23" fmla="*/ 481 h 1126"/>
                          <a:gd name="T24" fmla="*/ 1963 w 1963"/>
                          <a:gd name="T25" fmla="*/ 392 h 1126"/>
                          <a:gd name="T26" fmla="*/ 1953 w 1963"/>
                          <a:gd name="T27" fmla="*/ 381 h 1126"/>
                          <a:gd name="T28" fmla="*/ 785 w 1963"/>
                          <a:gd name="T29" fmla="*/ 894 h 1126"/>
                          <a:gd name="T30" fmla="*/ 445 w 1963"/>
                          <a:gd name="T31" fmla="*/ 757 h 1126"/>
                          <a:gd name="T32" fmla="*/ 161 w 1963"/>
                          <a:gd name="T33" fmla="*/ 593 h 1126"/>
                          <a:gd name="T34" fmla="*/ 1178 w 1963"/>
                          <a:gd name="T35" fmla="*/ 98 h 1126"/>
                          <a:gd name="T36" fmla="*/ 1801 w 1963"/>
                          <a:gd name="T37" fmla="*/ 399 h 1126"/>
                          <a:gd name="T38" fmla="*/ 785 w 1963"/>
                          <a:gd name="T39" fmla="*/ 894 h 112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</a:cxnLst>
                        <a:rect l="0" t="0" r="r" b="b"/>
                        <a:pathLst>
                          <a:path w="1963" h="1126">
                            <a:moveTo>
                              <a:pt x="1953" y="381"/>
                            </a:moveTo>
                            <a:cubicBezTo>
                              <a:pt x="1788" y="214"/>
                              <a:pt x="1364" y="36"/>
                              <a:pt x="1170" y="2"/>
                            </a:cubicBezTo>
                            <a:cubicBezTo>
                              <a:pt x="1159" y="0"/>
                              <a:pt x="1159" y="0"/>
                              <a:pt x="1159" y="0"/>
                            </a:cubicBezTo>
                            <a:cubicBezTo>
                              <a:pt x="0" y="564"/>
                              <a:pt x="0" y="564"/>
                              <a:pt x="0" y="564"/>
                            </a:cubicBezTo>
                            <a:cubicBezTo>
                              <a:pt x="0" y="669"/>
                              <a:pt x="0" y="669"/>
                              <a:pt x="0" y="669"/>
                            </a:cubicBezTo>
                            <a:cubicBezTo>
                              <a:pt x="0" y="713"/>
                              <a:pt x="21" y="753"/>
                              <a:pt x="56" y="778"/>
                            </a:cubicBezTo>
                            <a:cubicBezTo>
                              <a:pt x="110" y="816"/>
                              <a:pt x="222" y="890"/>
                              <a:pt x="360" y="956"/>
                            </a:cubicBezTo>
                            <a:cubicBezTo>
                              <a:pt x="370" y="961"/>
                              <a:pt x="370" y="961"/>
                              <a:pt x="370" y="961"/>
                            </a:cubicBezTo>
                            <a:cubicBezTo>
                              <a:pt x="495" y="1020"/>
                              <a:pt x="604" y="1072"/>
                              <a:pt x="789" y="1122"/>
                            </a:cubicBezTo>
                            <a:cubicBezTo>
                              <a:pt x="802" y="1126"/>
                              <a:pt x="802" y="1126"/>
                              <a:pt x="802" y="1126"/>
                            </a:cubicBezTo>
                            <a:cubicBezTo>
                              <a:pt x="1890" y="596"/>
                              <a:pt x="1890" y="596"/>
                              <a:pt x="1890" y="596"/>
                            </a:cubicBezTo>
                            <a:cubicBezTo>
                              <a:pt x="1934" y="575"/>
                              <a:pt x="1963" y="530"/>
                              <a:pt x="1963" y="481"/>
                            </a:cubicBezTo>
                            <a:cubicBezTo>
                              <a:pt x="1963" y="392"/>
                              <a:pt x="1963" y="392"/>
                              <a:pt x="1963" y="392"/>
                            </a:cubicBezTo>
                            <a:lnTo>
                              <a:pt x="1953" y="381"/>
                            </a:lnTo>
                            <a:close/>
                            <a:moveTo>
                              <a:pt x="785" y="894"/>
                            </a:moveTo>
                            <a:cubicBezTo>
                              <a:pt x="674" y="858"/>
                              <a:pt x="557" y="811"/>
                              <a:pt x="445" y="757"/>
                            </a:cubicBezTo>
                            <a:cubicBezTo>
                              <a:pt x="333" y="703"/>
                              <a:pt x="236" y="646"/>
                              <a:pt x="161" y="593"/>
                            </a:cubicBezTo>
                            <a:cubicBezTo>
                              <a:pt x="1178" y="98"/>
                              <a:pt x="1178" y="98"/>
                              <a:pt x="1178" y="98"/>
                            </a:cubicBezTo>
                            <a:cubicBezTo>
                              <a:pt x="1351" y="132"/>
                              <a:pt x="1674" y="287"/>
                              <a:pt x="1801" y="399"/>
                            </a:cubicBezTo>
                            <a:lnTo>
                              <a:pt x="785" y="894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solidFill>
                          <a:srgbClr val="969696"/>
                        </a:solidFill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34" name="Freeform 35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7540626" y="3217863"/>
                        <a:ext cx="1166813" cy="528638"/>
                      </a:xfrm>
                      <a:custGeom>
                        <a:avLst/>
                        <a:gdLst>
                          <a:gd name="T0" fmla="*/ 0 w 735"/>
                          <a:gd name="T1" fmla="*/ 296 h 333"/>
                          <a:gd name="T2" fmla="*/ 115 w 735"/>
                          <a:gd name="T3" fmla="*/ 333 h 333"/>
                          <a:gd name="T4" fmla="*/ 232 w 735"/>
                          <a:gd name="T5" fmla="*/ 278 h 333"/>
                          <a:gd name="T6" fmla="*/ 116 w 735"/>
                          <a:gd name="T7" fmla="*/ 240 h 333"/>
                          <a:gd name="T8" fmla="*/ 0 w 735"/>
                          <a:gd name="T9" fmla="*/ 296 h 333"/>
                          <a:gd name="T10" fmla="*/ 619 w 735"/>
                          <a:gd name="T11" fmla="*/ 0 h 333"/>
                          <a:gd name="T12" fmla="*/ 503 w 735"/>
                          <a:gd name="T13" fmla="*/ 55 h 333"/>
                          <a:gd name="T14" fmla="*/ 619 w 735"/>
                          <a:gd name="T15" fmla="*/ 94 h 333"/>
                          <a:gd name="T16" fmla="*/ 735 w 735"/>
                          <a:gd name="T17" fmla="*/ 39 h 333"/>
                          <a:gd name="T18" fmla="*/ 619 w 735"/>
                          <a:gd name="T19" fmla="*/ 0 h 333"/>
                          <a:gd name="T20" fmla="*/ 168 w 735"/>
                          <a:gd name="T21" fmla="*/ 216 h 333"/>
                          <a:gd name="T22" fmla="*/ 284 w 735"/>
                          <a:gd name="T23" fmla="*/ 253 h 333"/>
                          <a:gd name="T24" fmla="*/ 400 w 735"/>
                          <a:gd name="T25" fmla="*/ 198 h 333"/>
                          <a:gd name="T26" fmla="*/ 284 w 735"/>
                          <a:gd name="T27" fmla="*/ 160 h 333"/>
                          <a:gd name="T28" fmla="*/ 168 w 735"/>
                          <a:gd name="T29" fmla="*/ 216 h 333"/>
                          <a:gd name="T30" fmla="*/ 336 w 735"/>
                          <a:gd name="T31" fmla="*/ 135 h 333"/>
                          <a:gd name="T32" fmla="*/ 451 w 735"/>
                          <a:gd name="T33" fmla="*/ 174 h 333"/>
                          <a:gd name="T34" fmla="*/ 567 w 735"/>
                          <a:gd name="T35" fmla="*/ 119 h 333"/>
                          <a:gd name="T36" fmla="*/ 451 w 735"/>
                          <a:gd name="T37" fmla="*/ 80 h 333"/>
                          <a:gd name="T38" fmla="*/ 336 w 735"/>
                          <a:gd name="T39" fmla="*/ 135 h 333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</a:cxnLst>
                        <a:rect l="0" t="0" r="r" b="b"/>
                        <a:pathLst>
                          <a:path w="735" h="333">
                            <a:moveTo>
                              <a:pt x="0" y="296"/>
                            </a:moveTo>
                            <a:lnTo>
                              <a:pt x="115" y="333"/>
                            </a:lnTo>
                            <a:lnTo>
                              <a:pt x="232" y="278"/>
                            </a:lnTo>
                            <a:lnTo>
                              <a:pt x="116" y="240"/>
                            </a:lnTo>
                            <a:lnTo>
                              <a:pt x="0" y="296"/>
                            </a:lnTo>
                            <a:close/>
                            <a:moveTo>
                              <a:pt x="619" y="0"/>
                            </a:moveTo>
                            <a:lnTo>
                              <a:pt x="503" y="55"/>
                            </a:lnTo>
                            <a:lnTo>
                              <a:pt x="619" y="94"/>
                            </a:lnTo>
                            <a:lnTo>
                              <a:pt x="735" y="39"/>
                            </a:lnTo>
                            <a:lnTo>
                              <a:pt x="619" y="0"/>
                            </a:lnTo>
                            <a:close/>
                            <a:moveTo>
                              <a:pt x="168" y="216"/>
                            </a:moveTo>
                            <a:lnTo>
                              <a:pt x="284" y="253"/>
                            </a:lnTo>
                            <a:lnTo>
                              <a:pt x="400" y="198"/>
                            </a:lnTo>
                            <a:lnTo>
                              <a:pt x="284" y="160"/>
                            </a:lnTo>
                            <a:lnTo>
                              <a:pt x="168" y="216"/>
                            </a:lnTo>
                            <a:close/>
                            <a:moveTo>
                              <a:pt x="336" y="135"/>
                            </a:moveTo>
                            <a:lnTo>
                              <a:pt x="451" y="174"/>
                            </a:lnTo>
                            <a:lnTo>
                              <a:pt x="567" y="119"/>
                            </a:lnTo>
                            <a:lnTo>
                              <a:pt x="451" y="80"/>
                            </a:lnTo>
                            <a:lnTo>
                              <a:pt x="336" y="135"/>
                            </a:lnTo>
                            <a:close/>
                          </a:path>
                        </a:pathLst>
                      </a:custGeom>
                      <a:solidFill>
                        <a:srgbClr val="969696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</p:grpSp>
            <p:sp>
              <p:nvSpPr>
                <p:cNvPr id="721" name="Freeform: Shape 720"/>
                <p:cNvSpPr>
                  <a:spLocks noChangeAspect="1"/>
                </p:cNvSpPr>
                <p:nvPr/>
              </p:nvSpPr>
              <p:spPr>
                <a:xfrm>
                  <a:off x="9093847" y="3870318"/>
                  <a:ext cx="2651210" cy="502920"/>
                </a:xfrm>
                <a:custGeom>
                  <a:avLst/>
                  <a:gdLst>
                    <a:gd name="connsiteX0" fmla="*/ 1934244 w 2283508"/>
                    <a:gd name="connsiteY0" fmla="*/ 332375 h 433169"/>
                    <a:gd name="connsiteX1" fmla="*/ 1906702 w 2283508"/>
                    <a:gd name="connsiteY1" fmla="*/ 336379 h 433169"/>
                    <a:gd name="connsiteX2" fmla="*/ 1884630 w 2283508"/>
                    <a:gd name="connsiteY2" fmla="*/ 343656 h 433169"/>
                    <a:gd name="connsiteX3" fmla="*/ 1878280 w 2283508"/>
                    <a:gd name="connsiteY3" fmla="*/ 360015 h 433169"/>
                    <a:gd name="connsiteX4" fmla="*/ 1884190 w 2283508"/>
                    <a:gd name="connsiteY4" fmla="*/ 374665 h 433169"/>
                    <a:gd name="connsiteX5" fmla="*/ 1900646 w 2283508"/>
                    <a:gd name="connsiteY5" fmla="*/ 380428 h 433169"/>
                    <a:gd name="connsiteX6" fmla="*/ 1924674 w 2283508"/>
                    <a:gd name="connsiteY6" fmla="*/ 369733 h 433169"/>
                    <a:gd name="connsiteX7" fmla="*/ 1934244 w 2283508"/>
                    <a:gd name="connsiteY7" fmla="*/ 342142 h 433169"/>
                    <a:gd name="connsiteX8" fmla="*/ 1762794 w 2283508"/>
                    <a:gd name="connsiteY8" fmla="*/ 332375 h 433169"/>
                    <a:gd name="connsiteX9" fmla="*/ 1735252 w 2283508"/>
                    <a:gd name="connsiteY9" fmla="*/ 336379 h 433169"/>
                    <a:gd name="connsiteX10" fmla="*/ 1713180 w 2283508"/>
                    <a:gd name="connsiteY10" fmla="*/ 343656 h 433169"/>
                    <a:gd name="connsiteX11" fmla="*/ 1706830 w 2283508"/>
                    <a:gd name="connsiteY11" fmla="*/ 360015 h 433169"/>
                    <a:gd name="connsiteX12" fmla="*/ 1712740 w 2283508"/>
                    <a:gd name="connsiteY12" fmla="*/ 374665 h 433169"/>
                    <a:gd name="connsiteX13" fmla="*/ 1729198 w 2283508"/>
                    <a:gd name="connsiteY13" fmla="*/ 380428 h 433169"/>
                    <a:gd name="connsiteX14" fmla="*/ 1753224 w 2283508"/>
                    <a:gd name="connsiteY14" fmla="*/ 369733 h 433169"/>
                    <a:gd name="connsiteX15" fmla="*/ 1762794 w 2283508"/>
                    <a:gd name="connsiteY15" fmla="*/ 342142 h 433169"/>
                    <a:gd name="connsiteX16" fmla="*/ 1572294 w 2283508"/>
                    <a:gd name="connsiteY16" fmla="*/ 332375 h 433169"/>
                    <a:gd name="connsiteX17" fmla="*/ 1544752 w 2283508"/>
                    <a:gd name="connsiteY17" fmla="*/ 336379 h 433169"/>
                    <a:gd name="connsiteX18" fmla="*/ 1522678 w 2283508"/>
                    <a:gd name="connsiteY18" fmla="*/ 343656 h 433169"/>
                    <a:gd name="connsiteX19" fmla="*/ 1516330 w 2283508"/>
                    <a:gd name="connsiteY19" fmla="*/ 360015 h 433169"/>
                    <a:gd name="connsiteX20" fmla="*/ 1522240 w 2283508"/>
                    <a:gd name="connsiteY20" fmla="*/ 374665 h 433169"/>
                    <a:gd name="connsiteX21" fmla="*/ 1538696 w 2283508"/>
                    <a:gd name="connsiteY21" fmla="*/ 380428 h 433169"/>
                    <a:gd name="connsiteX22" fmla="*/ 1562724 w 2283508"/>
                    <a:gd name="connsiteY22" fmla="*/ 369733 h 433169"/>
                    <a:gd name="connsiteX23" fmla="*/ 1572294 w 2283508"/>
                    <a:gd name="connsiteY23" fmla="*/ 342142 h 433169"/>
                    <a:gd name="connsiteX24" fmla="*/ 1219870 w 2283508"/>
                    <a:gd name="connsiteY24" fmla="*/ 332375 h 433169"/>
                    <a:gd name="connsiteX25" fmla="*/ 1192328 w 2283508"/>
                    <a:gd name="connsiteY25" fmla="*/ 336379 h 433169"/>
                    <a:gd name="connsiteX26" fmla="*/ 1170254 w 2283508"/>
                    <a:gd name="connsiteY26" fmla="*/ 343656 h 433169"/>
                    <a:gd name="connsiteX27" fmla="*/ 1163906 w 2283508"/>
                    <a:gd name="connsiteY27" fmla="*/ 360015 h 433169"/>
                    <a:gd name="connsiteX28" fmla="*/ 1169814 w 2283508"/>
                    <a:gd name="connsiteY28" fmla="*/ 374665 h 433169"/>
                    <a:gd name="connsiteX29" fmla="*/ 1186272 w 2283508"/>
                    <a:gd name="connsiteY29" fmla="*/ 380428 h 433169"/>
                    <a:gd name="connsiteX30" fmla="*/ 1210298 w 2283508"/>
                    <a:gd name="connsiteY30" fmla="*/ 369733 h 433169"/>
                    <a:gd name="connsiteX31" fmla="*/ 1219870 w 2283508"/>
                    <a:gd name="connsiteY31" fmla="*/ 342142 h 433169"/>
                    <a:gd name="connsiteX32" fmla="*/ 2159334 w 2283508"/>
                    <a:gd name="connsiteY32" fmla="*/ 291940 h 433169"/>
                    <a:gd name="connsiteX33" fmla="*/ 2136040 w 2283508"/>
                    <a:gd name="connsiteY33" fmla="*/ 301365 h 433169"/>
                    <a:gd name="connsiteX34" fmla="*/ 2124662 w 2283508"/>
                    <a:gd name="connsiteY34" fmla="*/ 328371 h 433169"/>
                    <a:gd name="connsiteX35" fmla="*/ 2188926 w 2283508"/>
                    <a:gd name="connsiteY35" fmla="*/ 328371 h 433169"/>
                    <a:gd name="connsiteX36" fmla="*/ 2180626 w 2283508"/>
                    <a:gd name="connsiteY36" fmla="*/ 301512 h 433169"/>
                    <a:gd name="connsiteX37" fmla="*/ 2159334 w 2283508"/>
                    <a:gd name="connsiteY37" fmla="*/ 291940 h 433169"/>
                    <a:gd name="connsiteX38" fmla="*/ 2015332 w 2283508"/>
                    <a:gd name="connsiteY38" fmla="*/ 291940 h 433169"/>
                    <a:gd name="connsiteX39" fmla="*/ 1988278 w 2283508"/>
                    <a:gd name="connsiteY39" fmla="*/ 303660 h 433169"/>
                    <a:gd name="connsiteX40" fmla="*/ 1978706 w 2283508"/>
                    <a:gd name="connsiteY40" fmla="*/ 331203 h 433169"/>
                    <a:gd name="connsiteX41" fmla="*/ 1978706 w 2283508"/>
                    <a:gd name="connsiteY41" fmla="*/ 343802 h 433169"/>
                    <a:gd name="connsiteX42" fmla="*/ 1988182 w 2283508"/>
                    <a:gd name="connsiteY42" fmla="*/ 369635 h 433169"/>
                    <a:gd name="connsiteX43" fmla="*/ 2013086 w 2283508"/>
                    <a:gd name="connsiteY43" fmla="*/ 380428 h 433169"/>
                    <a:gd name="connsiteX44" fmla="*/ 2037992 w 2283508"/>
                    <a:gd name="connsiteY44" fmla="*/ 367291 h 433169"/>
                    <a:gd name="connsiteX45" fmla="*/ 2047564 w 2283508"/>
                    <a:gd name="connsiteY45" fmla="*/ 332766 h 433169"/>
                    <a:gd name="connsiteX46" fmla="*/ 2038774 w 2283508"/>
                    <a:gd name="connsiteY46" fmla="*/ 302977 h 433169"/>
                    <a:gd name="connsiteX47" fmla="*/ 2015332 w 2283508"/>
                    <a:gd name="connsiteY47" fmla="*/ 291940 h 433169"/>
                    <a:gd name="connsiteX48" fmla="*/ 902034 w 2283508"/>
                    <a:gd name="connsiteY48" fmla="*/ 291940 h 433169"/>
                    <a:gd name="connsiteX49" fmla="*/ 878740 w 2283508"/>
                    <a:gd name="connsiteY49" fmla="*/ 301365 h 433169"/>
                    <a:gd name="connsiteX50" fmla="*/ 867362 w 2283508"/>
                    <a:gd name="connsiteY50" fmla="*/ 328371 h 433169"/>
                    <a:gd name="connsiteX51" fmla="*/ 931626 w 2283508"/>
                    <a:gd name="connsiteY51" fmla="*/ 328371 h 433169"/>
                    <a:gd name="connsiteX52" fmla="*/ 923326 w 2283508"/>
                    <a:gd name="connsiteY52" fmla="*/ 301512 h 433169"/>
                    <a:gd name="connsiteX53" fmla="*/ 902034 w 2283508"/>
                    <a:gd name="connsiteY53" fmla="*/ 291940 h 433169"/>
                    <a:gd name="connsiteX54" fmla="*/ 467498 w 2283508"/>
                    <a:gd name="connsiteY54" fmla="*/ 291940 h 433169"/>
                    <a:gd name="connsiteX55" fmla="*/ 439320 w 2283508"/>
                    <a:gd name="connsiteY55" fmla="*/ 303856 h 433169"/>
                    <a:gd name="connsiteX56" fmla="*/ 428820 w 2283508"/>
                    <a:gd name="connsiteY56" fmla="*/ 336965 h 433169"/>
                    <a:gd name="connsiteX57" fmla="*/ 439076 w 2283508"/>
                    <a:gd name="connsiteY57" fmla="*/ 368512 h 433169"/>
                    <a:gd name="connsiteX58" fmla="*/ 467106 w 2283508"/>
                    <a:gd name="connsiteY58" fmla="*/ 380428 h 433169"/>
                    <a:gd name="connsiteX59" fmla="*/ 494942 w 2283508"/>
                    <a:gd name="connsiteY59" fmla="*/ 368708 h 433169"/>
                    <a:gd name="connsiteX60" fmla="*/ 504708 w 2283508"/>
                    <a:gd name="connsiteY60" fmla="*/ 336184 h 433169"/>
                    <a:gd name="connsiteX61" fmla="*/ 494990 w 2283508"/>
                    <a:gd name="connsiteY61" fmla="*/ 303367 h 433169"/>
                    <a:gd name="connsiteX62" fmla="*/ 467498 w 2283508"/>
                    <a:gd name="connsiteY62" fmla="*/ 291940 h 433169"/>
                    <a:gd name="connsiteX63" fmla="*/ 216234 w 2283508"/>
                    <a:gd name="connsiteY63" fmla="*/ 291940 h 433169"/>
                    <a:gd name="connsiteX64" fmla="*/ 192940 w 2283508"/>
                    <a:gd name="connsiteY64" fmla="*/ 301365 h 433169"/>
                    <a:gd name="connsiteX65" fmla="*/ 181562 w 2283508"/>
                    <a:gd name="connsiteY65" fmla="*/ 328371 h 433169"/>
                    <a:gd name="connsiteX66" fmla="*/ 245826 w 2283508"/>
                    <a:gd name="connsiteY66" fmla="*/ 328371 h 433169"/>
                    <a:gd name="connsiteX67" fmla="*/ 237526 w 2283508"/>
                    <a:gd name="connsiteY67" fmla="*/ 301512 h 433169"/>
                    <a:gd name="connsiteX68" fmla="*/ 216234 w 2283508"/>
                    <a:gd name="connsiteY68" fmla="*/ 291940 h 433169"/>
                    <a:gd name="connsiteX69" fmla="*/ 115354 w 2283508"/>
                    <a:gd name="connsiteY69" fmla="*/ 286775 h 433169"/>
                    <a:gd name="connsiteX70" fmla="*/ 88300 w 2283508"/>
                    <a:gd name="connsiteY70" fmla="*/ 298495 h 433169"/>
                    <a:gd name="connsiteX71" fmla="*/ 78728 w 2283508"/>
                    <a:gd name="connsiteY71" fmla="*/ 326038 h 433169"/>
                    <a:gd name="connsiteX72" fmla="*/ 78728 w 2283508"/>
                    <a:gd name="connsiteY72" fmla="*/ 338637 h 433169"/>
                    <a:gd name="connsiteX73" fmla="*/ 88204 w 2283508"/>
                    <a:gd name="connsiteY73" fmla="*/ 364470 h 433169"/>
                    <a:gd name="connsiteX74" fmla="*/ 113108 w 2283508"/>
                    <a:gd name="connsiteY74" fmla="*/ 375263 h 433169"/>
                    <a:gd name="connsiteX75" fmla="*/ 138014 w 2283508"/>
                    <a:gd name="connsiteY75" fmla="*/ 362126 h 433169"/>
                    <a:gd name="connsiteX76" fmla="*/ 147586 w 2283508"/>
                    <a:gd name="connsiteY76" fmla="*/ 327601 h 433169"/>
                    <a:gd name="connsiteX77" fmla="*/ 138796 w 2283508"/>
                    <a:gd name="connsiteY77" fmla="*/ 297812 h 433169"/>
                    <a:gd name="connsiteX78" fmla="*/ 115354 w 2283508"/>
                    <a:gd name="connsiteY78" fmla="*/ 286775 h 433169"/>
                    <a:gd name="connsiteX79" fmla="*/ 1798272 w 2283508"/>
                    <a:gd name="connsiteY79" fmla="*/ 286178 h 433169"/>
                    <a:gd name="connsiteX80" fmla="*/ 1807258 w 2283508"/>
                    <a:gd name="connsiteY80" fmla="*/ 286178 h 433169"/>
                    <a:gd name="connsiteX81" fmla="*/ 1807258 w 2283508"/>
                    <a:gd name="connsiteY81" fmla="*/ 386190 h 433169"/>
                    <a:gd name="connsiteX82" fmla="*/ 1798272 w 2283508"/>
                    <a:gd name="connsiteY82" fmla="*/ 386190 h 433169"/>
                    <a:gd name="connsiteX83" fmla="*/ 1593708 w 2283508"/>
                    <a:gd name="connsiteY83" fmla="*/ 286178 h 433169"/>
                    <a:gd name="connsiteX84" fmla="*/ 1603768 w 2283508"/>
                    <a:gd name="connsiteY84" fmla="*/ 286178 h 433169"/>
                    <a:gd name="connsiteX85" fmla="*/ 1633556 w 2283508"/>
                    <a:gd name="connsiteY85" fmla="*/ 365778 h 433169"/>
                    <a:gd name="connsiteX86" fmla="*/ 1636584 w 2283508"/>
                    <a:gd name="connsiteY86" fmla="*/ 376228 h 433169"/>
                    <a:gd name="connsiteX87" fmla="*/ 1636974 w 2283508"/>
                    <a:gd name="connsiteY87" fmla="*/ 376228 h 433169"/>
                    <a:gd name="connsiteX88" fmla="*/ 1639806 w 2283508"/>
                    <a:gd name="connsiteY88" fmla="*/ 366168 h 433169"/>
                    <a:gd name="connsiteX89" fmla="*/ 1670572 w 2283508"/>
                    <a:gd name="connsiteY89" fmla="*/ 286178 h 433169"/>
                    <a:gd name="connsiteX90" fmla="*/ 1680340 w 2283508"/>
                    <a:gd name="connsiteY90" fmla="*/ 286178 h 433169"/>
                    <a:gd name="connsiteX91" fmla="*/ 1640588 w 2283508"/>
                    <a:gd name="connsiteY91" fmla="*/ 386190 h 433169"/>
                    <a:gd name="connsiteX92" fmla="*/ 1632384 w 2283508"/>
                    <a:gd name="connsiteY92" fmla="*/ 386190 h 433169"/>
                    <a:gd name="connsiteX93" fmla="*/ 1317482 w 2283508"/>
                    <a:gd name="connsiteY93" fmla="*/ 286178 h 433169"/>
                    <a:gd name="connsiteX94" fmla="*/ 1327542 w 2283508"/>
                    <a:gd name="connsiteY94" fmla="*/ 286178 h 433169"/>
                    <a:gd name="connsiteX95" fmla="*/ 1357722 w 2283508"/>
                    <a:gd name="connsiteY95" fmla="*/ 367633 h 433169"/>
                    <a:gd name="connsiteX96" fmla="*/ 1359090 w 2283508"/>
                    <a:gd name="connsiteY96" fmla="*/ 371638 h 433169"/>
                    <a:gd name="connsiteX97" fmla="*/ 1359968 w 2283508"/>
                    <a:gd name="connsiteY97" fmla="*/ 374958 h 433169"/>
                    <a:gd name="connsiteX98" fmla="*/ 1360358 w 2283508"/>
                    <a:gd name="connsiteY98" fmla="*/ 374958 h 433169"/>
                    <a:gd name="connsiteX99" fmla="*/ 1362702 w 2283508"/>
                    <a:gd name="connsiteY99" fmla="*/ 368219 h 433169"/>
                    <a:gd name="connsiteX100" fmla="*/ 1394934 w 2283508"/>
                    <a:gd name="connsiteY100" fmla="*/ 286178 h 433169"/>
                    <a:gd name="connsiteX101" fmla="*/ 1404700 w 2283508"/>
                    <a:gd name="connsiteY101" fmla="*/ 286178 h 433169"/>
                    <a:gd name="connsiteX102" fmla="*/ 1355964 w 2283508"/>
                    <a:gd name="connsiteY102" fmla="*/ 406603 h 433169"/>
                    <a:gd name="connsiteX103" fmla="*/ 1343852 w 2283508"/>
                    <a:gd name="connsiteY103" fmla="*/ 426625 h 433169"/>
                    <a:gd name="connsiteX104" fmla="*/ 1326760 w 2283508"/>
                    <a:gd name="connsiteY104" fmla="*/ 433169 h 433169"/>
                    <a:gd name="connsiteX105" fmla="*/ 1318948 w 2283508"/>
                    <a:gd name="connsiteY105" fmla="*/ 431801 h 433169"/>
                    <a:gd name="connsiteX106" fmla="*/ 1318948 w 2283508"/>
                    <a:gd name="connsiteY106" fmla="*/ 422816 h 433169"/>
                    <a:gd name="connsiteX107" fmla="*/ 1327152 w 2283508"/>
                    <a:gd name="connsiteY107" fmla="*/ 424183 h 433169"/>
                    <a:gd name="connsiteX108" fmla="*/ 1346100 w 2283508"/>
                    <a:gd name="connsiteY108" fmla="*/ 407580 h 433169"/>
                    <a:gd name="connsiteX109" fmla="*/ 1355378 w 2283508"/>
                    <a:gd name="connsiteY109" fmla="*/ 385409 h 433169"/>
                    <a:gd name="connsiteX110" fmla="*/ 1121996 w 2283508"/>
                    <a:gd name="connsiteY110" fmla="*/ 286178 h 433169"/>
                    <a:gd name="connsiteX111" fmla="*/ 1130982 w 2283508"/>
                    <a:gd name="connsiteY111" fmla="*/ 286178 h 433169"/>
                    <a:gd name="connsiteX112" fmla="*/ 1130982 w 2283508"/>
                    <a:gd name="connsiteY112" fmla="*/ 386190 h 433169"/>
                    <a:gd name="connsiteX113" fmla="*/ 1121996 w 2283508"/>
                    <a:gd name="connsiteY113" fmla="*/ 386190 h 433169"/>
                    <a:gd name="connsiteX114" fmla="*/ 1006808 w 2283508"/>
                    <a:gd name="connsiteY114" fmla="*/ 284224 h 433169"/>
                    <a:gd name="connsiteX115" fmla="*/ 1016770 w 2283508"/>
                    <a:gd name="connsiteY115" fmla="*/ 285982 h 433169"/>
                    <a:gd name="connsiteX116" fmla="*/ 1016770 w 2283508"/>
                    <a:gd name="connsiteY116" fmla="*/ 295554 h 433169"/>
                    <a:gd name="connsiteX117" fmla="*/ 1006222 w 2283508"/>
                    <a:gd name="connsiteY117" fmla="*/ 292331 h 433169"/>
                    <a:gd name="connsiteX118" fmla="*/ 986396 w 2283508"/>
                    <a:gd name="connsiteY118" fmla="*/ 304539 h 433169"/>
                    <a:gd name="connsiteX119" fmla="*/ 978386 w 2283508"/>
                    <a:gd name="connsiteY119" fmla="*/ 339212 h 433169"/>
                    <a:gd name="connsiteX120" fmla="*/ 978386 w 2283508"/>
                    <a:gd name="connsiteY120" fmla="*/ 386190 h 433169"/>
                    <a:gd name="connsiteX121" fmla="*/ 969596 w 2283508"/>
                    <a:gd name="connsiteY121" fmla="*/ 386190 h 433169"/>
                    <a:gd name="connsiteX122" fmla="*/ 969596 w 2283508"/>
                    <a:gd name="connsiteY122" fmla="*/ 286178 h 433169"/>
                    <a:gd name="connsiteX123" fmla="*/ 978386 w 2283508"/>
                    <a:gd name="connsiteY123" fmla="*/ 286178 h 433169"/>
                    <a:gd name="connsiteX124" fmla="*/ 978386 w 2283508"/>
                    <a:gd name="connsiteY124" fmla="*/ 308348 h 433169"/>
                    <a:gd name="connsiteX125" fmla="*/ 978778 w 2283508"/>
                    <a:gd name="connsiteY125" fmla="*/ 308348 h 433169"/>
                    <a:gd name="connsiteX126" fmla="*/ 989618 w 2283508"/>
                    <a:gd name="connsiteY126" fmla="*/ 290573 h 433169"/>
                    <a:gd name="connsiteX127" fmla="*/ 1006808 w 2283508"/>
                    <a:gd name="connsiteY127" fmla="*/ 284224 h 433169"/>
                    <a:gd name="connsiteX128" fmla="*/ 2159724 w 2283508"/>
                    <a:gd name="connsiteY128" fmla="*/ 283736 h 433169"/>
                    <a:gd name="connsiteX129" fmla="*/ 2188340 w 2283508"/>
                    <a:gd name="connsiteY129" fmla="*/ 296824 h 433169"/>
                    <a:gd name="connsiteX130" fmla="*/ 2198302 w 2283508"/>
                    <a:gd name="connsiteY130" fmla="*/ 332570 h 433169"/>
                    <a:gd name="connsiteX131" fmla="*/ 2198302 w 2283508"/>
                    <a:gd name="connsiteY131" fmla="*/ 336575 h 433169"/>
                    <a:gd name="connsiteX132" fmla="*/ 2124270 w 2283508"/>
                    <a:gd name="connsiteY132" fmla="*/ 336575 h 433169"/>
                    <a:gd name="connsiteX133" fmla="*/ 2133794 w 2283508"/>
                    <a:gd name="connsiteY133" fmla="*/ 368805 h 433169"/>
                    <a:gd name="connsiteX134" fmla="*/ 2159920 w 2283508"/>
                    <a:gd name="connsiteY134" fmla="*/ 380428 h 433169"/>
                    <a:gd name="connsiteX135" fmla="*/ 2192736 w 2283508"/>
                    <a:gd name="connsiteY135" fmla="*/ 368024 h 433169"/>
                    <a:gd name="connsiteX136" fmla="*/ 2192736 w 2283508"/>
                    <a:gd name="connsiteY136" fmla="*/ 377595 h 433169"/>
                    <a:gd name="connsiteX137" fmla="*/ 2158064 w 2283508"/>
                    <a:gd name="connsiteY137" fmla="*/ 388632 h 433169"/>
                    <a:gd name="connsiteX138" fmla="*/ 2126810 w 2283508"/>
                    <a:gd name="connsiteY138" fmla="*/ 374763 h 433169"/>
                    <a:gd name="connsiteX139" fmla="*/ 2114894 w 2283508"/>
                    <a:gd name="connsiteY139" fmla="*/ 335598 h 433169"/>
                    <a:gd name="connsiteX140" fmla="*/ 2127346 w 2283508"/>
                    <a:gd name="connsiteY140" fmla="*/ 298728 h 433169"/>
                    <a:gd name="connsiteX141" fmla="*/ 2159724 w 2283508"/>
                    <a:gd name="connsiteY141" fmla="*/ 283736 h 433169"/>
                    <a:gd name="connsiteX142" fmla="*/ 1910902 w 2283508"/>
                    <a:gd name="connsiteY142" fmla="*/ 283736 h 433169"/>
                    <a:gd name="connsiteX143" fmla="*/ 1934782 w 2283508"/>
                    <a:gd name="connsiteY143" fmla="*/ 293308 h 433169"/>
                    <a:gd name="connsiteX144" fmla="*/ 1943230 w 2283508"/>
                    <a:gd name="connsiteY144" fmla="*/ 321143 h 433169"/>
                    <a:gd name="connsiteX145" fmla="*/ 1943230 w 2283508"/>
                    <a:gd name="connsiteY145" fmla="*/ 386190 h 433169"/>
                    <a:gd name="connsiteX146" fmla="*/ 1934244 w 2283508"/>
                    <a:gd name="connsiteY146" fmla="*/ 386190 h 433169"/>
                    <a:gd name="connsiteX147" fmla="*/ 1934244 w 2283508"/>
                    <a:gd name="connsiteY147" fmla="*/ 366168 h 433169"/>
                    <a:gd name="connsiteX148" fmla="*/ 1933854 w 2283508"/>
                    <a:gd name="connsiteY148" fmla="*/ 366168 h 433169"/>
                    <a:gd name="connsiteX149" fmla="*/ 1919936 w 2283508"/>
                    <a:gd name="connsiteY149" fmla="*/ 382528 h 433169"/>
                    <a:gd name="connsiteX150" fmla="*/ 1899670 w 2283508"/>
                    <a:gd name="connsiteY150" fmla="*/ 388632 h 433169"/>
                    <a:gd name="connsiteX151" fmla="*/ 1877108 w 2283508"/>
                    <a:gd name="connsiteY151" fmla="*/ 380623 h 433169"/>
                    <a:gd name="connsiteX152" fmla="*/ 1868806 w 2283508"/>
                    <a:gd name="connsiteY152" fmla="*/ 360406 h 433169"/>
                    <a:gd name="connsiteX153" fmla="*/ 1903478 w 2283508"/>
                    <a:gd name="connsiteY153" fmla="*/ 328761 h 433169"/>
                    <a:gd name="connsiteX154" fmla="*/ 1934244 w 2283508"/>
                    <a:gd name="connsiteY154" fmla="*/ 324171 h 433169"/>
                    <a:gd name="connsiteX155" fmla="*/ 1910022 w 2283508"/>
                    <a:gd name="connsiteY155" fmla="*/ 291940 h 433169"/>
                    <a:gd name="connsiteX156" fmla="*/ 1877890 w 2283508"/>
                    <a:gd name="connsiteY156" fmla="*/ 305223 h 433169"/>
                    <a:gd name="connsiteX157" fmla="*/ 1877890 w 2283508"/>
                    <a:gd name="connsiteY157" fmla="*/ 294382 h 433169"/>
                    <a:gd name="connsiteX158" fmla="*/ 1892980 w 2283508"/>
                    <a:gd name="connsiteY158" fmla="*/ 286861 h 433169"/>
                    <a:gd name="connsiteX159" fmla="*/ 1910902 w 2283508"/>
                    <a:gd name="connsiteY159" fmla="*/ 283736 h 433169"/>
                    <a:gd name="connsiteX160" fmla="*/ 1739452 w 2283508"/>
                    <a:gd name="connsiteY160" fmla="*/ 283736 h 433169"/>
                    <a:gd name="connsiteX161" fmla="*/ 1763332 w 2283508"/>
                    <a:gd name="connsiteY161" fmla="*/ 293308 h 433169"/>
                    <a:gd name="connsiteX162" fmla="*/ 1771780 w 2283508"/>
                    <a:gd name="connsiteY162" fmla="*/ 321143 h 433169"/>
                    <a:gd name="connsiteX163" fmla="*/ 1771780 w 2283508"/>
                    <a:gd name="connsiteY163" fmla="*/ 386190 h 433169"/>
                    <a:gd name="connsiteX164" fmla="*/ 1762794 w 2283508"/>
                    <a:gd name="connsiteY164" fmla="*/ 386190 h 433169"/>
                    <a:gd name="connsiteX165" fmla="*/ 1762794 w 2283508"/>
                    <a:gd name="connsiteY165" fmla="*/ 366168 h 433169"/>
                    <a:gd name="connsiteX166" fmla="*/ 1762404 w 2283508"/>
                    <a:gd name="connsiteY166" fmla="*/ 366168 h 433169"/>
                    <a:gd name="connsiteX167" fmla="*/ 1748486 w 2283508"/>
                    <a:gd name="connsiteY167" fmla="*/ 382528 h 433169"/>
                    <a:gd name="connsiteX168" fmla="*/ 1728220 w 2283508"/>
                    <a:gd name="connsiteY168" fmla="*/ 388632 h 433169"/>
                    <a:gd name="connsiteX169" fmla="*/ 1705658 w 2283508"/>
                    <a:gd name="connsiteY169" fmla="*/ 380623 h 433169"/>
                    <a:gd name="connsiteX170" fmla="*/ 1697358 w 2283508"/>
                    <a:gd name="connsiteY170" fmla="*/ 360406 h 433169"/>
                    <a:gd name="connsiteX171" fmla="*/ 1732030 w 2283508"/>
                    <a:gd name="connsiteY171" fmla="*/ 328761 h 433169"/>
                    <a:gd name="connsiteX172" fmla="*/ 1762794 w 2283508"/>
                    <a:gd name="connsiteY172" fmla="*/ 324171 h 433169"/>
                    <a:gd name="connsiteX173" fmla="*/ 1738574 w 2283508"/>
                    <a:gd name="connsiteY173" fmla="*/ 291940 h 433169"/>
                    <a:gd name="connsiteX174" fmla="*/ 1706440 w 2283508"/>
                    <a:gd name="connsiteY174" fmla="*/ 305223 h 433169"/>
                    <a:gd name="connsiteX175" fmla="*/ 1706440 w 2283508"/>
                    <a:gd name="connsiteY175" fmla="*/ 294382 h 433169"/>
                    <a:gd name="connsiteX176" fmla="*/ 1721530 w 2283508"/>
                    <a:gd name="connsiteY176" fmla="*/ 286861 h 433169"/>
                    <a:gd name="connsiteX177" fmla="*/ 1739452 w 2283508"/>
                    <a:gd name="connsiteY177" fmla="*/ 283736 h 433169"/>
                    <a:gd name="connsiteX178" fmla="*/ 1548952 w 2283508"/>
                    <a:gd name="connsiteY178" fmla="*/ 283736 h 433169"/>
                    <a:gd name="connsiteX179" fmla="*/ 1572832 w 2283508"/>
                    <a:gd name="connsiteY179" fmla="*/ 293308 h 433169"/>
                    <a:gd name="connsiteX180" fmla="*/ 1581280 w 2283508"/>
                    <a:gd name="connsiteY180" fmla="*/ 321143 h 433169"/>
                    <a:gd name="connsiteX181" fmla="*/ 1581280 w 2283508"/>
                    <a:gd name="connsiteY181" fmla="*/ 386190 h 433169"/>
                    <a:gd name="connsiteX182" fmla="*/ 1572294 w 2283508"/>
                    <a:gd name="connsiteY182" fmla="*/ 386190 h 433169"/>
                    <a:gd name="connsiteX183" fmla="*/ 1572294 w 2283508"/>
                    <a:gd name="connsiteY183" fmla="*/ 366168 h 433169"/>
                    <a:gd name="connsiteX184" fmla="*/ 1571904 w 2283508"/>
                    <a:gd name="connsiteY184" fmla="*/ 366168 h 433169"/>
                    <a:gd name="connsiteX185" fmla="*/ 1557986 w 2283508"/>
                    <a:gd name="connsiteY185" fmla="*/ 382528 h 433169"/>
                    <a:gd name="connsiteX186" fmla="*/ 1537720 w 2283508"/>
                    <a:gd name="connsiteY186" fmla="*/ 388632 h 433169"/>
                    <a:gd name="connsiteX187" fmla="*/ 1515158 w 2283508"/>
                    <a:gd name="connsiteY187" fmla="*/ 380623 h 433169"/>
                    <a:gd name="connsiteX188" fmla="*/ 1506856 w 2283508"/>
                    <a:gd name="connsiteY188" fmla="*/ 360406 h 433169"/>
                    <a:gd name="connsiteX189" fmla="*/ 1541530 w 2283508"/>
                    <a:gd name="connsiteY189" fmla="*/ 328761 h 433169"/>
                    <a:gd name="connsiteX190" fmla="*/ 1572294 w 2283508"/>
                    <a:gd name="connsiteY190" fmla="*/ 324171 h 433169"/>
                    <a:gd name="connsiteX191" fmla="*/ 1548074 w 2283508"/>
                    <a:gd name="connsiteY191" fmla="*/ 291940 h 433169"/>
                    <a:gd name="connsiteX192" fmla="*/ 1515940 w 2283508"/>
                    <a:gd name="connsiteY192" fmla="*/ 305223 h 433169"/>
                    <a:gd name="connsiteX193" fmla="*/ 1515940 w 2283508"/>
                    <a:gd name="connsiteY193" fmla="*/ 294382 h 433169"/>
                    <a:gd name="connsiteX194" fmla="*/ 1531030 w 2283508"/>
                    <a:gd name="connsiteY194" fmla="*/ 286861 h 433169"/>
                    <a:gd name="connsiteX195" fmla="*/ 1548952 w 2283508"/>
                    <a:gd name="connsiteY195" fmla="*/ 283736 h 433169"/>
                    <a:gd name="connsiteX196" fmla="*/ 1196526 w 2283508"/>
                    <a:gd name="connsiteY196" fmla="*/ 283736 h 433169"/>
                    <a:gd name="connsiteX197" fmla="*/ 1220406 w 2283508"/>
                    <a:gd name="connsiteY197" fmla="*/ 293308 h 433169"/>
                    <a:gd name="connsiteX198" fmla="*/ 1228856 w 2283508"/>
                    <a:gd name="connsiteY198" fmla="*/ 321143 h 433169"/>
                    <a:gd name="connsiteX199" fmla="*/ 1228856 w 2283508"/>
                    <a:gd name="connsiteY199" fmla="*/ 386190 h 433169"/>
                    <a:gd name="connsiteX200" fmla="*/ 1219870 w 2283508"/>
                    <a:gd name="connsiteY200" fmla="*/ 386190 h 433169"/>
                    <a:gd name="connsiteX201" fmla="*/ 1219870 w 2283508"/>
                    <a:gd name="connsiteY201" fmla="*/ 366168 h 433169"/>
                    <a:gd name="connsiteX202" fmla="*/ 1219478 w 2283508"/>
                    <a:gd name="connsiteY202" fmla="*/ 366168 h 433169"/>
                    <a:gd name="connsiteX203" fmla="*/ 1205562 w 2283508"/>
                    <a:gd name="connsiteY203" fmla="*/ 382528 h 433169"/>
                    <a:gd name="connsiteX204" fmla="*/ 1185294 w 2283508"/>
                    <a:gd name="connsiteY204" fmla="*/ 388632 h 433169"/>
                    <a:gd name="connsiteX205" fmla="*/ 1162734 w 2283508"/>
                    <a:gd name="connsiteY205" fmla="*/ 380623 h 433169"/>
                    <a:gd name="connsiteX206" fmla="*/ 1154432 w 2283508"/>
                    <a:gd name="connsiteY206" fmla="*/ 360406 h 433169"/>
                    <a:gd name="connsiteX207" fmla="*/ 1189104 w 2283508"/>
                    <a:gd name="connsiteY207" fmla="*/ 328761 h 433169"/>
                    <a:gd name="connsiteX208" fmla="*/ 1219870 w 2283508"/>
                    <a:gd name="connsiteY208" fmla="*/ 324171 h 433169"/>
                    <a:gd name="connsiteX209" fmla="*/ 1195648 w 2283508"/>
                    <a:gd name="connsiteY209" fmla="*/ 291940 h 433169"/>
                    <a:gd name="connsiteX210" fmla="*/ 1163514 w 2283508"/>
                    <a:gd name="connsiteY210" fmla="*/ 305223 h 433169"/>
                    <a:gd name="connsiteX211" fmla="*/ 1163514 w 2283508"/>
                    <a:gd name="connsiteY211" fmla="*/ 294382 h 433169"/>
                    <a:gd name="connsiteX212" fmla="*/ 1178604 w 2283508"/>
                    <a:gd name="connsiteY212" fmla="*/ 286861 h 433169"/>
                    <a:gd name="connsiteX213" fmla="*/ 1196526 w 2283508"/>
                    <a:gd name="connsiteY213" fmla="*/ 283736 h 433169"/>
                    <a:gd name="connsiteX214" fmla="*/ 1079246 w 2283508"/>
                    <a:gd name="connsiteY214" fmla="*/ 283736 h 433169"/>
                    <a:gd name="connsiteX215" fmla="*/ 1101416 w 2283508"/>
                    <a:gd name="connsiteY215" fmla="*/ 288424 h 433169"/>
                    <a:gd name="connsiteX216" fmla="*/ 1101416 w 2283508"/>
                    <a:gd name="connsiteY216" fmla="*/ 298582 h 433169"/>
                    <a:gd name="connsiteX217" fmla="*/ 1077878 w 2283508"/>
                    <a:gd name="connsiteY217" fmla="*/ 291940 h 433169"/>
                    <a:gd name="connsiteX218" fmla="*/ 1049360 w 2283508"/>
                    <a:gd name="connsiteY218" fmla="*/ 304588 h 433169"/>
                    <a:gd name="connsiteX219" fmla="*/ 1038420 w 2283508"/>
                    <a:gd name="connsiteY219" fmla="*/ 337356 h 433169"/>
                    <a:gd name="connsiteX220" fmla="*/ 1048432 w 2283508"/>
                    <a:gd name="connsiteY220" fmla="*/ 368610 h 433169"/>
                    <a:gd name="connsiteX221" fmla="*/ 1074850 w 2283508"/>
                    <a:gd name="connsiteY221" fmla="*/ 380428 h 433169"/>
                    <a:gd name="connsiteX222" fmla="*/ 1101026 w 2283508"/>
                    <a:gd name="connsiteY222" fmla="*/ 372419 h 433169"/>
                    <a:gd name="connsiteX223" fmla="*/ 1101026 w 2283508"/>
                    <a:gd name="connsiteY223" fmla="*/ 381795 h 433169"/>
                    <a:gd name="connsiteX224" fmla="*/ 1074460 w 2283508"/>
                    <a:gd name="connsiteY224" fmla="*/ 388632 h 433169"/>
                    <a:gd name="connsiteX225" fmla="*/ 1041546 w 2283508"/>
                    <a:gd name="connsiteY225" fmla="*/ 374617 h 433169"/>
                    <a:gd name="connsiteX226" fmla="*/ 1029044 w 2283508"/>
                    <a:gd name="connsiteY226" fmla="*/ 337942 h 433169"/>
                    <a:gd name="connsiteX227" fmla="*/ 1043108 w 2283508"/>
                    <a:gd name="connsiteY227" fmla="*/ 298923 h 433169"/>
                    <a:gd name="connsiteX228" fmla="*/ 1079246 w 2283508"/>
                    <a:gd name="connsiteY228" fmla="*/ 283736 h 433169"/>
                    <a:gd name="connsiteX229" fmla="*/ 902424 w 2283508"/>
                    <a:gd name="connsiteY229" fmla="*/ 283736 h 433169"/>
                    <a:gd name="connsiteX230" fmla="*/ 931040 w 2283508"/>
                    <a:gd name="connsiteY230" fmla="*/ 296824 h 433169"/>
                    <a:gd name="connsiteX231" fmla="*/ 941004 w 2283508"/>
                    <a:gd name="connsiteY231" fmla="*/ 332570 h 433169"/>
                    <a:gd name="connsiteX232" fmla="*/ 941004 w 2283508"/>
                    <a:gd name="connsiteY232" fmla="*/ 336575 h 433169"/>
                    <a:gd name="connsiteX233" fmla="*/ 866970 w 2283508"/>
                    <a:gd name="connsiteY233" fmla="*/ 336575 h 433169"/>
                    <a:gd name="connsiteX234" fmla="*/ 876494 w 2283508"/>
                    <a:gd name="connsiteY234" fmla="*/ 368805 h 433169"/>
                    <a:gd name="connsiteX235" fmla="*/ 902620 w 2283508"/>
                    <a:gd name="connsiteY235" fmla="*/ 380428 h 433169"/>
                    <a:gd name="connsiteX236" fmla="*/ 935436 w 2283508"/>
                    <a:gd name="connsiteY236" fmla="*/ 368024 h 433169"/>
                    <a:gd name="connsiteX237" fmla="*/ 935436 w 2283508"/>
                    <a:gd name="connsiteY237" fmla="*/ 377595 h 433169"/>
                    <a:gd name="connsiteX238" fmla="*/ 900764 w 2283508"/>
                    <a:gd name="connsiteY238" fmla="*/ 388632 h 433169"/>
                    <a:gd name="connsiteX239" fmla="*/ 869510 w 2283508"/>
                    <a:gd name="connsiteY239" fmla="*/ 374763 h 433169"/>
                    <a:gd name="connsiteX240" fmla="*/ 857594 w 2283508"/>
                    <a:gd name="connsiteY240" fmla="*/ 335598 h 433169"/>
                    <a:gd name="connsiteX241" fmla="*/ 870046 w 2283508"/>
                    <a:gd name="connsiteY241" fmla="*/ 298728 h 433169"/>
                    <a:gd name="connsiteX242" fmla="*/ 902424 w 2283508"/>
                    <a:gd name="connsiteY242" fmla="*/ 283736 h 433169"/>
                    <a:gd name="connsiteX243" fmla="*/ 742844 w 2283508"/>
                    <a:gd name="connsiteY243" fmla="*/ 283736 h 433169"/>
                    <a:gd name="connsiteX244" fmla="*/ 761546 w 2283508"/>
                    <a:gd name="connsiteY244" fmla="*/ 290036 h 433169"/>
                    <a:gd name="connsiteX245" fmla="*/ 772046 w 2283508"/>
                    <a:gd name="connsiteY245" fmla="*/ 306590 h 433169"/>
                    <a:gd name="connsiteX246" fmla="*/ 785476 w 2283508"/>
                    <a:gd name="connsiteY246" fmla="*/ 289743 h 433169"/>
                    <a:gd name="connsiteX247" fmla="*/ 804472 w 2283508"/>
                    <a:gd name="connsiteY247" fmla="*/ 283736 h 433169"/>
                    <a:gd name="connsiteX248" fmla="*/ 837288 w 2283508"/>
                    <a:gd name="connsiteY248" fmla="*/ 324366 h 433169"/>
                    <a:gd name="connsiteX249" fmla="*/ 837288 w 2283508"/>
                    <a:gd name="connsiteY249" fmla="*/ 386190 h 433169"/>
                    <a:gd name="connsiteX250" fmla="*/ 828302 w 2283508"/>
                    <a:gd name="connsiteY250" fmla="*/ 386190 h 433169"/>
                    <a:gd name="connsiteX251" fmla="*/ 828302 w 2283508"/>
                    <a:gd name="connsiteY251" fmla="*/ 326026 h 433169"/>
                    <a:gd name="connsiteX252" fmla="*/ 822394 w 2283508"/>
                    <a:gd name="connsiteY252" fmla="*/ 299558 h 433169"/>
                    <a:gd name="connsiteX253" fmla="*/ 803690 w 2283508"/>
                    <a:gd name="connsiteY253" fmla="*/ 291940 h 433169"/>
                    <a:gd name="connsiteX254" fmla="*/ 783278 w 2283508"/>
                    <a:gd name="connsiteY254" fmla="*/ 302098 h 433169"/>
                    <a:gd name="connsiteX255" fmla="*/ 774682 w 2283508"/>
                    <a:gd name="connsiteY255" fmla="*/ 327589 h 433169"/>
                    <a:gd name="connsiteX256" fmla="*/ 774682 w 2283508"/>
                    <a:gd name="connsiteY256" fmla="*/ 386190 h 433169"/>
                    <a:gd name="connsiteX257" fmla="*/ 765698 w 2283508"/>
                    <a:gd name="connsiteY257" fmla="*/ 386190 h 433169"/>
                    <a:gd name="connsiteX258" fmla="*/ 765698 w 2283508"/>
                    <a:gd name="connsiteY258" fmla="*/ 325343 h 433169"/>
                    <a:gd name="connsiteX259" fmla="*/ 740304 w 2283508"/>
                    <a:gd name="connsiteY259" fmla="*/ 291940 h 433169"/>
                    <a:gd name="connsiteX260" fmla="*/ 719988 w 2283508"/>
                    <a:gd name="connsiteY260" fmla="*/ 302147 h 433169"/>
                    <a:gd name="connsiteX261" fmla="*/ 711882 w 2283508"/>
                    <a:gd name="connsiteY261" fmla="*/ 328566 h 433169"/>
                    <a:gd name="connsiteX262" fmla="*/ 711882 w 2283508"/>
                    <a:gd name="connsiteY262" fmla="*/ 386190 h 433169"/>
                    <a:gd name="connsiteX263" fmla="*/ 702896 w 2283508"/>
                    <a:gd name="connsiteY263" fmla="*/ 386190 h 433169"/>
                    <a:gd name="connsiteX264" fmla="*/ 702896 w 2283508"/>
                    <a:gd name="connsiteY264" fmla="*/ 286178 h 433169"/>
                    <a:gd name="connsiteX265" fmla="*/ 711882 w 2283508"/>
                    <a:gd name="connsiteY265" fmla="*/ 286178 h 433169"/>
                    <a:gd name="connsiteX266" fmla="*/ 711882 w 2283508"/>
                    <a:gd name="connsiteY266" fmla="*/ 302781 h 433169"/>
                    <a:gd name="connsiteX267" fmla="*/ 712272 w 2283508"/>
                    <a:gd name="connsiteY267" fmla="*/ 302781 h 433169"/>
                    <a:gd name="connsiteX268" fmla="*/ 742844 w 2283508"/>
                    <a:gd name="connsiteY268" fmla="*/ 283736 h 433169"/>
                    <a:gd name="connsiteX269" fmla="*/ 580918 w 2283508"/>
                    <a:gd name="connsiteY269" fmla="*/ 283736 h 433169"/>
                    <a:gd name="connsiteX270" fmla="*/ 599622 w 2283508"/>
                    <a:gd name="connsiteY270" fmla="*/ 290036 h 433169"/>
                    <a:gd name="connsiteX271" fmla="*/ 610120 w 2283508"/>
                    <a:gd name="connsiteY271" fmla="*/ 306590 h 433169"/>
                    <a:gd name="connsiteX272" fmla="*/ 623550 w 2283508"/>
                    <a:gd name="connsiteY272" fmla="*/ 289743 h 433169"/>
                    <a:gd name="connsiteX273" fmla="*/ 642546 w 2283508"/>
                    <a:gd name="connsiteY273" fmla="*/ 283736 h 433169"/>
                    <a:gd name="connsiteX274" fmla="*/ 675364 w 2283508"/>
                    <a:gd name="connsiteY274" fmla="*/ 324366 h 433169"/>
                    <a:gd name="connsiteX275" fmla="*/ 675364 w 2283508"/>
                    <a:gd name="connsiteY275" fmla="*/ 386190 h 433169"/>
                    <a:gd name="connsiteX276" fmla="*/ 666378 w 2283508"/>
                    <a:gd name="connsiteY276" fmla="*/ 386190 h 433169"/>
                    <a:gd name="connsiteX277" fmla="*/ 666378 w 2283508"/>
                    <a:gd name="connsiteY277" fmla="*/ 326026 h 433169"/>
                    <a:gd name="connsiteX278" fmla="*/ 660470 w 2283508"/>
                    <a:gd name="connsiteY278" fmla="*/ 299558 h 433169"/>
                    <a:gd name="connsiteX279" fmla="*/ 641766 w 2283508"/>
                    <a:gd name="connsiteY279" fmla="*/ 291940 h 433169"/>
                    <a:gd name="connsiteX280" fmla="*/ 621352 w 2283508"/>
                    <a:gd name="connsiteY280" fmla="*/ 302098 h 433169"/>
                    <a:gd name="connsiteX281" fmla="*/ 612758 w 2283508"/>
                    <a:gd name="connsiteY281" fmla="*/ 327589 h 433169"/>
                    <a:gd name="connsiteX282" fmla="*/ 612758 w 2283508"/>
                    <a:gd name="connsiteY282" fmla="*/ 386190 h 433169"/>
                    <a:gd name="connsiteX283" fmla="*/ 603772 w 2283508"/>
                    <a:gd name="connsiteY283" fmla="*/ 386190 h 433169"/>
                    <a:gd name="connsiteX284" fmla="*/ 603772 w 2283508"/>
                    <a:gd name="connsiteY284" fmla="*/ 325343 h 433169"/>
                    <a:gd name="connsiteX285" fmla="*/ 578378 w 2283508"/>
                    <a:gd name="connsiteY285" fmla="*/ 291940 h 433169"/>
                    <a:gd name="connsiteX286" fmla="*/ 558064 w 2283508"/>
                    <a:gd name="connsiteY286" fmla="*/ 302147 h 433169"/>
                    <a:gd name="connsiteX287" fmla="*/ 549958 w 2283508"/>
                    <a:gd name="connsiteY287" fmla="*/ 328566 h 433169"/>
                    <a:gd name="connsiteX288" fmla="*/ 549958 w 2283508"/>
                    <a:gd name="connsiteY288" fmla="*/ 386190 h 433169"/>
                    <a:gd name="connsiteX289" fmla="*/ 540972 w 2283508"/>
                    <a:gd name="connsiteY289" fmla="*/ 386190 h 433169"/>
                    <a:gd name="connsiteX290" fmla="*/ 540972 w 2283508"/>
                    <a:gd name="connsiteY290" fmla="*/ 286178 h 433169"/>
                    <a:gd name="connsiteX291" fmla="*/ 549958 w 2283508"/>
                    <a:gd name="connsiteY291" fmla="*/ 286178 h 433169"/>
                    <a:gd name="connsiteX292" fmla="*/ 549958 w 2283508"/>
                    <a:gd name="connsiteY292" fmla="*/ 302781 h 433169"/>
                    <a:gd name="connsiteX293" fmla="*/ 550348 w 2283508"/>
                    <a:gd name="connsiteY293" fmla="*/ 302781 h 433169"/>
                    <a:gd name="connsiteX294" fmla="*/ 580918 w 2283508"/>
                    <a:gd name="connsiteY294" fmla="*/ 283736 h 433169"/>
                    <a:gd name="connsiteX295" fmla="*/ 467888 w 2283508"/>
                    <a:gd name="connsiteY295" fmla="*/ 283736 h 433169"/>
                    <a:gd name="connsiteX296" fmla="*/ 501682 w 2283508"/>
                    <a:gd name="connsiteY296" fmla="*/ 297703 h 433169"/>
                    <a:gd name="connsiteX297" fmla="*/ 514086 w 2283508"/>
                    <a:gd name="connsiteY297" fmla="*/ 336379 h 433169"/>
                    <a:gd name="connsiteX298" fmla="*/ 501436 w 2283508"/>
                    <a:gd name="connsiteY298" fmla="*/ 374177 h 433169"/>
                    <a:gd name="connsiteX299" fmla="*/ 466814 w 2283508"/>
                    <a:gd name="connsiteY299" fmla="*/ 388632 h 433169"/>
                    <a:gd name="connsiteX300" fmla="*/ 432190 w 2283508"/>
                    <a:gd name="connsiteY300" fmla="*/ 374226 h 433169"/>
                    <a:gd name="connsiteX301" fmla="*/ 419444 w 2283508"/>
                    <a:gd name="connsiteY301" fmla="*/ 336770 h 433169"/>
                    <a:gd name="connsiteX302" fmla="*/ 432776 w 2283508"/>
                    <a:gd name="connsiteY302" fmla="*/ 297800 h 433169"/>
                    <a:gd name="connsiteX303" fmla="*/ 467888 w 2283508"/>
                    <a:gd name="connsiteY303" fmla="*/ 283736 h 433169"/>
                    <a:gd name="connsiteX304" fmla="*/ 383920 w 2283508"/>
                    <a:gd name="connsiteY304" fmla="*/ 283736 h 433169"/>
                    <a:gd name="connsiteX305" fmla="*/ 406092 w 2283508"/>
                    <a:gd name="connsiteY305" fmla="*/ 288424 h 433169"/>
                    <a:gd name="connsiteX306" fmla="*/ 406092 w 2283508"/>
                    <a:gd name="connsiteY306" fmla="*/ 298582 h 433169"/>
                    <a:gd name="connsiteX307" fmla="*/ 382554 w 2283508"/>
                    <a:gd name="connsiteY307" fmla="*/ 291940 h 433169"/>
                    <a:gd name="connsiteX308" fmla="*/ 354034 w 2283508"/>
                    <a:gd name="connsiteY308" fmla="*/ 304588 h 433169"/>
                    <a:gd name="connsiteX309" fmla="*/ 343096 w 2283508"/>
                    <a:gd name="connsiteY309" fmla="*/ 337356 h 433169"/>
                    <a:gd name="connsiteX310" fmla="*/ 353106 w 2283508"/>
                    <a:gd name="connsiteY310" fmla="*/ 368610 h 433169"/>
                    <a:gd name="connsiteX311" fmla="*/ 379526 w 2283508"/>
                    <a:gd name="connsiteY311" fmla="*/ 380428 h 433169"/>
                    <a:gd name="connsiteX312" fmla="*/ 405700 w 2283508"/>
                    <a:gd name="connsiteY312" fmla="*/ 372419 h 433169"/>
                    <a:gd name="connsiteX313" fmla="*/ 405700 w 2283508"/>
                    <a:gd name="connsiteY313" fmla="*/ 381795 h 433169"/>
                    <a:gd name="connsiteX314" fmla="*/ 379136 w 2283508"/>
                    <a:gd name="connsiteY314" fmla="*/ 388632 h 433169"/>
                    <a:gd name="connsiteX315" fmla="*/ 346220 w 2283508"/>
                    <a:gd name="connsiteY315" fmla="*/ 374617 h 433169"/>
                    <a:gd name="connsiteX316" fmla="*/ 333720 w 2283508"/>
                    <a:gd name="connsiteY316" fmla="*/ 337942 h 433169"/>
                    <a:gd name="connsiteX317" fmla="*/ 347784 w 2283508"/>
                    <a:gd name="connsiteY317" fmla="*/ 298923 h 433169"/>
                    <a:gd name="connsiteX318" fmla="*/ 383920 w 2283508"/>
                    <a:gd name="connsiteY318" fmla="*/ 283736 h 433169"/>
                    <a:gd name="connsiteX319" fmla="*/ 216624 w 2283508"/>
                    <a:gd name="connsiteY319" fmla="*/ 283736 h 433169"/>
                    <a:gd name="connsiteX320" fmla="*/ 245240 w 2283508"/>
                    <a:gd name="connsiteY320" fmla="*/ 296824 h 433169"/>
                    <a:gd name="connsiteX321" fmla="*/ 255204 w 2283508"/>
                    <a:gd name="connsiteY321" fmla="*/ 332570 h 433169"/>
                    <a:gd name="connsiteX322" fmla="*/ 255204 w 2283508"/>
                    <a:gd name="connsiteY322" fmla="*/ 336575 h 433169"/>
                    <a:gd name="connsiteX323" fmla="*/ 181170 w 2283508"/>
                    <a:gd name="connsiteY323" fmla="*/ 336575 h 433169"/>
                    <a:gd name="connsiteX324" fmla="*/ 190694 w 2283508"/>
                    <a:gd name="connsiteY324" fmla="*/ 368805 h 433169"/>
                    <a:gd name="connsiteX325" fmla="*/ 216820 w 2283508"/>
                    <a:gd name="connsiteY325" fmla="*/ 380428 h 433169"/>
                    <a:gd name="connsiteX326" fmla="*/ 249636 w 2283508"/>
                    <a:gd name="connsiteY326" fmla="*/ 368024 h 433169"/>
                    <a:gd name="connsiteX327" fmla="*/ 249636 w 2283508"/>
                    <a:gd name="connsiteY327" fmla="*/ 377595 h 433169"/>
                    <a:gd name="connsiteX328" fmla="*/ 214964 w 2283508"/>
                    <a:gd name="connsiteY328" fmla="*/ 388632 h 433169"/>
                    <a:gd name="connsiteX329" fmla="*/ 183710 w 2283508"/>
                    <a:gd name="connsiteY329" fmla="*/ 374763 h 433169"/>
                    <a:gd name="connsiteX330" fmla="*/ 171794 w 2283508"/>
                    <a:gd name="connsiteY330" fmla="*/ 335598 h 433169"/>
                    <a:gd name="connsiteX331" fmla="*/ 184246 w 2283508"/>
                    <a:gd name="connsiteY331" fmla="*/ 298728 h 433169"/>
                    <a:gd name="connsiteX332" fmla="*/ 216624 w 2283508"/>
                    <a:gd name="connsiteY332" fmla="*/ 283736 h 433169"/>
                    <a:gd name="connsiteX333" fmla="*/ 1802666 w 2283508"/>
                    <a:gd name="connsiteY333" fmla="*/ 246134 h 433169"/>
                    <a:gd name="connsiteX334" fmla="*/ 1807990 w 2283508"/>
                    <a:gd name="connsiteY334" fmla="*/ 248087 h 433169"/>
                    <a:gd name="connsiteX335" fmla="*/ 1810284 w 2283508"/>
                    <a:gd name="connsiteY335" fmla="*/ 253361 h 433169"/>
                    <a:gd name="connsiteX336" fmla="*/ 1808038 w 2283508"/>
                    <a:gd name="connsiteY336" fmla="*/ 258733 h 433169"/>
                    <a:gd name="connsiteX337" fmla="*/ 1802666 w 2283508"/>
                    <a:gd name="connsiteY337" fmla="*/ 260979 h 433169"/>
                    <a:gd name="connsiteX338" fmla="*/ 1797490 w 2283508"/>
                    <a:gd name="connsiteY338" fmla="*/ 258831 h 433169"/>
                    <a:gd name="connsiteX339" fmla="*/ 1795244 w 2283508"/>
                    <a:gd name="connsiteY339" fmla="*/ 253361 h 433169"/>
                    <a:gd name="connsiteX340" fmla="*/ 1797538 w 2283508"/>
                    <a:gd name="connsiteY340" fmla="*/ 248136 h 433169"/>
                    <a:gd name="connsiteX341" fmla="*/ 1802666 w 2283508"/>
                    <a:gd name="connsiteY341" fmla="*/ 246134 h 433169"/>
                    <a:gd name="connsiteX342" fmla="*/ 1126392 w 2283508"/>
                    <a:gd name="connsiteY342" fmla="*/ 246134 h 433169"/>
                    <a:gd name="connsiteX343" fmla="*/ 1131714 w 2283508"/>
                    <a:gd name="connsiteY343" fmla="*/ 248087 h 433169"/>
                    <a:gd name="connsiteX344" fmla="*/ 1134010 w 2283508"/>
                    <a:gd name="connsiteY344" fmla="*/ 253361 h 433169"/>
                    <a:gd name="connsiteX345" fmla="*/ 1131764 w 2283508"/>
                    <a:gd name="connsiteY345" fmla="*/ 258733 h 433169"/>
                    <a:gd name="connsiteX346" fmla="*/ 1126392 w 2283508"/>
                    <a:gd name="connsiteY346" fmla="*/ 260979 h 433169"/>
                    <a:gd name="connsiteX347" fmla="*/ 1121216 w 2283508"/>
                    <a:gd name="connsiteY347" fmla="*/ 258831 h 433169"/>
                    <a:gd name="connsiteX348" fmla="*/ 1118970 w 2283508"/>
                    <a:gd name="connsiteY348" fmla="*/ 253361 h 433169"/>
                    <a:gd name="connsiteX349" fmla="*/ 1121264 w 2283508"/>
                    <a:gd name="connsiteY349" fmla="*/ 248136 h 433169"/>
                    <a:gd name="connsiteX350" fmla="*/ 1126392 w 2283508"/>
                    <a:gd name="connsiteY350" fmla="*/ 246134 h 433169"/>
                    <a:gd name="connsiteX351" fmla="*/ 2084022 w 2283508"/>
                    <a:gd name="connsiteY351" fmla="*/ 238125 h 433169"/>
                    <a:gd name="connsiteX352" fmla="*/ 2093006 w 2283508"/>
                    <a:gd name="connsiteY352" fmla="*/ 238125 h 433169"/>
                    <a:gd name="connsiteX353" fmla="*/ 2093006 w 2283508"/>
                    <a:gd name="connsiteY353" fmla="*/ 386190 h 433169"/>
                    <a:gd name="connsiteX354" fmla="*/ 2084022 w 2283508"/>
                    <a:gd name="connsiteY354" fmla="*/ 386190 h 433169"/>
                    <a:gd name="connsiteX355" fmla="*/ 1969722 w 2283508"/>
                    <a:gd name="connsiteY355" fmla="*/ 238125 h 433169"/>
                    <a:gd name="connsiteX356" fmla="*/ 1978706 w 2283508"/>
                    <a:gd name="connsiteY356" fmla="*/ 238125 h 433169"/>
                    <a:gd name="connsiteX357" fmla="*/ 1978706 w 2283508"/>
                    <a:gd name="connsiteY357" fmla="*/ 306786 h 433169"/>
                    <a:gd name="connsiteX358" fmla="*/ 1979098 w 2283508"/>
                    <a:gd name="connsiteY358" fmla="*/ 306786 h 433169"/>
                    <a:gd name="connsiteX359" fmla="*/ 1994480 w 2283508"/>
                    <a:gd name="connsiteY359" fmla="*/ 289743 h 433169"/>
                    <a:gd name="connsiteX360" fmla="*/ 2016504 w 2283508"/>
                    <a:gd name="connsiteY360" fmla="*/ 283736 h 433169"/>
                    <a:gd name="connsiteX361" fmla="*/ 2046244 w 2283508"/>
                    <a:gd name="connsiteY361" fmla="*/ 296872 h 433169"/>
                    <a:gd name="connsiteX362" fmla="*/ 2056940 w 2283508"/>
                    <a:gd name="connsiteY362" fmla="*/ 332570 h 433169"/>
                    <a:gd name="connsiteX363" fmla="*/ 2044536 w 2283508"/>
                    <a:gd name="connsiteY363" fmla="*/ 373151 h 433169"/>
                    <a:gd name="connsiteX364" fmla="*/ 2012306 w 2283508"/>
                    <a:gd name="connsiteY364" fmla="*/ 388632 h 433169"/>
                    <a:gd name="connsiteX365" fmla="*/ 1979098 w 2283508"/>
                    <a:gd name="connsiteY365" fmla="*/ 368415 h 433169"/>
                    <a:gd name="connsiteX366" fmla="*/ 1978706 w 2283508"/>
                    <a:gd name="connsiteY366" fmla="*/ 368415 h 433169"/>
                    <a:gd name="connsiteX367" fmla="*/ 1978706 w 2283508"/>
                    <a:gd name="connsiteY367" fmla="*/ 386190 h 433169"/>
                    <a:gd name="connsiteX368" fmla="*/ 1969722 w 2283508"/>
                    <a:gd name="connsiteY368" fmla="*/ 386190 h 433169"/>
                    <a:gd name="connsiteX369" fmla="*/ 1836372 w 2283508"/>
                    <a:gd name="connsiteY369" fmla="*/ 238125 h 433169"/>
                    <a:gd name="connsiteX370" fmla="*/ 1845358 w 2283508"/>
                    <a:gd name="connsiteY370" fmla="*/ 238125 h 433169"/>
                    <a:gd name="connsiteX371" fmla="*/ 1845358 w 2283508"/>
                    <a:gd name="connsiteY371" fmla="*/ 386190 h 433169"/>
                    <a:gd name="connsiteX372" fmla="*/ 1836372 w 2283508"/>
                    <a:gd name="connsiteY372" fmla="*/ 386190 h 433169"/>
                    <a:gd name="connsiteX373" fmla="*/ 1293446 w 2283508"/>
                    <a:gd name="connsiteY373" fmla="*/ 238125 h 433169"/>
                    <a:gd name="connsiteX374" fmla="*/ 1302432 w 2283508"/>
                    <a:gd name="connsiteY374" fmla="*/ 238125 h 433169"/>
                    <a:gd name="connsiteX375" fmla="*/ 1302432 w 2283508"/>
                    <a:gd name="connsiteY375" fmla="*/ 386190 h 433169"/>
                    <a:gd name="connsiteX376" fmla="*/ 1293446 w 2283508"/>
                    <a:gd name="connsiteY376" fmla="*/ 386190 h 433169"/>
                    <a:gd name="connsiteX377" fmla="*/ 1255346 w 2283508"/>
                    <a:gd name="connsiteY377" fmla="*/ 238125 h 433169"/>
                    <a:gd name="connsiteX378" fmla="*/ 1264332 w 2283508"/>
                    <a:gd name="connsiteY378" fmla="*/ 238125 h 433169"/>
                    <a:gd name="connsiteX379" fmla="*/ 1264332 w 2283508"/>
                    <a:gd name="connsiteY379" fmla="*/ 386190 h 433169"/>
                    <a:gd name="connsiteX380" fmla="*/ 1255346 w 2283508"/>
                    <a:gd name="connsiteY380" fmla="*/ 386190 h 433169"/>
                    <a:gd name="connsiteX381" fmla="*/ 69744 w 2283508"/>
                    <a:gd name="connsiteY381" fmla="*/ 232960 h 433169"/>
                    <a:gd name="connsiteX382" fmla="*/ 78728 w 2283508"/>
                    <a:gd name="connsiteY382" fmla="*/ 232960 h 433169"/>
                    <a:gd name="connsiteX383" fmla="*/ 78728 w 2283508"/>
                    <a:gd name="connsiteY383" fmla="*/ 301621 h 433169"/>
                    <a:gd name="connsiteX384" fmla="*/ 79120 w 2283508"/>
                    <a:gd name="connsiteY384" fmla="*/ 301621 h 433169"/>
                    <a:gd name="connsiteX385" fmla="*/ 94502 w 2283508"/>
                    <a:gd name="connsiteY385" fmla="*/ 284578 h 433169"/>
                    <a:gd name="connsiteX386" fmla="*/ 116526 w 2283508"/>
                    <a:gd name="connsiteY386" fmla="*/ 278571 h 433169"/>
                    <a:gd name="connsiteX387" fmla="*/ 146266 w 2283508"/>
                    <a:gd name="connsiteY387" fmla="*/ 291707 h 433169"/>
                    <a:gd name="connsiteX388" fmla="*/ 156962 w 2283508"/>
                    <a:gd name="connsiteY388" fmla="*/ 327405 h 433169"/>
                    <a:gd name="connsiteX389" fmla="*/ 144558 w 2283508"/>
                    <a:gd name="connsiteY389" fmla="*/ 367986 h 433169"/>
                    <a:gd name="connsiteX390" fmla="*/ 112328 w 2283508"/>
                    <a:gd name="connsiteY390" fmla="*/ 383467 h 433169"/>
                    <a:gd name="connsiteX391" fmla="*/ 79120 w 2283508"/>
                    <a:gd name="connsiteY391" fmla="*/ 363250 h 433169"/>
                    <a:gd name="connsiteX392" fmla="*/ 78728 w 2283508"/>
                    <a:gd name="connsiteY392" fmla="*/ 363250 h 433169"/>
                    <a:gd name="connsiteX393" fmla="*/ 78728 w 2283508"/>
                    <a:gd name="connsiteY393" fmla="*/ 381025 h 433169"/>
                    <a:gd name="connsiteX394" fmla="*/ 69744 w 2283508"/>
                    <a:gd name="connsiteY394" fmla="*/ 381025 h 433169"/>
                    <a:gd name="connsiteX395" fmla="*/ 676944 w 2283508"/>
                    <a:gd name="connsiteY395" fmla="*/ 94250 h 433169"/>
                    <a:gd name="connsiteX396" fmla="*/ 649402 w 2283508"/>
                    <a:gd name="connsiteY396" fmla="*/ 98254 h 433169"/>
                    <a:gd name="connsiteX397" fmla="*/ 627330 w 2283508"/>
                    <a:gd name="connsiteY397" fmla="*/ 105531 h 433169"/>
                    <a:gd name="connsiteX398" fmla="*/ 620980 w 2283508"/>
                    <a:gd name="connsiteY398" fmla="*/ 121890 h 433169"/>
                    <a:gd name="connsiteX399" fmla="*/ 626890 w 2283508"/>
                    <a:gd name="connsiteY399" fmla="*/ 136540 h 433169"/>
                    <a:gd name="connsiteX400" fmla="*/ 643346 w 2283508"/>
                    <a:gd name="connsiteY400" fmla="*/ 142303 h 433169"/>
                    <a:gd name="connsiteX401" fmla="*/ 667374 w 2283508"/>
                    <a:gd name="connsiteY401" fmla="*/ 131608 h 433169"/>
                    <a:gd name="connsiteX402" fmla="*/ 676944 w 2283508"/>
                    <a:gd name="connsiteY402" fmla="*/ 104017 h 433169"/>
                    <a:gd name="connsiteX403" fmla="*/ 419770 w 2283508"/>
                    <a:gd name="connsiteY403" fmla="*/ 94250 h 433169"/>
                    <a:gd name="connsiteX404" fmla="*/ 392228 w 2283508"/>
                    <a:gd name="connsiteY404" fmla="*/ 98254 h 433169"/>
                    <a:gd name="connsiteX405" fmla="*/ 370154 w 2283508"/>
                    <a:gd name="connsiteY405" fmla="*/ 105531 h 433169"/>
                    <a:gd name="connsiteX406" fmla="*/ 363806 w 2283508"/>
                    <a:gd name="connsiteY406" fmla="*/ 121890 h 433169"/>
                    <a:gd name="connsiteX407" fmla="*/ 369714 w 2283508"/>
                    <a:gd name="connsiteY407" fmla="*/ 136540 h 433169"/>
                    <a:gd name="connsiteX408" fmla="*/ 386172 w 2283508"/>
                    <a:gd name="connsiteY408" fmla="*/ 142303 h 433169"/>
                    <a:gd name="connsiteX409" fmla="*/ 410198 w 2283508"/>
                    <a:gd name="connsiteY409" fmla="*/ 131608 h 433169"/>
                    <a:gd name="connsiteX410" fmla="*/ 419770 w 2283508"/>
                    <a:gd name="connsiteY410" fmla="*/ 104017 h 433169"/>
                    <a:gd name="connsiteX411" fmla="*/ 1854534 w 2283508"/>
                    <a:gd name="connsiteY411" fmla="*/ 53815 h 433169"/>
                    <a:gd name="connsiteX412" fmla="*/ 1831240 w 2283508"/>
                    <a:gd name="connsiteY412" fmla="*/ 63240 h 433169"/>
                    <a:gd name="connsiteX413" fmla="*/ 1819862 w 2283508"/>
                    <a:gd name="connsiteY413" fmla="*/ 90246 h 433169"/>
                    <a:gd name="connsiteX414" fmla="*/ 1884126 w 2283508"/>
                    <a:gd name="connsiteY414" fmla="*/ 90246 h 433169"/>
                    <a:gd name="connsiteX415" fmla="*/ 1875826 w 2283508"/>
                    <a:gd name="connsiteY415" fmla="*/ 63387 h 433169"/>
                    <a:gd name="connsiteX416" fmla="*/ 1854534 w 2283508"/>
                    <a:gd name="connsiteY416" fmla="*/ 53815 h 433169"/>
                    <a:gd name="connsiteX417" fmla="*/ 1639072 w 2283508"/>
                    <a:gd name="connsiteY417" fmla="*/ 53815 h 433169"/>
                    <a:gd name="connsiteX418" fmla="*/ 1610894 w 2283508"/>
                    <a:gd name="connsiteY418" fmla="*/ 65731 h 433169"/>
                    <a:gd name="connsiteX419" fmla="*/ 1600396 w 2283508"/>
                    <a:gd name="connsiteY419" fmla="*/ 98840 h 433169"/>
                    <a:gd name="connsiteX420" fmla="*/ 1610650 w 2283508"/>
                    <a:gd name="connsiteY420" fmla="*/ 130387 h 433169"/>
                    <a:gd name="connsiteX421" fmla="*/ 1638682 w 2283508"/>
                    <a:gd name="connsiteY421" fmla="*/ 142303 h 433169"/>
                    <a:gd name="connsiteX422" fmla="*/ 1666516 w 2283508"/>
                    <a:gd name="connsiteY422" fmla="*/ 130583 h 433169"/>
                    <a:gd name="connsiteX423" fmla="*/ 1676284 w 2283508"/>
                    <a:gd name="connsiteY423" fmla="*/ 98059 h 433169"/>
                    <a:gd name="connsiteX424" fmla="*/ 1666566 w 2283508"/>
                    <a:gd name="connsiteY424" fmla="*/ 65242 h 433169"/>
                    <a:gd name="connsiteX425" fmla="*/ 1639072 w 2283508"/>
                    <a:gd name="connsiteY425" fmla="*/ 53815 h 433169"/>
                    <a:gd name="connsiteX426" fmla="*/ 1424782 w 2283508"/>
                    <a:gd name="connsiteY426" fmla="*/ 53815 h 433169"/>
                    <a:gd name="connsiteX427" fmla="*/ 1397728 w 2283508"/>
                    <a:gd name="connsiteY427" fmla="*/ 65535 h 433169"/>
                    <a:gd name="connsiteX428" fmla="*/ 1388158 w 2283508"/>
                    <a:gd name="connsiteY428" fmla="*/ 93078 h 433169"/>
                    <a:gd name="connsiteX429" fmla="*/ 1388158 w 2283508"/>
                    <a:gd name="connsiteY429" fmla="*/ 105677 h 433169"/>
                    <a:gd name="connsiteX430" fmla="*/ 1397630 w 2283508"/>
                    <a:gd name="connsiteY430" fmla="*/ 131510 h 433169"/>
                    <a:gd name="connsiteX431" fmla="*/ 1422536 w 2283508"/>
                    <a:gd name="connsiteY431" fmla="*/ 142303 h 433169"/>
                    <a:gd name="connsiteX432" fmla="*/ 1447442 w 2283508"/>
                    <a:gd name="connsiteY432" fmla="*/ 129166 h 433169"/>
                    <a:gd name="connsiteX433" fmla="*/ 1457014 w 2283508"/>
                    <a:gd name="connsiteY433" fmla="*/ 94641 h 433169"/>
                    <a:gd name="connsiteX434" fmla="*/ 1448224 w 2283508"/>
                    <a:gd name="connsiteY434" fmla="*/ 64852 h 433169"/>
                    <a:gd name="connsiteX435" fmla="*/ 1424782 w 2283508"/>
                    <a:gd name="connsiteY435" fmla="*/ 53815 h 433169"/>
                    <a:gd name="connsiteX436" fmla="*/ 1168734 w 2283508"/>
                    <a:gd name="connsiteY436" fmla="*/ 53815 h 433169"/>
                    <a:gd name="connsiteX437" fmla="*/ 1145440 w 2283508"/>
                    <a:gd name="connsiteY437" fmla="*/ 63240 h 433169"/>
                    <a:gd name="connsiteX438" fmla="*/ 1134062 w 2283508"/>
                    <a:gd name="connsiteY438" fmla="*/ 90246 h 433169"/>
                    <a:gd name="connsiteX439" fmla="*/ 1198326 w 2283508"/>
                    <a:gd name="connsiteY439" fmla="*/ 90246 h 433169"/>
                    <a:gd name="connsiteX440" fmla="*/ 1190026 w 2283508"/>
                    <a:gd name="connsiteY440" fmla="*/ 63387 h 433169"/>
                    <a:gd name="connsiteX441" fmla="*/ 1168734 w 2283508"/>
                    <a:gd name="connsiteY441" fmla="*/ 53815 h 433169"/>
                    <a:gd name="connsiteX442" fmla="*/ 902034 w 2283508"/>
                    <a:gd name="connsiteY442" fmla="*/ 53815 h 433169"/>
                    <a:gd name="connsiteX443" fmla="*/ 878740 w 2283508"/>
                    <a:gd name="connsiteY443" fmla="*/ 63240 h 433169"/>
                    <a:gd name="connsiteX444" fmla="*/ 867362 w 2283508"/>
                    <a:gd name="connsiteY444" fmla="*/ 90246 h 433169"/>
                    <a:gd name="connsiteX445" fmla="*/ 931626 w 2283508"/>
                    <a:gd name="connsiteY445" fmla="*/ 90246 h 433169"/>
                    <a:gd name="connsiteX446" fmla="*/ 923326 w 2283508"/>
                    <a:gd name="connsiteY446" fmla="*/ 63387 h 433169"/>
                    <a:gd name="connsiteX447" fmla="*/ 902034 w 2283508"/>
                    <a:gd name="connsiteY447" fmla="*/ 53815 h 433169"/>
                    <a:gd name="connsiteX448" fmla="*/ 758032 w 2283508"/>
                    <a:gd name="connsiteY448" fmla="*/ 53815 h 433169"/>
                    <a:gd name="connsiteX449" fmla="*/ 730978 w 2283508"/>
                    <a:gd name="connsiteY449" fmla="*/ 65535 h 433169"/>
                    <a:gd name="connsiteX450" fmla="*/ 721408 w 2283508"/>
                    <a:gd name="connsiteY450" fmla="*/ 93078 h 433169"/>
                    <a:gd name="connsiteX451" fmla="*/ 721408 w 2283508"/>
                    <a:gd name="connsiteY451" fmla="*/ 105677 h 433169"/>
                    <a:gd name="connsiteX452" fmla="*/ 730880 w 2283508"/>
                    <a:gd name="connsiteY452" fmla="*/ 131510 h 433169"/>
                    <a:gd name="connsiteX453" fmla="*/ 755786 w 2283508"/>
                    <a:gd name="connsiteY453" fmla="*/ 142303 h 433169"/>
                    <a:gd name="connsiteX454" fmla="*/ 780692 w 2283508"/>
                    <a:gd name="connsiteY454" fmla="*/ 129166 h 433169"/>
                    <a:gd name="connsiteX455" fmla="*/ 790264 w 2283508"/>
                    <a:gd name="connsiteY455" fmla="*/ 94641 h 433169"/>
                    <a:gd name="connsiteX456" fmla="*/ 781474 w 2283508"/>
                    <a:gd name="connsiteY456" fmla="*/ 64852 h 433169"/>
                    <a:gd name="connsiteX457" fmla="*/ 758032 w 2283508"/>
                    <a:gd name="connsiteY457" fmla="*/ 53815 h 433169"/>
                    <a:gd name="connsiteX458" fmla="*/ 253208 w 2283508"/>
                    <a:gd name="connsiteY458" fmla="*/ 53815 h 433169"/>
                    <a:gd name="connsiteX459" fmla="*/ 226154 w 2283508"/>
                    <a:gd name="connsiteY459" fmla="*/ 65535 h 433169"/>
                    <a:gd name="connsiteX460" fmla="*/ 216582 w 2283508"/>
                    <a:gd name="connsiteY460" fmla="*/ 93078 h 433169"/>
                    <a:gd name="connsiteX461" fmla="*/ 216582 w 2283508"/>
                    <a:gd name="connsiteY461" fmla="*/ 105677 h 433169"/>
                    <a:gd name="connsiteX462" fmla="*/ 226056 w 2283508"/>
                    <a:gd name="connsiteY462" fmla="*/ 131510 h 433169"/>
                    <a:gd name="connsiteX463" fmla="*/ 250962 w 2283508"/>
                    <a:gd name="connsiteY463" fmla="*/ 142303 h 433169"/>
                    <a:gd name="connsiteX464" fmla="*/ 275866 w 2283508"/>
                    <a:gd name="connsiteY464" fmla="*/ 129166 h 433169"/>
                    <a:gd name="connsiteX465" fmla="*/ 285438 w 2283508"/>
                    <a:gd name="connsiteY465" fmla="*/ 94641 h 433169"/>
                    <a:gd name="connsiteX466" fmla="*/ 276648 w 2283508"/>
                    <a:gd name="connsiteY466" fmla="*/ 64852 h 433169"/>
                    <a:gd name="connsiteX467" fmla="*/ 253208 w 2283508"/>
                    <a:gd name="connsiteY467" fmla="*/ 53815 h 433169"/>
                    <a:gd name="connsiteX468" fmla="*/ 2198322 w 2283508"/>
                    <a:gd name="connsiteY468" fmla="*/ 48053 h 433169"/>
                    <a:gd name="connsiteX469" fmla="*/ 2207306 w 2283508"/>
                    <a:gd name="connsiteY469" fmla="*/ 48053 h 433169"/>
                    <a:gd name="connsiteX470" fmla="*/ 2207306 w 2283508"/>
                    <a:gd name="connsiteY470" fmla="*/ 148065 h 433169"/>
                    <a:gd name="connsiteX471" fmla="*/ 2198322 w 2283508"/>
                    <a:gd name="connsiteY471" fmla="*/ 148065 h 433169"/>
                    <a:gd name="connsiteX472" fmla="*/ 2052568 w 2283508"/>
                    <a:gd name="connsiteY472" fmla="*/ 48053 h 433169"/>
                    <a:gd name="connsiteX473" fmla="*/ 2062530 w 2283508"/>
                    <a:gd name="connsiteY473" fmla="*/ 48053 h 433169"/>
                    <a:gd name="connsiteX474" fmla="*/ 2085774 w 2283508"/>
                    <a:gd name="connsiteY474" fmla="*/ 127848 h 433169"/>
                    <a:gd name="connsiteX475" fmla="*/ 2087142 w 2283508"/>
                    <a:gd name="connsiteY475" fmla="*/ 136247 h 433169"/>
                    <a:gd name="connsiteX476" fmla="*/ 2087924 w 2283508"/>
                    <a:gd name="connsiteY476" fmla="*/ 136247 h 433169"/>
                    <a:gd name="connsiteX477" fmla="*/ 2089780 w 2283508"/>
                    <a:gd name="connsiteY477" fmla="*/ 127848 h 433169"/>
                    <a:gd name="connsiteX478" fmla="*/ 2115174 w 2283508"/>
                    <a:gd name="connsiteY478" fmla="*/ 48053 h 433169"/>
                    <a:gd name="connsiteX479" fmla="*/ 2121326 w 2283508"/>
                    <a:gd name="connsiteY479" fmla="*/ 48053 h 433169"/>
                    <a:gd name="connsiteX480" fmla="*/ 2143986 w 2283508"/>
                    <a:gd name="connsiteY480" fmla="*/ 127848 h 433169"/>
                    <a:gd name="connsiteX481" fmla="*/ 2145352 w 2283508"/>
                    <a:gd name="connsiteY481" fmla="*/ 136247 h 433169"/>
                    <a:gd name="connsiteX482" fmla="*/ 2146134 w 2283508"/>
                    <a:gd name="connsiteY482" fmla="*/ 136247 h 433169"/>
                    <a:gd name="connsiteX483" fmla="*/ 2147794 w 2283508"/>
                    <a:gd name="connsiteY483" fmla="*/ 127848 h 433169"/>
                    <a:gd name="connsiteX484" fmla="*/ 2171528 w 2283508"/>
                    <a:gd name="connsiteY484" fmla="*/ 48053 h 433169"/>
                    <a:gd name="connsiteX485" fmla="*/ 2180806 w 2283508"/>
                    <a:gd name="connsiteY485" fmla="*/ 48053 h 433169"/>
                    <a:gd name="connsiteX486" fmla="*/ 2149748 w 2283508"/>
                    <a:gd name="connsiteY486" fmla="*/ 148065 h 433169"/>
                    <a:gd name="connsiteX487" fmla="*/ 2141348 w 2283508"/>
                    <a:gd name="connsiteY487" fmla="*/ 148065 h 433169"/>
                    <a:gd name="connsiteX488" fmla="*/ 2119568 w 2283508"/>
                    <a:gd name="connsiteY488" fmla="*/ 72665 h 433169"/>
                    <a:gd name="connsiteX489" fmla="*/ 2118006 w 2283508"/>
                    <a:gd name="connsiteY489" fmla="*/ 64266 h 433169"/>
                    <a:gd name="connsiteX490" fmla="*/ 2117518 w 2283508"/>
                    <a:gd name="connsiteY490" fmla="*/ 64266 h 433169"/>
                    <a:gd name="connsiteX491" fmla="*/ 2115564 w 2283508"/>
                    <a:gd name="connsiteY491" fmla="*/ 72470 h 433169"/>
                    <a:gd name="connsiteX492" fmla="*/ 2091146 w 2283508"/>
                    <a:gd name="connsiteY492" fmla="*/ 148065 h 433169"/>
                    <a:gd name="connsiteX493" fmla="*/ 2082748 w 2283508"/>
                    <a:gd name="connsiteY493" fmla="*/ 148065 h 433169"/>
                    <a:gd name="connsiteX494" fmla="*/ 1949638 w 2283508"/>
                    <a:gd name="connsiteY494" fmla="*/ 45611 h 433169"/>
                    <a:gd name="connsiteX495" fmla="*/ 1971712 w 2283508"/>
                    <a:gd name="connsiteY495" fmla="*/ 50885 h 433169"/>
                    <a:gd name="connsiteX496" fmla="*/ 1971712 w 2283508"/>
                    <a:gd name="connsiteY496" fmla="*/ 61043 h 433169"/>
                    <a:gd name="connsiteX497" fmla="*/ 1948662 w 2283508"/>
                    <a:gd name="connsiteY497" fmla="*/ 53815 h 433169"/>
                    <a:gd name="connsiteX498" fmla="*/ 1932742 w 2283508"/>
                    <a:gd name="connsiteY498" fmla="*/ 58943 h 433169"/>
                    <a:gd name="connsiteX499" fmla="*/ 1926686 w 2283508"/>
                    <a:gd name="connsiteY499" fmla="*/ 72275 h 433169"/>
                    <a:gd name="connsiteX500" fmla="*/ 1930496 w 2283508"/>
                    <a:gd name="connsiteY500" fmla="*/ 83848 h 433169"/>
                    <a:gd name="connsiteX501" fmla="*/ 1947294 w 2283508"/>
                    <a:gd name="connsiteY501" fmla="*/ 94055 h 433169"/>
                    <a:gd name="connsiteX502" fmla="*/ 1968782 w 2283508"/>
                    <a:gd name="connsiteY502" fmla="*/ 107093 h 433169"/>
                    <a:gd name="connsiteX503" fmla="*/ 1974642 w 2283508"/>
                    <a:gd name="connsiteY503" fmla="*/ 123062 h 433169"/>
                    <a:gd name="connsiteX504" fmla="*/ 1965706 w 2283508"/>
                    <a:gd name="connsiteY504" fmla="*/ 142742 h 433169"/>
                    <a:gd name="connsiteX505" fmla="*/ 1941044 w 2283508"/>
                    <a:gd name="connsiteY505" fmla="*/ 150507 h 433169"/>
                    <a:gd name="connsiteX506" fmla="*/ 1916920 w 2283508"/>
                    <a:gd name="connsiteY506" fmla="*/ 143670 h 433169"/>
                    <a:gd name="connsiteX507" fmla="*/ 1916920 w 2283508"/>
                    <a:gd name="connsiteY507" fmla="*/ 132829 h 433169"/>
                    <a:gd name="connsiteX508" fmla="*/ 1929226 w 2283508"/>
                    <a:gd name="connsiteY508" fmla="*/ 139763 h 433169"/>
                    <a:gd name="connsiteX509" fmla="*/ 1941728 w 2283508"/>
                    <a:gd name="connsiteY509" fmla="*/ 142303 h 433169"/>
                    <a:gd name="connsiteX510" fmla="*/ 1965266 w 2283508"/>
                    <a:gd name="connsiteY510" fmla="*/ 123062 h 433169"/>
                    <a:gd name="connsiteX511" fmla="*/ 1960090 w 2283508"/>
                    <a:gd name="connsiteY511" fmla="*/ 111733 h 433169"/>
                    <a:gd name="connsiteX512" fmla="*/ 1943290 w 2283508"/>
                    <a:gd name="connsiteY512" fmla="*/ 102063 h 433169"/>
                    <a:gd name="connsiteX513" fmla="*/ 1923122 w 2283508"/>
                    <a:gd name="connsiteY513" fmla="*/ 89122 h 433169"/>
                    <a:gd name="connsiteX514" fmla="*/ 1917310 w 2283508"/>
                    <a:gd name="connsiteY514" fmla="*/ 72861 h 433169"/>
                    <a:gd name="connsiteX515" fmla="*/ 1926638 w 2283508"/>
                    <a:gd name="connsiteY515" fmla="*/ 53132 h 433169"/>
                    <a:gd name="connsiteX516" fmla="*/ 1949638 w 2283508"/>
                    <a:gd name="connsiteY516" fmla="*/ 45611 h 433169"/>
                    <a:gd name="connsiteX517" fmla="*/ 1854924 w 2283508"/>
                    <a:gd name="connsiteY517" fmla="*/ 45611 h 433169"/>
                    <a:gd name="connsiteX518" fmla="*/ 1883540 w 2283508"/>
                    <a:gd name="connsiteY518" fmla="*/ 58699 h 433169"/>
                    <a:gd name="connsiteX519" fmla="*/ 1893502 w 2283508"/>
                    <a:gd name="connsiteY519" fmla="*/ 94445 h 433169"/>
                    <a:gd name="connsiteX520" fmla="*/ 1893502 w 2283508"/>
                    <a:gd name="connsiteY520" fmla="*/ 98450 h 433169"/>
                    <a:gd name="connsiteX521" fmla="*/ 1819470 w 2283508"/>
                    <a:gd name="connsiteY521" fmla="*/ 98450 h 433169"/>
                    <a:gd name="connsiteX522" fmla="*/ 1828994 w 2283508"/>
                    <a:gd name="connsiteY522" fmla="*/ 130680 h 433169"/>
                    <a:gd name="connsiteX523" fmla="*/ 1855120 w 2283508"/>
                    <a:gd name="connsiteY523" fmla="*/ 142303 h 433169"/>
                    <a:gd name="connsiteX524" fmla="*/ 1887936 w 2283508"/>
                    <a:gd name="connsiteY524" fmla="*/ 129899 h 433169"/>
                    <a:gd name="connsiteX525" fmla="*/ 1887936 w 2283508"/>
                    <a:gd name="connsiteY525" fmla="*/ 139470 h 433169"/>
                    <a:gd name="connsiteX526" fmla="*/ 1853264 w 2283508"/>
                    <a:gd name="connsiteY526" fmla="*/ 150507 h 433169"/>
                    <a:gd name="connsiteX527" fmla="*/ 1822010 w 2283508"/>
                    <a:gd name="connsiteY527" fmla="*/ 136638 h 433169"/>
                    <a:gd name="connsiteX528" fmla="*/ 1810094 w 2283508"/>
                    <a:gd name="connsiteY528" fmla="*/ 97473 h 433169"/>
                    <a:gd name="connsiteX529" fmla="*/ 1822546 w 2283508"/>
                    <a:gd name="connsiteY529" fmla="*/ 60603 h 433169"/>
                    <a:gd name="connsiteX530" fmla="*/ 1854924 w 2283508"/>
                    <a:gd name="connsiteY530" fmla="*/ 45611 h 433169"/>
                    <a:gd name="connsiteX531" fmla="*/ 1756106 w 2283508"/>
                    <a:gd name="connsiteY531" fmla="*/ 45611 h 433169"/>
                    <a:gd name="connsiteX532" fmla="*/ 1780914 w 2283508"/>
                    <a:gd name="connsiteY532" fmla="*/ 56403 h 433169"/>
                    <a:gd name="connsiteX533" fmla="*/ 1789510 w 2283508"/>
                    <a:gd name="connsiteY533" fmla="*/ 87218 h 433169"/>
                    <a:gd name="connsiteX534" fmla="*/ 1789510 w 2283508"/>
                    <a:gd name="connsiteY534" fmla="*/ 148065 h 433169"/>
                    <a:gd name="connsiteX535" fmla="*/ 1780524 w 2283508"/>
                    <a:gd name="connsiteY535" fmla="*/ 148065 h 433169"/>
                    <a:gd name="connsiteX536" fmla="*/ 1780524 w 2283508"/>
                    <a:gd name="connsiteY536" fmla="*/ 89855 h 433169"/>
                    <a:gd name="connsiteX537" fmla="*/ 1754544 w 2283508"/>
                    <a:gd name="connsiteY537" fmla="*/ 53815 h 433169"/>
                    <a:gd name="connsiteX538" fmla="*/ 1730810 w 2283508"/>
                    <a:gd name="connsiteY538" fmla="*/ 64412 h 433169"/>
                    <a:gd name="connsiteX539" fmla="*/ 1721532 w 2283508"/>
                    <a:gd name="connsiteY539" fmla="*/ 90636 h 433169"/>
                    <a:gd name="connsiteX540" fmla="*/ 1721532 w 2283508"/>
                    <a:gd name="connsiteY540" fmla="*/ 148065 h 433169"/>
                    <a:gd name="connsiteX541" fmla="*/ 1712546 w 2283508"/>
                    <a:gd name="connsiteY541" fmla="*/ 148065 h 433169"/>
                    <a:gd name="connsiteX542" fmla="*/ 1712546 w 2283508"/>
                    <a:gd name="connsiteY542" fmla="*/ 48053 h 433169"/>
                    <a:gd name="connsiteX543" fmla="*/ 1721532 w 2283508"/>
                    <a:gd name="connsiteY543" fmla="*/ 48053 h 433169"/>
                    <a:gd name="connsiteX544" fmla="*/ 1721532 w 2283508"/>
                    <a:gd name="connsiteY544" fmla="*/ 66219 h 433169"/>
                    <a:gd name="connsiteX545" fmla="*/ 1721922 w 2283508"/>
                    <a:gd name="connsiteY545" fmla="*/ 66219 h 433169"/>
                    <a:gd name="connsiteX546" fmla="*/ 1756106 w 2283508"/>
                    <a:gd name="connsiteY546" fmla="*/ 45611 h 433169"/>
                    <a:gd name="connsiteX547" fmla="*/ 1639462 w 2283508"/>
                    <a:gd name="connsiteY547" fmla="*/ 45611 h 433169"/>
                    <a:gd name="connsiteX548" fmla="*/ 1673256 w 2283508"/>
                    <a:gd name="connsiteY548" fmla="*/ 59578 h 433169"/>
                    <a:gd name="connsiteX549" fmla="*/ 1685660 w 2283508"/>
                    <a:gd name="connsiteY549" fmla="*/ 98254 h 433169"/>
                    <a:gd name="connsiteX550" fmla="*/ 1673012 w 2283508"/>
                    <a:gd name="connsiteY550" fmla="*/ 136052 h 433169"/>
                    <a:gd name="connsiteX551" fmla="*/ 1638388 w 2283508"/>
                    <a:gd name="connsiteY551" fmla="*/ 150507 h 433169"/>
                    <a:gd name="connsiteX552" fmla="*/ 1603764 w 2283508"/>
                    <a:gd name="connsiteY552" fmla="*/ 136101 h 433169"/>
                    <a:gd name="connsiteX553" fmla="*/ 1591018 w 2283508"/>
                    <a:gd name="connsiteY553" fmla="*/ 98645 h 433169"/>
                    <a:gd name="connsiteX554" fmla="*/ 1604350 w 2283508"/>
                    <a:gd name="connsiteY554" fmla="*/ 59675 h 433169"/>
                    <a:gd name="connsiteX555" fmla="*/ 1639462 w 2283508"/>
                    <a:gd name="connsiteY555" fmla="*/ 45611 h 433169"/>
                    <a:gd name="connsiteX556" fmla="*/ 1425954 w 2283508"/>
                    <a:gd name="connsiteY556" fmla="*/ 45611 h 433169"/>
                    <a:gd name="connsiteX557" fmla="*/ 1455694 w 2283508"/>
                    <a:gd name="connsiteY557" fmla="*/ 58747 h 433169"/>
                    <a:gd name="connsiteX558" fmla="*/ 1466390 w 2283508"/>
                    <a:gd name="connsiteY558" fmla="*/ 94445 h 433169"/>
                    <a:gd name="connsiteX559" fmla="*/ 1454132 w 2283508"/>
                    <a:gd name="connsiteY559" fmla="*/ 135026 h 433169"/>
                    <a:gd name="connsiteX560" fmla="*/ 1421754 w 2283508"/>
                    <a:gd name="connsiteY560" fmla="*/ 150507 h 433169"/>
                    <a:gd name="connsiteX561" fmla="*/ 1388548 w 2283508"/>
                    <a:gd name="connsiteY561" fmla="*/ 130290 h 433169"/>
                    <a:gd name="connsiteX562" fmla="*/ 1388158 w 2283508"/>
                    <a:gd name="connsiteY562" fmla="*/ 130290 h 433169"/>
                    <a:gd name="connsiteX563" fmla="*/ 1388158 w 2283508"/>
                    <a:gd name="connsiteY563" fmla="*/ 194067 h 433169"/>
                    <a:gd name="connsiteX564" fmla="*/ 1379172 w 2283508"/>
                    <a:gd name="connsiteY564" fmla="*/ 194067 h 433169"/>
                    <a:gd name="connsiteX565" fmla="*/ 1379172 w 2283508"/>
                    <a:gd name="connsiteY565" fmla="*/ 48053 h 433169"/>
                    <a:gd name="connsiteX566" fmla="*/ 1388158 w 2283508"/>
                    <a:gd name="connsiteY566" fmla="*/ 48053 h 433169"/>
                    <a:gd name="connsiteX567" fmla="*/ 1388158 w 2283508"/>
                    <a:gd name="connsiteY567" fmla="*/ 68661 h 433169"/>
                    <a:gd name="connsiteX568" fmla="*/ 1388548 w 2283508"/>
                    <a:gd name="connsiteY568" fmla="*/ 68661 h 433169"/>
                    <a:gd name="connsiteX569" fmla="*/ 1403930 w 2283508"/>
                    <a:gd name="connsiteY569" fmla="*/ 51618 h 433169"/>
                    <a:gd name="connsiteX570" fmla="*/ 1425954 w 2283508"/>
                    <a:gd name="connsiteY570" fmla="*/ 45611 h 433169"/>
                    <a:gd name="connsiteX571" fmla="*/ 1169124 w 2283508"/>
                    <a:gd name="connsiteY571" fmla="*/ 45611 h 433169"/>
                    <a:gd name="connsiteX572" fmla="*/ 1197740 w 2283508"/>
                    <a:gd name="connsiteY572" fmla="*/ 58699 h 433169"/>
                    <a:gd name="connsiteX573" fmla="*/ 1207702 w 2283508"/>
                    <a:gd name="connsiteY573" fmla="*/ 94445 h 433169"/>
                    <a:gd name="connsiteX574" fmla="*/ 1207702 w 2283508"/>
                    <a:gd name="connsiteY574" fmla="*/ 98450 h 433169"/>
                    <a:gd name="connsiteX575" fmla="*/ 1133670 w 2283508"/>
                    <a:gd name="connsiteY575" fmla="*/ 98450 h 433169"/>
                    <a:gd name="connsiteX576" fmla="*/ 1143194 w 2283508"/>
                    <a:gd name="connsiteY576" fmla="*/ 130680 h 433169"/>
                    <a:gd name="connsiteX577" fmla="*/ 1169320 w 2283508"/>
                    <a:gd name="connsiteY577" fmla="*/ 142303 h 433169"/>
                    <a:gd name="connsiteX578" fmla="*/ 1202136 w 2283508"/>
                    <a:gd name="connsiteY578" fmla="*/ 129899 h 433169"/>
                    <a:gd name="connsiteX579" fmla="*/ 1202136 w 2283508"/>
                    <a:gd name="connsiteY579" fmla="*/ 139470 h 433169"/>
                    <a:gd name="connsiteX580" fmla="*/ 1167464 w 2283508"/>
                    <a:gd name="connsiteY580" fmla="*/ 150507 h 433169"/>
                    <a:gd name="connsiteX581" fmla="*/ 1136210 w 2283508"/>
                    <a:gd name="connsiteY581" fmla="*/ 136638 h 433169"/>
                    <a:gd name="connsiteX582" fmla="*/ 1124294 w 2283508"/>
                    <a:gd name="connsiteY582" fmla="*/ 97473 h 433169"/>
                    <a:gd name="connsiteX583" fmla="*/ 1136746 w 2283508"/>
                    <a:gd name="connsiteY583" fmla="*/ 60603 h 433169"/>
                    <a:gd name="connsiteX584" fmla="*/ 1169124 w 2283508"/>
                    <a:gd name="connsiteY584" fmla="*/ 45611 h 433169"/>
                    <a:gd name="connsiteX585" fmla="*/ 1088770 w 2283508"/>
                    <a:gd name="connsiteY585" fmla="*/ 45611 h 433169"/>
                    <a:gd name="connsiteX586" fmla="*/ 1110942 w 2283508"/>
                    <a:gd name="connsiteY586" fmla="*/ 50299 h 433169"/>
                    <a:gd name="connsiteX587" fmla="*/ 1110942 w 2283508"/>
                    <a:gd name="connsiteY587" fmla="*/ 60457 h 433169"/>
                    <a:gd name="connsiteX588" fmla="*/ 1087404 w 2283508"/>
                    <a:gd name="connsiteY588" fmla="*/ 53815 h 433169"/>
                    <a:gd name="connsiteX589" fmla="*/ 1058884 w 2283508"/>
                    <a:gd name="connsiteY589" fmla="*/ 66463 h 433169"/>
                    <a:gd name="connsiteX590" fmla="*/ 1047946 w 2283508"/>
                    <a:gd name="connsiteY590" fmla="*/ 99231 h 433169"/>
                    <a:gd name="connsiteX591" fmla="*/ 1057956 w 2283508"/>
                    <a:gd name="connsiteY591" fmla="*/ 130485 h 433169"/>
                    <a:gd name="connsiteX592" fmla="*/ 1084376 w 2283508"/>
                    <a:gd name="connsiteY592" fmla="*/ 142303 h 433169"/>
                    <a:gd name="connsiteX593" fmla="*/ 1110550 w 2283508"/>
                    <a:gd name="connsiteY593" fmla="*/ 134294 h 433169"/>
                    <a:gd name="connsiteX594" fmla="*/ 1110550 w 2283508"/>
                    <a:gd name="connsiteY594" fmla="*/ 143670 h 433169"/>
                    <a:gd name="connsiteX595" fmla="*/ 1083986 w 2283508"/>
                    <a:gd name="connsiteY595" fmla="*/ 150507 h 433169"/>
                    <a:gd name="connsiteX596" fmla="*/ 1051070 w 2283508"/>
                    <a:gd name="connsiteY596" fmla="*/ 136492 h 433169"/>
                    <a:gd name="connsiteX597" fmla="*/ 1038570 w 2283508"/>
                    <a:gd name="connsiteY597" fmla="*/ 99817 h 433169"/>
                    <a:gd name="connsiteX598" fmla="*/ 1052634 w 2283508"/>
                    <a:gd name="connsiteY598" fmla="*/ 60798 h 433169"/>
                    <a:gd name="connsiteX599" fmla="*/ 1088770 w 2283508"/>
                    <a:gd name="connsiteY599" fmla="*/ 45611 h 433169"/>
                    <a:gd name="connsiteX600" fmla="*/ 902424 w 2283508"/>
                    <a:gd name="connsiteY600" fmla="*/ 45611 h 433169"/>
                    <a:gd name="connsiteX601" fmla="*/ 931042 w 2283508"/>
                    <a:gd name="connsiteY601" fmla="*/ 58699 h 433169"/>
                    <a:gd name="connsiteX602" fmla="*/ 941002 w 2283508"/>
                    <a:gd name="connsiteY602" fmla="*/ 94445 h 433169"/>
                    <a:gd name="connsiteX603" fmla="*/ 941002 w 2283508"/>
                    <a:gd name="connsiteY603" fmla="*/ 98450 h 433169"/>
                    <a:gd name="connsiteX604" fmla="*/ 866970 w 2283508"/>
                    <a:gd name="connsiteY604" fmla="*/ 98450 h 433169"/>
                    <a:gd name="connsiteX605" fmla="*/ 876494 w 2283508"/>
                    <a:gd name="connsiteY605" fmla="*/ 130680 h 433169"/>
                    <a:gd name="connsiteX606" fmla="*/ 902620 w 2283508"/>
                    <a:gd name="connsiteY606" fmla="*/ 142303 h 433169"/>
                    <a:gd name="connsiteX607" fmla="*/ 935436 w 2283508"/>
                    <a:gd name="connsiteY607" fmla="*/ 129899 h 433169"/>
                    <a:gd name="connsiteX608" fmla="*/ 935436 w 2283508"/>
                    <a:gd name="connsiteY608" fmla="*/ 139470 h 433169"/>
                    <a:gd name="connsiteX609" fmla="*/ 900764 w 2283508"/>
                    <a:gd name="connsiteY609" fmla="*/ 150507 h 433169"/>
                    <a:gd name="connsiteX610" fmla="*/ 869510 w 2283508"/>
                    <a:gd name="connsiteY610" fmla="*/ 136638 h 433169"/>
                    <a:gd name="connsiteX611" fmla="*/ 857594 w 2283508"/>
                    <a:gd name="connsiteY611" fmla="*/ 97473 h 433169"/>
                    <a:gd name="connsiteX612" fmla="*/ 870046 w 2283508"/>
                    <a:gd name="connsiteY612" fmla="*/ 60603 h 433169"/>
                    <a:gd name="connsiteX613" fmla="*/ 902424 w 2283508"/>
                    <a:gd name="connsiteY613" fmla="*/ 45611 h 433169"/>
                    <a:gd name="connsiteX614" fmla="*/ 653602 w 2283508"/>
                    <a:gd name="connsiteY614" fmla="*/ 45611 h 433169"/>
                    <a:gd name="connsiteX615" fmla="*/ 677482 w 2283508"/>
                    <a:gd name="connsiteY615" fmla="*/ 55183 h 433169"/>
                    <a:gd name="connsiteX616" fmla="*/ 685930 w 2283508"/>
                    <a:gd name="connsiteY616" fmla="*/ 83018 h 433169"/>
                    <a:gd name="connsiteX617" fmla="*/ 685930 w 2283508"/>
                    <a:gd name="connsiteY617" fmla="*/ 148065 h 433169"/>
                    <a:gd name="connsiteX618" fmla="*/ 676944 w 2283508"/>
                    <a:gd name="connsiteY618" fmla="*/ 148065 h 433169"/>
                    <a:gd name="connsiteX619" fmla="*/ 676944 w 2283508"/>
                    <a:gd name="connsiteY619" fmla="*/ 128043 h 433169"/>
                    <a:gd name="connsiteX620" fmla="*/ 676554 w 2283508"/>
                    <a:gd name="connsiteY620" fmla="*/ 128043 h 433169"/>
                    <a:gd name="connsiteX621" fmla="*/ 662636 w 2283508"/>
                    <a:gd name="connsiteY621" fmla="*/ 144403 h 433169"/>
                    <a:gd name="connsiteX622" fmla="*/ 642370 w 2283508"/>
                    <a:gd name="connsiteY622" fmla="*/ 150507 h 433169"/>
                    <a:gd name="connsiteX623" fmla="*/ 619808 w 2283508"/>
                    <a:gd name="connsiteY623" fmla="*/ 142498 h 433169"/>
                    <a:gd name="connsiteX624" fmla="*/ 611506 w 2283508"/>
                    <a:gd name="connsiteY624" fmla="*/ 122281 h 433169"/>
                    <a:gd name="connsiteX625" fmla="*/ 646180 w 2283508"/>
                    <a:gd name="connsiteY625" fmla="*/ 90636 h 433169"/>
                    <a:gd name="connsiteX626" fmla="*/ 676944 w 2283508"/>
                    <a:gd name="connsiteY626" fmla="*/ 86046 h 433169"/>
                    <a:gd name="connsiteX627" fmla="*/ 652722 w 2283508"/>
                    <a:gd name="connsiteY627" fmla="*/ 53815 h 433169"/>
                    <a:gd name="connsiteX628" fmla="*/ 620590 w 2283508"/>
                    <a:gd name="connsiteY628" fmla="*/ 67098 h 433169"/>
                    <a:gd name="connsiteX629" fmla="*/ 620590 w 2283508"/>
                    <a:gd name="connsiteY629" fmla="*/ 56257 h 433169"/>
                    <a:gd name="connsiteX630" fmla="*/ 635680 w 2283508"/>
                    <a:gd name="connsiteY630" fmla="*/ 48736 h 433169"/>
                    <a:gd name="connsiteX631" fmla="*/ 653602 w 2283508"/>
                    <a:gd name="connsiteY631" fmla="*/ 45611 h 433169"/>
                    <a:gd name="connsiteX632" fmla="*/ 498806 w 2283508"/>
                    <a:gd name="connsiteY632" fmla="*/ 45611 h 433169"/>
                    <a:gd name="connsiteX633" fmla="*/ 523614 w 2283508"/>
                    <a:gd name="connsiteY633" fmla="*/ 56403 h 433169"/>
                    <a:gd name="connsiteX634" fmla="*/ 532210 w 2283508"/>
                    <a:gd name="connsiteY634" fmla="*/ 87218 h 433169"/>
                    <a:gd name="connsiteX635" fmla="*/ 532210 w 2283508"/>
                    <a:gd name="connsiteY635" fmla="*/ 148065 h 433169"/>
                    <a:gd name="connsiteX636" fmla="*/ 523224 w 2283508"/>
                    <a:gd name="connsiteY636" fmla="*/ 148065 h 433169"/>
                    <a:gd name="connsiteX637" fmla="*/ 523224 w 2283508"/>
                    <a:gd name="connsiteY637" fmla="*/ 89855 h 433169"/>
                    <a:gd name="connsiteX638" fmla="*/ 497244 w 2283508"/>
                    <a:gd name="connsiteY638" fmla="*/ 53815 h 433169"/>
                    <a:gd name="connsiteX639" fmla="*/ 473510 w 2283508"/>
                    <a:gd name="connsiteY639" fmla="*/ 64412 h 433169"/>
                    <a:gd name="connsiteX640" fmla="*/ 464232 w 2283508"/>
                    <a:gd name="connsiteY640" fmla="*/ 90636 h 433169"/>
                    <a:gd name="connsiteX641" fmla="*/ 464232 w 2283508"/>
                    <a:gd name="connsiteY641" fmla="*/ 148065 h 433169"/>
                    <a:gd name="connsiteX642" fmla="*/ 455246 w 2283508"/>
                    <a:gd name="connsiteY642" fmla="*/ 148065 h 433169"/>
                    <a:gd name="connsiteX643" fmla="*/ 455246 w 2283508"/>
                    <a:gd name="connsiteY643" fmla="*/ 48053 h 433169"/>
                    <a:gd name="connsiteX644" fmla="*/ 464232 w 2283508"/>
                    <a:gd name="connsiteY644" fmla="*/ 48053 h 433169"/>
                    <a:gd name="connsiteX645" fmla="*/ 464232 w 2283508"/>
                    <a:gd name="connsiteY645" fmla="*/ 66219 h 433169"/>
                    <a:gd name="connsiteX646" fmla="*/ 464622 w 2283508"/>
                    <a:gd name="connsiteY646" fmla="*/ 66219 h 433169"/>
                    <a:gd name="connsiteX647" fmla="*/ 498806 w 2283508"/>
                    <a:gd name="connsiteY647" fmla="*/ 45611 h 433169"/>
                    <a:gd name="connsiteX648" fmla="*/ 396428 w 2283508"/>
                    <a:gd name="connsiteY648" fmla="*/ 45611 h 433169"/>
                    <a:gd name="connsiteX649" fmla="*/ 420306 w 2283508"/>
                    <a:gd name="connsiteY649" fmla="*/ 55183 h 433169"/>
                    <a:gd name="connsiteX650" fmla="*/ 428756 w 2283508"/>
                    <a:gd name="connsiteY650" fmla="*/ 83018 h 433169"/>
                    <a:gd name="connsiteX651" fmla="*/ 428756 w 2283508"/>
                    <a:gd name="connsiteY651" fmla="*/ 148065 h 433169"/>
                    <a:gd name="connsiteX652" fmla="*/ 419770 w 2283508"/>
                    <a:gd name="connsiteY652" fmla="*/ 148065 h 433169"/>
                    <a:gd name="connsiteX653" fmla="*/ 419770 w 2283508"/>
                    <a:gd name="connsiteY653" fmla="*/ 128043 h 433169"/>
                    <a:gd name="connsiteX654" fmla="*/ 419380 w 2283508"/>
                    <a:gd name="connsiteY654" fmla="*/ 128043 h 433169"/>
                    <a:gd name="connsiteX655" fmla="*/ 405462 w 2283508"/>
                    <a:gd name="connsiteY655" fmla="*/ 144403 h 433169"/>
                    <a:gd name="connsiteX656" fmla="*/ 385196 w 2283508"/>
                    <a:gd name="connsiteY656" fmla="*/ 150507 h 433169"/>
                    <a:gd name="connsiteX657" fmla="*/ 362634 w 2283508"/>
                    <a:gd name="connsiteY657" fmla="*/ 142498 h 433169"/>
                    <a:gd name="connsiteX658" fmla="*/ 354332 w 2283508"/>
                    <a:gd name="connsiteY658" fmla="*/ 122281 h 433169"/>
                    <a:gd name="connsiteX659" fmla="*/ 389004 w 2283508"/>
                    <a:gd name="connsiteY659" fmla="*/ 90636 h 433169"/>
                    <a:gd name="connsiteX660" fmla="*/ 419770 w 2283508"/>
                    <a:gd name="connsiteY660" fmla="*/ 86046 h 433169"/>
                    <a:gd name="connsiteX661" fmla="*/ 395548 w 2283508"/>
                    <a:gd name="connsiteY661" fmla="*/ 53815 h 433169"/>
                    <a:gd name="connsiteX662" fmla="*/ 363416 w 2283508"/>
                    <a:gd name="connsiteY662" fmla="*/ 67098 h 433169"/>
                    <a:gd name="connsiteX663" fmla="*/ 363416 w 2283508"/>
                    <a:gd name="connsiteY663" fmla="*/ 56257 h 433169"/>
                    <a:gd name="connsiteX664" fmla="*/ 378504 w 2283508"/>
                    <a:gd name="connsiteY664" fmla="*/ 48736 h 433169"/>
                    <a:gd name="connsiteX665" fmla="*/ 396428 w 2283508"/>
                    <a:gd name="connsiteY665" fmla="*/ 45611 h 433169"/>
                    <a:gd name="connsiteX666" fmla="*/ 254380 w 2283508"/>
                    <a:gd name="connsiteY666" fmla="*/ 45611 h 433169"/>
                    <a:gd name="connsiteX667" fmla="*/ 284120 w 2283508"/>
                    <a:gd name="connsiteY667" fmla="*/ 58747 h 433169"/>
                    <a:gd name="connsiteX668" fmla="*/ 294814 w 2283508"/>
                    <a:gd name="connsiteY668" fmla="*/ 94445 h 433169"/>
                    <a:gd name="connsiteX669" fmla="*/ 282558 w 2283508"/>
                    <a:gd name="connsiteY669" fmla="*/ 135026 h 433169"/>
                    <a:gd name="connsiteX670" fmla="*/ 250180 w 2283508"/>
                    <a:gd name="connsiteY670" fmla="*/ 150507 h 433169"/>
                    <a:gd name="connsiteX671" fmla="*/ 216972 w 2283508"/>
                    <a:gd name="connsiteY671" fmla="*/ 130290 h 433169"/>
                    <a:gd name="connsiteX672" fmla="*/ 216582 w 2283508"/>
                    <a:gd name="connsiteY672" fmla="*/ 130290 h 433169"/>
                    <a:gd name="connsiteX673" fmla="*/ 216582 w 2283508"/>
                    <a:gd name="connsiteY673" fmla="*/ 194067 h 433169"/>
                    <a:gd name="connsiteX674" fmla="*/ 207596 w 2283508"/>
                    <a:gd name="connsiteY674" fmla="*/ 194067 h 433169"/>
                    <a:gd name="connsiteX675" fmla="*/ 207596 w 2283508"/>
                    <a:gd name="connsiteY675" fmla="*/ 48053 h 433169"/>
                    <a:gd name="connsiteX676" fmla="*/ 216582 w 2283508"/>
                    <a:gd name="connsiteY676" fmla="*/ 48053 h 433169"/>
                    <a:gd name="connsiteX677" fmla="*/ 216582 w 2283508"/>
                    <a:gd name="connsiteY677" fmla="*/ 68661 h 433169"/>
                    <a:gd name="connsiteX678" fmla="*/ 216972 w 2283508"/>
                    <a:gd name="connsiteY678" fmla="*/ 68661 h 433169"/>
                    <a:gd name="connsiteX679" fmla="*/ 232356 w 2283508"/>
                    <a:gd name="connsiteY679" fmla="*/ 51618 h 433169"/>
                    <a:gd name="connsiteX680" fmla="*/ 254380 w 2283508"/>
                    <a:gd name="connsiteY680" fmla="*/ 45611 h 433169"/>
                    <a:gd name="connsiteX681" fmla="*/ 85618 w 2283508"/>
                    <a:gd name="connsiteY681" fmla="*/ 45611 h 433169"/>
                    <a:gd name="connsiteX682" fmla="*/ 104322 w 2283508"/>
                    <a:gd name="connsiteY682" fmla="*/ 51911 h 433169"/>
                    <a:gd name="connsiteX683" fmla="*/ 114820 w 2283508"/>
                    <a:gd name="connsiteY683" fmla="*/ 68465 h 433169"/>
                    <a:gd name="connsiteX684" fmla="*/ 128250 w 2283508"/>
                    <a:gd name="connsiteY684" fmla="*/ 51618 h 433169"/>
                    <a:gd name="connsiteX685" fmla="*/ 147246 w 2283508"/>
                    <a:gd name="connsiteY685" fmla="*/ 45611 h 433169"/>
                    <a:gd name="connsiteX686" fmla="*/ 180064 w 2283508"/>
                    <a:gd name="connsiteY686" fmla="*/ 86241 h 433169"/>
                    <a:gd name="connsiteX687" fmla="*/ 180064 w 2283508"/>
                    <a:gd name="connsiteY687" fmla="*/ 148065 h 433169"/>
                    <a:gd name="connsiteX688" fmla="*/ 171078 w 2283508"/>
                    <a:gd name="connsiteY688" fmla="*/ 148065 h 433169"/>
                    <a:gd name="connsiteX689" fmla="*/ 171078 w 2283508"/>
                    <a:gd name="connsiteY689" fmla="*/ 87901 h 433169"/>
                    <a:gd name="connsiteX690" fmla="*/ 165170 w 2283508"/>
                    <a:gd name="connsiteY690" fmla="*/ 61433 h 433169"/>
                    <a:gd name="connsiteX691" fmla="*/ 146466 w 2283508"/>
                    <a:gd name="connsiteY691" fmla="*/ 53815 h 433169"/>
                    <a:gd name="connsiteX692" fmla="*/ 126052 w 2283508"/>
                    <a:gd name="connsiteY692" fmla="*/ 63973 h 433169"/>
                    <a:gd name="connsiteX693" fmla="*/ 117458 w 2283508"/>
                    <a:gd name="connsiteY693" fmla="*/ 89464 h 433169"/>
                    <a:gd name="connsiteX694" fmla="*/ 117458 w 2283508"/>
                    <a:gd name="connsiteY694" fmla="*/ 148065 h 433169"/>
                    <a:gd name="connsiteX695" fmla="*/ 108472 w 2283508"/>
                    <a:gd name="connsiteY695" fmla="*/ 148065 h 433169"/>
                    <a:gd name="connsiteX696" fmla="*/ 108472 w 2283508"/>
                    <a:gd name="connsiteY696" fmla="*/ 87218 h 433169"/>
                    <a:gd name="connsiteX697" fmla="*/ 83078 w 2283508"/>
                    <a:gd name="connsiteY697" fmla="*/ 53815 h 433169"/>
                    <a:gd name="connsiteX698" fmla="*/ 62764 w 2283508"/>
                    <a:gd name="connsiteY698" fmla="*/ 64022 h 433169"/>
                    <a:gd name="connsiteX699" fmla="*/ 54658 w 2283508"/>
                    <a:gd name="connsiteY699" fmla="*/ 90441 h 433169"/>
                    <a:gd name="connsiteX700" fmla="*/ 54658 w 2283508"/>
                    <a:gd name="connsiteY700" fmla="*/ 148065 h 433169"/>
                    <a:gd name="connsiteX701" fmla="*/ 45672 w 2283508"/>
                    <a:gd name="connsiteY701" fmla="*/ 148065 h 433169"/>
                    <a:gd name="connsiteX702" fmla="*/ 45672 w 2283508"/>
                    <a:gd name="connsiteY702" fmla="*/ 48053 h 433169"/>
                    <a:gd name="connsiteX703" fmla="*/ 54658 w 2283508"/>
                    <a:gd name="connsiteY703" fmla="*/ 48053 h 433169"/>
                    <a:gd name="connsiteX704" fmla="*/ 54658 w 2283508"/>
                    <a:gd name="connsiteY704" fmla="*/ 64656 h 433169"/>
                    <a:gd name="connsiteX705" fmla="*/ 55048 w 2283508"/>
                    <a:gd name="connsiteY705" fmla="*/ 64656 h 433169"/>
                    <a:gd name="connsiteX706" fmla="*/ 85618 w 2283508"/>
                    <a:gd name="connsiteY706" fmla="*/ 45611 h 433169"/>
                    <a:gd name="connsiteX707" fmla="*/ 573206 w 2283508"/>
                    <a:gd name="connsiteY707" fmla="*/ 19045 h 433169"/>
                    <a:gd name="connsiteX708" fmla="*/ 573206 w 2283508"/>
                    <a:gd name="connsiteY708" fmla="*/ 48053 h 433169"/>
                    <a:gd name="connsiteX709" fmla="*/ 599578 w 2283508"/>
                    <a:gd name="connsiteY709" fmla="*/ 48053 h 433169"/>
                    <a:gd name="connsiteX710" fmla="*/ 599578 w 2283508"/>
                    <a:gd name="connsiteY710" fmla="*/ 56257 h 433169"/>
                    <a:gd name="connsiteX711" fmla="*/ 573206 w 2283508"/>
                    <a:gd name="connsiteY711" fmla="*/ 56257 h 433169"/>
                    <a:gd name="connsiteX712" fmla="*/ 573206 w 2283508"/>
                    <a:gd name="connsiteY712" fmla="*/ 122281 h 433169"/>
                    <a:gd name="connsiteX713" fmla="*/ 576478 w 2283508"/>
                    <a:gd name="connsiteY713" fmla="*/ 137273 h 433169"/>
                    <a:gd name="connsiteX714" fmla="*/ 587564 w 2283508"/>
                    <a:gd name="connsiteY714" fmla="*/ 141912 h 433169"/>
                    <a:gd name="connsiteX715" fmla="*/ 599578 w 2283508"/>
                    <a:gd name="connsiteY715" fmla="*/ 138298 h 433169"/>
                    <a:gd name="connsiteX716" fmla="*/ 599578 w 2283508"/>
                    <a:gd name="connsiteY716" fmla="*/ 146698 h 433169"/>
                    <a:gd name="connsiteX717" fmla="*/ 586392 w 2283508"/>
                    <a:gd name="connsiteY717" fmla="*/ 150019 h 433169"/>
                    <a:gd name="connsiteX718" fmla="*/ 564222 w 2283508"/>
                    <a:gd name="connsiteY718" fmla="*/ 123453 h 433169"/>
                    <a:gd name="connsiteX719" fmla="*/ 564222 w 2283508"/>
                    <a:gd name="connsiteY719" fmla="*/ 56257 h 433169"/>
                    <a:gd name="connsiteX720" fmla="*/ 546250 w 2283508"/>
                    <a:gd name="connsiteY720" fmla="*/ 56257 h 433169"/>
                    <a:gd name="connsiteX721" fmla="*/ 546250 w 2283508"/>
                    <a:gd name="connsiteY721" fmla="*/ 48053 h 433169"/>
                    <a:gd name="connsiteX722" fmla="*/ 564222 w 2283508"/>
                    <a:gd name="connsiteY722" fmla="*/ 48053 h 433169"/>
                    <a:gd name="connsiteX723" fmla="*/ 564222 w 2283508"/>
                    <a:gd name="connsiteY723" fmla="*/ 22073 h 433169"/>
                    <a:gd name="connsiteX724" fmla="*/ 568714 w 2283508"/>
                    <a:gd name="connsiteY724" fmla="*/ 20510 h 433169"/>
                    <a:gd name="connsiteX725" fmla="*/ 573206 w 2283508"/>
                    <a:gd name="connsiteY725" fmla="*/ 19045 h 433169"/>
                    <a:gd name="connsiteX726" fmla="*/ 2202716 w 2283508"/>
                    <a:gd name="connsiteY726" fmla="*/ 8009 h 433169"/>
                    <a:gd name="connsiteX727" fmla="*/ 2208040 w 2283508"/>
                    <a:gd name="connsiteY727" fmla="*/ 9962 h 433169"/>
                    <a:gd name="connsiteX728" fmla="*/ 2210334 w 2283508"/>
                    <a:gd name="connsiteY728" fmla="*/ 15236 h 433169"/>
                    <a:gd name="connsiteX729" fmla="*/ 2208088 w 2283508"/>
                    <a:gd name="connsiteY729" fmla="*/ 20608 h 433169"/>
                    <a:gd name="connsiteX730" fmla="*/ 2202716 w 2283508"/>
                    <a:gd name="connsiteY730" fmla="*/ 22854 h 433169"/>
                    <a:gd name="connsiteX731" fmla="*/ 2197540 w 2283508"/>
                    <a:gd name="connsiteY731" fmla="*/ 20706 h 433169"/>
                    <a:gd name="connsiteX732" fmla="*/ 2195294 w 2283508"/>
                    <a:gd name="connsiteY732" fmla="*/ 15236 h 433169"/>
                    <a:gd name="connsiteX733" fmla="*/ 2197590 w 2283508"/>
                    <a:gd name="connsiteY733" fmla="*/ 10011 h 433169"/>
                    <a:gd name="connsiteX734" fmla="*/ 2202716 w 2283508"/>
                    <a:gd name="connsiteY734" fmla="*/ 8009 h 433169"/>
                    <a:gd name="connsiteX735" fmla="*/ 0 w 2283508"/>
                    <a:gd name="connsiteY735" fmla="*/ 8009 h 433169"/>
                    <a:gd name="connsiteX736" fmla="*/ 9670 w 2283508"/>
                    <a:gd name="connsiteY736" fmla="*/ 8009 h 433169"/>
                    <a:gd name="connsiteX737" fmla="*/ 9670 w 2283508"/>
                    <a:gd name="connsiteY737" fmla="*/ 148065 h 433169"/>
                    <a:gd name="connsiteX738" fmla="*/ 0 w 2283508"/>
                    <a:gd name="connsiteY738" fmla="*/ 148065 h 433169"/>
                    <a:gd name="connsiteX739" fmla="*/ 2274522 w 2283508"/>
                    <a:gd name="connsiteY739" fmla="*/ 0 h 433169"/>
                    <a:gd name="connsiteX740" fmla="*/ 2283508 w 2283508"/>
                    <a:gd name="connsiteY740" fmla="*/ 0 h 433169"/>
                    <a:gd name="connsiteX741" fmla="*/ 2283508 w 2283508"/>
                    <a:gd name="connsiteY741" fmla="*/ 148065 h 433169"/>
                    <a:gd name="connsiteX742" fmla="*/ 2274522 w 2283508"/>
                    <a:gd name="connsiteY742" fmla="*/ 148065 h 433169"/>
                    <a:gd name="connsiteX743" fmla="*/ 2236422 w 2283508"/>
                    <a:gd name="connsiteY743" fmla="*/ 0 h 433169"/>
                    <a:gd name="connsiteX744" fmla="*/ 2245406 w 2283508"/>
                    <a:gd name="connsiteY744" fmla="*/ 0 h 433169"/>
                    <a:gd name="connsiteX745" fmla="*/ 2245406 w 2283508"/>
                    <a:gd name="connsiteY745" fmla="*/ 148065 h 433169"/>
                    <a:gd name="connsiteX746" fmla="*/ 2236422 w 2283508"/>
                    <a:gd name="connsiteY746" fmla="*/ 148065 h 433169"/>
                    <a:gd name="connsiteX747" fmla="*/ 1493472 w 2283508"/>
                    <a:gd name="connsiteY747" fmla="*/ 0 h 433169"/>
                    <a:gd name="connsiteX748" fmla="*/ 1502458 w 2283508"/>
                    <a:gd name="connsiteY748" fmla="*/ 0 h 433169"/>
                    <a:gd name="connsiteX749" fmla="*/ 1502458 w 2283508"/>
                    <a:gd name="connsiteY749" fmla="*/ 66024 h 433169"/>
                    <a:gd name="connsiteX750" fmla="*/ 1502848 w 2283508"/>
                    <a:gd name="connsiteY750" fmla="*/ 66024 h 433169"/>
                    <a:gd name="connsiteX751" fmla="*/ 1537226 w 2283508"/>
                    <a:gd name="connsiteY751" fmla="*/ 45611 h 433169"/>
                    <a:gd name="connsiteX752" fmla="*/ 1561938 w 2283508"/>
                    <a:gd name="connsiteY752" fmla="*/ 56062 h 433169"/>
                    <a:gd name="connsiteX753" fmla="*/ 1570434 w 2283508"/>
                    <a:gd name="connsiteY753" fmla="*/ 86046 h 433169"/>
                    <a:gd name="connsiteX754" fmla="*/ 1570434 w 2283508"/>
                    <a:gd name="connsiteY754" fmla="*/ 148065 h 433169"/>
                    <a:gd name="connsiteX755" fmla="*/ 1561448 w 2283508"/>
                    <a:gd name="connsiteY755" fmla="*/ 148065 h 433169"/>
                    <a:gd name="connsiteX756" fmla="*/ 1561448 w 2283508"/>
                    <a:gd name="connsiteY756" fmla="*/ 88097 h 433169"/>
                    <a:gd name="connsiteX757" fmla="*/ 1555002 w 2283508"/>
                    <a:gd name="connsiteY757" fmla="*/ 62068 h 433169"/>
                    <a:gd name="connsiteX758" fmla="*/ 1534882 w 2283508"/>
                    <a:gd name="connsiteY758" fmla="*/ 53815 h 433169"/>
                    <a:gd name="connsiteX759" fmla="*/ 1512224 w 2283508"/>
                    <a:gd name="connsiteY759" fmla="*/ 63875 h 433169"/>
                    <a:gd name="connsiteX760" fmla="*/ 1502458 w 2283508"/>
                    <a:gd name="connsiteY760" fmla="*/ 92687 h 433169"/>
                    <a:gd name="connsiteX761" fmla="*/ 1502458 w 2283508"/>
                    <a:gd name="connsiteY761" fmla="*/ 148065 h 433169"/>
                    <a:gd name="connsiteX762" fmla="*/ 1493472 w 2283508"/>
                    <a:gd name="connsiteY762" fmla="*/ 148065 h 433169"/>
                    <a:gd name="connsiteX763" fmla="*/ 1274396 w 2283508"/>
                    <a:gd name="connsiteY763" fmla="*/ 0 h 433169"/>
                    <a:gd name="connsiteX764" fmla="*/ 1283382 w 2283508"/>
                    <a:gd name="connsiteY764" fmla="*/ 0 h 433169"/>
                    <a:gd name="connsiteX765" fmla="*/ 1283382 w 2283508"/>
                    <a:gd name="connsiteY765" fmla="*/ 148065 h 433169"/>
                    <a:gd name="connsiteX766" fmla="*/ 1274396 w 2283508"/>
                    <a:gd name="connsiteY766" fmla="*/ 148065 h 433169"/>
                    <a:gd name="connsiteX767" fmla="*/ 1236296 w 2283508"/>
                    <a:gd name="connsiteY767" fmla="*/ 0 h 433169"/>
                    <a:gd name="connsiteX768" fmla="*/ 1245282 w 2283508"/>
                    <a:gd name="connsiteY768" fmla="*/ 0 h 433169"/>
                    <a:gd name="connsiteX769" fmla="*/ 1245282 w 2283508"/>
                    <a:gd name="connsiteY769" fmla="*/ 148065 h 433169"/>
                    <a:gd name="connsiteX770" fmla="*/ 1236296 w 2283508"/>
                    <a:gd name="connsiteY770" fmla="*/ 148065 h 433169"/>
                    <a:gd name="connsiteX771" fmla="*/ 826722 w 2283508"/>
                    <a:gd name="connsiteY771" fmla="*/ 0 h 433169"/>
                    <a:gd name="connsiteX772" fmla="*/ 835708 w 2283508"/>
                    <a:gd name="connsiteY772" fmla="*/ 0 h 433169"/>
                    <a:gd name="connsiteX773" fmla="*/ 835708 w 2283508"/>
                    <a:gd name="connsiteY773" fmla="*/ 148065 h 433169"/>
                    <a:gd name="connsiteX774" fmla="*/ 826722 w 2283508"/>
                    <a:gd name="connsiteY774" fmla="*/ 148065 h 433169"/>
                    <a:gd name="connsiteX775" fmla="*/ 712422 w 2283508"/>
                    <a:gd name="connsiteY775" fmla="*/ 0 h 433169"/>
                    <a:gd name="connsiteX776" fmla="*/ 721408 w 2283508"/>
                    <a:gd name="connsiteY776" fmla="*/ 0 h 433169"/>
                    <a:gd name="connsiteX777" fmla="*/ 721408 w 2283508"/>
                    <a:gd name="connsiteY777" fmla="*/ 68661 h 433169"/>
                    <a:gd name="connsiteX778" fmla="*/ 721798 w 2283508"/>
                    <a:gd name="connsiteY778" fmla="*/ 68661 h 433169"/>
                    <a:gd name="connsiteX779" fmla="*/ 737180 w 2283508"/>
                    <a:gd name="connsiteY779" fmla="*/ 51618 h 433169"/>
                    <a:gd name="connsiteX780" fmla="*/ 759204 w 2283508"/>
                    <a:gd name="connsiteY780" fmla="*/ 45611 h 433169"/>
                    <a:gd name="connsiteX781" fmla="*/ 788946 w 2283508"/>
                    <a:gd name="connsiteY781" fmla="*/ 58747 h 433169"/>
                    <a:gd name="connsiteX782" fmla="*/ 799640 w 2283508"/>
                    <a:gd name="connsiteY782" fmla="*/ 94445 h 433169"/>
                    <a:gd name="connsiteX783" fmla="*/ 787236 w 2283508"/>
                    <a:gd name="connsiteY783" fmla="*/ 135026 h 433169"/>
                    <a:gd name="connsiteX784" fmla="*/ 755006 w 2283508"/>
                    <a:gd name="connsiteY784" fmla="*/ 150507 h 433169"/>
                    <a:gd name="connsiteX785" fmla="*/ 721798 w 2283508"/>
                    <a:gd name="connsiteY785" fmla="*/ 130290 h 433169"/>
                    <a:gd name="connsiteX786" fmla="*/ 721408 w 2283508"/>
                    <a:gd name="connsiteY786" fmla="*/ 130290 h 433169"/>
                    <a:gd name="connsiteX787" fmla="*/ 721408 w 2283508"/>
                    <a:gd name="connsiteY787" fmla="*/ 148065 h 433169"/>
                    <a:gd name="connsiteX788" fmla="*/ 712422 w 2283508"/>
                    <a:gd name="connsiteY788" fmla="*/ 148065 h 433169"/>
                    <a:gd name="connsiteX789" fmla="*/ 321896 w 2283508"/>
                    <a:gd name="connsiteY789" fmla="*/ 0 h 433169"/>
                    <a:gd name="connsiteX790" fmla="*/ 330882 w 2283508"/>
                    <a:gd name="connsiteY790" fmla="*/ 0 h 433169"/>
                    <a:gd name="connsiteX791" fmla="*/ 330882 w 2283508"/>
                    <a:gd name="connsiteY791" fmla="*/ 148065 h 433169"/>
                    <a:gd name="connsiteX792" fmla="*/ 321896 w 2283508"/>
                    <a:gd name="connsiteY792" fmla="*/ 148065 h 433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</a:cxnLst>
                  <a:rect l="l" t="t" r="r" b="b"/>
                  <a:pathLst>
                    <a:path w="2283508" h="433169">
                      <a:moveTo>
                        <a:pt x="1934244" y="332375"/>
                      </a:moveTo>
                      <a:lnTo>
                        <a:pt x="1906702" y="336379"/>
                      </a:lnTo>
                      <a:cubicBezTo>
                        <a:pt x="1896218" y="337877"/>
                        <a:pt x="1888862" y="340302"/>
                        <a:pt x="1884630" y="343656"/>
                      </a:cubicBezTo>
                      <a:cubicBezTo>
                        <a:pt x="1880396" y="347009"/>
                        <a:pt x="1878280" y="352462"/>
                        <a:pt x="1878280" y="360015"/>
                      </a:cubicBezTo>
                      <a:cubicBezTo>
                        <a:pt x="1878280" y="365940"/>
                        <a:pt x="1880250" y="370824"/>
                        <a:pt x="1884190" y="374665"/>
                      </a:cubicBezTo>
                      <a:cubicBezTo>
                        <a:pt x="1888130" y="378507"/>
                        <a:pt x="1893614" y="380428"/>
                        <a:pt x="1900646" y="380428"/>
                      </a:cubicBezTo>
                      <a:cubicBezTo>
                        <a:pt x="1910284" y="380428"/>
                        <a:pt x="1918292" y="376863"/>
                        <a:pt x="1924674" y="369733"/>
                      </a:cubicBezTo>
                      <a:cubicBezTo>
                        <a:pt x="1931054" y="362603"/>
                        <a:pt x="1934244" y="353406"/>
                        <a:pt x="1934244" y="342142"/>
                      </a:cubicBezTo>
                      <a:close/>
                      <a:moveTo>
                        <a:pt x="1762794" y="332375"/>
                      </a:moveTo>
                      <a:lnTo>
                        <a:pt x="1735252" y="336379"/>
                      </a:lnTo>
                      <a:cubicBezTo>
                        <a:pt x="1724770" y="337877"/>
                        <a:pt x="1717412" y="340302"/>
                        <a:pt x="1713180" y="343656"/>
                      </a:cubicBezTo>
                      <a:cubicBezTo>
                        <a:pt x="1708946" y="347009"/>
                        <a:pt x="1706830" y="352462"/>
                        <a:pt x="1706830" y="360015"/>
                      </a:cubicBezTo>
                      <a:cubicBezTo>
                        <a:pt x="1706830" y="365940"/>
                        <a:pt x="1708800" y="370824"/>
                        <a:pt x="1712740" y="374665"/>
                      </a:cubicBezTo>
                      <a:cubicBezTo>
                        <a:pt x="1716678" y="378507"/>
                        <a:pt x="1722166" y="380428"/>
                        <a:pt x="1729198" y="380428"/>
                      </a:cubicBezTo>
                      <a:cubicBezTo>
                        <a:pt x="1738834" y="380428"/>
                        <a:pt x="1746842" y="376863"/>
                        <a:pt x="1753224" y="369733"/>
                      </a:cubicBezTo>
                      <a:cubicBezTo>
                        <a:pt x="1759604" y="362603"/>
                        <a:pt x="1762794" y="353406"/>
                        <a:pt x="1762794" y="342142"/>
                      </a:cubicBezTo>
                      <a:close/>
                      <a:moveTo>
                        <a:pt x="1572294" y="332375"/>
                      </a:moveTo>
                      <a:lnTo>
                        <a:pt x="1544752" y="336379"/>
                      </a:lnTo>
                      <a:cubicBezTo>
                        <a:pt x="1534270" y="337877"/>
                        <a:pt x="1526912" y="340302"/>
                        <a:pt x="1522678" y="343656"/>
                      </a:cubicBezTo>
                      <a:cubicBezTo>
                        <a:pt x="1518446" y="347009"/>
                        <a:pt x="1516330" y="352462"/>
                        <a:pt x="1516330" y="360015"/>
                      </a:cubicBezTo>
                      <a:cubicBezTo>
                        <a:pt x="1516330" y="365940"/>
                        <a:pt x="1518300" y="370824"/>
                        <a:pt x="1522240" y="374665"/>
                      </a:cubicBezTo>
                      <a:cubicBezTo>
                        <a:pt x="1526178" y="378507"/>
                        <a:pt x="1531664" y="380428"/>
                        <a:pt x="1538696" y="380428"/>
                      </a:cubicBezTo>
                      <a:cubicBezTo>
                        <a:pt x="1548334" y="380428"/>
                        <a:pt x="1556342" y="376863"/>
                        <a:pt x="1562724" y="369733"/>
                      </a:cubicBezTo>
                      <a:cubicBezTo>
                        <a:pt x="1569104" y="362603"/>
                        <a:pt x="1572294" y="353406"/>
                        <a:pt x="1572294" y="342142"/>
                      </a:cubicBezTo>
                      <a:close/>
                      <a:moveTo>
                        <a:pt x="1219870" y="332375"/>
                      </a:moveTo>
                      <a:lnTo>
                        <a:pt x="1192328" y="336379"/>
                      </a:lnTo>
                      <a:cubicBezTo>
                        <a:pt x="1181844" y="337877"/>
                        <a:pt x="1174486" y="340302"/>
                        <a:pt x="1170254" y="343656"/>
                      </a:cubicBezTo>
                      <a:cubicBezTo>
                        <a:pt x="1166022" y="347009"/>
                        <a:pt x="1163906" y="352462"/>
                        <a:pt x="1163906" y="360015"/>
                      </a:cubicBezTo>
                      <a:cubicBezTo>
                        <a:pt x="1163906" y="365940"/>
                        <a:pt x="1165876" y="370824"/>
                        <a:pt x="1169814" y="374665"/>
                      </a:cubicBezTo>
                      <a:cubicBezTo>
                        <a:pt x="1173754" y="378507"/>
                        <a:pt x="1179240" y="380428"/>
                        <a:pt x="1186272" y="380428"/>
                      </a:cubicBezTo>
                      <a:cubicBezTo>
                        <a:pt x="1195908" y="380428"/>
                        <a:pt x="1203918" y="376863"/>
                        <a:pt x="1210298" y="369733"/>
                      </a:cubicBezTo>
                      <a:cubicBezTo>
                        <a:pt x="1216680" y="362603"/>
                        <a:pt x="1219870" y="353406"/>
                        <a:pt x="1219870" y="342142"/>
                      </a:cubicBezTo>
                      <a:close/>
                      <a:moveTo>
                        <a:pt x="2159334" y="291940"/>
                      </a:moveTo>
                      <a:cubicBezTo>
                        <a:pt x="2149958" y="291940"/>
                        <a:pt x="2142192" y="295082"/>
                        <a:pt x="2136040" y="301365"/>
                      </a:cubicBezTo>
                      <a:cubicBezTo>
                        <a:pt x="2129886" y="307649"/>
                        <a:pt x="2126094" y="316650"/>
                        <a:pt x="2124662" y="328371"/>
                      </a:cubicBezTo>
                      <a:lnTo>
                        <a:pt x="2188926" y="328371"/>
                      </a:lnTo>
                      <a:cubicBezTo>
                        <a:pt x="2188536" y="316846"/>
                        <a:pt x="2185768" y="307893"/>
                        <a:pt x="2180626" y="301512"/>
                      </a:cubicBezTo>
                      <a:cubicBezTo>
                        <a:pt x="2175482" y="295131"/>
                        <a:pt x="2168384" y="291940"/>
                        <a:pt x="2159334" y="291940"/>
                      </a:cubicBezTo>
                      <a:close/>
                      <a:moveTo>
                        <a:pt x="2015332" y="291940"/>
                      </a:moveTo>
                      <a:cubicBezTo>
                        <a:pt x="2003678" y="291940"/>
                        <a:pt x="1994660" y="295847"/>
                        <a:pt x="1988278" y="303660"/>
                      </a:cubicBezTo>
                      <a:cubicBezTo>
                        <a:pt x="1981898" y="311474"/>
                        <a:pt x="1978706" y="320655"/>
                        <a:pt x="1978706" y="331203"/>
                      </a:cubicBezTo>
                      <a:lnTo>
                        <a:pt x="1978706" y="343802"/>
                      </a:lnTo>
                      <a:cubicBezTo>
                        <a:pt x="1978706" y="353829"/>
                        <a:pt x="1981866" y="362441"/>
                        <a:pt x="1988182" y="369635"/>
                      </a:cubicBezTo>
                      <a:cubicBezTo>
                        <a:pt x="1994496" y="376830"/>
                        <a:pt x="2002798" y="380428"/>
                        <a:pt x="2013086" y="380428"/>
                      </a:cubicBezTo>
                      <a:cubicBezTo>
                        <a:pt x="2023310" y="380428"/>
                        <a:pt x="2031610" y="376049"/>
                        <a:pt x="2037992" y="367291"/>
                      </a:cubicBezTo>
                      <a:cubicBezTo>
                        <a:pt x="2044374" y="358534"/>
                        <a:pt x="2047564" y="347025"/>
                        <a:pt x="2047564" y="332766"/>
                      </a:cubicBezTo>
                      <a:cubicBezTo>
                        <a:pt x="2047564" y="320264"/>
                        <a:pt x="2044634" y="310334"/>
                        <a:pt x="2038774" y="302977"/>
                      </a:cubicBezTo>
                      <a:cubicBezTo>
                        <a:pt x="2032914" y="295619"/>
                        <a:pt x="2025100" y="291940"/>
                        <a:pt x="2015332" y="291940"/>
                      </a:cubicBezTo>
                      <a:close/>
                      <a:moveTo>
                        <a:pt x="902034" y="291940"/>
                      </a:moveTo>
                      <a:cubicBezTo>
                        <a:pt x="892658" y="291940"/>
                        <a:pt x="884892" y="295082"/>
                        <a:pt x="878740" y="301365"/>
                      </a:cubicBezTo>
                      <a:cubicBezTo>
                        <a:pt x="872586" y="307649"/>
                        <a:pt x="868794" y="316650"/>
                        <a:pt x="867362" y="328371"/>
                      </a:cubicBezTo>
                      <a:lnTo>
                        <a:pt x="931626" y="328371"/>
                      </a:lnTo>
                      <a:cubicBezTo>
                        <a:pt x="931236" y="316846"/>
                        <a:pt x="928470" y="307893"/>
                        <a:pt x="923326" y="301512"/>
                      </a:cubicBezTo>
                      <a:cubicBezTo>
                        <a:pt x="918182" y="295131"/>
                        <a:pt x="911084" y="291940"/>
                        <a:pt x="902034" y="291940"/>
                      </a:cubicBezTo>
                      <a:close/>
                      <a:moveTo>
                        <a:pt x="467498" y="291940"/>
                      </a:moveTo>
                      <a:cubicBezTo>
                        <a:pt x="455712" y="291940"/>
                        <a:pt x="446320" y="295912"/>
                        <a:pt x="439320" y="303856"/>
                      </a:cubicBezTo>
                      <a:cubicBezTo>
                        <a:pt x="432320" y="311799"/>
                        <a:pt x="428820" y="322836"/>
                        <a:pt x="428820" y="336965"/>
                      </a:cubicBezTo>
                      <a:cubicBezTo>
                        <a:pt x="428820" y="350053"/>
                        <a:pt x="432238" y="360569"/>
                        <a:pt x="439076" y="368512"/>
                      </a:cubicBezTo>
                      <a:cubicBezTo>
                        <a:pt x="445912" y="376456"/>
                        <a:pt x="455256" y="380428"/>
                        <a:pt x="467106" y="380428"/>
                      </a:cubicBezTo>
                      <a:cubicBezTo>
                        <a:pt x="479152" y="380428"/>
                        <a:pt x="488430" y="376521"/>
                        <a:pt x="494942" y="368708"/>
                      </a:cubicBezTo>
                      <a:cubicBezTo>
                        <a:pt x="501454" y="360894"/>
                        <a:pt x="504708" y="350053"/>
                        <a:pt x="504708" y="336184"/>
                      </a:cubicBezTo>
                      <a:cubicBezTo>
                        <a:pt x="504708" y="321924"/>
                        <a:pt x="501470" y="310986"/>
                        <a:pt x="494990" y="303367"/>
                      </a:cubicBezTo>
                      <a:cubicBezTo>
                        <a:pt x="488512" y="295749"/>
                        <a:pt x="479348" y="291940"/>
                        <a:pt x="467498" y="291940"/>
                      </a:cubicBezTo>
                      <a:close/>
                      <a:moveTo>
                        <a:pt x="216234" y="291940"/>
                      </a:moveTo>
                      <a:cubicBezTo>
                        <a:pt x="206858" y="291940"/>
                        <a:pt x="199092" y="295082"/>
                        <a:pt x="192940" y="301365"/>
                      </a:cubicBezTo>
                      <a:cubicBezTo>
                        <a:pt x="186786" y="307649"/>
                        <a:pt x="182994" y="316650"/>
                        <a:pt x="181562" y="328371"/>
                      </a:cubicBezTo>
                      <a:lnTo>
                        <a:pt x="245826" y="328371"/>
                      </a:lnTo>
                      <a:cubicBezTo>
                        <a:pt x="245436" y="316846"/>
                        <a:pt x="242668" y="307893"/>
                        <a:pt x="237526" y="301512"/>
                      </a:cubicBezTo>
                      <a:cubicBezTo>
                        <a:pt x="232382" y="295131"/>
                        <a:pt x="225284" y="291940"/>
                        <a:pt x="216234" y="291940"/>
                      </a:cubicBezTo>
                      <a:close/>
                      <a:moveTo>
                        <a:pt x="115354" y="286775"/>
                      </a:moveTo>
                      <a:cubicBezTo>
                        <a:pt x="103700" y="286775"/>
                        <a:pt x="94682" y="290682"/>
                        <a:pt x="88300" y="298495"/>
                      </a:cubicBezTo>
                      <a:cubicBezTo>
                        <a:pt x="81920" y="306309"/>
                        <a:pt x="78728" y="315490"/>
                        <a:pt x="78728" y="326038"/>
                      </a:cubicBezTo>
                      <a:lnTo>
                        <a:pt x="78728" y="338637"/>
                      </a:lnTo>
                      <a:cubicBezTo>
                        <a:pt x="78728" y="348664"/>
                        <a:pt x="81888" y="357276"/>
                        <a:pt x="88204" y="364470"/>
                      </a:cubicBezTo>
                      <a:cubicBezTo>
                        <a:pt x="94518" y="371665"/>
                        <a:pt x="102820" y="375263"/>
                        <a:pt x="113108" y="375263"/>
                      </a:cubicBezTo>
                      <a:cubicBezTo>
                        <a:pt x="123332" y="375263"/>
                        <a:pt x="131632" y="370884"/>
                        <a:pt x="138014" y="362126"/>
                      </a:cubicBezTo>
                      <a:cubicBezTo>
                        <a:pt x="144396" y="353369"/>
                        <a:pt x="147586" y="341860"/>
                        <a:pt x="147586" y="327601"/>
                      </a:cubicBezTo>
                      <a:cubicBezTo>
                        <a:pt x="147586" y="315099"/>
                        <a:pt x="144656" y="305169"/>
                        <a:pt x="138796" y="297812"/>
                      </a:cubicBezTo>
                      <a:cubicBezTo>
                        <a:pt x="132936" y="290454"/>
                        <a:pt x="125122" y="286775"/>
                        <a:pt x="115354" y="286775"/>
                      </a:cubicBezTo>
                      <a:close/>
                      <a:moveTo>
                        <a:pt x="1798272" y="286178"/>
                      </a:moveTo>
                      <a:lnTo>
                        <a:pt x="1807258" y="286178"/>
                      </a:lnTo>
                      <a:lnTo>
                        <a:pt x="1807258" y="386190"/>
                      </a:lnTo>
                      <a:lnTo>
                        <a:pt x="1798272" y="386190"/>
                      </a:lnTo>
                      <a:close/>
                      <a:moveTo>
                        <a:pt x="1593708" y="286178"/>
                      </a:moveTo>
                      <a:lnTo>
                        <a:pt x="1603768" y="286178"/>
                      </a:lnTo>
                      <a:lnTo>
                        <a:pt x="1633556" y="365778"/>
                      </a:lnTo>
                      <a:cubicBezTo>
                        <a:pt x="1634988" y="369619"/>
                        <a:pt x="1635998" y="373103"/>
                        <a:pt x="1636584" y="376228"/>
                      </a:cubicBezTo>
                      <a:lnTo>
                        <a:pt x="1636974" y="376228"/>
                      </a:lnTo>
                      <a:cubicBezTo>
                        <a:pt x="1637822" y="372126"/>
                        <a:pt x="1638766" y="368773"/>
                        <a:pt x="1639806" y="366168"/>
                      </a:cubicBezTo>
                      <a:lnTo>
                        <a:pt x="1670572" y="286178"/>
                      </a:lnTo>
                      <a:lnTo>
                        <a:pt x="1680340" y="286178"/>
                      </a:lnTo>
                      <a:lnTo>
                        <a:pt x="1640588" y="386190"/>
                      </a:lnTo>
                      <a:lnTo>
                        <a:pt x="1632384" y="386190"/>
                      </a:lnTo>
                      <a:close/>
                      <a:moveTo>
                        <a:pt x="1317482" y="286178"/>
                      </a:moveTo>
                      <a:lnTo>
                        <a:pt x="1327542" y="286178"/>
                      </a:lnTo>
                      <a:lnTo>
                        <a:pt x="1357722" y="367633"/>
                      </a:lnTo>
                      <a:cubicBezTo>
                        <a:pt x="1358372" y="369391"/>
                        <a:pt x="1358828" y="370726"/>
                        <a:pt x="1359090" y="371638"/>
                      </a:cubicBezTo>
                      <a:cubicBezTo>
                        <a:pt x="1359350" y="372875"/>
                        <a:pt x="1359642" y="373982"/>
                        <a:pt x="1359968" y="374958"/>
                      </a:cubicBezTo>
                      <a:lnTo>
                        <a:pt x="1360358" y="374958"/>
                      </a:lnTo>
                      <a:lnTo>
                        <a:pt x="1362702" y="368219"/>
                      </a:lnTo>
                      <a:lnTo>
                        <a:pt x="1394934" y="286178"/>
                      </a:lnTo>
                      <a:lnTo>
                        <a:pt x="1404700" y="286178"/>
                      </a:lnTo>
                      <a:lnTo>
                        <a:pt x="1355964" y="406603"/>
                      </a:lnTo>
                      <a:cubicBezTo>
                        <a:pt x="1352318" y="415588"/>
                        <a:pt x="1348280" y="422262"/>
                        <a:pt x="1343852" y="426625"/>
                      </a:cubicBezTo>
                      <a:cubicBezTo>
                        <a:pt x="1339426" y="430987"/>
                        <a:pt x="1333728" y="433169"/>
                        <a:pt x="1326760" y="433169"/>
                      </a:cubicBezTo>
                      <a:cubicBezTo>
                        <a:pt x="1323830" y="433169"/>
                        <a:pt x="1321226" y="432713"/>
                        <a:pt x="1318948" y="431801"/>
                      </a:cubicBezTo>
                      <a:lnTo>
                        <a:pt x="1318948" y="422816"/>
                      </a:lnTo>
                      <a:cubicBezTo>
                        <a:pt x="1321292" y="423727"/>
                        <a:pt x="1324026" y="424183"/>
                        <a:pt x="1327152" y="424183"/>
                      </a:cubicBezTo>
                      <a:cubicBezTo>
                        <a:pt x="1335160" y="424183"/>
                        <a:pt x="1341476" y="418649"/>
                        <a:pt x="1346100" y="407580"/>
                      </a:cubicBezTo>
                      <a:lnTo>
                        <a:pt x="1355378" y="385409"/>
                      </a:lnTo>
                      <a:close/>
                      <a:moveTo>
                        <a:pt x="1121996" y="286178"/>
                      </a:moveTo>
                      <a:lnTo>
                        <a:pt x="1130982" y="286178"/>
                      </a:lnTo>
                      <a:lnTo>
                        <a:pt x="1130982" y="386190"/>
                      </a:lnTo>
                      <a:lnTo>
                        <a:pt x="1121996" y="386190"/>
                      </a:lnTo>
                      <a:close/>
                      <a:moveTo>
                        <a:pt x="1006808" y="284224"/>
                      </a:moveTo>
                      <a:cubicBezTo>
                        <a:pt x="1010520" y="284224"/>
                        <a:pt x="1013840" y="284810"/>
                        <a:pt x="1016770" y="285982"/>
                      </a:cubicBezTo>
                      <a:lnTo>
                        <a:pt x="1016770" y="295554"/>
                      </a:lnTo>
                      <a:cubicBezTo>
                        <a:pt x="1013776" y="293405"/>
                        <a:pt x="1010260" y="292331"/>
                        <a:pt x="1006222" y="292331"/>
                      </a:cubicBezTo>
                      <a:cubicBezTo>
                        <a:pt x="998344" y="292331"/>
                        <a:pt x="991734" y="296400"/>
                        <a:pt x="986396" y="304539"/>
                      </a:cubicBezTo>
                      <a:cubicBezTo>
                        <a:pt x="981056" y="312678"/>
                        <a:pt x="978386" y="324236"/>
                        <a:pt x="978386" y="339212"/>
                      </a:cubicBezTo>
                      <a:lnTo>
                        <a:pt x="978386" y="386190"/>
                      </a:lnTo>
                      <a:lnTo>
                        <a:pt x="969596" y="386190"/>
                      </a:lnTo>
                      <a:lnTo>
                        <a:pt x="969596" y="286178"/>
                      </a:lnTo>
                      <a:lnTo>
                        <a:pt x="978386" y="286178"/>
                      </a:lnTo>
                      <a:lnTo>
                        <a:pt x="978386" y="308348"/>
                      </a:lnTo>
                      <a:lnTo>
                        <a:pt x="978778" y="308348"/>
                      </a:lnTo>
                      <a:cubicBezTo>
                        <a:pt x="981056" y="300730"/>
                        <a:pt x="984670" y="294805"/>
                        <a:pt x="989618" y="290573"/>
                      </a:cubicBezTo>
                      <a:cubicBezTo>
                        <a:pt x="994568" y="286341"/>
                        <a:pt x="1000298" y="284224"/>
                        <a:pt x="1006808" y="284224"/>
                      </a:cubicBezTo>
                      <a:close/>
                      <a:moveTo>
                        <a:pt x="2159724" y="283736"/>
                      </a:moveTo>
                      <a:cubicBezTo>
                        <a:pt x="2172160" y="283736"/>
                        <a:pt x="2181700" y="288099"/>
                        <a:pt x="2188340" y="296824"/>
                      </a:cubicBezTo>
                      <a:cubicBezTo>
                        <a:pt x="2194982" y="305549"/>
                        <a:pt x="2198302" y="317464"/>
                        <a:pt x="2198302" y="332570"/>
                      </a:cubicBezTo>
                      <a:lnTo>
                        <a:pt x="2198302" y="336575"/>
                      </a:lnTo>
                      <a:lnTo>
                        <a:pt x="2124270" y="336575"/>
                      </a:lnTo>
                      <a:cubicBezTo>
                        <a:pt x="2124270" y="350313"/>
                        <a:pt x="2127444" y="361057"/>
                        <a:pt x="2133794" y="368805"/>
                      </a:cubicBezTo>
                      <a:cubicBezTo>
                        <a:pt x="2140142" y="376554"/>
                        <a:pt x="2148850" y="380428"/>
                        <a:pt x="2159920" y="380428"/>
                      </a:cubicBezTo>
                      <a:cubicBezTo>
                        <a:pt x="2171118" y="380428"/>
                        <a:pt x="2182058" y="376293"/>
                        <a:pt x="2192736" y="368024"/>
                      </a:cubicBezTo>
                      <a:lnTo>
                        <a:pt x="2192736" y="377595"/>
                      </a:lnTo>
                      <a:cubicBezTo>
                        <a:pt x="2182382" y="384953"/>
                        <a:pt x="2170826" y="388632"/>
                        <a:pt x="2158064" y="388632"/>
                      </a:cubicBezTo>
                      <a:cubicBezTo>
                        <a:pt x="2145172" y="388632"/>
                        <a:pt x="2134754" y="384009"/>
                        <a:pt x="2126810" y="374763"/>
                      </a:cubicBezTo>
                      <a:cubicBezTo>
                        <a:pt x="2118866" y="365517"/>
                        <a:pt x="2114894" y="352462"/>
                        <a:pt x="2114894" y="335598"/>
                      </a:cubicBezTo>
                      <a:cubicBezTo>
                        <a:pt x="2114894" y="321013"/>
                        <a:pt x="2119046" y="308723"/>
                        <a:pt x="2127346" y="298728"/>
                      </a:cubicBezTo>
                      <a:cubicBezTo>
                        <a:pt x="2135648" y="288733"/>
                        <a:pt x="2146442" y="283736"/>
                        <a:pt x="2159724" y="283736"/>
                      </a:cubicBezTo>
                      <a:close/>
                      <a:moveTo>
                        <a:pt x="1910902" y="283736"/>
                      </a:moveTo>
                      <a:cubicBezTo>
                        <a:pt x="1921190" y="283736"/>
                        <a:pt x="1929150" y="286927"/>
                        <a:pt x="1934782" y="293308"/>
                      </a:cubicBezTo>
                      <a:cubicBezTo>
                        <a:pt x="1940414" y="299689"/>
                        <a:pt x="1943230" y="308967"/>
                        <a:pt x="1943230" y="321143"/>
                      </a:cubicBezTo>
                      <a:lnTo>
                        <a:pt x="1943230" y="386190"/>
                      </a:lnTo>
                      <a:lnTo>
                        <a:pt x="1934244" y="386190"/>
                      </a:lnTo>
                      <a:lnTo>
                        <a:pt x="1934244" y="366168"/>
                      </a:lnTo>
                      <a:lnTo>
                        <a:pt x="1933854" y="366168"/>
                      </a:lnTo>
                      <a:cubicBezTo>
                        <a:pt x="1930664" y="373005"/>
                        <a:pt x="1926024" y="378458"/>
                        <a:pt x="1919936" y="382528"/>
                      </a:cubicBezTo>
                      <a:cubicBezTo>
                        <a:pt x="1913848" y="386597"/>
                        <a:pt x="1907092" y="388632"/>
                        <a:pt x="1899670" y="388632"/>
                      </a:cubicBezTo>
                      <a:cubicBezTo>
                        <a:pt x="1890164" y="388632"/>
                        <a:pt x="1882644" y="385962"/>
                        <a:pt x="1877108" y="380623"/>
                      </a:cubicBezTo>
                      <a:cubicBezTo>
                        <a:pt x="1871574" y="375284"/>
                        <a:pt x="1868806" y="368545"/>
                        <a:pt x="1868806" y="360406"/>
                      </a:cubicBezTo>
                      <a:cubicBezTo>
                        <a:pt x="1868806" y="342956"/>
                        <a:pt x="1880364" y="332407"/>
                        <a:pt x="1903478" y="328761"/>
                      </a:cubicBezTo>
                      <a:lnTo>
                        <a:pt x="1934244" y="324171"/>
                      </a:lnTo>
                      <a:cubicBezTo>
                        <a:pt x="1934244" y="302684"/>
                        <a:pt x="1926170" y="291940"/>
                        <a:pt x="1910022" y="291940"/>
                      </a:cubicBezTo>
                      <a:cubicBezTo>
                        <a:pt x="1899018" y="291940"/>
                        <a:pt x="1888308" y="296368"/>
                        <a:pt x="1877890" y="305223"/>
                      </a:cubicBezTo>
                      <a:lnTo>
                        <a:pt x="1877890" y="294382"/>
                      </a:lnTo>
                      <a:cubicBezTo>
                        <a:pt x="1881602" y="291452"/>
                        <a:pt x="1886632" y="288945"/>
                        <a:pt x="1892980" y="286861"/>
                      </a:cubicBezTo>
                      <a:cubicBezTo>
                        <a:pt x="1899328" y="284778"/>
                        <a:pt x="1905302" y="283736"/>
                        <a:pt x="1910902" y="283736"/>
                      </a:cubicBezTo>
                      <a:close/>
                      <a:moveTo>
                        <a:pt x="1739452" y="283736"/>
                      </a:moveTo>
                      <a:cubicBezTo>
                        <a:pt x="1749740" y="283736"/>
                        <a:pt x="1757700" y="286927"/>
                        <a:pt x="1763332" y="293308"/>
                      </a:cubicBezTo>
                      <a:cubicBezTo>
                        <a:pt x="1768964" y="299689"/>
                        <a:pt x="1771780" y="308967"/>
                        <a:pt x="1771780" y="321143"/>
                      </a:cubicBezTo>
                      <a:lnTo>
                        <a:pt x="1771780" y="386190"/>
                      </a:lnTo>
                      <a:lnTo>
                        <a:pt x="1762794" y="386190"/>
                      </a:lnTo>
                      <a:lnTo>
                        <a:pt x="1762794" y="366168"/>
                      </a:lnTo>
                      <a:lnTo>
                        <a:pt x="1762404" y="366168"/>
                      </a:lnTo>
                      <a:cubicBezTo>
                        <a:pt x="1759214" y="373005"/>
                        <a:pt x="1754574" y="378458"/>
                        <a:pt x="1748486" y="382528"/>
                      </a:cubicBezTo>
                      <a:cubicBezTo>
                        <a:pt x="1742398" y="386597"/>
                        <a:pt x="1735644" y="388632"/>
                        <a:pt x="1728220" y="388632"/>
                      </a:cubicBezTo>
                      <a:cubicBezTo>
                        <a:pt x="1718714" y="388632"/>
                        <a:pt x="1711194" y="385962"/>
                        <a:pt x="1705658" y="380623"/>
                      </a:cubicBezTo>
                      <a:cubicBezTo>
                        <a:pt x="1700124" y="375284"/>
                        <a:pt x="1697358" y="368545"/>
                        <a:pt x="1697358" y="360406"/>
                      </a:cubicBezTo>
                      <a:cubicBezTo>
                        <a:pt x="1697358" y="342956"/>
                        <a:pt x="1708914" y="332407"/>
                        <a:pt x="1732030" y="328761"/>
                      </a:cubicBezTo>
                      <a:lnTo>
                        <a:pt x="1762794" y="324171"/>
                      </a:lnTo>
                      <a:cubicBezTo>
                        <a:pt x="1762794" y="302684"/>
                        <a:pt x="1754720" y="291940"/>
                        <a:pt x="1738574" y="291940"/>
                      </a:cubicBezTo>
                      <a:cubicBezTo>
                        <a:pt x="1727570" y="291940"/>
                        <a:pt x="1716858" y="296368"/>
                        <a:pt x="1706440" y="305223"/>
                      </a:cubicBezTo>
                      <a:lnTo>
                        <a:pt x="1706440" y="294382"/>
                      </a:lnTo>
                      <a:cubicBezTo>
                        <a:pt x="1710152" y="291452"/>
                        <a:pt x="1715182" y="288945"/>
                        <a:pt x="1721530" y="286861"/>
                      </a:cubicBezTo>
                      <a:cubicBezTo>
                        <a:pt x="1727878" y="284778"/>
                        <a:pt x="1733852" y="283736"/>
                        <a:pt x="1739452" y="283736"/>
                      </a:cubicBezTo>
                      <a:close/>
                      <a:moveTo>
                        <a:pt x="1548952" y="283736"/>
                      </a:moveTo>
                      <a:cubicBezTo>
                        <a:pt x="1559240" y="283736"/>
                        <a:pt x="1567200" y="286927"/>
                        <a:pt x="1572832" y="293308"/>
                      </a:cubicBezTo>
                      <a:cubicBezTo>
                        <a:pt x="1578464" y="299689"/>
                        <a:pt x="1581280" y="308967"/>
                        <a:pt x="1581280" y="321143"/>
                      </a:cubicBezTo>
                      <a:lnTo>
                        <a:pt x="1581280" y="386190"/>
                      </a:lnTo>
                      <a:lnTo>
                        <a:pt x="1572294" y="386190"/>
                      </a:lnTo>
                      <a:lnTo>
                        <a:pt x="1572294" y="366168"/>
                      </a:lnTo>
                      <a:lnTo>
                        <a:pt x="1571904" y="366168"/>
                      </a:lnTo>
                      <a:cubicBezTo>
                        <a:pt x="1568714" y="373005"/>
                        <a:pt x="1564074" y="378458"/>
                        <a:pt x="1557986" y="382528"/>
                      </a:cubicBezTo>
                      <a:cubicBezTo>
                        <a:pt x="1551898" y="386597"/>
                        <a:pt x="1545142" y="388632"/>
                        <a:pt x="1537720" y="388632"/>
                      </a:cubicBezTo>
                      <a:cubicBezTo>
                        <a:pt x="1528214" y="388632"/>
                        <a:pt x="1520694" y="385962"/>
                        <a:pt x="1515158" y="380623"/>
                      </a:cubicBezTo>
                      <a:cubicBezTo>
                        <a:pt x="1509624" y="375284"/>
                        <a:pt x="1506856" y="368545"/>
                        <a:pt x="1506856" y="360406"/>
                      </a:cubicBezTo>
                      <a:cubicBezTo>
                        <a:pt x="1506856" y="342956"/>
                        <a:pt x="1518414" y="332407"/>
                        <a:pt x="1541530" y="328761"/>
                      </a:cubicBezTo>
                      <a:lnTo>
                        <a:pt x="1572294" y="324171"/>
                      </a:lnTo>
                      <a:cubicBezTo>
                        <a:pt x="1572294" y="302684"/>
                        <a:pt x="1564220" y="291940"/>
                        <a:pt x="1548074" y="291940"/>
                      </a:cubicBezTo>
                      <a:cubicBezTo>
                        <a:pt x="1537070" y="291940"/>
                        <a:pt x="1526358" y="296368"/>
                        <a:pt x="1515940" y="305223"/>
                      </a:cubicBezTo>
                      <a:lnTo>
                        <a:pt x="1515940" y="294382"/>
                      </a:lnTo>
                      <a:cubicBezTo>
                        <a:pt x="1519652" y="291452"/>
                        <a:pt x="1524682" y="288945"/>
                        <a:pt x="1531030" y="286861"/>
                      </a:cubicBezTo>
                      <a:cubicBezTo>
                        <a:pt x="1537378" y="284778"/>
                        <a:pt x="1543352" y="283736"/>
                        <a:pt x="1548952" y="283736"/>
                      </a:cubicBezTo>
                      <a:close/>
                      <a:moveTo>
                        <a:pt x="1196526" y="283736"/>
                      </a:moveTo>
                      <a:cubicBezTo>
                        <a:pt x="1206814" y="283736"/>
                        <a:pt x="1214774" y="286927"/>
                        <a:pt x="1220406" y="293308"/>
                      </a:cubicBezTo>
                      <a:cubicBezTo>
                        <a:pt x="1226038" y="299689"/>
                        <a:pt x="1228856" y="308967"/>
                        <a:pt x="1228856" y="321143"/>
                      </a:cubicBezTo>
                      <a:lnTo>
                        <a:pt x="1228856" y="386190"/>
                      </a:lnTo>
                      <a:lnTo>
                        <a:pt x="1219870" y="386190"/>
                      </a:lnTo>
                      <a:lnTo>
                        <a:pt x="1219870" y="366168"/>
                      </a:lnTo>
                      <a:lnTo>
                        <a:pt x="1219478" y="366168"/>
                      </a:lnTo>
                      <a:cubicBezTo>
                        <a:pt x="1216288" y="373005"/>
                        <a:pt x="1211650" y="378458"/>
                        <a:pt x="1205562" y="382528"/>
                      </a:cubicBezTo>
                      <a:cubicBezTo>
                        <a:pt x="1199474" y="386597"/>
                        <a:pt x="1192718" y="388632"/>
                        <a:pt x="1185294" y="388632"/>
                      </a:cubicBezTo>
                      <a:cubicBezTo>
                        <a:pt x="1175788" y="388632"/>
                        <a:pt x="1168268" y="385962"/>
                        <a:pt x="1162734" y="380623"/>
                      </a:cubicBezTo>
                      <a:cubicBezTo>
                        <a:pt x="1157198" y="375284"/>
                        <a:pt x="1154432" y="368545"/>
                        <a:pt x="1154432" y="360406"/>
                      </a:cubicBezTo>
                      <a:cubicBezTo>
                        <a:pt x="1154432" y="342956"/>
                        <a:pt x="1165990" y="332407"/>
                        <a:pt x="1189104" y="328761"/>
                      </a:cubicBezTo>
                      <a:lnTo>
                        <a:pt x="1219870" y="324171"/>
                      </a:lnTo>
                      <a:cubicBezTo>
                        <a:pt x="1219870" y="302684"/>
                        <a:pt x="1211796" y="291940"/>
                        <a:pt x="1195648" y="291940"/>
                      </a:cubicBezTo>
                      <a:cubicBezTo>
                        <a:pt x="1184644" y="291940"/>
                        <a:pt x="1173934" y="296368"/>
                        <a:pt x="1163514" y="305223"/>
                      </a:cubicBezTo>
                      <a:lnTo>
                        <a:pt x="1163514" y="294382"/>
                      </a:lnTo>
                      <a:cubicBezTo>
                        <a:pt x="1167226" y="291452"/>
                        <a:pt x="1172256" y="288945"/>
                        <a:pt x="1178604" y="286861"/>
                      </a:cubicBezTo>
                      <a:cubicBezTo>
                        <a:pt x="1184954" y="284778"/>
                        <a:pt x="1190928" y="283736"/>
                        <a:pt x="1196526" y="283736"/>
                      </a:cubicBezTo>
                      <a:close/>
                      <a:moveTo>
                        <a:pt x="1079246" y="283736"/>
                      </a:moveTo>
                      <a:cubicBezTo>
                        <a:pt x="1086864" y="283736"/>
                        <a:pt x="1094254" y="285299"/>
                        <a:pt x="1101416" y="288424"/>
                      </a:cubicBezTo>
                      <a:lnTo>
                        <a:pt x="1101416" y="298582"/>
                      </a:lnTo>
                      <a:cubicBezTo>
                        <a:pt x="1094254" y="294154"/>
                        <a:pt x="1086408" y="291940"/>
                        <a:pt x="1077878" y="291940"/>
                      </a:cubicBezTo>
                      <a:cubicBezTo>
                        <a:pt x="1066158" y="291940"/>
                        <a:pt x="1056652" y="296156"/>
                        <a:pt x="1049360" y="304588"/>
                      </a:cubicBezTo>
                      <a:cubicBezTo>
                        <a:pt x="1042066" y="313020"/>
                        <a:pt x="1038420" y="323943"/>
                        <a:pt x="1038420" y="337356"/>
                      </a:cubicBezTo>
                      <a:cubicBezTo>
                        <a:pt x="1038420" y="350313"/>
                        <a:pt x="1041758" y="360731"/>
                        <a:pt x="1048432" y="368610"/>
                      </a:cubicBezTo>
                      <a:cubicBezTo>
                        <a:pt x="1055106" y="376488"/>
                        <a:pt x="1063912" y="380428"/>
                        <a:pt x="1074850" y="380428"/>
                      </a:cubicBezTo>
                      <a:cubicBezTo>
                        <a:pt x="1084878" y="380428"/>
                        <a:pt x="1093602" y="377758"/>
                        <a:pt x="1101026" y="372419"/>
                      </a:cubicBezTo>
                      <a:lnTo>
                        <a:pt x="1101026" y="381795"/>
                      </a:lnTo>
                      <a:cubicBezTo>
                        <a:pt x="1093602" y="386353"/>
                        <a:pt x="1084748" y="388632"/>
                        <a:pt x="1074460" y="388632"/>
                      </a:cubicBezTo>
                      <a:cubicBezTo>
                        <a:pt x="1060852" y="388632"/>
                        <a:pt x="1049880" y="383960"/>
                        <a:pt x="1041546" y="374617"/>
                      </a:cubicBezTo>
                      <a:cubicBezTo>
                        <a:pt x="1033212" y="365273"/>
                        <a:pt x="1029044" y="353048"/>
                        <a:pt x="1029044" y="337942"/>
                      </a:cubicBezTo>
                      <a:cubicBezTo>
                        <a:pt x="1029044" y="322055"/>
                        <a:pt x="1033732" y="309048"/>
                        <a:pt x="1043108" y="298923"/>
                      </a:cubicBezTo>
                      <a:cubicBezTo>
                        <a:pt x="1052484" y="288798"/>
                        <a:pt x="1064530" y="283736"/>
                        <a:pt x="1079246" y="283736"/>
                      </a:cubicBezTo>
                      <a:close/>
                      <a:moveTo>
                        <a:pt x="902424" y="283736"/>
                      </a:moveTo>
                      <a:cubicBezTo>
                        <a:pt x="914860" y="283736"/>
                        <a:pt x="924400" y="288099"/>
                        <a:pt x="931040" y="296824"/>
                      </a:cubicBezTo>
                      <a:cubicBezTo>
                        <a:pt x="937682" y="305549"/>
                        <a:pt x="941004" y="317464"/>
                        <a:pt x="941004" y="332570"/>
                      </a:cubicBezTo>
                      <a:lnTo>
                        <a:pt x="941004" y="336575"/>
                      </a:lnTo>
                      <a:lnTo>
                        <a:pt x="866970" y="336575"/>
                      </a:lnTo>
                      <a:cubicBezTo>
                        <a:pt x="866970" y="350313"/>
                        <a:pt x="870144" y="361057"/>
                        <a:pt x="876494" y="368805"/>
                      </a:cubicBezTo>
                      <a:cubicBezTo>
                        <a:pt x="882842" y="376554"/>
                        <a:pt x="891550" y="380428"/>
                        <a:pt x="902620" y="380428"/>
                      </a:cubicBezTo>
                      <a:cubicBezTo>
                        <a:pt x="913818" y="380428"/>
                        <a:pt x="924758" y="376293"/>
                        <a:pt x="935436" y="368024"/>
                      </a:cubicBezTo>
                      <a:lnTo>
                        <a:pt x="935436" y="377595"/>
                      </a:lnTo>
                      <a:cubicBezTo>
                        <a:pt x="925084" y="384953"/>
                        <a:pt x="913526" y="388632"/>
                        <a:pt x="900764" y="388632"/>
                      </a:cubicBezTo>
                      <a:cubicBezTo>
                        <a:pt x="887872" y="388632"/>
                        <a:pt x="877454" y="384009"/>
                        <a:pt x="869510" y="374763"/>
                      </a:cubicBezTo>
                      <a:cubicBezTo>
                        <a:pt x="861566" y="365517"/>
                        <a:pt x="857594" y="352462"/>
                        <a:pt x="857594" y="335598"/>
                      </a:cubicBezTo>
                      <a:cubicBezTo>
                        <a:pt x="857594" y="321013"/>
                        <a:pt x="861746" y="308723"/>
                        <a:pt x="870046" y="298728"/>
                      </a:cubicBezTo>
                      <a:cubicBezTo>
                        <a:pt x="878348" y="288733"/>
                        <a:pt x="889142" y="283736"/>
                        <a:pt x="902424" y="283736"/>
                      </a:cubicBezTo>
                      <a:close/>
                      <a:moveTo>
                        <a:pt x="742844" y="283736"/>
                      </a:moveTo>
                      <a:cubicBezTo>
                        <a:pt x="750136" y="283736"/>
                        <a:pt x="756370" y="285836"/>
                        <a:pt x="761546" y="290036"/>
                      </a:cubicBezTo>
                      <a:cubicBezTo>
                        <a:pt x="766724" y="294235"/>
                        <a:pt x="770222" y="299754"/>
                        <a:pt x="772046" y="306590"/>
                      </a:cubicBezTo>
                      <a:cubicBezTo>
                        <a:pt x="775172" y="299363"/>
                        <a:pt x="779648" y="293747"/>
                        <a:pt x="785476" y="289743"/>
                      </a:cubicBezTo>
                      <a:cubicBezTo>
                        <a:pt x="791302" y="285738"/>
                        <a:pt x="797634" y="283736"/>
                        <a:pt x="804472" y="283736"/>
                      </a:cubicBezTo>
                      <a:cubicBezTo>
                        <a:pt x="826350" y="283736"/>
                        <a:pt x="837288" y="297279"/>
                        <a:pt x="837288" y="324366"/>
                      </a:cubicBezTo>
                      <a:lnTo>
                        <a:pt x="837288" y="386190"/>
                      </a:lnTo>
                      <a:lnTo>
                        <a:pt x="828302" y="386190"/>
                      </a:lnTo>
                      <a:lnTo>
                        <a:pt x="828302" y="326026"/>
                      </a:lnTo>
                      <a:cubicBezTo>
                        <a:pt x="828302" y="313460"/>
                        <a:pt x="826334" y="304637"/>
                        <a:pt x="822394" y="299558"/>
                      </a:cubicBezTo>
                      <a:cubicBezTo>
                        <a:pt x="818454" y="294480"/>
                        <a:pt x="812220" y="291940"/>
                        <a:pt x="803690" y="291940"/>
                      </a:cubicBezTo>
                      <a:cubicBezTo>
                        <a:pt x="795812" y="291940"/>
                        <a:pt x="789008" y="295326"/>
                        <a:pt x="783278" y="302098"/>
                      </a:cubicBezTo>
                      <a:cubicBezTo>
                        <a:pt x="777548" y="308869"/>
                        <a:pt x="774682" y="317367"/>
                        <a:pt x="774682" y="327589"/>
                      </a:cubicBezTo>
                      <a:lnTo>
                        <a:pt x="774682" y="386190"/>
                      </a:lnTo>
                      <a:lnTo>
                        <a:pt x="765698" y="386190"/>
                      </a:lnTo>
                      <a:lnTo>
                        <a:pt x="765698" y="325343"/>
                      </a:lnTo>
                      <a:cubicBezTo>
                        <a:pt x="765698" y="303074"/>
                        <a:pt x="757234" y="291940"/>
                        <a:pt x="740304" y="291940"/>
                      </a:cubicBezTo>
                      <a:cubicBezTo>
                        <a:pt x="732164" y="291940"/>
                        <a:pt x="725392" y="295342"/>
                        <a:pt x="719988" y="302147"/>
                      </a:cubicBezTo>
                      <a:cubicBezTo>
                        <a:pt x="714584" y="308951"/>
                        <a:pt x="711882" y="317757"/>
                        <a:pt x="711882" y="328566"/>
                      </a:cubicBezTo>
                      <a:lnTo>
                        <a:pt x="711882" y="386190"/>
                      </a:lnTo>
                      <a:lnTo>
                        <a:pt x="702896" y="386190"/>
                      </a:lnTo>
                      <a:lnTo>
                        <a:pt x="702896" y="286178"/>
                      </a:lnTo>
                      <a:lnTo>
                        <a:pt x="711882" y="286178"/>
                      </a:lnTo>
                      <a:lnTo>
                        <a:pt x="711882" y="302781"/>
                      </a:lnTo>
                      <a:lnTo>
                        <a:pt x="712272" y="302781"/>
                      </a:lnTo>
                      <a:cubicBezTo>
                        <a:pt x="719240" y="290084"/>
                        <a:pt x="729430" y="283736"/>
                        <a:pt x="742844" y="283736"/>
                      </a:cubicBezTo>
                      <a:close/>
                      <a:moveTo>
                        <a:pt x="580918" y="283736"/>
                      </a:moveTo>
                      <a:cubicBezTo>
                        <a:pt x="588210" y="283736"/>
                        <a:pt x="594446" y="285836"/>
                        <a:pt x="599622" y="290036"/>
                      </a:cubicBezTo>
                      <a:cubicBezTo>
                        <a:pt x="604798" y="294235"/>
                        <a:pt x="608298" y="299754"/>
                        <a:pt x="610120" y="306590"/>
                      </a:cubicBezTo>
                      <a:cubicBezTo>
                        <a:pt x="613246" y="299363"/>
                        <a:pt x="617722" y="293747"/>
                        <a:pt x="623550" y="289743"/>
                      </a:cubicBezTo>
                      <a:cubicBezTo>
                        <a:pt x="629378" y="285738"/>
                        <a:pt x="635710" y="283736"/>
                        <a:pt x="642546" y="283736"/>
                      </a:cubicBezTo>
                      <a:cubicBezTo>
                        <a:pt x="664424" y="283736"/>
                        <a:pt x="675364" y="297279"/>
                        <a:pt x="675364" y="324366"/>
                      </a:cubicBezTo>
                      <a:lnTo>
                        <a:pt x="675364" y="386190"/>
                      </a:lnTo>
                      <a:lnTo>
                        <a:pt x="666378" y="386190"/>
                      </a:lnTo>
                      <a:lnTo>
                        <a:pt x="666378" y="326026"/>
                      </a:lnTo>
                      <a:cubicBezTo>
                        <a:pt x="666378" y="313460"/>
                        <a:pt x="664408" y="304637"/>
                        <a:pt x="660470" y="299558"/>
                      </a:cubicBezTo>
                      <a:cubicBezTo>
                        <a:pt x="656530" y="294480"/>
                        <a:pt x="650296" y="291940"/>
                        <a:pt x="641766" y="291940"/>
                      </a:cubicBezTo>
                      <a:cubicBezTo>
                        <a:pt x="633886" y="291940"/>
                        <a:pt x="627082" y="295326"/>
                        <a:pt x="621352" y="302098"/>
                      </a:cubicBezTo>
                      <a:cubicBezTo>
                        <a:pt x="615622" y="308869"/>
                        <a:pt x="612758" y="317367"/>
                        <a:pt x="612758" y="327589"/>
                      </a:cubicBezTo>
                      <a:lnTo>
                        <a:pt x="612758" y="386190"/>
                      </a:lnTo>
                      <a:lnTo>
                        <a:pt x="603772" y="386190"/>
                      </a:lnTo>
                      <a:lnTo>
                        <a:pt x="603772" y="325343"/>
                      </a:lnTo>
                      <a:cubicBezTo>
                        <a:pt x="603772" y="303074"/>
                        <a:pt x="595308" y="291940"/>
                        <a:pt x="578378" y="291940"/>
                      </a:cubicBezTo>
                      <a:cubicBezTo>
                        <a:pt x="570240" y="291940"/>
                        <a:pt x="563468" y="295342"/>
                        <a:pt x="558064" y="302147"/>
                      </a:cubicBezTo>
                      <a:cubicBezTo>
                        <a:pt x="552660" y="308951"/>
                        <a:pt x="549958" y="317757"/>
                        <a:pt x="549958" y="328566"/>
                      </a:cubicBezTo>
                      <a:lnTo>
                        <a:pt x="549958" y="386190"/>
                      </a:lnTo>
                      <a:lnTo>
                        <a:pt x="540972" y="386190"/>
                      </a:lnTo>
                      <a:lnTo>
                        <a:pt x="540972" y="286178"/>
                      </a:lnTo>
                      <a:lnTo>
                        <a:pt x="549958" y="286178"/>
                      </a:lnTo>
                      <a:lnTo>
                        <a:pt x="549958" y="302781"/>
                      </a:lnTo>
                      <a:lnTo>
                        <a:pt x="550348" y="302781"/>
                      </a:lnTo>
                      <a:cubicBezTo>
                        <a:pt x="557314" y="290084"/>
                        <a:pt x="567504" y="283736"/>
                        <a:pt x="580918" y="283736"/>
                      </a:cubicBezTo>
                      <a:close/>
                      <a:moveTo>
                        <a:pt x="467888" y="283736"/>
                      </a:moveTo>
                      <a:cubicBezTo>
                        <a:pt x="482148" y="283736"/>
                        <a:pt x="493412" y="288392"/>
                        <a:pt x="501682" y="297703"/>
                      </a:cubicBezTo>
                      <a:cubicBezTo>
                        <a:pt x="509950" y="307014"/>
                        <a:pt x="514086" y="319906"/>
                        <a:pt x="514086" y="336379"/>
                      </a:cubicBezTo>
                      <a:cubicBezTo>
                        <a:pt x="514086" y="351941"/>
                        <a:pt x="509870" y="364540"/>
                        <a:pt x="501436" y="374177"/>
                      </a:cubicBezTo>
                      <a:cubicBezTo>
                        <a:pt x="493004" y="383814"/>
                        <a:pt x="481464" y="388632"/>
                        <a:pt x="466814" y="388632"/>
                      </a:cubicBezTo>
                      <a:cubicBezTo>
                        <a:pt x="452228" y="388632"/>
                        <a:pt x="440688" y="383830"/>
                        <a:pt x="432190" y="374226"/>
                      </a:cubicBezTo>
                      <a:cubicBezTo>
                        <a:pt x="423692" y="364622"/>
                        <a:pt x="419444" y="352136"/>
                        <a:pt x="419444" y="336770"/>
                      </a:cubicBezTo>
                      <a:cubicBezTo>
                        <a:pt x="419444" y="320166"/>
                        <a:pt x="423888" y="307176"/>
                        <a:pt x="432776" y="297800"/>
                      </a:cubicBezTo>
                      <a:cubicBezTo>
                        <a:pt x="441664" y="288424"/>
                        <a:pt x="453368" y="283736"/>
                        <a:pt x="467888" y="283736"/>
                      </a:cubicBezTo>
                      <a:close/>
                      <a:moveTo>
                        <a:pt x="383920" y="283736"/>
                      </a:moveTo>
                      <a:cubicBezTo>
                        <a:pt x="391538" y="283736"/>
                        <a:pt x="398930" y="285299"/>
                        <a:pt x="406092" y="288424"/>
                      </a:cubicBezTo>
                      <a:lnTo>
                        <a:pt x="406092" y="298582"/>
                      </a:lnTo>
                      <a:cubicBezTo>
                        <a:pt x="398930" y="294154"/>
                        <a:pt x="391084" y="291940"/>
                        <a:pt x="382554" y="291940"/>
                      </a:cubicBezTo>
                      <a:cubicBezTo>
                        <a:pt x="370834" y="291940"/>
                        <a:pt x="361326" y="296156"/>
                        <a:pt x="354034" y="304588"/>
                      </a:cubicBezTo>
                      <a:cubicBezTo>
                        <a:pt x="346742" y="313020"/>
                        <a:pt x="343096" y="323943"/>
                        <a:pt x="343096" y="337356"/>
                      </a:cubicBezTo>
                      <a:cubicBezTo>
                        <a:pt x="343096" y="350313"/>
                        <a:pt x="346432" y="360731"/>
                        <a:pt x="353106" y="368610"/>
                      </a:cubicBezTo>
                      <a:cubicBezTo>
                        <a:pt x="359780" y="376488"/>
                        <a:pt x="368586" y="380428"/>
                        <a:pt x="379526" y="380428"/>
                      </a:cubicBezTo>
                      <a:cubicBezTo>
                        <a:pt x="389552" y="380428"/>
                        <a:pt x="398278" y="377758"/>
                        <a:pt x="405700" y="372419"/>
                      </a:cubicBezTo>
                      <a:lnTo>
                        <a:pt x="405700" y="381795"/>
                      </a:lnTo>
                      <a:cubicBezTo>
                        <a:pt x="398278" y="386353"/>
                        <a:pt x="389422" y="388632"/>
                        <a:pt x="379136" y="388632"/>
                      </a:cubicBezTo>
                      <a:cubicBezTo>
                        <a:pt x="365526" y="388632"/>
                        <a:pt x="354556" y="383960"/>
                        <a:pt x="346220" y="374617"/>
                      </a:cubicBezTo>
                      <a:cubicBezTo>
                        <a:pt x="337886" y="365273"/>
                        <a:pt x="333720" y="353048"/>
                        <a:pt x="333720" y="337942"/>
                      </a:cubicBezTo>
                      <a:cubicBezTo>
                        <a:pt x="333720" y="322055"/>
                        <a:pt x="338408" y="309048"/>
                        <a:pt x="347784" y="298923"/>
                      </a:cubicBezTo>
                      <a:cubicBezTo>
                        <a:pt x="357160" y="288798"/>
                        <a:pt x="369206" y="283736"/>
                        <a:pt x="383920" y="283736"/>
                      </a:cubicBezTo>
                      <a:close/>
                      <a:moveTo>
                        <a:pt x="216624" y="283736"/>
                      </a:moveTo>
                      <a:cubicBezTo>
                        <a:pt x="229060" y="283736"/>
                        <a:pt x="238600" y="288099"/>
                        <a:pt x="245240" y="296824"/>
                      </a:cubicBezTo>
                      <a:cubicBezTo>
                        <a:pt x="251882" y="305549"/>
                        <a:pt x="255204" y="317464"/>
                        <a:pt x="255204" y="332570"/>
                      </a:cubicBezTo>
                      <a:lnTo>
                        <a:pt x="255204" y="336575"/>
                      </a:lnTo>
                      <a:lnTo>
                        <a:pt x="181170" y="336575"/>
                      </a:lnTo>
                      <a:cubicBezTo>
                        <a:pt x="181170" y="350313"/>
                        <a:pt x="184344" y="361057"/>
                        <a:pt x="190694" y="368805"/>
                      </a:cubicBezTo>
                      <a:cubicBezTo>
                        <a:pt x="197042" y="376554"/>
                        <a:pt x="205750" y="380428"/>
                        <a:pt x="216820" y="380428"/>
                      </a:cubicBezTo>
                      <a:cubicBezTo>
                        <a:pt x="228018" y="380428"/>
                        <a:pt x="238958" y="376293"/>
                        <a:pt x="249636" y="368024"/>
                      </a:cubicBezTo>
                      <a:lnTo>
                        <a:pt x="249636" y="377595"/>
                      </a:lnTo>
                      <a:cubicBezTo>
                        <a:pt x="239282" y="384953"/>
                        <a:pt x="227726" y="388632"/>
                        <a:pt x="214964" y="388632"/>
                      </a:cubicBezTo>
                      <a:cubicBezTo>
                        <a:pt x="202072" y="388632"/>
                        <a:pt x="191654" y="384009"/>
                        <a:pt x="183710" y="374763"/>
                      </a:cubicBezTo>
                      <a:cubicBezTo>
                        <a:pt x="175766" y="365517"/>
                        <a:pt x="171794" y="352462"/>
                        <a:pt x="171794" y="335598"/>
                      </a:cubicBezTo>
                      <a:cubicBezTo>
                        <a:pt x="171794" y="321013"/>
                        <a:pt x="175946" y="308723"/>
                        <a:pt x="184246" y="298728"/>
                      </a:cubicBezTo>
                      <a:cubicBezTo>
                        <a:pt x="192548" y="288733"/>
                        <a:pt x="203342" y="283736"/>
                        <a:pt x="216624" y="283736"/>
                      </a:cubicBezTo>
                      <a:close/>
                      <a:moveTo>
                        <a:pt x="1802666" y="246134"/>
                      </a:moveTo>
                      <a:cubicBezTo>
                        <a:pt x="1804686" y="246134"/>
                        <a:pt x="1806460" y="246785"/>
                        <a:pt x="1807990" y="248087"/>
                      </a:cubicBezTo>
                      <a:cubicBezTo>
                        <a:pt x="1809520" y="249389"/>
                        <a:pt x="1810284" y="251147"/>
                        <a:pt x="1810284" y="253361"/>
                      </a:cubicBezTo>
                      <a:cubicBezTo>
                        <a:pt x="1810284" y="255445"/>
                        <a:pt x="1809536" y="257235"/>
                        <a:pt x="1808038" y="258733"/>
                      </a:cubicBezTo>
                      <a:cubicBezTo>
                        <a:pt x="1806540" y="260230"/>
                        <a:pt x="1804750" y="260979"/>
                        <a:pt x="1802666" y="260979"/>
                      </a:cubicBezTo>
                      <a:cubicBezTo>
                        <a:pt x="1800714" y="260979"/>
                        <a:pt x="1798988" y="260263"/>
                        <a:pt x="1797490" y="258831"/>
                      </a:cubicBezTo>
                      <a:cubicBezTo>
                        <a:pt x="1795992" y="257398"/>
                        <a:pt x="1795244" y="255575"/>
                        <a:pt x="1795244" y="253361"/>
                      </a:cubicBezTo>
                      <a:cubicBezTo>
                        <a:pt x="1795244" y="251212"/>
                        <a:pt x="1796010" y="249471"/>
                        <a:pt x="1797538" y="248136"/>
                      </a:cubicBezTo>
                      <a:cubicBezTo>
                        <a:pt x="1799070" y="246801"/>
                        <a:pt x="1800778" y="246134"/>
                        <a:pt x="1802666" y="246134"/>
                      </a:cubicBezTo>
                      <a:close/>
                      <a:moveTo>
                        <a:pt x="1126392" y="246134"/>
                      </a:moveTo>
                      <a:cubicBezTo>
                        <a:pt x="1128410" y="246134"/>
                        <a:pt x="1130184" y="246785"/>
                        <a:pt x="1131714" y="248087"/>
                      </a:cubicBezTo>
                      <a:cubicBezTo>
                        <a:pt x="1133246" y="249389"/>
                        <a:pt x="1134010" y="251147"/>
                        <a:pt x="1134010" y="253361"/>
                      </a:cubicBezTo>
                      <a:cubicBezTo>
                        <a:pt x="1134010" y="255445"/>
                        <a:pt x="1133262" y="257235"/>
                        <a:pt x="1131764" y="258733"/>
                      </a:cubicBezTo>
                      <a:cubicBezTo>
                        <a:pt x="1130266" y="260230"/>
                        <a:pt x="1128476" y="260979"/>
                        <a:pt x="1126392" y="260979"/>
                      </a:cubicBezTo>
                      <a:cubicBezTo>
                        <a:pt x="1124438" y="260979"/>
                        <a:pt x="1122714" y="260263"/>
                        <a:pt x="1121216" y="258831"/>
                      </a:cubicBezTo>
                      <a:cubicBezTo>
                        <a:pt x="1119718" y="257398"/>
                        <a:pt x="1118970" y="255575"/>
                        <a:pt x="1118970" y="253361"/>
                      </a:cubicBezTo>
                      <a:cubicBezTo>
                        <a:pt x="1118970" y="251212"/>
                        <a:pt x="1119734" y="249471"/>
                        <a:pt x="1121264" y="248136"/>
                      </a:cubicBezTo>
                      <a:cubicBezTo>
                        <a:pt x="1122794" y="246801"/>
                        <a:pt x="1124504" y="246134"/>
                        <a:pt x="1126392" y="246134"/>
                      </a:cubicBezTo>
                      <a:close/>
                      <a:moveTo>
                        <a:pt x="2084022" y="238125"/>
                      </a:moveTo>
                      <a:lnTo>
                        <a:pt x="2093006" y="238125"/>
                      </a:lnTo>
                      <a:lnTo>
                        <a:pt x="2093006" y="386190"/>
                      </a:lnTo>
                      <a:lnTo>
                        <a:pt x="2084022" y="386190"/>
                      </a:lnTo>
                      <a:close/>
                      <a:moveTo>
                        <a:pt x="1969722" y="238125"/>
                      </a:moveTo>
                      <a:lnTo>
                        <a:pt x="1978706" y="238125"/>
                      </a:lnTo>
                      <a:lnTo>
                        <a:pt x="1978706" y="306786"/>
                      </a:lnTo>
                      <a:lnTo>
                        <a:pt x="1979098" y="306786"/>
                      </a:lnTo>
                      <a:cubicBezTo>
                        <a:pt x="1982678" y="299428"/>
                        <a:pt x="1987806" y="293747"/>
                        <a:pt x="1994480" y="289743"/>
                      </a:cubicBezTo>
                      <a:cubicBezTo>
                        <a:pt x="2001154" y="285738"/>
                        <a:pt x="2008496" y="283736"/>
                        <a:pt x="2016504" y="283736"/>
                      </a:cubicBezTo>
                      <a:cubicBezTo>
                        <a:pt x="2029202" y="283736"/>
                        <a:pt x="2039114" y="288115"/>
                        <a:pt x="2046244" y="296872"/>
                      </a:cubicBezTo>
                      <a:cubicBezTo>
                        <a:pt x="2053374" y="305630"/>
                        <a:pt x="2056940" y="317529"/>
                        <a:pt x="2056940" y="332570"/>
                      </a:cubicBezTo>
                      <a:cubicBezTo>
                        <a:pt x="2056940" y="349304"/>
                        <a:pt x="2052806" y="362831"/>
                        <a:pt x="2044536" y="373151"/>
                      </a:cubicBezTo>
                      <a:cubicBezTo>
                        <a:pt x="2036266" y="383472"/>
                        <a:pt x="2025522" y="388632"/>
                        <a:pt x="2012306" y="388632"/>
                      </a:cubicBezTo>
                      <a:cubicBezTo>
                        <a:pt x="1997330" y="388632"/>
                        <a:pt x="1986260" y="381893"/>
                        <a:pt x="1979098" y="368415"/>
                      </a:cubicBezTo>
                      <a:lnTo>
                        <a:pt x="1978706" y="368415"/>
                      </a:lnTo>
                      <a:lnTo>
                        <a:pt x="1978706" y="386190"/>
                      </a:lnTo>
                      <a:lnTo>
                        <a:pt x="1969722" y="386190"/>
                      </a:lnTo>
                      <a:close/>
                      <a:moveTo>
                        <a:pt x="1836372" y="238125"/>
                      </a:moveTo>
                      <a:lnTo>
                        <a:pt x="1845358" y="238125"/>
                      </a:lnTo>
                      <a:lnTo>
                        <a:pt x="1845358" y="386190"/>
                      </a:lnTo>
                      <a:lnTo>
                        <a:pt x="1836372" y="386190"/>
                      </a:lnTo>
                      <a:close/>
                      <a:moveTo>
                        <a:pt x="1293446" y="238125"/>
                      </a:moveTo>
                      <a:lnTo>
                        <a:pt x="1302432" y="238125"/>
                      </a:lnTo>
                      <a:lnTo>
                        <a:pt x="1302432" y="386190"/>
                      </a:lnTo>
                      <a:lnTo>
                        <a:pt x="1293446" y="386190"/>
                      </a:lnTo>
                      <a:close/>
                      <a:moveTo>
                        <a:pt x="1255346" y="238125"/>
                      </a:moveTo>
                      <a:lnTo>
                        <a:pt x="1264332" y="238125"/>
                      </a:lnTo>
                      <a:lnTo>
                        <a:pt x="1264332" y="386190"/>
                      </a:lnTo>
                      <a:lnTo>
                        <a:pt x="1255346" y="386190"/>
                      </a:lnTo>
                      <a:close/>
                      <a:moveTo>
                        <a:pt x="69744" y="232960"/>
                      </a:moveTo>
                      <a:lnTo>
                        <a:pt x="78728" y="232960"/>
                      </a:lnTo>
                      <a:lnTo>
                        <a:pt x="78728" y="301621"/>
                      </a:lnTo>
                      <a:lnTo>
                        <a:pt x="79120" y="301621"/>
                      </a:lnTo>
                      <a:cubicBezTo>
                        <a:pt x="82700" y="294263"/>
                        <a:pt x="87828" y="288582"/>
                        <a:pt x="94502" y="284578"/>
                      </a:cubicBezTo>
                      <a:cubicBezTo>
                        <a:pt x="101176" y="280573"/>
                        <a:pt x="108518" y="278571"/>
                        <a:pt x="116526" y="278571"/>
                      </a:cubicBezTo>
                      <a:cubicBezTo>
                        <a:pt x="129224" y="278571"/>
                        <a:pt x="139136" y="282950"/>
                        <a:pt x="146266" y="291707"/>
                      </a:cubicBezTo>
                      <a:cubicBezTo>
                        <a:pt x="153396" y="300465"/>
                        <a:pt x="156962" y="312364"/>
                        <a:pt x="156962" y="327405"/>
                      </a:cubicBezTo>
                      <a:cubicBezTo>
                        <a:pt x="156962" y="344139"/>
                        <a:pt x="152828" y="357666"/>
                        <a:pt x="144558" y="367986"/>
                      </a:cubicBezTo>
                      <a:cubicBezTo>
                        <a:pt x="136288" y="378307"/>
                        <a:pt x="125544" y="383467"/>
                        <a:pt x="112328" y="383467"/>
                      </a:cubicBezTo>
                      <a:cubicBezTo>
                        <a:pt x="97352" y="383467"/>
                        <a:pt x="86282" y="376728"/>
                        <a:pt x="79120" y="363250"/>
                      </a:cubicBezTo>
                      <a:lnTo>
                        <a:pt x="78728" y="363250"/>
                      </a:lnTo>
                      <a:lnTo>
                        <a:pt x="78728" y="381025"/>
                      </a:lnTo>
                      <a:lnTo>
                        <a:pt x="69744" y="381025"/>
                      </a:lnTo>
                      <a:close/>
                      <a:moveTo>
                        <a:pt x="676944" y="94250"/>
                      </a:moveTo>
                      <a:lnTo>
                        <a:pt x="649402" y="98254"/>
                      </a:lnTo>
                      <a:cubicBezTo>
                        <a:pt x="638920" y="99752"/>
                        <a:pt x="631562" y="102177"/>
                        <a:pt x="627330" y="105531"/>
                      </a:cubicBezTo>
                      <a:cubicBezTo>
                        <a:pt x="623096" y="108884"/>
                        <a:pt x="620980" y="114337"/>
                        <a:pt x="620980" y="121890"/>
                      </a:cubicBezTo>
                      <a:cubicBezTo>
                        <a:pt x="620980" y="127815"/>
                        <a:pt x="622950" y="132699"/>
                        <a:pt x="626890" y="136540"/>
                      </a:cubicBezTo>
                      <a:cubicBezTo>
                        <a:pt x="630830" y="140382"/>
                        <a:pt x="636314" y="142303"/>
                        <a:pt x="643346" y="142303"/>
                      </a:cubicBezTo>
                      <a:cubicBezTo>
                        <a:pt x="652984" y="142303"/>
                        <a:pt x="660992" y="138738"/>
                        <a:pt x="667374" y="131608"/>
                      </a:cubicBezTo>
                      <a:cubicBezTo>
                        <a:pt x="673754" y="124478"/>
                        <a:pt x="676944" y="115281"/>
                        <a:pt x="676944" y="104017"/>
                      </a:cubicBezTo>
                      <a:close/>
                      <a:moveTo>
                        <a:pt x="419770" y="94250"/>
                      </a:moveTo>
                      <a:lnTo>
                        <a:pt x="392228" y="98254"/>
                      </a:lnTo>
                      <a:cubicBezTo>
                        <a:pt x="381744" y="99752"/>
                        <a:pt x="374386" y="102177"/>
                        <a:pt x="370154" y="105531"/>
                      </a:cubicBezTo>
                      <a:cubicBezTo>
                        <a:pt x="365922" y="108884"/>
                        <a:pt x="363806" y="114337"/>
                        <a:pt x="363806" y="121890"/>
                      </a:cubicBezTo>
                      <a:cubicBezTo>
                        <a:pt x="363806" y="127815"/>
                        <a:pt x="365776" y="132699"/>
                        <a:pt x="369714" y="136540"/>
                      </a:cubicBezTo>
                      <a:cubicBezTo>
                        <a:pt x="373654" y="140382"/>
                        <a:pt x="379140" y="142303"/>
                        <a:pt x="386172" y="142303"/>
                      </a:cubicBezTo>
                      <a:cubicBezTo>
                        <a:pt x="395808" y="142303"/>
                        <a:pt x="403818" y="138738"/>
                        <a:pt x="410198" y="131608"/>
                      </a:cubicBezTo>
                      <a:cubicBezTo>
                        <a:pt x="416580" y="124478"/>
                        <a:pt x="419770" y="115281"/>
                        <a:pt x="419770" y="104017"/>
                      </a:cubicBezTo>
                      <a:close/>
                      <a:moveTo>
                        <a:pt x="1854534" y="53815"/>
                      </a:moveTo>
                      <a:cubicBezTo>
                        <a:pt x="1845158" y="53815"/>
                        <a:pt x="1837392" y="56957"/>
                        <a:pt x="1831240" y="63240"/>
                      </a:cubicBezTo>
                      <a:cubicBezTo>
                        <a:pt x="1825086" y="69524"/>
                        <a:pt x="1821294" y="78525"/>
                        <a:pt x="1819862" y="90246"/>
                      </a:cubicBezTo>
                      <a:lnTo>
                        <a:pt x="1884126" y="90246"/>
                      </a:lnTo>
                      <a:cubicBezTo>
                        <a:pt x="1883736" y="78721"/>
                        <a:pt x="1880968" y="69768"/>
                        <a:pt x="1875826" y="63387"/>
                      </a:cubicBezTo>
                      <a:cubicBezTo>
                        <a:pt x="1870682" y="57006"/>
                        <a:pt x="1863584" y="53815"/>
                        <a:pt x="1854534" y="53815"/>
                      </a:cubicBezTo>
                      <a:close/>
                      <a:moveTo>
                        <a:pt x="1639072" y="53815"/>
                      </a:moveTo>
                      <a:cubicBezTo>
                        <a:pt x="1627286" y="53815"/>
                        <a:pt x="1617894" y="57787"/>
                        <a:pt x="1610894" y="65731"/>
                      </a:cubicBezTo>
                      <a:cubicBezTo>
                        <a:pt x="1603894" y="73674"/>
                        <a:pt x="1600396" y="84711"/>
                        <a:pt x="1600396" y="98840"/>
                      </a:cubicBezTo>
                      <a:cubicBezTo>
                        <a:pt x="1600396" y="111928"/>
                        <a:pt x="1603814" y="122444"/>
                        <a:pt x="1610650" y="130387"/>
                      </a:cubicBezTo>
                      <a:cubicBezTo>
                        <a:pt x="1617488" y="138331"/>
                        <a:pt x="1626830" y="142303"/>
                        <a:pt x="1638682" y="142303"/>
                      </a:cubicBezTo>
                      <a:cubicBezTo>
                        <a:pt x="1650726" y="142303"/>
                        <a:pt x="1660006" y="138396"/>
                        <a:pt x="1666516" y="130583"/>
                      </a:cubicBezTo>
                      <a:cubicBezTo>
                        <a:pt x="1673028" y="122769"/>
                        <a:pt x="1676284" y="111928"/>
                        <a:pt x="1676284" y="98059"/>
                      </a:cubicBezTo>
                      <a:cubicBezTo>
                        <a:pt x="1676284" y="83799"/>
                        <a:pt x="1673044" y="72861"/>
                        <a:pt x="1666566" y="65242"/>
                      </a:cubicBezTo>
                      <a:cubicBezTo>
                        <a:pt x="1660086" y="57624"/>
                        <a:pt x="1650922" y="53815"/>
                        <a:pt x="1639072" y="53815"/>
                      </a:cubicBezTo>
                      <a:close/>
                      <a:moveTo>
                        <a:pt x="1424782" y="53815"/>
                      </a:moveTo>
                      <a:cubicBezTo>
                        <a:pt x="1413128" y="53815"/>
                        <a:pt x="1404110" y="57722"/>
                        <a:pt x="1397728" y="65535"/>
                      </a:cubicBezTo>
                      <a:cubicBezTo>
                        <a:pt x="1391348" y="73349"/>
                        <a:pt x="1388158" y="82530"/>
                        <a:pt x="1388158" y="93078"/>
                      </a:cubicBezTo>
                      <a:lnTo>
                        <a:pt x="1388158" y="105677"/>
                      </a:lnTo>
                      <a:cubicBezTo>
                        <a:pt x="1388158" y="115704"/>
                        <a:pt x="1391314" y="124316"/>
                        <a:pt x="1397630" y="131510"/>
                      </a:cubicBezTo>
                      <a:cubicBezTo>
                        <a:pt x="1403946" y="138705"/>
                        <a:pt x="1412248" y="142303"/>
                        <a:pt x="1422536" y="142303"/>
                      </a:cubicBezTo>
                      <a:cubicBezTo>
                        <a:pt x="1432758" y="142303"/>
                        <a:pt x="1441060" y="137924"/>
                        <a:pt x="1447442" y="129166"/>
                      </a:cubicBezTo>
                      <a:cubicBezTo>
                        <a:pt x="1453822" y="120409"/>
                        <a:pt x="1457014" y="108900"/>
                        <a:pt x="1457014" y="94641"/>
                      </a:cubicBezTo>
                      <a:cubicBezTo>
                        <a:pt x="1457014" y="82139"/>
                        <a:pt x="1454084" y="72209"/>
                        <a:pt x="1448224" y="64852"/>
                      </a:cubicBezTo>
                      <a:cubicBezTo>
                        <a:pt x="1442362" y="57494"/>
                        <a:pt x="1434550" y="53815"/>
                        <a:pt x="1424782" y="53815"/>
                      </a:cubicBezTo>
                      <a:close/>
                      <a:moveTo>
                        <a:pt x="1168734" y="53815"/>
                      </a:moveTo>
                      <a:cubicBezTo>
                        <a:pt x="1159358" y="53815"/>
                        <a:pt x="1151592" y="56957"/>
                        <a:pt x="1145440" y="63240"/>
                      </a:cubicBezTo>
                      <a:cubicBezTo>
                        <a:pt x="1139286" y="69524"/>
                        <a:pt x="1135494" y="78525"/>
                        <a:pt x="1134062" y="90246"/>
                      </a:cubicBezTo>
                      <a:lnTo>
                        <a:pt x="1198326" y="90246"/>
                      </a:lnTo>
                      <a:cubicBezTo>
                        <a:pt x="1197936" y="78721"/>
                        <a:pt x="1195168" y="69768"/>
                        <a:pt x="1190026" y="63387"/>
                      </a:cubicBezTo>
                      <a:cubicBezTo>
                        <a:pt x="1184882" y="57006"/>
                        <a:pt x="1177784" y="53815"/>
                        <a:pt x="1168734" y="53815"/>
                      </a:cubicBezTo>
                      <a:close/>
                      <a:moveTo>
                        <a:pt x="902034" y="53815"/>
                      </a:moveTo>
                      <a:cubicBezTo>
                        <a:pt x="892658" y="53815"/>
                        <a:pt x="884892" y="56957"/>
                        <a:pt x="878740" y="63240"/>
                      </a:cubicBezTo>
                      <a:cubicBezTo>
                        <a:pt x="872586" y="69524"/>
                        <a:pt x="868794" y="78525"/>
                        <a:pt x="867362" y="90246"/>
                      </a:cubicBezTo>
                      <a:lnTo>
                        <a:pt x="931626" y="90246"/>
                      </a:lnTo>
                      <a:cubicBezTo>
                        <a:pt x="931236" y="78721"/>
                        <a:pt x="928468" y="69768"/>
                        <a:pt x="923326" y="63387"/>
                      </a:cubicBezTo>
                      <a:cubicBezTo>
                        <a:pt x="918182" y="57006"/>
                        <a:pt x="911084" y="53815"/>
                        <a:pt x="902034" y="53815"/>
                      </a:cubicBezTo>
                      <a:close/>
                      <a:moveTo>
                        <a:pt x="758032" y="53815"/>
                      </a:moveTo>
                      <a:cubicBezTo>
                        <a:pt x="746378" y="53815"/>
                        <a:pt x="737360" y="57722"/>
                        <a:pt x="730978" y="65535"/>
                      </a:cubicBezTo>
                      <a:cubicBezTo>
                        <a:pt x="724598" y="73349"/>
                        <a:pt x="721408" y="82530"/>
                        <a:pt x="721408" y="93078"/>
                      </a:cubicBezTo>
                      <a:lnTo>
                        <a:pt x="721408" y="105677"/>
                      </a:lnTo>
                      <a:cubicBezTo>
                        <a:pt x="721408" y="115704"/>
                        <a:pt x="724566" y="124316"/>
                        <a:pt x="730880" y="131510"/>
                      </a:cubicBezTo>
                      <a:cubicBezTo>
                        <a:pt x="737196" y="138705"/>
                        <a:pt x="745498" y="142303"/>
                        <a:pt x="755786" y="142303"/>
                      </a:cubicBezTo>
                      <a:cubicBezTo>
                        <a:pt x="766010" y="142303"/>
                        <a:pt x="774310" y="137924"/>
                        <a:pt x="780692" y="129166"/>
                      </a:cubicBezTo>
                      <a:cubicBezTo>
                        <a:pt x="787074" y="120409"/>
                        <a:pt x="790264" y="108900"/>
                        <a:pt x="790264" y="94641"/>
                      </a:cubicBezTo>
                      <a:cubicBezTo>
                        <a:pt x="790264" y="82139"/>
                        <a:pt x="787334" y="72209"/>
                        <a:pt x="781474" y="64852"/>
                      </a:cubicBezTo>
                      <a:cubicBezTo>
                        <a:pt x="775614" y="57494"/>
                        <a:pt x="767800" y="53815"/>
                        <a:pt x="758032" y="53815"/>
                      </a:cubicBezTo>
                      <a:close/>
                      <a:moveTo>
                        <a:pt x="253208" y="53815"/>
                      </a:moveTo>
                      <a:cubicBezTo>
                        <a:pt x="241552" y="53815"/>
                        <a:pt x="232534" y="57722"/>
                        <a:pt x="226154" y="65535"/>
                      </a:cubicBezTo>
                      <a:cubicBezTo>
                        <a:pt x="219772" y="73349"/>
                        <a:pt x="216582" y="82530"/>
                        <a:pt x="216582" y="93078"/>
                      </a:cubicBezTo>
                      <a:lnTo>
                        <a:pt x="216582" y="105677"/>
                      </a:lnTo>
                      <a:cubicBezTo>
                        <a:pt x="216582" y="115704"/>
                        <a:pt x="219740" y="124316"/>
                        <a:pt x="226056" y="131510"/>
                      </a:cubicBezTo>
                      <a:cubicBezTo>
                        <a:pt x="232372" y="138705"/>
                        <a:pt x="240674" y="142303"/>
                        <a:pt x="250962" y="142303"/>
                      </a:cubicBezTo>
                      <a:cubicBezTo>
                        <a:pt x="261184" y="142303"/>
                        <a:pt x="269486" y="137924"/>
                        <a:pt x="275866" y="129166"/>
                      </a:cubicBezTo>
                      <a:cubicBezTo>
                        <a:pt x="282248" y="120409"/>
                        <a:pt x="285438" y="108900"/>
                        <a:pt x="285438" y="94641"/>
                      </a:cubicBezTo>
                      <a:cubicBezTo>
                        <a:pt x="285438" y="82139"/>
                        <a:pt x="282508" y="72209"/>
                        <a:pt x="276648" y="64852"/>
                      </a:cubicBezTo>
                      <a:cubicBezTo>
                        <a:pt x="270788" y="57494"/>
                        <a:pt x="262974" y="53815"/>
                        <a:pt x="253208" y="53815"/>
                      </a:cubicBezTo>
                      <a:close/>
                      <a:moveTo>
                        <a:pt x="2198322" y="48053"/>
                      </a:moveTo>
                      <a:lnTo>
                        <a:pt x="2207306" y="48053"/>
                      </a:lnTo>
                      <a:lnTo>
                        <a:pt x="2207306" y="148065"/>
                      </a:lnTo>
                      <a:lnTo>
                        <a:pt x="2198322" y="148065"/>
                      </a:lnTo>
                      <a:close/>
                      <a:moveTo>
                        <a:pt x="2052568" y="48053"/>
                      </a:moveTo>
                      <a:lnTo>
                        <a:pt x="2062530" y="48053"/>
                      </a:lnTo>
                      <a:lnTo>
                        <a:pt x="2085774" y="127848"/>
                      </a:lnTo>
                      <a:cubicBezTo>
                        <a:pt x="2086362" y="129931"/>
                        <a:pt x="2086816" y="132731"/>
                        <a:pt x="2087142" y="136247"/>
                      </a:cubicBezTo>
                      <a:lnTo>
                        <a:pt x="2087924" y="136247"/>
                      </a:lnTo>
                      <a:cubicBezTo>
                        <a:pt x="2088054" y="134359"/>
                        <a:pt x="2088672" y="131559"/>
                        <a:pt x="2089780" y="127848"/>
                      </a:cubicBezTo>
                      <a:lnTo>
                        <a:pt x="2115174" y="48053"/>
                      </a:lnTo>
                      <a:lnTo>
                        <a:pt x="2121326" y="48053"/>
                      </a:lnTo>
                      <a:lnTo>
                        <a:pt x="2143986" y="127848"/>
                      </a:lnTo>
                      <a:cubicBezTo>
                        <a:pt x="2144506" y="129736"/>
                        <a:pt x="2144962" y="132536"/>
                        <a:pt x="2145352" y="136247"/>
                      </a:cubicBezTo>
                      <a:lnTo>
                        <a:pt x="2146134" y="136247"/>
                      </a:lnTo>
                      <a:cubicBezTo>
                        <a:pt x="2146134" y="134359"/>
                        <a:pt x="2146688" y="131559"/>
                        <a:pt x="2147794" y="127848"/>
                      </a:cubicBezTo>
                      <a:lnTo>
                        <a:pt x="2171528" y="48053"/>
                      </a:lnTo>
                      <a:lnTo>
                        <a:pt x="2180806" y="48053"/>
                      </a:lnTo>
                      <a:lnTo>
                        <a:pt x="2149748" y="148065"/>
                      </a:lnTo>
                      <a:lnTo>
                        <a:pt x="2141348" y="148065"/>
                      </a:lnTo>
                      <a:lnTo>
                        <a:pt x="2119568" y="72665"/>
                      </a:lnTo>
                      <a:cubicBezTo>
                        <a:pt x="2118982" y="70582"/>
                        <a:pt x="2118462" y="67782"/>
                        <a:pt x="2118006" y="64266"/>
                      </a:cubicBezTo>
                      <a:lnTo>
                        <a:pt x="2117518" y="64266"/>
                      </a:lnTo>
                      <a:cubicBezTo>
                        <a:pt x="2117386" y="65763"/>
                        <a:pt x="2116736" y="68498"/>
                        <a:pt x="2115564" y="72470"/>
                      </a:cubicBezTo>
                      <a:lnTo>
                        <a:pt x="2091146" y="148065"/>
                      </a:lnTo>
                      <a:lnTo>
                        <a:pt x="2082748" y="148065"/>
                      </a:lnTo>
                      <a:close/>
                      <a:moveTo>
                        <a:pt x="1949638" y="45611"/>
                      </a:moveTo>
                      <a:cubicBezTo>
                        <a:pt x="1958234" y="45611"/>
                        <a:pt x="1965592" y="47369"/>
                        <a:pt x="1971712" y="50885"/>
                      </a:cubicBezTo>
                      <a:lnTo>
                        <a:pt x="1971712" y="61043"/>
                      </a:lnTo>
                      <a:cubicBezTo>
                        <a:pt x="1964290" y="56224"/>
                        <a:pt x="1956606" y="53815"/>
                        <a:pt x="1948662" y="53815"/>
                      </a:cubicBezTo>
                      <a:cubicBezTo>
                        <a:pt x="1942086" y="53815"/>
                        <a:pt x="1936780" y="55524"/>
                        <a:pt x="1932742" y="58943"/>
                      </a:cubicBezTo>
                      <a:cubicBezTo>
                        <a:pt x="1928706" y="62361"/>
                        <a:pt x="1926686" y="66805"/>
                        <a:pt x="1926686" y="72275"/>
                      </a:cubicBezTo>
                      <a:cubicBezTo>
                        <a:pt x="1926686" y="77028"/>
                        <a:pt x="1927956" y="80886"/>
                        <a:pt x="1930496" y="83848"/>
                      </a:cubicBezTo>
                      <a:cubicBezTo>
                        <a:pt x="1933036" y="86811"/>
                        <a:pt x="1938634" y="90213"/>
                        <a:pt x="1947294" y="94055"/>
                      </a:cubicBezTo>
                      <a:cubicBezTo>
                        <a:pt x="1957714" y="98743"/>
                        <a:pt x="1964876" y="103089"/>
                        <a:pt x="1968782" y="107093"/>
                      </a:cubicBezTo>
                      <a:cubicBezTo>
                        <a:pt x="1972688" y="111098"/>
                        <a:pt x="1974642" y="116421"/>
                        <a:pt x="1974642" y="123062"/>
                      </a:cubicBezTo>
                      <a:cubicBezTo>
                        <a:pt x="1974642" y="131006"/>
                        <a:pt x="1971664" y="137566"/>
                        <a:pt x="1965706" y="142742"/>
                      </a:cubicBezTo>
                      <a:cubicBezTo>
                        <a:pt x="1959748" y="147919"/>
                        <a:pt x="1951528" y="150507"/>
                        <a:pt x="1941044" y="150507"/>
                      </a:cubicBezTo>
                      <a:cubicBezTo>
                        <a:pt x="1931408" y="150507"/>
                        <a:pt x="1923366" y="148228"/>
                        <a:pt x="1916920" y="143670"/>
                      </a:cubicBezTo>
                      <a:lnTo>
                        <a:pt x="1916920" y="132829"/>
                      </a:lnTo>
                      <a:cubicBezTo>
                        <a:pt x="1920306" y="135759"/>
                        <a:pt x="1924408" y="138070"/>
                        <a:pt x="1929226" y="139763"/>
                      </a:cubicBezTo>
                      <a:cubicBezTo>
                        <a:pt x="1934044" y="141456"/>
                        <a:pt x="1938212" y="142303"/>
                        <a:pt x="1941728" y="142303"/>
                      </a:cubicBezTo>
                      <a:cubicBezTo>
                        <a:pt x="1957420" y="142303"/>
                        <a:pt x="1965266" y="135889"/>
                        <a:pt x="1965266" y="123062"/>
                      </a:cubicBezTo>
                      <a:cubicBezTo>
                        <a:pt x="1965266" y="118634"/>
                        <a:pt x="1963540" y="114858"/>
                        <a:pt x="1960090" y="111733"/>
                      </a:cubicBezTo>
                      <a:cubicBezTo>
                        <a:pt x="1956638" y="108607"/>
                        <a:pt x="1951038" y="105384"/>
                        <a:pt x="1943290" y="102063"/>
                      </a:cubicBezTo>
                      <a:cubicBezTo>
                        <a:pt x="1933720" y="97896"/>
                        <a:pt x="1926996" y="93583"/>
                        <a:pt x="1923122" y="89122"/>
                      </a:cubicBezTo>
                      <a:cubicBezTo>
                        <a:pt x="1919248" y="84662"/>
                        <a:pt x="1917310" y="79242"/>
                        <a:pt x="1917310" y="72861"/>
                      </a:cubicBezTo>
                      <a:cubicBezTo>
                        <a:pt x="1917310" y="64721"/>
                        <a:pt x="1920420" y="58145"/>
                        <a:pt x="1926638" y="53132"/>
                      </a:cubicBezTo>
                      <a:cubicBezTo>
                        <a:pt x="1932856" y="48118"/>
                        <a:pt x="1940524" y="45611"/>
                        <a:pt x="1949638" y="45611"/>
                      </a:cubicBezTo>
                      <a:close/>
                      <a:moveTo>
                        <a:pt x="1854924" y="45611"/>
                      </a:moveTo>
                      <a:cubicBezTo>
                        <a:pt x="1867360" y="45611"/>
                        <a:pt x="1876900" y="49974"/>
                        <a:pt x="1883540" y="58699"/>
                      </a:cubicBezTo>
                      <a:cubicBezTo>
                        <a:pt x="1890182" y="67424"/>
                        <a:pt x="1893502" y="79339"/>
                        <a:pt x="1893502" y="94445"/>
                      </a:cubicBezTo>
                      <a:lnTo>
                        <a:pt x="1893502" y="98450"/>
                      </a:lnTo>
                      <a:lnTo>
                        <a:pt x="1819470" y="98450"/>
                      </a:lnTo>
                      <a:cubicBezTo>
                        <a:pt x="1819470" y="112188"/>
                        <a:pt x="1822644" y="122932"/>
                        <a:pt x="1828994" y="130680"/>
                      </a:cubicBezTo>
                      <a:cubicBezTo>
                        <a:pt x="1835342" y="138429"/>
                        <a:pt x="1844050" y="142303"/>
                        <a:pt x="1855120" y="142303"/>
                      </a:cubicBezTo>
                      <a:cubicBezTo>
                        <a:pt x="1866318" y="142303"/>
                        <a:pt x="1877258" y="138168"/>
                        <a:pt x="1887936" y="129899"/>
                      </a:cubicBezTo>
                      <a:lnTo>
                        <a:pt x="1887936" y="139470"/>
                      </a:lnTo>
                      <a:cubicBezTo>
                        <a:pt x="1877582" y="146828"/>
                        <a:pt x="1866026" y="150507"/>
                        <a:pt x="1853264" y="150507"/>
                      </a:cubicBezTo>
                      <a:cubicBezTo>
                        <a:pt x="1840372" y="150507"/>
                        <a:pt x="1829954" y="145884"/>
                        <a:pt x="1822010" y="136638"/>
                      </a:cubicBezTo>
                      <a:cubicBezTo>
                        <a:pt x="1814066" y="127392"/>
                        <a:pt x="1810094" y="114337"/>
                        <a:pt x="1810094" y="97473"/>
                      </a:cubicBezTo>
                      <a:cubicBezTo>
                        <a:pt x="1810094" y="82888"/>
                        <a:pt x="1814246" y="70598"/>
                        <a:pt x="1822546" y="60603"/>
                      </a:cubicBezTo>
                      <a:cubicBezTo>
                        <a:pt x="1830848" y="50608"/>
                        <a:pt x="1841642" y="45611"/>
                        <a:pt x="1854924" y="45611"/>
                      </a:cubicBezTo>
                      <a:close/>
                      <a:moveTo>
                        <a:pt x="1756106" y="45611"/>
                      </a:moveTo>
                      <a:cubicBezTo>
                        <a:pt x="1766916" y="45611"/>
                        <a:pt x="1775184" y="49208"/>
                        <a:pt x="1780914" y="56403"/>
                      </a:cubicBezTo>
                      <a:cubicBezTo>
                        <a:pt x="1786644" y="63598"/>
                        <a:pt x="1789510" y="73870"/>
                        <a:pt x="1789510" y="87218"/>
                      </a:cubicBezTo>
                      <a:lnTo>
                        <a:pt x="1789510" y="148065"/>
                      </a:lnTo>
                      <a:lnTo>
                        <a:pt x="1780524" y="148065"/>
                      </a:lnTo>
                      <a:lnTo>
                        <a:pt x="1780524" y="89855"/>
                      </a:lnTo>
                      <a:cubicBezTo>
                        <a:pt x="1780524" y="65828"/>
                        <a:pt x="1771864" y="53815"/>
                        <a:pt x="1754544" y="53815"/>
                      </a:cubicBezTo>
                      <a:cubicBezTo>
                        <a:pt x="1744908" y="53815"/>
                        <a:pt x="1736996" y="57348"/>
                        <a:pt x="1730810" y="64412"/>
                      </a:cubicBezTo>
                      <a:cubicBezTo>
                        <a:pt x="1724626" y="71477"/>
                        <a:pt x="1721532" y="80218"/>
                        <a:pt x="1721532" y="90636"/>
                      </a:cubicBezTo>
                      <a:lnTo>
                        <a:pt x="1721532" y="148065"/>
                      </a:lnTo>
                      <a:lnTo>
                        <a:pt x="1712546" y="148065"/>
                      </a:lnTo>
                      <a:lnTo>
                        <a:pt x="1712546" y="48053"/>
                      </a:lnTo>
                      <a:lnTo>
                        <a:pt x="1721532" y="48053"/>
                      </a:lnTo>
                      <a:lnTo>
                        <a:pt x="1721532" y="66219"/>
                      </a:lnTo>
                      <a:lnTo>
                        <a:pt x="1721922" y="66219"/>
                      </a:lnTo>
                      <a:cubicBezTo>
                        <a:pt x="1729216" y="52480"/>
                        <a:pt x="1740610" y="45611"/>
                        <a:pt x="1756106" y="45611"/>
                      </a:cubicBezTo>
                      <a:close/>
                      <a:moveTo>
                        <a:pt x="1639462" y="45611"/>
                      </a:moveTo>
                      <a:cubicBezTo>
                        <a:pt x="1653722" y="45611"/>
                        <a:pt x="1664986" y="50267"/>
                        <a:pt x="1673256" y="59578"/>
                      </a:cubicBezTo>
                      <a:cubicBezTo>
                        <a:pt x="1681526" y="68889"/>
                        <a:pt x="1685660" y="81781"/>
                        <a:pt x="1685660" y="98254"/>
                      </a:cubicBezTo>
                      <a:cubicBezTo>
                        <a:pt x="1685660" y="113816"/>
                        <a:pt x="1681444" y="126415"/>
                        <a:pt x="1673012" y="136052"/>
                      </a:cubicBezTo>
                      <a:cubicBezTo>
                        <a:pt x="1664580" y="145689"/>
                        <a:pt x="1653038" y="150507"/>
                        <a:pt x="1638388" y="150507"/>
                      </a:cubicBezTo>
                      <a:cubicBezTo>
                        <a:pt x="1623804" y="150507"/>
                        <a:pt x="1612262" y="145705"/>
                        <a:pt x="1603764" y="136101"/>
                      </a:cubicBezTo>
                      <a:cubicBezTo>
                        <a:pt x="1595268" y="126497"/>
                        <a:pt x="1591018" y="114011"/>
                        <a:pt x="1591018" y="98645"/>
                      </a:cubicBezTo>
                      <a:cubicBezTo>
                        <a:pt x="1591018" y="82041"/>
                        <a:pt x="1595462" y="69051"/>
                        <a:pt x="1604350" y="59675"/>
                      </a:cubicBezTo>
                      <a:cubicBezTo>
                        <a:pt x="1613238" y="50299"/>
                        <a:pt x="1624942" y="45611"/>
                        <a:pt x="1639462" y="45611"/>
                      </a:cubicBezTo>
                      <a:close/>
                      <a:moveTo>
                        <a:pt x="1425954" y="45611"/>
                      </a:moveTo>
                      <a:cubicBezTo>
                        <a:pt x="1438652" y="45611"/>
                        <a:pt x="1448566" y="49990"/>
                        <a:pt x="1455694" y="58747"/>
                      </a:cubicBezTo>
                      <a:cubicBezTo>
                        <a:pt x="1462824" y="67505"/>
                        <a:pt x="1466390" y="79404"/>
                        <a:pt x="1466390" y="94445"/>
                      </a:cubicBezTo>
                      <a:cubicBezTo>
                        <a:pt x="1466390" y="111179"/>
                        <a:pt x="1462304" y="124706"/>
                        <a:pt x="1454132" y="135026"/>
                      </a:cubicBezTo>
                      <a:cubicBezTo>
                        <a:pt x="1445960" y="145347"/>
                        <a:pt x="1435168" y="150507"/>
                        <a:pt x="1421754" y="150507"/>
                      </a:cubicBezTo>
                      <a:cubicBezTo>
                        <a:pt x="1406780" y="150507"/>
                        <a:pt x="1395710" y="143768"/>
                        <a:pt x="1388548" y="130290"/>
                      </a:cubicBezTo>
                      <a:lnTo>
                        <a:pt x="1388158" y="130290"/>
                      </a:lnTo>
                      <a:lnTo>
                        <a:pt x="1388158" y="194067"/>
                      </a:lnTo>
                      <a:lnTo>
                        <a:pt x="1379172" y="194067"/>
                      </a:lnTo>
                      <a:lnTo>
                        <a:pt x="1379172" y="48053"/>
                      </a:lnTo>
                      <a:lnTo>
                        <a:pt x="1388158" y="48053"/>
                      </a:lnTo>
                      <a:lnTo>
                        <a:pt x="1388158" y="68661"/>
                      </a:lnTo>
                      <a:lnTo>
                        <a:pt x="1388548" y="68661"/>
                      </a:lnTo>
                      <a:cubicBezTo>
                        <a:pt x="1392130" y="61303"/>
                        <a:pt x="1397256" y="55622"/>
                        <a:pt x="1403930" y="51618"/>
                      </a:cubicBezTo>
                      <a:cubicBezTo>
                        <a:pt x="1410604" y="47613"/>
                        <a:pt x="1417946" y="45611"/>
                        <a:pt x="1425954" y="45611"/>
                      </a:cubicBezTo>
                      <a:close/>
                      <a:moveTo>
                        <a:pt x="1169124" y="45611"/>
                      </a:moveTo>
                      <a:cubicBezTo>
                        <a:pt x="1181560" y="45611"/>
                        <a:pt x="1191100" y="49974"/>
                        <a:pt x="1197740" y="58699"/>
                      </a:cubicBezTo>
                      <a:cubicBezTo>
                        <a:pt x="1204382" y="67424"/>
                        <a:pt x="1207702" y="79339"/>
                        <a:pt x="1207702" y="94445"/>
                      </a:cubicBezTo>
                      <a:lnTo>
                        <a:pt x="1207702" y="98450"/>
                      </a:lnTo>
                      <a:lnTo>
                        <a:pt x="1133670" y="98450"/>
                      </a:lnTo>
                      <a:cubicBezTo>
                        <a:pt x="1133670" y="112188"/>
                        <a:pt x="1136844" y="122932"/>
                        <a:pt x="1143194" y="130680"/>
                      </a:cubicBezTo>
                      <a:cubicBezTo>
                        <a:pt x="1149542" y="138429"/>
                        <a:pt x="1158250" y="142303"/>
                        <a:pt x="1169320" y="142303"/>
                      </a:cubicBezTo>
                      <a:cubicBezTo>
                        <a:pt x="1180518" y="142303"/>
                        <a:pt x="1191458" y="138168"/>
                        <a:pt x="1202136" y="129899"/>
                      </a:cubicBezTo>
                      <a:lnTo>
                        <a:pt x="1202136" y="139470"/>
                      </a:lnTo>
                      <a:cubicBezTo>
                        <a:pt x="1191782" y="146828"/>
                        <a:pt x="1180226" y="150507"/>
                        <a:pt x="1167464" y="150507"/>
                      </a:cubicBezTo>
                      <a:cubicBezTo>
                        <a:pt x="1154572" y="150507"/>
                        <a:pt x="1144154" y="145884"/>
                        <a:pt x="1136210" y="136638"/>
                      </a:cubicBezTo>
                      <a:cubicBezTo>
                        <a:pt x="1128266" y="127392"/>
                        <a:pt x="1124294" y="114337"/>
                        <a:pt x="1124294" y="97473"/>
                      </a:cubicBezTo>
                      <a:cubicBezTo>
                        <a:pt x="1124294" y="82888"/>
                        <a:pt x="1128446" y="70598"/>
                        <a:pt x="1136746" y="60603"/>
                      </a:cubicBezTo>
                      <a:cubicBezTo>
                        <a:pt x="1145048" y="50608"/>
                        <a:pt x="1155842" y="45611"/>
                        <a:pt x="1169124" y="45611"/>
                      </a:cubicBezTo>
                      <a:close/>
                      <a:moveTo>
                        <a:pt x="1088770" y="45611"/>
                      </a:moveTo>
                      <a:cubicBezTo>
                        <a:pt x="1096390" y="45611"/>
                        <a:pt x="1103780" y="47174"/>
                        <a:pt x="1110942" y="50299"/>
                      </a:cubicBezTo>
                      <a:lnTo>
                        <a:pt x="1110942" y="60457"/>
                      </a:lnTo>
                      <a:cubicBezTo>
                        <a:pt x="1103780" y="56029"/>
                        <a:pt x="1095934" y="53815"/>
                        <a:pt x="1087404" y="53815"/>
                      </a:cubicBezTo>
                      <a:cubicBezTo>
                        <a:pt x="1075684" y="53815"/>
                        <a:pt x="1066178" y="58031"/>
                        <a:pt x="1058884" y="66463"/>
                      </a:cubicBezTo>
                      <a:cubicBezTo>
                        <a:pt x="1051592" y="74895"/>
                        <a:pt x="1047946" y="85818"/>
                        <a:pt x="1047946" y="99231"/>
                      </a:cubicBezTo>
                      <a:cubicBezTo>
                        <a:pt x="1047946" y="112188"/>
                        <a:pt x="1051282" y="122606"/>
                        <a:pt x="1057956" y="130485"/>
                      </a:cubicBezTo>
                      <a:cubicBezTo>
                        <a:pt x="1064630" y="138364"/>
                        <a:pt x="1073436" y="142303"/>
                        <a:pt x="1084376" y="142303"/>
                      </a:cubicBezTo>
                      <a:cubicBezTo>
                        <a:pt x="1094402" y="142303"/>
                        <a:pt x="1103128" y="139633"/>
                        <a:pt x="1110550" y="134294"/>
                      </a:cubicBezTo>
                      <a:lnTo>
                        <a:pt x="1110550" y="143670"/>
                      </a:lnTo>
                      <a:cubicBezTo>
                        <a:pt x="1103128" y="148228"/>
                        <a:pt x="1094272" y="150507"/>
                        <a:pt x="1083986" y="150507"/>
                      </a:cubicBezTo>
                      <a:cubicBezTo>
                        <a:pt x="1070376" y="150507"/>
                        <a:pt x="1059406" y="145835"/>
                        <a:pt x="1051070" y="136492"/>
                      </a:cubicBezTo>
                      <a:cubicBezTo>
                        <a:pt x="1042736" y="127148"/>
                        <a:pt x="1038570" y="114923"/>
                        <a:pt x="1038570" y="99817"/>
                      </a:cubicBezTo>
                      <a:cubicBezTo>
                        <a:pt x="1038570" y="83930"/>
                        <a:pt x="1043258" y="70923"/>
                        <a:pt x="1052634" y="60798"/>
                      </a:cubicBezTo>
                      <a:cubicBezTo>
                        <a:pt x="1062010" y="50674"/>
                        <a:pt x="1074056" y="45611"/>
                        <a:pt x="1088770" y="45611"/>
                      </a:cubicBezTo>
                      <a:close/>
                      <a:moveTo>
                        <a:pt x="902424" y="45611"/>
                      </a:moveTo>
                      <a:cubicBezTo>
                        <a:pt x="914860" y="45611"/>
                        <a:pt x="924400" y="49974"/>
                        <a:pt x="931042" y="58699"/>
                      </a:cubicBezTo>
                      <a:cubicBezTo>
                        <a:pt x="937682" y="67424"/>
                        <a:pt x="941002" y="79339"/>
                        <a:pt x="941002" y="94445"/>
                      </a:cubicBezTo>
                      <a:lnTo>
                        <a:pt x="941002" y="98450"/>
                      </a:lnTo>
                      <a:lnTo>
                        <a:pt x="866970" y="98450"/>
                      </a:lnTo>
                      <a:cubicBezTo>
                        <a:pt x="866970" y="112188"/>
                        <a:pt x="870144" y="122932"/>
                        <a:pt x="876494" y="130680"/>
                      </a:cubicBezTo>
                      <a:cubicBezTo>
                        <a:pt x="882842" y="138429"/>
                        <a:pt x="891550" y="142303"/>
                        <a:pt x="902620" y="142303"/>
                      </a:cubicBezTo>
                      <a:cubicBezTo>
                        <a:pt x="913818" y="142303"/>
                        <a:pt x="924758" y="138168"/>
                        <a:pt x="935436" y="129899"/>
                      </a:cubicBezTo>
                      <a:lnTo>
                        <a:pt x="935436" y="139470"/>
                      </a:lnTo>
                      <a:cubicBezTo>
                        <a:pt x="925084" y="146828"/>
                        <a:pt x="913526" y="150507"/>
                        <a:pt x="900764" y="150507"/>
                      </a:cubicBezTo>
                      <a:cubicBezTo>
                        <a:pt x="887872" y="150507"/>
                        <a:pt x="877454" y="145884"/>
                        <a:pt x="869510" y="136638"/>
                      </a:cubicBezTo>
                      <a:cubicBezTo>
                        <a:pt x="861566" y="127392"/>
                        <a:pt x="857594" y="114337"/>
                        <a:pt x="857594" y="97473"/>
                      </a:cubicBezTo>
                      <a:cubicBezTo>
                        <a:pt x="857594" y="82888"/>
                        <a:pt x="861746" y="70598"/>
                        <a:pt x="870046" y="60603"/>
                      </a:cubicBezTo>
                      <a:cubicBezTo>
                        <a:pt x="878348" y="50608"/>
                        <a:pt x="889142" y="45611"/>
                        <a:pt x="902424" y="45611"/>
                      </a:cubicBezTo>
                      <a:close/>
                      <a:moveTo>
                        <a:pt x="653602" y="45611"/>
                      </a:moveTo>
                      <a:cubicBezTo>
                        <a:pt x="663890" y="45611"/>
                        <a:pt x="671850" y="48802"/>
                        <a:pt x="677482" y="55183"/>
                      </a:cubicBezTo>
                      <a:cubicBezTo>
                        <a:pt x="683114" y="61564"/>
                        <a:pt x="685930" y="70842"/>
                        <a:pt x="685930" y="83018"/>
                      </a:cubicBezTo>
                      <a:lnTo>
                        <a:pt x="685930" y="148065"/>
                      </a:lnTo>
                      <a:lnTo>
                        <a:pt x="676944" y="148065"/>
                      </a:lnTo>
                      <a:lnTo>
                        <a:pt x="676944" y="128043"/>
                      </a:lnTo>
                      <a:lnTo>
                        <a:pt x="676554" y="128043"/>
                      </a:lnTo>
                      <a:cubicBezTo>
                        <a:pt x="673364" y="134880"/>
                        <a:pt x="668724" y="140333"/>
                        <a:pt x="662636" y="144403"/>
                      </a:cubicBezTo>
                      <a:cubicBezTo>
                        <a:pt x="656548" y="148472"/>
                        <a:pt x="649792" y="150507"/>
                        <a:pt x="642370" y="150507"/>
                      </a:cubicBezTo>
                      <a:cubicBezTo>
                        <a:pt x="632864" y="150507"/>
                        <a:pt x="625344" y="147837"/>
                        <a:pt x="619808" y="142498"/>
                      </a:cubicBezTo>
                      <a:cubicBezTo>
                        <a:pt x="614274" y="137159"/>
                        <a:pt x="611506" y="130420"/>
                        <a:pt x="611506" y="122281"/>
                      </a:cubicBezTo>
                      <a:cubicBezTo>
                        <a:pt x="611506" y="104831"/>
                        <a:pt x="623064" y="94282"/>
                        <a:pt x="646180" y="90636"/>
                      </a:cubicBezTo>
                      <a:lnTo>
                        <a:pt x="676944" y="86046"/>
                      </a:lnTo>
                      <a:cubicBezTo>
                        <a:pt x="676944" y="64559"/>
                        <a:pt x="668870" y="53815"/>
                        <a:pt x="652722" y="53815"/>
                      </a:cubicBezTo>
                      <a:cubicBezTo>
                        <a:pt x="641720" y="53815"/>
                        <a:pt x="631008" y="58243"/>
                        <a:pt x="620590" y="67098"/>
                      </a:cubicBezTo>
                      <a:lnTo>
                        <a:pt x="620590" y="56257"/>
                      </a:lnTo>
                      <a:cubicBezTo>
                        <a:pt x="624302" y="53327"/>
                        <a:pt x="629332" y="50820"/>
                        <a:pt x="635680" y="48736"/>
                      </a:cubicBezTo>
                      <a:cubicBezTo>
                        <a:pt x="642028" y="46653"/>
                        <a:pt x="648002" y="45611"/>
                        <a:pt x="653602" y="45611"/>
                      </a:cubicBezTo>
                      <a:close/>
                      <a:moveTo>
                        <a:pt x="498806" y="45611"/>
                      </a:moveTo>
                      <a:cubicBezTo>
                        <a:pt x="509616" y="45611"/>
                        <a:pt x="517884" y="49208"/>
                        <a:pt x="523614" y="56403"/>
                      </a:cubicBezTo>
                      <a:cubicBezTo>
                        <a:pt x="529344" y="63598"/>
                        <a:pt x="532210" y="73870"/>
                        <a:pt x="532210" y="87218"/>
                      </a:cubicBezTo>
                      <a:lnTo>
                        <a:pt x="532210" y="148065"/>
                      </a:lnTo>
                      <a:lnTo>
                        <a:pt x="523224" y="148065"/>
                      </a:lnTo>
                      <a:lnTo>
                        <a:pt x="523224" y="89855"/>
                      </a:lnTo>
                      <a:cubicBezTo>
                        <a:pt x="523224" y="65828"/>
                        <a:pt x="514564" y="53815"/>
                        <a:pt x="497244" y="53815"/>
                      </a:cubicBezTo>
                      <a:cubicBezTo>
                        <a:pt x="487608" y="53815"/>
                        <a:pt x="479696" y="57348"/>
                        <a:pt x="473510" y="64412"/>
                      </a:cubicBezTo>
                      <a:cubicBezTo>
                        <a:pt x="467326" y="71477"/>
                        <a:pt x="464232" y="80218"/>
                        <a:pt x="464232" y="90636"/>
                      </a:cubicBezTo>
                      <a:lnTo>
                        <a:pt x="464232" y="148065"/>
                      </a:lnTo>
                      <a:lnTo>
                        <a:pt x="455246" y="148065"/>
                      </a:lnTo>
                      <a:lnTo>
                        <a:pt x="455246" y="48053"/>
                      </a:lnTo>
                      <a:lnTo>
                        <a:pt x="464232" y="48053"/>
                      </a:lnTo>
                      <a:lnTo>
                        <a:pt x="464232" y="66219"/>
                      </a:lnTo>
                      <a:lnTo>
                        <a:pt x="464622" y="66219"/>
                      </a:lnTo>
                      <a:cubicBezTo>
                        <a:pt x="471916" y="52480"/>
                        <a:pt x="483310" y="45611"/>
                        <a:pt x="498806" y="45611"/>
                      </a:cubicBezTo>
                      <a:close/>
                      <a:moveTo>
                        <a:pt x="396428" y="45611"/>
                      </a:moveTo>
                      <a:cubicBezTo>
                        <a:pt x="406714" y="45611"/>
                        <a:pt x="414674" y="48802"/>
                        <a:pt x="420306" y="55183"/>
                      </a:cubicBezTo>
                      <a:cubicBezTo>
                        <a:pt x="425940" y="61564"/>
                        <a:pt x="428756" y="70842"/>
                        <a:pt x="428756" y="83018"/>
                      </a:cubicBezTo>
                      <a:lnTo>
                        <a:pt x="428756" y="148065"/>
                      </a:lnTo>
                      <a:lnTo>
                        <a:pt x="419770" y="148065"/>
                      </a:lnTo>
                      <a:lnTo>
                        <a:pt x="419770" y="128043"/>
                      </a:lnTo>
                      <a:lnTo>
                        <a:pt x="419380" y="128043"/>
                      </a:lnTo>
                      <a:cubicBezTo>
                        <a:pt x="416188" y="134880"/>
                        <a:pt x="411550" y="140333"/>
                        <a:pt x="405462" y="144403"/>
                      </a:cubicBezTo>
                      <a:cubicBezTo>
                        <a:pt x="399374" y="148472"/>
                        <a:pt x="392618" y="150507"/>
                        <a:pt x="385196" y="150507"/>
                      </a:cubicBezTo>
                      <a:cubicBezTo>
                        <a:pt x="375688" y="150507"/>
                        <a:pt x="368168" y="147837"/>
                        <a:pt x="362634" y="142498"/>
                      </a:cubicBezTo>
                      <a:cubicBezTo>
                        <a:pt x="357100" y="137159"/>
                        <a:pt x="354332" y="130420"/>
                        <a:pt x="354332" y="122281"/>
                      </a:cubicBezTo>
                      <a:cubicBezTo>
                        <a:pt x="354332" y="104831"/>
                        <a:pt x="365890" y="94282"/>
                        <a:pt x="389004" y="90636"/>
                      </a:cubicBezTo>
                      <a:lnTo>
                        <a:pt x="419770" y="86046"/>
                      </a:lnTo>
                      <a:cubicBezTo>
                        <a:pt x="419770" y="64559"/>
                        <a:pt x="411696" y="53815"/>
                        <a:pt x="395548" y="53815"/>
                      </a:cubicBezTo>
                      <a:cubicBezTo>
                        <a:pt x="384544" y="53815"/>
                        <a:pt x="373834" y="58243"/>
                        <a:pt x="363416" y="67098"/>
                      </a:cubicBezTo>
                      <a:lnTo>
                        <a:pt x="363416" y="56257"/>
                      </a:lnTo>
                      <a:cubicBezTo>
                        <a:pt x="367126" y="53327"/>
                        <a:pt x="372156" y="50820"/>
                        <a:pt x="378504" y="48736"/>
                      </a:cubicBezTo>
                      <a:cubicBezTo>
                        <a:pt x="384854" y="46653"/>
                        <a:pt x="390828" y="45611"/>
                        <a:pt x="396428" y="45611"/>
                      </a:cubicBezTo>
                      <a:close/>
                      <a:moveTo>
                        <a:pt x="254380" y="45611"/>
                      </a:moveTo>
                      <a:cubicBezTo>
                        <a:pt x="267076" y="45611"/>
                        <a:pt x="276990" y="49990"/>
                        <a:pt x="284120" y="58747"/>
                      </a:cubicBezTo>
                      <a:cubicBezTo>
                        <a:pt x="291250" y="67505"/>
                        <a:pt x="294814" y="79404"/>
                        <a:pt x="294814" y="94445"/>
                      </a:cubicBezTo>
                      <a:cubicBezTo>
                        <a:pt x="294814" y="111179"/>
                        <a:pt x="290728" y="124706"/>
                        <a:pt x="282558" y="135026"/>
                      </a:cubicBezTo>
                      <a:cubicBezTo>
                        <a:pt x="274386" y="145347"/>
                        <a:pt x="263594" y="150507"/>
                        <a:pt x="250180" y="150507"/>
                      </a:cubicBezTo>
                      <a:cubicBezTo>
                        <a:pt x="235204" y="150507"/>
                        <a:pt x="224136" y="143768"/>
                        <a:pt x="216972" y="130290"/>
                      </a:cubicBezTo>
                      <a:lnTo>
                        <a:pt x="216582" y="130290"/>
                      </a:lnTo>
                      <a:lnTo>
                        <a:pt x="216582" y="194067"/>
                      </a:lnTo>
                      <a:lnTo>
                        <a:pt x="207596" y="194067"/>
                      </a:lnTo>
                      <a:lnTo>
                        <a:pt x="207596" y="48053"/>
                      </a:lnTo>
                      <a:lnTo>
                        <a:pt x="216582" y="48053"/>
                      </a:lnTo>
                      <a:lnTo>
                        <a:pt x="216582" y="68661"/>
                      </a:lnTo>
                      <a:lnTo>
                        <a:pt x="216972" y="68661"/>
                      </a:lnTo>
                      <a:cubicBezTo>
                        <a:pt x="220554" y="61303"/>
                        <a:pt x="225682" y="55622"/>
                        <a:pt x="232356" y="51618"/>
                      </a:cubicBezTo>
                      <a:cubicBezTo>
                        <a:pt x="239030" y="47613"/>
                        <a:pt x="246372" y="45611"/>
                        <a:pt x="254380" y="45611"/>
                      </a:cubicBezTo>
                      <a:close/>
                      <a:moveTo>
                        <a:pt x="85618" y="45611"/>
                      </a:moveTo>
                      <a:cubicBezTo>
                        <a:pt x="92910" y="45611"/>
                        <a:pt x="99146" y="47711"/>
                        <a:pt x="104322" y="51911"/>
                      </a:cubicBezTo>
                      <a:cubicBezTo>
                        <a:pt x="109498" y="56110"/>
                        <a:pt x="112998" y="61629"/>
                        <a:pt x="114820" y="68465"/>
                      </a:cubicBezTo>
                      <a:cubicBezTo>
                        <a:pt x="117946" y="61238"/>
                        <a:pt x="122422" y="55622"/>
                        <a:pt x="128250" y="51618"/>
                      </a:cubicBezTo>
                      <a:cubicBezTo>
                        <a:pt x="134078" y="47613"/>
                        <a:pt x="140410" y="45611"/>
                        <a:pt x="147246" y="45611"/>
                      </a:cubicBezTo>
                      <a:cubicBezTo>
                        <a:pt x="169124" y="45611"/>
                        <a:pt x="180064" y="59154"/>
                        <a:pt x="180064" y="86241"/>
                      </a:cubicBezTo>
                      <a:lnTo>
                        <a:pt x="180064" y="148065"/>
                      </a:lnTo>
                      <a:lnTo>
                        <a:pt x="171078" y="148065"/>
                      </a:lnTo>
                      <a:lnTo>
                        <a:pt x="171078" y="87901"/>
                      </a:lnTo>
                      <a:cubicBezTo>
                        <a:pt x="171078" y="75335"/>
                        <a:pt x="169108" y="66512"/>
                        <a:pt x="165170" y="61433"/>
                      </a:cubicBezTo>
                      <a:cubicBezTo>
                        <a:pt x="161230" y="56355"/>
                        <a:pt x="154996" y="53815"/>
                        <a:pt x="146466" y="53815"/>
                      </a:cubicBezTo>
                      <a:cubicBezTo>
                        <a:pt x="138586" y="53815"/>
                        <a:pt x="131782" y="57201"/>
                        <a:pt x="126052" y="63973"/>
                      </a:cubicBezTo>
                      <a:cubicBezTo>
                        <a:pt x="120322" y="70744"/>
                        <a:pt x="117458" y="79242"/>
                        <a:pt x="117458" y="89464"/>
                      </a:cubicBezTo>
                      <a:lnTo>
                        <a:pt x="117458" y="148065"/>
                      </a:lnTo>
                      <a:lnTo>
                        <a:pt x="108472" y="148065"/>
                      </a:lnTo>
                      <a:lnTo>
                        <a:pt x="108472" y="87218"/>
                      </a:lnTo>
                      <a:cubicBezTo>
                        <a:pt x="108472" y="64949"/>
                        <a:pt x="100008" y="53815"/>
                        <a:pt x="83078" y="53815"/>
                      </a:cubicBezTo>
                      <a:cubicBezTo>
                        <a:pt x="74940" y="53815"/>
                        <a:pt x="68168" y="57217"/>
                        <a:pt x="62764" y="64022"/>
                      </a:cubicBezTo>
                      <a:cubicBezTo>
                        <a:pt x="57360" y="70826"/>
                        <a:pt x="54658" y="79632"/>
                        <a:pt x="54658" y="90441"/>
                      </a:cubicBezTo>
                      <a:lnTo>
                        <a:pt x="54658" y="148065"/>
                      </a:lnTo>
                      <a:lnTo>
                        <a:pt x="45672" y="148065"/>
                      </a:lnTo>
                      <a:lnTo>
                        <a:pt x="45672" y="48053"/>
                      </a:lnTo>
                      <a:lnTo>
                        <a:pt x="54658" y="48053"/>
                      </a:lnTo>
                      <a:lnTo>
                        <a:pt x="54658" y="64656"/>
                      </a:lnTo>
                      <a:lnTo>
                        <a:pt x="55048" y="64656"/>
                      </a:lnTo>
                      <a:cubicBezTo>
                        <a:pt x="62014" y="51959"/>
                        <a:pt x="72206" y="45611"/>
                        <a:pt x="85618" y="45611"/>
                      </a:cubicBezTo>
                      <a:close/>
                      <a:moveTo>
                        <a:pt x="573206" y="19045"/>
                      </a:moveTo>
                      <a:lnTo>
                        <a:pt x="573206" y="48053"/>
                      </a:lnTo>
                      <a:lnTo>
                        <a:pt x="599578" y="48053"/>
                      </a:lnTo>
                      <a:lnTo>
                        <a:pt x="599578" y="56257"/>
                      </a:lnTo>
                      <a:lnTo>
                        <a:pt x="573206" y="56257"/>
                      </a:lnTo>
                      <a:lnTo>
                        <a:pt x="573206" y="122281"/>
                      </a:lnTo>
                      <a:cubicBezTo>
                        <a:pt x="573206" y="129183"/>
                        <a:pt x="574298" y="134180"/>
                        <a:pt x="576478" y="137273"/>
                      </a:cubicBezTo>
                      <a:cubicBezTo>
                        <a:pt x="578660" y="140366"/>
                        <a:pt x="582356" y="141912"/>
                        <a:pt x="587564" y="141912"/>
                      </a:cubicBezTo>
                      <a:cubicBezTo>
                        <a:pt x="591276" y="141912"/>
                        <a:pt x="595280" y="140708"/>
                        <a:pt x="599578" y="138298"/>
                      </a:cubicBezTo>
                      <a:lnTo>
                        <a:pt x="599578" y="146698"/>
                      </a:lnTo>
                      <a:cubicBezTo>
                        <a:pt x="594890" y="148912"/>
                        <a:pt x="590494" y="150019"/>
                        <a:pt x="586392" y="150019"/>
                      </a:cubicBezTo>
                      <a:cubicBezTo>
                        <a:pt x="571612" y="150019"/>
                        <a:pt x="564222" y="141163"/>
                        <a:pt x="564222" y="123453"/>
                      </a:cubicBezTo>
                      <a:lnTo>
                        <a:pt x="564222" y="56257"/>
                      </a:lnTo>
                      <a:lnTo>
                        <a:pt x="546250" y="56257"/>
                      </a:lnTo>
                      <a:lnTo>
                        <a:pt x="546250" y="48053"/>
                      </a:lnTo>
                      <a:lnTo>
                        <a:pt x="564222" y="48053"/>
                      </a:lnTo>
                      <a:lnTo>
                        <a:pt x="564222" y="22073"/>
                      </a:lnTo>
                      <a:cubicBezTo>
                        <a:pt x="565654" y="21552"/>
                        <a:pt x="567152" y="21031"/>
                        <a:pt x="568714" y="20510"/>
                      </a:cubicBezTo>
                      <a:cubicBezTo>
                        <a:pt x="570276" y="20054"/>
                        <a:pt x="571774" y="19566"/>
                        <a:pt x="573206" y="19045"/>
                      </a:cubicBezTo>
                      <a:close/>
                      <a:moveTo>
                        <a:pt x="2202716" y="8009"/>
                      </a:moveTo>
                      <a:cubicBezTo>
                        <a:pt x="2204736" y="8009"/>
                        <a:pt x="2206510" y="8660"/>
                        <a:pt x="2208040" y="9962"/>
                      </a:cubicBezTo>
                      <a:cubicBezTo>
                        <a:pt x="2209570" y="11264"/>
                        <a:pt x="2210334" y="13022"/>
                        <a:pt x="2210334" y="15236"/>
                      </a:cubicBezTo>
                      <a:cubicBezTo>
                        <a:pt x="2210334" y="17320"/>
                        <a:pt x="2209586" y="19110"/>
                        <a:pt x="2208088" y="20608"/>
                      </a:cubicBezTo>
                      <a:cubicBezTo>
                        <a:pt x="2206590" y="22105"/>
                        <a:pt x="2204800" y="22854"/>
                        <a:pt x="2202716" y="22854"/>
                      </a:cubicBezTo>
                      <a:cubicBezTo>
                        <a:pt x="2200764" y="22854"/>
                        <a:pt x="2199038" y="22138"/>
                        <a:pt x="2197540" y="20706"/>
                      </a:cubicBezTo>
                      <a:cubicBezTo>
                        <a:pt x="2196042" y="19273"/>
                        <a:pt x="2195294" y="17450"/>
                        <a:pt x="2195294" y="15236"/>
                      </a:cubicBezTo>
                      <a:cubicBezTo>
                        <a:pt x="2195294" y="13087"/>
                        <a:pt x="2196058" y="11346"/>
                        <a:pt x="2197590" y="10011"/>
                      </a:cubicBezTo>
                      <a:cubicBezTo>
                        <a:pt x="2199120" y="8676"/>
                        <a:pt x="2200828" y="8009"/>
                        <a:pt x="2202716" y="8009"/>
                      </a:cubicBezTo>
                      <a:close/>
                      <a:moveTo>
                        <a:pt x="0" y="8009"/>
                      </a:moveTo>
                      <a:lnTo>
                        <a:pt x="9670" y="8009"/>
                      </a:lnTo>
                      <a:lnTo>
                        <a:pt x="9670" y="148065"/>
                      </a:lnTo>
                      <a:lnTo>
                        <a:pt x="0" y="148065"/>
                      </a:lnTo>
                      <a:close/>
                      <a:moveTo>
                        <a:pt x="2274522" y="0"/>
                      </a:moveTo>
                      <a:lnTo>
                        <a:pt x="2283508" y="0"/>
                      </a:lnTo>
                      <a:lnTo>
                        <a:pt x="2283508" y="148065"/>
                      </a:lnTo>
                      <a:lnTo>
                        <a:pt x="2274522" y="148065"/>
                      </a:lnTo>
                      <a:close/>
                      <a:moveTo>
                        <a:pt x="2236422" y="0"/>
                      </a:moveTo>
                      <a:lnTo>
                        <a:pt x="2245406" y="0"/>
                      </a:lnTo>
                      <a:lnTo>
                        <a:pt x="2245406" y="148065"/>
                      </a:lnTo>
                      <a:lnTo>
                        <a:pt x="2236422" y="148065"/>
                      </a:lnTo>
                      <a:close/>
                      <a:moveTo>
                        <a:pt x="1493472" y="0"/>
                      </a:moveTo>
                      <a:lnTo>
                        <a:pt x="1502458" y="0"/>
                      </a:lnTo>
                      <a:lnTo>
                        <a:pt x="1502458" y="66024"/>
                      </a:lnTo>
                      <a:lnTo>
                        <a:pt x="1502848" y="66024"/>
                      </a:lnTo>
                      <a:cubicBezTo>
                        <a:pt x="1510726" y="52415"/>
                        <a:pt x="1522186" y="45611"/>
                        <a:pt x="1537226" y="45611"/>
                      </a:cubicBezTo>
                      <a:cubicBezTo>
                        <a:pt x="1548036" y="45611"/>
                        <a:pt x="1556272" y="49095"/>
                        <a:pt x="1561938" y="56062"/>
                      </a:cubicBezTo>
                      <a:cubicBezTo>
                        <a:pt x="1567602" y="63029"/>
                        <a:pt x="1570434" y="73023"/>
                        <a:pt x="1570434" y="86046"/>
                      </a:cubicBezTo>
                      <a:lnTo>
                        <a:pt x="1570434" y="148065"/>
                      </a:lnTo>
                      <a:lnTo>
                        <a:pt x="1561448" y="148065"/>
                      </a:lnTo>
                      <a:lnTo>
                        <a:pt x="1561448" y="88097"/>
                      </a:lnTo>
                      <a:cubicBezTo>
                        <a:pt x="1561448" y="76246"/>
                        <a:pt x="1559300" y="67570"/>
                        <a:pt x="1555002" y="62068"/>
                      </a:cubicBezTo>
                      <a:cubicBezTo>
                        <a:pt x="1550706" y="56566"/>
                        <a:pt x="1543998" y="53815"/>
                        <a:pt x="1534882" y="53815"/>
                      </a:cubicBezTo>
                      <a:cubicBezTo>
                        <a:pt x="1526288" y="53815"/>
                        <a:pt x="1518736" y="57168"/>
                        <a:pt x="1512224" y="63875"/>
                      </a:cubicBezTo>
                      <a:cubicBezTo>
                        <a:pt x="1505712" y="70582"/>
                        <a:pt x="1502458" y="80186"/>
                        <a:pt x="1502458" y="92687"/>
                      </a:cubicBezTo>
                      <a:lnTo>
                        <a:pt x="1502458" y="148065"/>
                      </a:lnTo>
                      <a:lnTo>
                        <a:pt x="1493472" y="148065"/>
                      </a:lnTo>
                      <a:close/>
                      <a:moveTo>
                        <a:pt x="1274396" y="0"/>
                      </a:moveTo>
                      <a:lnTo>
                        <a:pt x="1283382" y="0"/>
                      </a:lnTo>
                      <a:lnTo>
                        <a:pt x="1283382" y="148065"/>
                      </a:lnTo>
                      <a:lnTo>
                        <a:pt x="1274396" y="148065"/>
                      </a:lnTo>
                      <a:close/>
                      <a:moveTo>
                        <a:pt x="1236296" y="0"/>
                      </a:moveTo>
                      <a:lnTo>
                        <a:pt x="1245282" y="0"/>
                      </a:lnTo>
                      <a:lnTo>
                        <a:pt x="1245282" y="148065"/>
                      </a:lnTo>
                      <a:lnTo>
                        <a:pt x="1236296" y="148065"/>
                      </a:lnTo>
                      <a:close/>
                      <a:moveTo>
                        <a:pt x="826722" y="0"/>
                      </a:moveTo>
                      <a:lnTo>
                        <a:pt x="835708" y="0"/>
                      </a:lnTo>
                      <a:lnTo>
                        <a:pt x="835708" y="148065"/>
                      </a:lnTo>
                      <a:lnTo>
                        <a:pt x="826722" y="148065"/>
                      </a:lnTo>
                      <a:close/>
                      <a:moveTo>
                        <a:pt x="712422" y="0"/>
                      </a:moveTo>
                      <a:lnTo>
                        <a:pt x="721408" y="0"/>
                      </a:lnTo>
                      <a:lnTo>
                        <a:pt x="721408" y="68661"/>
                      </a:lnTo>
                      <a:lnTo>
                        <a:pt x="721798" y="68661"/>
                      </a:lnTo>
                      <a:cubicBezTo>
                        <a:pt x="725378" y="61303"/>
                        <a:pt x="730506" y="55622"/>
                        <a:pt x="737180" y="51618"/>
                      </a:cubicBezTo>
                      <a:cubicBezTo>
                        <a:pt x="743854" y="47613"/>
                        <a:pt x="751196" y="45611"/>
                        <a:pt x="759204" y="45611"/>
                      </a:cubicBezTo>
                      <a:cubicBezTo>
                        <a:pt x="771902" y="45611"/>
                        <a:pt x="781814" y="49990"/>
                        <a:pt x="788946" y="58747"/>
                      </a:cubicBezTo>
                      <a:cubicBezTo>
                        <a:pt x="796074" y="67505"/>
                        <a:pt x="799640" y="79404"/>
                        <a:pt x="799640" y="94445"/>
                      </a:cubicBezTo>
                      <a:cubicBezTo>
                        <a:pt x="799640" y="111179"/>
                        <a:pt x="795504" y="124706"/>
                        <a:pt x="787236" y="135026"/>
                      </a:cubicBezTo>
                      <a:cubicBezTo>
                        <a:pt x="778966" y="145347"/>
                        <a:pt x="768222" y="150507"/>
                        <a:pt x="755006" y="150507"/>
                      </a:cubicBezTo>
                      <a:cubicBezTo>
                        <a:pt x="740030" y="150507"/>
                        <a:pt x="728960" y="143768"/>
                        <a:pt x="721798" y="130290"/>
                      </a:cubicBezTo>
                      <a:lnTo>
                        <a:pt x="721408" y="130290"/>
                      </a:lnTo>
                      <a:lnTo>
                        <a:pt x="721408" y="148065"/>
                      </a:lnTo>
                      <a:lnTo>
                        <a:pt x="712422" y="148065"/>
                      </a:lnTo>
                      <a:close/>
                      <a:moveTo>
                        <a:pt x="321896" y="0"/>
                      </a:moveTo>
                      <a:lnTo>
                        <a:pt x="330882" y="0"/>
                      </a:lnTo>
                      <a:lnTo>
                        <a:pt x="330882" y="148065"/>
                      </a:lnTo>
                      <a:lnTo>
                        <a:pt x="321896" y="148065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Здесь текст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431" name="Census"/>
              <p:cNvGrpSpPr/>
              <p:nvPr/>
            </p:nvGrpSpPr>
            <p:grpSpPr>
              <a:xfrm>
                <a:off x="33079431" y="2388210"/>
                <a:ext cx="2751111" cy="2072870"/>
                <a:chOff x="731770" y="4509989"/>
                <a:chExt cx="2751111" cy="2072870"/>
              </a:xfrm>
            </p:grpSpPr>
            <p:grpSp>
              <p:nvGrpSpPr>
                <p:cNvPr id="538" name="Group 537"/>
                <p:cNvGrpSpPr/>
                <p:nvPr/>
              </p:nvGrpSpPr>
              <p:grpSpPr>
                <a:xfrm>
                  <a:off x="889718" y="4509989"/>
                  <a:ext cx="2435214" cy="1346610"/>
                  <a:chOff x="2809875" y="3492500"/>
                  <a:chExt cx="1708151" cy="944563"/>
                </a:xfrm>
              </p:grpSpPr>
              <p:sp>
                <p:nvSpPr>
                  <p:cNvPr id="540" name="Rectangle 9"/>
                  <p:cNvSpPr>
                    <a:spLocks noChangeArrowheads="1"/>
                  </p:cNvSpPr>
                  <p:nvPr/>
                </p:nvSpPr>
                <p:spPr bwMode="auto">
                  <a:xfrm>
                    <a:off x="2897188" y="3492500"/>
                    <a:ext cx="1468438" cy="558800"/>
                  </a:xfrm>
                  <a:prstGeom prst="rect">
                    <a:avLst/>
                  </a:pr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1" name="Freeform 10"/>
                  <p:cNvSpPr>
                    <a:spLocks/>
                  </p:cNvSpPr>
                  <p:nvPr/>
                </p:nvSpPr>
                <p:spPr bwMode="auto">
                  <a:xfrm>
                    <a:off x="2897188" y="3975100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3 h 3"/>
                      <a:gd name="T4" fmla="*/ 0 w 924"/>
                      <a:gd name="T5" fmla="*/ 3 h 3"/>
                      <a:gd name="T6" fmla="*/ 0 w 924"/>
                      <a:gd name="T7" fmla="*/ 1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2" name="Freeform 11"/>
                  <p:cNvSpPr>
                    <a:spLocks/>
                  </p:cNvSpPr>
                  <p:nvPr/>
                </p:nvSpPr>
                <p:spPr bwMode="auto">
                  <a:xfrm>
                    <a:off x="2897188" y="3906838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2 h 3"/>
                      <a:gd name="T4" fmla="*/ 0 w 924"/>
                      <a:gd name="T5" fmla="*/ 3 h 3"/>
                      <a:gd name="T6" fmla="*/ 0 w 924"/>
                      <a:gd name="T7" fmla="*/ 0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2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3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2897188" y="3838575"/>
                    <a:ext cx="1466850" cy="3175"/>
                  </a:xfrm>
                  <a:prstGeom prst="rect">
                    <a:avLst/>
                  </a:pr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4" name="Freeform 13"/>
                  <p:cNvSpPr>
                    <a:spLocks/>
                  </p:cNvSpPr>
                  <p:nvPr/>
                </p:nvSpPr>
                <p:spPr bwMode="auto">
                  <a:xfrm>
                    <a:off x="2897188" y="3768725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3 h 3"/>
                      <a:gd name="T4" fmla="*/ 0 w 924"/>
                      <a:gd name="T5" fmla="*/ 3 h 3"/>
                      <a:gd name="T6" fmla="*/ 0 w 924"/>
                      <a:gd name="T7" fmla="*/ 1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5" name="Freeform 14"/>
                  <p:cNvSpPr>
                    <a:spLocks/>
                  </p:cNvSpPr>
                  <p:nvPr/>
                </p:nvSpPr>
                <p:spPr bwMode="auto">
                  <a:xfrm>
                    <a:off x="2897188" y="3700463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2 h 3"/>
                      <a:gd name="T4" fmla="*/ 0 w 924"/>
                      <a:gd name="T5" fmla="*/ 3 h 3"/>
                      <a:gd name="T6" fmla="*/ 0 w 924"/>
                      <a:gd name="T7" fmla="*/ 0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2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6" name="Freeform 15"/>
                  <p:cNvSpPr>
                    <a:spLocks/>
                  </p:cNvSpPr>
                  <p:nvPr/>
                </p:nvSpPr>
                <p:spPr bwMode="auto">
                  <a:xfrm>
                    <a:off x="2897188" y="3630613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3 h 3"/>
                      <a:gd name="T4" fmla="*/ 0 w 924"/>
                      <a:gd name="T5" fmla="*/ 3 h 3"/>
                      <a:gd name="T6" fmla="*/ 0 w 924"/>
                      <a:gd name="T7" fmla="*/ 1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3"/>
                        </a:lnTo>
                        <a:lnTo>
                          <a:pt x="0" y="3"/>
                        </a:lnTo>
                        <a:lnTo>
                          <a:pt x="0" y="1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7" name="Freeform 16"/>
                  <p:cNvSpPr>
                    <a:spLocks/>
                  </p:cNvSpPr>
                  <p:nvPr/>
                </p:nvSpPr>
                <p:spPr bwMode="auto">
                  <a:xfrm>
                    <a:off x="2897188" y="3562350"/>
                    <a:ext cx="1466850" cy="4763"/>
                  </a:xfrm>
                  <a:custGeom>
                    <a:avLst/>
                    <a:gdLst>
                      <a:gd name="T0" fmla="*/ 924 w 924"/>
                      <a:gd name="T1" fmla="*/ 0 h 3"/>
                      <a:gd name="T2" fmla="*/ 924 w 924"/>
                      <a:gd name="T3" fmla="*/ 2 h 3"/>
                      <a:gd name="T4" fmla="*/ 0 w 924"/>
                      <a:gd name="T5" fmla="*/ 3 h 3"/>
                      <a:gd name="T6" fmla="*/ 0 w 924"/>
                      <a:gd name="T7" fmla="*/ 0 h 3"/>
                      <a:gd name="T8" fmla="*/ 924 w 924"/>
                      <a:gd name="T9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24" h="3">
                        <a:moveTo>
                          <a:pt x="924" y="0"/>
                        </a:moveTo>
                        <a:lnTo>
                          <a:pt x="924" y="2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924" y="0"/>
                        </a:lnTo>
                        <a:close/>
                      </a:path>
                    </a:pathLst>
                  </a:custGeom>
                  <a:solidFill>
                    <a:srgbClr val="E6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8" name="Rectangle 17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562350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9" name="Rectangle 18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630613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0" name="Rectangle 19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630613"/>
                    <a:ext cx="15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1" name="Rectangle 20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700463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2" name="Rectangle 21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768725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3" name="Rectangle 22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838575"/>
                    <a:ext cx="65088" cy="158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4" name="Rectangle 23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906838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5" name="Rectangle 24"/>
                  <p:cNvSpPr>
                    <a:spLocks noChangeArrowheads="1"/>
                  </p:cNvSpPr>
                  <p:nvPr/>
                </p:nvSpPr>
                <p:spPr bwMode="auto">
                  <a:xfrm>
                    <a:off x="4425950" y="3976688"/>
                    <a:ext cx="650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6" name="Rectangle 25"/>
                  <p:cNvSpPr>
                    <a:spLocks noChangeArrowheads="1"/>
                  </p:cNvSpPr>
                  <p:nvPr/>
                </p:nvSpPr>
                <p:spPr bwMode="auto">
                  <a:xfrm>
                    <a:off x="4491038" y="3976688"/>
                    <a:ext cx="1588" cy="3175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7" name="Rectangle 26"/>
                  <p:cNvSpPr>
                    <a:spLocks noChangeArrowheads="1"/>
                  </p:cNvSpPr>
                  <p:nvPr/>
                </p:nvSpPr>
                <p:spPr bwMode="auto">
                  <a:xfrm>
                    <a:off x="3381375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8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3313113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9" name="Rectangle 28"/>
                  <p:cNvSpPr>
                    <a:spLocks noChangeArrowheads="1"/>
                  </p:cNvSpPr>
                  <p:nvPr/>
                </p:nvSpPr>
                <p:spPr bwMode="auto">
                  <a:xfrm>
                    <a:off x="3243263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0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3175000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2" name="Rectangle 30"/>
                  <p:cNvSpPr>
                    <a:spLocks noChangeArrowheads="1"/>
                  </p:cNvSpPr>
                  <p:nvPr/>
                </p:nvSpPr>
                <p:spPr bwMode="auto">
                  <a:xfrm>
                    <a:off x="3106738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3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3036888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4" name="Rectangle 32"/>
                  <p:cNvSpPr>
                    <a:spLocks noChangeArrowheads="1"/>
                  </p:cNvSpPr>
                  <p:nvPr/>
                </p:nvSpPr>
                <p:spPr bwMode="auto">
                  <a:xfrm>
                    <a:off x="2967038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5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3863975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6" name="Rectangle 34"/>
                  <p:cNvSpPr>
                    <a:spLocks noChangeArrowheads="1"/>
                  </p:cNvSpPr>
                  <p:nvPr/>
                </p:nvSpPr>
                <p:spPr bwMode="auto">
                  <a:xfrm>
                    <a:off x="3795713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7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3725863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8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3657600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9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3589338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0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3519488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1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3449638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2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4346575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3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4278313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4" name="Rectangle 42"/>
                  <p:cNvSpPr>
                    <a:spLocks noChangeArrowheads="1"/>
                  </p:cNvSpPr>
                  <p:nvPr/>
                </p:nvSpPr>
                <p:spPr bwMode="auto">
                  <a:xfrm>
                    <a:off x="4278313" y="4129088"/>
                    <a:ext cx="1588" cy="158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5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4208463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6" name="Rectangle 44"/>
                  <p:cNvSpPr>
                    <a:spLocks noChangeArrowheads="1"/>
                  </p:cNvSpPr>
                  <p:nvPr/>
                </p:nvSpPr>
                <p:spPr bwMode="auto">
                  <a:xfrm>
                    <a:off x="4140200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7" name="Rectangle 45"/>
                  <p:cNvSpPr>
                    <a:spLocks noChangeArrowheads="1"/>
                  </p:cNvSpPr>
                  <p:nvPr/>
                </p:nvSpPr>
                <p:spPr bwMode="auto">
                  <a:xfrm>
                    <a:off x="4070350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8" name="Rectangle 46"/>
                  <p:cNvSpPr>
                    <a:spLocks noChangeArrowheads="1"/>
                  </p:cNvSpPr>
                  <p:nvPr/>
                </p:nvSpPr>
                <p:spPr bwMode="auto">
                  <a:xfrm>
                    <a:off x="4000500" y="4083050"/>
                    <a:ext cx="3175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9" name="Rectangle 47"/>
                  <p:cNvSpPr>
                    <a:spLocks noChangeArrowheads="1"/>
                  </p:cNvSpPr>
                  <p:nvPr/>
                </p:nvSpPr>
                <p:spPr bwMode="auto">
                  <a:xfrm>
                    <a:off x="3932238" y="4083050"/>
                    <a:ext cx="1588" cy="46038"/>
                  </a:xfrm>
                  <a:prstGeom prst="rect">
                    <a:avLst/>
                  </a:pr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0" name="Freeform 48"/>
                  <p:cNvSpPr>
                    <a:spLocks/>
                  </p:cNvSpPr>
                  <p:nvPr/>
                </p:nvSpPr>
                <p:spPr bwMode="auto">
                  <a:xfrm>
                    <a:off x="2987675" y="3689350"/>
                    <a:ext cx="1012825" cy="255588"/>
                  </a:xfrm>
                  <a:custGeom>
                    <a:avLst/>
                    <a:gdLst>
                      <a:gd name="T0" fmla="*/ 2481 w 2557"/>
                      <a:gd name="T1" fmla="*/ 20 h 646"/>
                      <a:gd name="T2" fmla="*/ 2466 w 2557"/>
                      <a:gd name="T3" fmla="*/ 24 h 646"/>
                      <a:gd name="T4" fmla="*/ 2106 w 2557"/>
                      <a:gd name="T5" fmla="*/ 112 h 646"/>
                      <a:gd name="T6" fmla="*/ 2017 w 2557"/>
                      <a:gd name="T7" fmla="*/ 112 h 646"/>
                      <a:gd name="T8" fmla="*/ 1983 w 2557"/>
                      <a:gd name="T9" fmla="*/ 112 h 646"/>
                      <a:gd name="T10" fmla="*/ 1905 w 2557"/>
                      <a:gd name="T11" fmla="*/ 132 h 646"/>
                      <a:gd name="T12" fmla="*/ 1826 w 2557"/>
                      <a:gd name="T13" fmla="*/ 152 h 646"/>
                      <a:gd name="T14" fmla="*/ 1706 w 2557"/>
                      <a:gd name="T15" fmla="*/ 150 h 646"/>
                      <a:gd name="T16" fmla="*/ 1701 w 2557"/>
                      <a:gd name="T17" fmla="*/ 150 h 646"/>
                      <a:gd name="T18" fmla="*/ 1696 w 2557"/>
                      <a:gd name="T19" fmla="*/ 152 h 646"/>
                      <a:gd name="T20" fmla="*/ 1532 w 2557"/>
                      <a:gd name="T21" fmla="*/ 226 h 646"/>
                      <a:gd name="T22" fmla="*/ 1434 w 2557"/>
                      <a:gd name="T23" fmla="*/ 233 h 646"/>
                      <a:gd name="T24" fmla="*/ 1431 w 2557"/>
                      <a:gd name="T25" fmla="*/ 233 h 646"/>
                      <a:gd name="T26" fmla="*/ 1429 w 2557"/>
                      <a:gd name="T27" fmla="*/ 234 h 646"/>
                      <a:gd name="T28" fmla="*/ 1227 w 2557"/>
                      <a:gd name="T29" fmla="*/ 298 h 646"/>
                      <a:gd name="T30" fmla="*/ 1206 w 2557"/>
                      <a:gd name="T31" fmla="*/ 300 h 646"/>
                      <a:gd name="T32" fmla="*/ 1063 w 2557"/>
                      <a:gd name="T33" fmla="*/ 328 h 646"/>
                      <a:gd name="T34" fmla="*/ 500 w 2557"/>
                      <a:gd name="T35" fmla="*/ 497 h 646"/>
                      <a:gd name="T36" fmla="*/ 153 w 2557"/>
                      <a:gd name="T37" fmla="*/ 601 h 646"/>
                      <a:gd name="T38" fmla="*/ 0 w 2557"/>
                      <a:gd name="T39" fmla="*/ 632 h 646"/>
                      <a:gd name="T40" fmla="*/ 0 w 2557"/>
                      <a:gd name="T41" fmla="*/ 646 h 646"/>
                      <a:gd name="T42" fmla="*/ 164 w 2557"/>
                      <a:gd name="T43" fmla="*/ 611 h 646"/>
                      <a:gd name="T44" fmla="*/ 507 w 2557"/>
                      <a:gd name="T45" fmla="*/ 510 h 646"/>
                      <a:gd name="T46" fmla="*/ 1073 w 2557"/>
                      <a:gd name="T47" fmla="*/ 340 h 646"/>
                      <a:gd name="T48" fmla="*/ 1208 w 2557"/>
                      <a:gd name="T49" fmla="*/ 314 h 646"/>
                      <a:gd name="T50" fmla="*/ 1232 w 2557"/>
                      <a:gd name="T51" fmla="*/ 311 h 646"/>
                      <a:gd name="T52" fmla="*/ 1434 w 2557"/>
                      <a:gd name="T53" fmla="*/ 245 h 646"/>
                      <a:gd name="T54" fmla="*/ 1540 w 2557"/>
                      <a:gd name="T55" fmla="*/ 236 h 646"/>
                      <a:gd name="T56" fmla="*/ 1706 w 2557"/>
                      <a:gd name="T57" fmla="*/ 164 h 646"/>
                      <a:gd name="T58" fmla="*/ 1831 w 2557"/>
                      <a:gd name="T59" fmla="*/ 166 h 646"/>
                      <a:gd name="T60" fmla="*/ 1915 w 2557"/>
                      <a:gd name="T61" fmla="*/ 145 h 646"/>
                      <a:gd name="T62" fmla="*/ 1983 w 2557"/>
                      <a:gd name="T63" fmla="*/ 127 h 646"/>
                      <a:gd name="T64" fmla="*/ 2013 w 2557"/>
                      <a:gd name="T65" fmla="*/ 127 h 646"/>
                      <a:gd name="T66" fmla="*/ 2109 w 2557"/>
                      <a:gd name="T67" fmla="*/ 127 h 646"/>
                      <a:gd name="T68" fmla="*/ 2472 w 2557"/>
                      <a:gd name="T69" fmla="*/ 38 h 646"/>
                      <a:gd name="T70" fmla="*/ 2486 w 2557"/>
                      <a:gd name="T71" fmla="*/ 34 h 646"/>
                      <a:gd name="T72" fmla="*/ 2557 w 2557"/>
                      <a:gd name="T73" fmla="*/ 12 h 646"/>
                      <a:gd name="T74" fmla="*/ 2545 w 2557"/>
                      <a:gd name="T75" fmla="*/ 0 h 646"/>
                      <a:gd name="T76" fmla="*/ 2481 w 2557"/>
                      <a:gd name="T77" fmla="*/ 20 h 6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</a:cxnLst>
                    <a:rect l="0" t="0" r="r" b="b"/>
                    <a:pathLst>
                      <a:path w="2557" h="646">
                        <a:moveTo>
                          <a:pt x="2481" y="20"/>
                        </a:moveTo>
                        <a:cubicBezTo>
                          <a:pt x="2466" y="24"/>
                          <a:pt x="2466" y="24"/>
                          <a:pt x="2466" y="24"/>
                        </a:cubicBezTo>
                        <a:cubicBezTo>
                          <a:pt x="2370" y="50"/>
                          <a:pt x="2146" y="111"/>
                          <a:pt x="2106" y="112"/>
                        </a:cubicBezTo>
                        <a:cubicBezTo>
                          <a:pt x="2078" y="113"/>
                          <a:pt x="2043" y="112"/>
                          <a:pt x="2017" y="112"/>
                        </a:cubicBezTo>
                        <a:cubicBezTo>
                          <a:pt x="1997" y="112"/>
                          <a:pt x="1988" y="111"/>
                          <a:pt x="1983" y="112"/>
                        </a:cubicBezTo>
                        <a:cubicBezTo>
                          <a:pt x="1977" y="112"/>
                          <a:pt x="1961" y="116"/>
                          <a:pt x="1905" y="132"/>
                        </a:cubicBezTo>
                        <a:cubicBezTo>
                          <a:pt x="1874" y="140"/>
                          <a:pt x="1835" y="151"/>
                          <a:pt x="1826" y="152"/>
                        </a:cubicBezTo>
                        <a:cubicBezTo>
                          <a:pt x="1816" y="154"/>
                          <a:pt x="1757" y="152"/>
                          <a:pt x="1706" y="150"/>
                        </a:cubicBezTo>
                        <a:cubicBezTo>
                          <a:pt x="1701" y="150"/>
                          <a:pt x="1701" y="150"/>
                          <a:pt x="1701" y="150"/>
                        </a:cubicBezTo>
                        <a:cubicBezTo>
                          <a:pt x="1696" y="152"/>
                          <a:pt x="1696" y="152"/>
                          <a:pt x="1696" y="152"/>
                        </a:cubicBezTo>
                        <a:cubicBezTo>
                          <a:pt x="1624" y="185"/>
                          <a:pt x="1542" y="223"/>
                          <a:pt x="1532" y="226"/>
                        </a:cubicBezTo>
                        <a:cubicBezTo>
                          <a:pt x="1525" y="227"/>
                          <a:pt x="1477" y="231"/>
                          <a:pt x="1434" y="233"/>
                        </a:cubicBezTo>
                        <a:cubicBezTo>
                          <a:pt x="1431" y="233"/>
                          <a:pt x="1431" y="233"/>
                          <a:pt x="1431" y="233"/>
                        </a:cubicBezTo>
                        <a:cubicBezTo>
                          <a:pt x="1429" y="234"/>
                          <a:pt x="1429" y="234"/>
                          <a:pt x="1429" y="234"/>
                        </a:cubicBezTo>
                        <a:cubicBezTo>
                          <a:pt x="1340" y="263"/>
                          <a:pt x="1238" y="296"/>
                          <a:pt x="1227" y="298"/>
                        </a:cubicBezTo>
                        <a:cubicBezTo>
                          <a:pt x="1223" y="299"/>
                          <a:pt x="1215" y="299"/>
                          <a:pt x="1206" y="300"/>
                        </a:cubicBezTo>
                        <a:cubicBezTo>
                          <a:pt x="1173" y="303"/>
                          <a:pt x="1111" y="309"/>
                          <a:pt x="1063" y="328"/>
                        </a:cubicBezTo>
                        <a:cubicBezTo>
                          <a:pt x="1032" y="341"/>
                          <a:pt x="737" y="428"/>
                          <a:pt x="500" y="497"/>
                        </a:cubicBezTo>
                        <a:cubicBezTo>
                          <a:pt x="200" y="585"/>
                          <a:pt x="162" y="597"/>
                          <a:pt x="153" y="601"/>
                        </a:cubicBezTo>
                        <a:cubicBezTo>
                          <a:pt x="143" y="605"/>
                          <a:pt x="68" y="620"/>
                          <a:pt x="0" y="632"/>
                        </a:cubicBezTo>
                        <a:cubicBezTo>
                          <a:pt x="0" y="646"/>
                          <a:pt x="0" y="646"/>
                          <a:pt x="0" y="646"/>
                        </a:cubicBezTo>
                        <a:cubicBezTo>
                          <a:pt x="126" y="624"/>
                          <a:pt x="157" y="614"/>
                          <a:pt x="164" y="611"/>
                        </a:cubicBezTo>
                        <a:cubicBezTo>
                          <a:pt x="178" y="605"/>
                          <a:pt x="347" y="557"/>
                          <a:pt x="507" y="510"/>
                        </a:cubicBezTo>
                        <a:cubicBezTo>
                          <a:pt x="757" y="437"/>
                          <a:pt x="1039" y="354"/>
                          <a:pt x="1073" y="340"/>
                        </a:cubicBezTo>
                        <a:cubicBezTo>
                          <a:pt x="1114" y="323"/>
                          <a:pt x="1175" y="317"/>
                          <a:pt x="1208" y="314"/>
                        </a:cubicBezTo>
                        <a:cubicBezTo>
                          <a:pt x="1219" y="313"/>
                          <a:pt x="1226" y="312"/>
                          <a:pt x="1232" y="311"/>
                        </a:cubicBezTo>
                        <a:cubicBezTo>
                          <a:pt x="1251" y="308"/>
                          <a:pt x="1397" y="257"/>
                          <a:pt x="1434" y="245"/>
                        </a:cubicBezTo>
                        <a:cubicBezTo>
                          <a:pt x="1458" y="244"/>
                          <a:pt x="1527" y="239"/>
                          <a:pt x="1540" y="236"/>
                        </a:cubicBezTo>
                        <a:cubicBezTo>
                          <a:pt x="1552" y="234"/>
                          <a:pt x="1647" y="192"/>
                          <a:pt x="1706" y="164"/>
                        </a:cubicBezTo>
                        <a:cubicBezTo>
                          <a:pt x="1733" y="165"/>
                          <a:pt x="1812" y="169"/>
                          <a:pt x="1831" y="166"/>
                        </a:cubicBezTo>
                        <a:cubicBezTo>
                          <a:pt x="1841" y="164"/>
                          <a:pt x="1872" y="156"/>
                          <a:pt x="1915" y="145"/>
                        </a:cubicBezTo>
                        <a:cubicBezTo>
                          <a:pt x="1944" y="137"/>
                          <a:pt x="1978" y="128"/>
                          <a:pt x="1983" y="127"/>
                        </a:cubicBezTo>
                        <a:cubicBezTo>
                          <a:pt x="1986" y="127"/>
                          <a:pt x="2000" y="127"/>
                          <a:pt x="2013" y="127"/>
                        </a:cubicBezTo>
                        <a:cubicBezTo>
                          <a:pt x="2039" y="128"/>
                          <a:pt x="2081" y="128"/>
                          <a:pt x="2109" y="127"/>
                        </a:cubicBezTo>
                        <a:cubicBezTo>
                          <a:pt x="2150" y="126"/>
                          <a:pt x="2303" y="84"/>
                          <a:pt x="2472" y="38"/>
                        </a:cubicBezTo>
                        <a:cubicBezTo>
                          <a:pt x="2486" y="34"/>
                          <a:pt x="2486" y="34"/>
                          <a:pt x="2486" y="34"/>
                        </a:cubicBezTo>
                        <a:cubicBezTo>
                          <a:pt x="2513" y="26"/>
                          <a:pt x="2537" y="19"/>
                          <a:pt x="2557" y="12"/>
                        </a:cubicBezTo>
                        <a:cubicBezTo>
                          <a:pt x="2553" y="9"/>
                          <a:pt x="2549" y="4"/>
                          <a:pt x="2545" y="0"/>
                        </a:cubicBezTo>
                        <a:cubicBezTo>
                          <a:pt x="2527" y="6"/>
                          <a:pt x="2506" y="13"/>
                          <a:pt x="2481" y="2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1" name="Freeform 49"/>
                  <p:cNvSpPr>
                    <a:spLocks/>
                  </p:cNvSpPr>
                  <p:nvPr/>
                </p:nvSpPr>
                <p:spPr bwMode="auto">
                  <a:xfrm>
                    <a:off x="2987675" y="3544888"/>
                    <a:ext cx="1016000" cy="144463"/>
                  </a:xfrm>
                  <a:custGeom>
                    <a:avLst/>
                    <a:gdLst>
                      <a:gd name="T0" fmla="*/ 311 w 2565"/>
                      <a:gd name="T1" fmla="*/ 179 h 364"/>
                      <a:gd name="T2" fmla="*/ 590 w 2565"/>
                      <a:gd name="T3" fmla="*/ 117 h 364"/>
                      <a:gd name="T4" fmla="*/ 1007 w 2565"/>
                      <a:gd name="T5" fmla="*/ 47 h 364"/>
                      <a:gd name="T6" fmla="*/ 1290 w 2565"/>
                      <a:gd name="T7" fmla="*/ 74 h 364"/>
                      <a:gd name="T8" fmla="*/ 1294 w 2565"/>
                      <a:gd name="T9" fmla="*/ 75 h 364"/>
                      <a:gd name="T10" fmla="*/ 1298 w 2565"/>
                      <a:gd name="T11" fmla="*/ 74 h 364"/>
                      <a:gd name="T12" fmla="*/ 1557 w 2565"/>
                      <a:gd name="T13" fmla="*/ 18 h 364"/>
                      <a:gd name="T14" fmla="*/ 1866 w 2565"/>
                      <a:gd name="T15" fmla="*/ 46 h 364"/>
                      <a:gd name="T16" fmla="*/ 2082 w 2565"/>
                      <a:gd name="T17" fmla="*/ 65 h 364"/>
                      <a:gd name="T18" fmla="*/ 2266 w 2565"/>
                      <a:gd name="T19" fmla="*/ 52 h 364"/>
                      <a:gd name="T20" fmla="*/ 2445 w 2565"/>
                      <a:gd name="T21" fmla="*/ 209 h 364"/>
                      <a:gd name="T22" fmla="*/ 2545 w 2565"/>
                      <a:gd name="T23" fmla="*/ 364 h 364"/>
                      <a:gd name="T24" fmla="*/ 2565 w 2565"/>
                      <a:gd name="T25" fmla="*/ 358 h 364"/>
                      <a:gd name="T26" fmla="*/ 2461 w 2565"/>
                      <a:gd name="T27" fmla="*/ 199 h 364"/>
                      <a:gd name="T28" fmla="*/ 2460 w 2565"/>
                      <a:gd name="T29" fmla="*/ 197 h 364"/>
                      <a:gd name="T30" fmla="*/ 2273 w 2565"/>
                      <a:gd name="T31" fmla="*/ 36 h 364"/>
                      <a:gd name="T32" fmla="*/ 2081 w 2565"/>
                      <a:gd name="T33" fmla="*/ 50 h 364"/>
                      <a:gd name="T34" fmla="*/ 1868 w 2565"/>
                      <a:gd name="T35" fmla="*/ 31 h 364"/>
                      <a:gd name="T36" fmla="*/ 1557 w 2565"/>
                      <a:gd name="T37" fmla="*/ 5 h 364"/>
                      <a:gd name="T38" fmla="*/ 1292 w 2565"/>
                      <a:gd name="T39" fmla="*/ 61 h 364"/>
                      <a:gd name="T40" fmla="*/ 1004 w 2565"/>
                      <a:gd name="T41" fmla="*/ 34 h 364"/>
                      <a:gd name="T42" fmla="*/ 586 w 2565"/>
                      <a:gd name="T43" fmla="*/ 102 h 364"/>
                      <a:gd name="T44" fmla="*/ 308 w 2565"/>
                      <a:gd name="T45" fmla="*/ 164 h 364"/>
                      <a:gd name="T46" fmla="*/ 0 w 2565"/>
                      <a:gd name="T47" fmla="*/ 235 h 364"/>
                      <a:gd name="T48" fmla="*/ 0 w 2565"/>
                      <a:gd name="T49" fmla="*/ 251 h 364"/>
                      <a:gd name="T50" fmla="*/ 311 w 2565"/>
                      <a:gd name="T51" fmla="*/ 179 h 3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</a:cxnLst>
                    <a:rect l="0" t="0" r="r" b="b"/>
                    <a:pathLst>
                      <a:path w="2565" h="364">
                        <a:moveTo>
                          <a:pt x="311" y="179"/>
                        </a:moveTo>
                        <a:cubicBezTo>
                          <a:pt x="411" y="156"/>
                          <a:pt x="516" y="132"/>
                          <a:pt x="590" y="117"/>
                        </a:cubicBezTo>
                        <a:cubicBezTo>
                          <a:pt x="766" y="80"/>
                          <a:pt x="939" y="53"/>
                          <a:pt x="1007" y="47"/>
                        </a:cubicBezTo>
                        <a:cubicBezTo>
                          <a:pt x="1071" y="43"/>
                          <a:pt x="1288" y="74"/>
                          <a:pt x="1290" y="74"/>
                        </a:cubicBezTo>
                        <a:cubicBezTo>
                          <a:pt x="1294" y="75"/>
                          <a:pt x="1294" y="75"/>
                          <a:pt x="1294" y="75"/>
                        </a:cubicBezTo>
                        <a:cubicBezTo>
                          <a:pt x="1298" y="74"/>
                          <a:pt x="1298" y="74"/>
                          <a:pt x="1298" y="74"/>
                        </a:cubicBezTo>
                        <a:cubicBezTo>
                          <a:pt x="1300" y="74"/>
                          <a:pt x="1493" y="23"/>
                          <a:pt x="1557" y="18"/>
                        </a:cubicBezTo>
                        <a:cubicBezTo>
                          <a:pt x="1625" y="13"/>
                          <a:pt x="1801" y="28"/>
                          <a:pt x="1866" y="46"/>
                        </a:cubicBezTo>
                        <a:cubicBezTo>
                          <a:pt x="1935" y="65"/>
                          <a:pt x="1961" y="74"/>
                          <a:pt x="2082" y="65"/>
                        </a:cubicBezTo>
                        <a:cubicBezTo>
                          <a:pt x="2266" y="52"/>
                          <a:pt x="2266" y="52"/>
                          <a:pt x="2266" y="52"/>
                        </a:cubicBezTo>
                        <a:cubicBezTo>
                          <a:pt x="2445" y="209"/>
                          <a:pt x="2445" y="209"/>
                          <a:pt x="2445" y="209"/>
                        </a:cubicBezTo>
                        <a:cubicBezTo>
                          <a:pt x="2454" y="228"/>
                          <a:pt x="2494" y="308"/>
                          <a:pt x="2545" y="364"/>
                        </a:cubicBezTo>
                        <a:cubicBezTo>
                          <a:pt x="2552" y="362"/>
                          <a:pt x="2559" y="360"/>
                          <a:pt x="2565" y="358"/>
                        </a:cubicBezTo>
                        <a:cubicBezTo>
                          <a:pt x="2521" y="308"/>
                          <a:pt x="2479" y="234"/>
                          <a:pt x="2461" y="199"/>
                        </a:cubicBezTo>
                        <a:cubicBezTo>
                          <a:pt x="2460" y="197"/>
                          <a:pt x="2460" y="197"/>
                          <a:pt x="2460" y="197"/>
                        </a:cubicBezTo>
                        <a:cubicBezTo>
                          <a:pt x="2273" y="36"/>
                          <a:pt x="2273" y="36"/>
                          <a:pt x="2273" y="36"/>
                        </a:cubicBezTo>
                        <a:cubicBezTo>
                          <a:pt x="2081" y="50"/>
                          <a:pt x="2081" y="50"/>
                          <a:pt x="2081" y="50"/>
                        </a:cubicBezTo>
                        <a:cubicBezTo>
                          <a:pt x="1968" y="59"/>
                          <a:pt x="1937" y="50"/>
                          <a:pt x="1868" y="31"/>
                        </a:cubicBezTo>
                        <a:cubicBezTo>
                          <a:pt x="1799" y="12"/>
                          <a:pt x="1628" y="0"/>
                          <a:pt x="1557" y="5"/>
                        </a:cubicBezTo>
                        <a:cubicBezTo>
                          <a:pt x="1493" y="10"/>
                          <a:pt x="1322" y="53"/>
                          <a:pt x="1292" y="61"/>
                        </a:cubicBezTo>
                        <a:cubicBezTo>
                          <a:pt x="1260" y="56"/>
                          <a:pt x="1068" y="30"/>
                          <a:pt x="1004" y="34"/>
                        </a:cubicBezTo>
                        <a:cubicBezTo>
                          <a:pt x="934" y="40"/>
                          <a:pt x="764" y="65"/>
                          <a:pt x="586" y="102"/>
                        </a:cubicBezTo>
                        <a:cubicBezTo>
                          <a:pt x="512" y="118"/>
                          <a:pt x="409" y="141"/>
                          <a:pt x="308" y="164"/>
                        </a:cubicBezTo>
                        <a:cubicBezTo>
                          <a:pt x="211" y="186"/>
                          <a:pt x="83" y="216"/>
                          <a:pt x="0" y="235"/>
                        </a:cubicBezTo>
                        <a:cubicBezTo>
                          <a:pt x="0" y="251"/>
                          <a:pt x="0" y="251"/>
                          <a:pt x="0" y="251"/>
                        </a:cubicBezTo>
                        <a:cubicBezTo>
                          <a:pt x="81" y="232"/>
                          <a:pt x="204" y="203"/>
                          <a:pt x="311" y="17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2" name="Freeform 50"/>
                  <p:cNvSpPr>
                    <a:spLocks/>
                  </p:cNvSpPr>
                  <p:nvPr/>
                </p:nvSpPr>
                <p:spPr bwMode="auto">
                  <a:xfrm>
                    <a:off x="3995738" y="3687763"/>
                    <a:ext cx="12700" cy="6350"/>
                  </a:xfrm>
                  <a:custGeom>
                    <a:avLst/>
                    <a:gdLst>
                      <a:gd name="T0" fmla="*/ 12 w 32"/>
                      <a:gd name="T1" fmla="*/ 18 h 18"/>
                      <a:gd name="T2" fmla="*/ 32 w 32"/>
                      <a:gd name="T3" fmla="*/ 12 h 18"/>
                      <a:gd name="T4" fmla="*/ 20 w 32"/>
                      <a:gd name="T5" fmla="*/ 0 h 18"/>
                      <a:gd name="T6" fmla="*/ 0 w 32"/>
                      <a:gd name="T7" fmla="*/ 6 h 18"/>
                      <a:gd name="T8" fmla="*/ 12 w 32"/>
                      <a:gd name="T9" fmla="*/ 18 h 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2" h="18">
                        <a:moveTo>
                          <a:pt x="12" y="18"/>
                        </a:moveTo>
                        <a:cubicBezTo>
                          <a:pt x="19" y="16"/>
                          <a:pt x="25" y="14"/>
                          <a:pt x="32" y="12"/>
                        </a:cubicBezTo>
                        <a:cubicBezTo>
                          <a:pt x="28" y="8"/>
                          <a:pt x="24" y="4"/>
                          <a:pt x="20" y="0"/>
                        </a:cubicBezTo>
                        <a:cubicBezTo>
                          <a:pt x="14" y="2"/>
                          <a:pt x="7" y="4"/>
                          <a:pt x="0" y="6"/>
                        </a:cubicBezTo>
                        <a:cubicBezTo>
                          <a:pt x="4" y="10"/>
                          <a:pt x="8" y="15"/>
                          <a:pt x="12" y="1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3" name="Freeform 51"/>
                  <p:cNvSpPr>
                    <a:spLocks/>
                  </p:cNvSpPr>
                  <p:nvPr/>
                </p:nvSpPr>
                <p:spPr bwMode="auto">
                  <a:xfrm>
                    <a:off x="4003675" y="3635375"/>
                    <a:ext cx="280988" cy="57150"/>
                  </a:xfrm>
                  <a:custGeom>
                    <a:avLst/>
                    <a:gdLst>
                      <a:gd name="T0" fmla="*/ 102 w 713"/>
                      <a:gd name="T1" fmla="*/ 117 h 141"/>
                      <a:gd name="T2" fmla="*/ 190 w 713"/>
                      <a:gd name="T3" fmla="*/ 107 h 141"/>
                      <a:gd name="T4" fmla="*/ 193 w 713"/>
                      <a:gd name="T5" fmla="*/ 106 h 141"/>
                      <a:gd name="T6" fmla="*/ 196 w 713"/>
                      <a:gd name="T7" fmla="*/ 105 h 141"/>
                      <a:gd name="T8" fmla="*/ 332 w 713"/>
                      <a:gd name="T9" fmla="*/ 51 h 141"/>
                      <a:gd name="T10" fmla="*/ 713 w 713"/>
                      <a:gd name="T11" fmla="*/ 15 h 141"/>
                      <a:gd name="T12" fmla="*/ 713 w 713"/>
                      <a:gd name="T13" fmla="*/ 0 h 141"/>
                      <a:gd name="T14" fmla="*/ 327 w 713"/>
                      <a:gd name="T15" fmla="*/ 36 h 141"/>
                      <a:gd name="T16" fmla="*/ 183 w 713"/>
                      <a:gd name="T17" fmla="*/ 93 h 141"/>
                      <a:gd name="T18" fmla="*/ 97 w 713"/>
                      <a:gd name="T19" fmla="*/ 103 h 141"/>
                      <a:gd name="T20" fmla="*/ 13 w 713"/>
                      <a:gd name="T21" fmla="*/ 124 h 141"/>
                      <a:gd name="T22" fmla="*/ 0 w 713"/>
                      <a:gd name="T23" fmla="*/ 129 h 141"/>
                      <a:gd name="T24" fmla="*/ 12 w 713"/>
                      <a:gd name="T25" fmla="*/ 141 h 141"/>
                      <a:gd name="T26" fmla="*/ 25 w 713"/>
                      <a:gd name="T27" fmla="*/ 136 h 141"/>
                      <a:gd name="T28" fmla="*/ 102 w 713"/>
                      <a:gd name="T29" fmla="*/ 117 h 1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713" h="141">
                        <a:moveTo>
                          <a:pt x="102" y="117"/>
                        </a:moveTo>
                        <a:cubicBezTo>
                          <a:pt x="145" y="114"/>
                          <a:pt x="188" y="107"/>
                          <a:pt x="190" y="107"/>
                        </a:cubicBezTo>
                        <a:cubicBezTo>
                          <a:pt x="193" y="106"/>
                          <a:pt x="193" y="106"/>
                          <a:pt x="193" y="106"/>
                        </a:cubicBezTo>
                        <a:cubicBezTo>
                          <a:pt x="196" y="105"/>
                          <a:pt x="196" y="105"/>
                          <a:pt x="196" y="105"/>
                        </a:cubicBezTo>
                        <a:cubicBezTo>
                          <a:pt x="235" y="86"/>
                          <a:pt x="308" y="54"/>
                          <a:pt x="332" y="51"/>
                        </a:cubicBezTo>
                        <a:cubicBezTo>
                          <a:pt x="363" y="47"/>
                          <a:pt x="652" y="20"/>
                          <a:pt x="713" y="15"/>
                        </a:cubicBezTo>
                        <a:cubicBezTo>
                          <a:pt x="713" y="0"/>
                          <a:pt x="713" y="0"/>
                          <a:pt x="713" y="0"/>
                        </a:cubicBezTo>
                        <a:cubicBezTo>
                          <a:pt x="657" y="5"/>
                          <a:pt x="360" y="32"/>
                          <a:pt x="327" y="36"/>
                        </a:cubicBezTo>
                        <a:cubicBezTo>
                          <a:pt x="291" y="41"/>
                          <a:pt x="203" y="83"/>
                          <a:pt x="183" y="93"/>
                        </a:cubicBezTo>
                        <a:cubicBezTo>
                          <a:pt x="172" y="94"/>
                          <a:pt x="132" y="100"/>
                          <a:pt x="97" y="103"/>
                        </a:cubicBezTo>
                        <a:cubicBezTo>
                          <a:pt x="70" y="105"/>
                          <a:pt x="46" y="113"/>
                          <a:pt x="13" y="124"/>
                        </a:cubicBezTo>
                        <a:cubicBezTo>
                          <a:pt x="9" y="126"/>
                          <a:pt x="5" y="127"/>
                          <a:pt x="0" y="129"/>
                        </a:cubicBezTo>
                        <a:cubicBezTo>
                          <a:pt x="4" y="133"/>
                          <a:pt x="8" y="137"/>
                          <a:pt x="12" y="141"/>
                        </a:cubicBezTo>
                        <a:cubicBezTo>
                          <a:pt x="16" y="139"/>
                          <a:pt x="21" y="138"/>
                          <a:pt x="25" y="136"/>
                        </a:cubicBezTo>
                        <a:cubicBezTo>
                          <a:pt x="56" y="126"/>
                          <a:pt x="81" y="119"/>
                          <a:pt x="102" y="11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4" name="Freeform 52"/>
                  <p:cNvSpPr>
                    <a:spLocks/>
                  </p:cNvSpPr>
                  <p:nvPr/>
                </p:nvSpPr>
                <p:spPr bwMode="auto">
                  <a:xfrm>
                    <a:off x="2987675" y="3768725"/>
                    <a:ext cx="1296988" cy="233363"/>
                  </a:xfrm>
                  <a:custGeom>
                    <a:avLst/>
                    <a:gdLst>
                      <a:gd name="T0" fmla="*/ 2750 w 3278"/>
                      <a:gd name="T1" fmla="*/ 95 h 590"/>
                      <a:gd name="T2" fmla="*/ 2721 w 3278"/>
                      <a:gd name="T3" fmla="*/ 101 h 590"/>
                      <a:gd name="T4" fmla="*/ 2605 w 3278"/>
                      <a:gd name="T5" fmla="*/ 125 h 590"/>
                      <a:gd name="T6" fmla="*/ 2531 w 3278"/>
                      <a:gd name="T7" fmla="*/ 130 h 590"/>
                      <a:gd name="T8" fmla="*/ 2469 w 3278"/>
                      <a:gd name="T9" fmla="*/ 133 h 590"/>
                      <a:gd name="T10" fmla="*/ 2379 w 3278"/>
                      <a:gd name="T11" fmla="*/ 151 h 590"/>
                      <a:gd name="T12" fmla="*/ 2300 w 3278"/>
                      <a:gd name="T13" fmla="*/ 167 h 590"/>
                      <a:gd name="T14" fmla="*/ 2294 w 3278"/>
                      <a:gd name="T15" fmla="*/ 167 h 590"/>
                      <a:gd name="T16" fmla="*/ 2044 w 3278"/>
                      <a:gd name="T17" fmla="*/ 177 h 590"/>
                      <a:gd name="T18" fmla="*/ 1883 w 3278"/>
                      <a:gd name="T19" fmla="*/ 196 h 590"/>
                      <a:gd name="T20" fmla="*/ 1845 w 3278"/>
                      <a:gd name="T21" fmla="*/ 188 h 590"/>
                      <a:gd name="T22" fmla="*/ 1801 w 3278"/>
                      <a:gd name="T23" fmla="*/ 175 h 590"/>
                      <a:gd name="T24" fmla="*/ 1570 w 3278"/>
                      <a:gd name="T25" fmla="*/ 148 h 590"/>
                      <a:gd name="T26" fmla="*/ 1364 w 3278"/>
                      <a:gd name="T27" fmla="*/ 174 h 590"/>
                      <a:gd name="T28" fmla="*/ 1190 w 3278"/>
                      <a:gd name="T29" fmla="*/ 240 h 590"/>
                      <a:gd name="T30" fmla="*/ 982 w 3278"/>
                      <a:gd name="T31" fmla="*/ 281 h 590"/>
                      <a:gd name="T32" fmla="*/ 928 w 3278"/>
                      <a:gd name="T33" fmla="*/ 291 h 590"/>
                      <a:gd name="T34" fmla="*/ 842 w 3278"/>
                      <a:gd name="T35" fmla="*/ 318 h 590"/>
                      <a:gd name="T36" fmla="*/ 539 w 3278"/>
                      <a:gd name="T37" fmla="*/ 405 h 590"/>
                      <a:gd name="T38" fmla="*/ 183 w 3278"/>
                      <a:gd name="T39" fmla="*/ 511 h 590"/>
                      <a:gd name="T40" fmla="*/ 0 w 3278"/>
                      <a:gd name="T41" fmla="*/ 574 h 590"/>
                      <a:gd name="T42" fmla="*/ 0 w 3278"/>
                      <a:gd name="T43" fmla="*/ 590 h 590"/>
                      <a:gd name="T44" fmla="*/ 200 w 3278"/>
                      <a:gd name="T45" fmla="*/ 521 h 590"/>
                      <a:gd name="T46" fmla="*/ 542 w 3278"/>
                      <a:gd name="T47" fmla="*/ 418 h 590"/>
                      <a:gd name="T48" fmla="*/ 849 w 3278"/>
                      <a:gd name="T49" fmla="*/ 330 h 590"/>
                      <a:gd name="T50" fmla="*/ 933 w 3278"/>
                      <a:gd name="T51" fmla="*/ 303 h 590"/>
                      <a:gd name="T52" fmla="*/ 988 w 3278"/>
                      <a:gd name="T53" fmla="*/ 293 h 590"/>
                      <a:gd name="T54" fmla="*/ 1195 w 3278"/>
                      <a:gd name="T55" fmla="*/ 253 h 590"/>
                      <a:gd name="T56" fmla="*/ 1369 w 3278"/>
                      <a:gd name="T57" fmla="*/ 186 h 590"/>
                      <a:gd name="T58" fmla="*/ 1573 w 3278"/>
                      <a:gd name="T59" fmla="*/ 160 h 590"/>
                      <a:gd name="T60" fmla="*/ 1793 w 3278"/>
                      <a:gd name="T61" fmla="*/ 189 h 590"/>
                      <a:gd name="T62" fmla="*/ 1834 w 3278"/>
                      <a:gd name="T63" fmla="*/ 201 h 590"/>
                      <a:gd name="T64" fmla="*/ 1886 w 3278"/>
                      <a:gd name="T65" fmla="*/ 211 h 590"/>
                      <a:gd name="T66" fmla="*/ 2051 w 3278"/>
                      <a:gd name="T67" fmla="*/ 190 h 590"/>
                      <a:gd name="T68" fmla="*/ 2295 w 3278"/>
                      <a:gd name="T69" fmla="*/ 180 h 590"/>
                      <a:gd name="T70" fmla="*/ 2301 w 3278"/>
                      <a:gd name="T71" fmla="*/ 181 h 590"/>
                      <a:gd name="T72" fmla="*/ 2382 w 3278"/>
                      <a:gd name="T73" fmla="*/ 164 h 590"/>
                      <a:gd name="T74" fmla="*/ 2468 w 3278"/>
                      <a:gd name="T75" fmla="*/ 147 h 590"/>
                      <a:gd name="T76" fmla="*/ 2526 w 3278"/>
                      <a:gd name="T77" fmla="*/ 144 h 590"/>
                      <a:gd name="T78" fmla="*/ 2606 w 3278"/>
                      <a:gd name="T79" fmla="*/ 138 h 590"/>
                      <a:gd name="T80" fmla="*/ 2727 w 3278"/>
                      <a:gd name="T81" fmla="*/ 114 h 590"/>
                      <a:gd name="T82" fmla="*/ 2754 w 3278"/>
                      <a:gd name="T83" fmla="*/ 108 h 590"/>
                      <a:gd name="T84" fmla="*/ 3278 w 3278"/>
                      <a:gd name="T85" fmla="*/ 13 h 590"/>
                      <a:gd name="T86" fmla="*/ 3278 w 3278"/>
                      <a:gd name="T87" fmla="*/ 0 h 590"/>
                      <a:gd name="T88" fmla="*/ 2750 w 3278"/>
                      <a:gd name="T89" fmla="*/ 95 h 5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3278" h="590">
                        <a:moveTo>
                          <a:pt x="2750" y="95"/>
                        </a:moveTo>
                        <a:cubicBezTo>
                          <a:pt x="2745" y="96"/>
                          <a:pt x="2734" y="98"/>
                          <a:pt x="2721" y="101"/>
                        </a:cubicBezTo>
                        <a:cubicBezTo>
                          <a:pt x="2687" y="109"/>
                          <a:pt x="2637" y="120"/>
                          <a:pt x="2605" y="125"/>
                        </a:cubicBezTo>
                        <a:cubicBezTo>
                          <a:pt x="2582" y="129"/>
                          <a:pt x="2556" y="129"/>
                          <a:pt x="2531" y="130"/>
                        </a:cubicBezTo>
                        <a:cubicBezTo>
                          <a:pt x="2510" y="130"/>
                          <a:pt x="2489" y="131"/>
                          <a:pt x="2469" y="133"/>
                        </a:cubicBezTo>
                        <a:cubicBezTo>
                          <a:pt x="2448" y="136"/>
                          <a:pt x="2412" y="144"/>
                          <a:pt x="2379" y="151"/>
                        </a:cubicBezTo>
                        <a:cubicBezTo>
                          <a:pt x="2348" y="158"/>
                          <a:pt x="2310" y="167"/>
                          <a:pt x="2300" y="167"/>
                        </a:cubicBezTo>
                        <a:cubicBezTo>
                          <a:pt x="2294" y="167"/>
                          <a:pt x="2294" y="167"/>
                          <a:pt x="2294" y="167"/>
                        </a:cubicBezTo>
                        <a:cubicBezTo>
                          <a:pt x="2168" y="165"/>
                          <a:pt x="2084" y="169"/>
                          <a:pt x="2044" y="177"/>
                        </a:cubicBezTo>
                        <a:cubicBezTo>
                          <a:pt x="1983" y="189"/>
                          <a:pt x="1910" y="196"/>
                          <a:pt x="1883" y="196"/>
                        </a:cubicBezTo>
                        <a:cubicBezTo>
                          <a:pt x="1868" y="196"/>
                          <a:pt x="1861" y="194"/>
                          <a:pt x="1845" y="188"/>
                        </a:cubicBezTo>
                        <a:cubicBezTo>
                          <a:pt x="1834" y="185"/>
                          <a:pt x="1821" y="180"/>
                          <a:pt x="1801" y="175"/>
                        </a:cubicBezTo>
                        <a:cubicBezTo>
                          <a:pt x="1751" y="162"/>
                          <a:pt x="1625" y="146"/>
                          <a:pt x="1570" y="148"/>
                        </a:cubicBezTo>
                        <a:cubicBezTo>
                          <a:pt x="1569" y="148"/>
                          <a:pt x="1409" y="154"/>
                          <a:pt x="1364" y="174"/>
                        </a:cubicBezTo>
                        <a:cubicBezTo>
                          <a:pt x="1333" y="187"/>
                          <a:pt x="1224" y="228"/>
                          <a:pt x="1190" y="240"/>
                        </a:cubicBezTo>
                        <a:cubicBezTo>
                          <a:pt x="1166" y="248"/>
                          <a:pt x="1046" y="270"/>
                          <a:pt x="982" y="281"/>
                        </a:cubicBezTo>
                        <a:cubicBezTo>
                          <a:pt x="956" y="286"/>
                          <a:pt x="936" y="289"/>
                          <a:pt x="928" y="291"/>
                        </a:cubicBezTo>
                        <a:cubicBezTo>
                          <a:pt x="919" y="293"/>
                          <a:pt x="892" y="302"/>
                          <a:pt x="842" y="318"/>
                        </a:cubicBezTo>
                        <a:cubicBezTo>
                          <a:pt x="749" y="349"/>
                          <a:pt x="593" y="400"/>
                          <a:pt x="539" y="405"/>
                        </a:cubicBezTo>
                        <a:cubicBezTo>
                          <a:pt x="454" y="414"/>
                          <a:pt x="228" y="490"/>
                          <a:pt x="183" y="511"/>
                        </a:cubicBezTo>
                        <a:cubicBezTo>
                          <a:pt x="146" y="528"/>
                          <a:pt x="33" y="564"/>
                          <a:pt x="0" y="574"/>
                        </a:cubicBezTo>
                        <a:cubicBezTo>
                          <a:pt x="0" y="590"/>
                          <a:pt x="0" y="590"/>
                          <a:pt x="0" y="590"/>
                        </a:cubicBezTo>
                        <a:cubicBezTo>
                          <a:pt x="36" y="579"/>
                          <a:pt x="160" y="539"/>
                          <a:pt x="200" y="521"/>
                        </a:cubicBezTo>
                        <a:cubicBezTo>
                          <a:pt x="242" y="501"/>
                          <a:pt x="463" y="426"/>
                          <a:pt x="542" y="418"/>
                        </a:cubicBezTo>
                        <a:cubicBezTo>
                          <a:pt x="601" y="412"/>
                          <a:pt x="748" y="363"/>
                          <a:pt x="849" y="330"/>
                        </a:cubicBezTo>
                        <a:cubicBezTo>
                          <a:pt x="887" y="318"/>
                          <a:pt x="925" y="305"/>
                          <a:pt x="933" y="303"/>
                        </a:cubicBezTo>
                        <a:cubicBezTo>
                          <a:pt x="940" y="302"/>
                          <a:pt x="963" y="298"/>
                          <a:pt x="988" y="293"/>
                        </a:cubicBezTo>
                        <a:cubicBezTo>
                          <a:pt x="1083" y="276"/>
                          <a:pt x="1170" y="262"/>
                          <a:pt x="1195" y="253"/>
                        </a:cubicBezTo>
                        <a:cubicBezTo>
                          <a:pt x="1230" y="241"/>
                          <a:pt x="1336" y="200"/>
                          <a:pt x="1369" y="186"/>
                        </a:cubicBezTo>
                        <a:cubicBezTo>
                          <a:pt x="1394" y="175"/>
                          <a:pt x="1509" y="163"/>
                          <a:pt x="1573" y="160"/>
                        </a:cubicBezTo>
                        <a:cubicBezTo>
                          <a:pt x="1623" y="158"/>
                          <a:pt x="1746" y="176"/>
                          <a:pt x="1793" y="189"/>
                        </a:cubicBezTo>
                        <a:cubicBezTo>
                          <a:pt x="1812" y="194"/>
                          <a:pt x="1824" y="198"/>
                          <a:pt x="1834" y="201"/>
                        </a:cubicBezTo>
                        <a:cubicBezTo>
                          <a:pt x="1852" y="207"/>
                          <a:pt x="1864" y="211"/>
                          <a:pt x="1886" y="211"/>
                        </a:cubicBezTo>
                        <a:cubicBezTo>
                          <a:pt x="1916" y="211"/>
                          <a:pt x="1986" y="203"/>
                          <a:pt x="2051" y="190"/>
                        </a:cubicBezTo>
                        <a:cubicBezTo>
                          <a:pt x="2076" y="185"/>
                          <a:pt x="2141" y="179"/>
                          <a:pt x="2295" y="180"/>
                        </a:cubicBezTo>
                        <a:cubicBezTo>
                          <a:pt x="2301" y="181"/>
                          <a:pt x="2301" y="181"/>
                          <a:pt x="2301" y="181"/>
                        </a:cubicBezTo>
                        <a:cubicBezTo>
                          <a:pt x="2315" y="181"/>
                          <a:pt x="2337" y="175"/>
                          <a:pt x="2382" y="164"/>
                        </a:cubicBezTo>
                        <a:cubicBezTo>
                          <a:pt x="2415" y="157"/>
                          <a:pt x="2449" y="149"/>
                          <a:pt x="2468" y="147"/>
                        </a:cubicBezTo>
                        <a:cubicBezTo>
                          <a:pt x="2486" y="145"/>
                          <a:pt x="2506" y="144"/>
                          <a:pt x="2526" y="144"/>
                        </a:cubicBezTo>
                        <a:cubicBezTo>
                          <a:pt x="2552" y="143"/>
                          <a:pt x="2580" y="143"/>
                          <a:pt x="2606" y="138"/>
                        </a:cubicBezTo>
                        <a:cubicBezTo>
                          <a:pt x="2639" y="133"/>
                          <a:pt x="2693" y="122"/>
                          <a:pt x="2727" y="114"/>
                        </a:cubicBezTo>
                        <a:cubicBezTo>
                          <a:pt x="2740" y="111"/>
                          <a:pt x="2750" y="109"/>
                          <a:pt x="2754" y="108"/>
                        </a:cubicBezTo>
                        <a:cubicBezTo>
                          <a:pt x="2767" y="106"/>
                          <a:pt x="3153" y="36"/>
                          <a:pt x="3278" y="13"/>
                        </a:cubicBezTo>
                        <a:cubicBezTo>
                          <a:pt x="3278" y="0"/>
                          <a:pt x="3278" y="0"/>
                          <a:pt x="3278" y="0"/>
                        </a:cubicBezTo>
                        <a:cubicBezTo>
                          <a:pt x="3152" y="23"/>
                          <a:pt x="2763" y="92"/>
                          <a:pt x="2750" y="9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5" name="Freeform 53"/>
                  <p:cNvSpPr>
                    <a:spLocks/>
                  </p:cNvSpPr>
                  <p:nvPr/>
                </p:nvSpPr>
                <p:spPr bwMode="auto">
                  <a:xfrm>
                    <a:off x="4000500" y="3673475"/>
                    <a:ext cx="284163" cy="44450"/>
                  </a:xfrm>
                  <a:custGeom>
                    <a:avLst/>
                    <a:gdLst>
                      <a:gd name="T0" fmla="*/ 564 w 721"/>
                      <a:gd name="T1" fmla="*/ 47 h 110"/>
                      <a:gd name="T2" fmla="*/ 319 w 721"/>
                      <a:gd name="T3" fmla="*/ 4 h 110"/>
                      <a:gd name="T4" fmla="*/ 234 w 721"/>
                      <a:gd name="T5" fmla="*/ 37 h 110"/>
                      <a:gd name="T6" fmla="*/ 78 w 721"/>
                      <a:gd name="T7" fmla="*/ 83 h 110"/>
                      <a:gd name="T8" fmla="*/ 20 w 721"/>
                      <a:gd name="T9" fmla="*/ 45 h 110"/>
                      <a:gd name="T10" fmla="*/ 0 w 721"/>
                      <a:gd name="T11" fmla="*/ 51 h 110"/>
                      <a:gd name="T12" fmla="*/ 73 w 721"/>
                      <a:gd name="T13" fmla="*/ 97 h 110"/>
                      <a:gd name="T14" fmla="*/ 239 w 721"/>
                      <a:gd name="T15" fmla="*/ 51 h 110"/>
                      <a:gd name="T16" fmla="*/ 319 w 721"/>
                      <a:gd name="T17" fmla="*/ 17 h 110"/>
                      <a:gd name="T18" fmla="*/ 561 w 721"/>
                      <a:gd name="T19" fmla="*/ 60 h 110"/>
                      <a:gd name="T20" fmla="*/ 721 w 721"/>
                      <a:gd name="T21" fmla="*/ 95 h 110"/>
                      <a:gd name="T22" fmla="*/ 721 w 721"/>
                      <a:gd name="T23" fmla="*/ 83 h 110"/>
                      <a:gd name="T24" fmla="*/ 564 w 721"/>
                      <a:gd name="T25" fmla="*/ 47 h 1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721" h="110">
                        <a:moveTo>
                          <a:pt x="564" y="47"/>
                        </a:moveTo>
                        <a:cubicBezTo>
                          <a:pt x="544" y="42"/>
                          <a:pt x="371" y="0"/>
                          <a:pt x="319" y="4"/>
                        </a:cubicBezTo>
                        <a:cubicBezTo>
                          <a:pt x="296" y="6"/>
                          <a:pt x="268" y="20"/>
                          <a:pt x="234" y="37"/>
                        </a:cubicBezTo>
                        <a:cubicBezTo>
                          <a:pt x="185" y="62"/>
                          <a:pt x="125" y="93"/>
                          <a:pt x="78" y="83"/>
                        </a:cubicBezTo>
                        <a:cubicBezTo>
                          <a:pt x="60" y="79"/>
                          <a:pt x="40" y="65"/>
                          <a:pt x="20" y="45"/>
                        </a:cubicBezTo>
                        <a:cubicBezTo>
                          <a:pt x="13" y="47"/>
                          <a:pt x="7" y="49"/>
                          <a:pt x="0" y="51"/>
                        </a:cubicBezTo>
                        <a:cubicBezTo>
                          <a:pt x="23" y="74"/>
                          <a:pt x="47" y="92"/>
                          <a:pt x="73" y="97"/>
                        </a:cubicBezTo>
                        <a:cubicBezTo>
                          <a:pt x="134" y="110"/>
                          <a:pt x="185" y="79"/>
                          <a:pt x="239" y="51"/>
                        </a:cubicBezTo>
                        <a:cubicBezTo>
                          <a:pt x="266" y="37"/>
                          <a:pt x="305" y="18"/>
                          <a:pt x="319" y="17"/>
                        </a:cubicBezTo>
                        <a:cubicBezTo>
                          <a:pt x="358" y="14"/>
                          <a:pt x="509" y="47"/>
                          <a:pt x="561" y="60"/>
                        </a:cubicBezTo>
                        <a:cubicBezTo>
                          <a:pt x="721" y="95"/>
                          <a:pt x="721" y="95"/>
                          <a:pt x="721" y="95"/>
                        </a:cubicBezTo>
                        <a:cubicBezTo>
                          <a:pt x="721" y="83"/>
                          <a:pt x="721" y="83"/>
                          <a:pt x="721" y="83"/>
                        </a:cubicBezTo>
                        <a:lnTo>
                          <a:pt x="564" y="4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6" name="Freeform 54"/>
                  <p:cNvSpPr>
                    <a:spLocks/>
                  </p:cNvSpPr>
                  <p:nvPr/>
                </p:nvSpPr>
                <p:spPr bwMode="auto">
                  <a:xfrm>
                    <a:off x="3586163" y="4314825"/>
                    <a:ext cx="431800" cy="107950"/>
                  </a:xfrm>
                  <a:custGeom>
                    <a:avLst/>
                    <a:gdLst>
                      <a:gd name="T0" fmla="*/ 1 w 272"/>
                      <a:gd name="T1" fmla="*/ 0 h 68"/>
                      <a:gd name="T2" fmla="*/ 229 w 272"/>
                      <a:gd name="T3" fmla="*/ 53 h 68"/>
                      <a:gd name="T4" fmla="*/ 226 w 272"/>
                      <a:gd name="T5" fmla="*/ 38 h 68"/>
                      <a:gd name="T6" fmla="*/ 272 w 272"/>
                      <a:gd name="T7" fmla="*/ 68 h 68"/>
                      <a:gd name="T8" fmla="*/ 210 w 272"/>
                      <a:gd name="T9" fmla="*/ 65 h 68"/>
                      <a:gd name="T10" fmla="*/ 226 w 272"/>
                      <a:gd name="T11" fmla="*/ 57 h 68"/>
                      <a:gd name="T12" fmla="*/ 0 w 272"/>
                      <a:gd name="T13" fmla="*/ 4 h 68"/>
                      <a:gd name="T14" fmla="*/ 1 w 272"/>
                      <a:gd name="T15" fmla="*/ 0 h 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72" h="68">
                        <a:moveTo>
                          <a:pt x="1" y="0"/>
                        </a:moveTo>
                        <a:lnTo>
                          <a:pt x="229" y="53"/>
                        </a:lnTo>
                        <a:lnTo>
                          <a:pt x="226" y="38"/>
                        </a:lnTo>
                        <a:lnTo>
                          <a:pt x="272" y="68"/>
                        </a:lnTo>
                        <a:lnTo>
                          <a:pt x="210" y="65"/>
                        </a:lnTo>
                        <a:lnTo>
                          <a:pt x="226" y="57"/>
                        </a:lnTo>
                        <a:lnTo>
                          <a:pt x="0" y="4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7" name="Freeform 55"/>
                  <p:cNvSpPr>
                    <a:spLocks/>
                  </p:cNvSpPr>
                  <p:nvPr/>
                </p:nvSpPr>
                <p:spPr bwMode="auto">
                  <a:xfrm>
                    <a:off x="3568700" y="4314825"/>
                    <a:ext cx="115888" cy="114300"/>
                  </a:xfrm>
                  <a:custGeom>
                    <a:avLst/>
                    <a:gdLst>
                      <a:gd name="T0" fmla="*/ 11 w 73"/>
                      <a:gd name="T1" fmla="*/ 4 h 72"/>
                      <a:gd name="T2" fmla="*/ 54 w 73"/>
                      <a:gd name="T3" fmla="*/ 56 h 72"/>
                      <a:gd name="T4" fmla="*/ 73 w 73"/>
                      <a:gd name="T5" fmla="*/ 49 h 72"/>
                      <a:gd name="T6" fmla="*/ 50 w 73"/>
                      <a:gd name="T7" fmla="*/ 72 h 72"/>
                      <a:gd name="T8" fmla="*/ 11 w 73"/>
                      <a:gd name="T9" fmla="*/ 51 h 72"/>
                      <a:gd name="T10" fmla="*/ 36 w 73"/>
                      <a:gd name="T11" fmla="*/ 55 h 72"/>
                      <a:gd name="T12" fmla="*/ 0 w 73"/>
                      <a:gd name="T13" fmla="*/ 0 h 72"/>
                      <a:gd name="T14" fmla="*/ 11 w 73"/>
                      <a:gd name="T15" fmla="*/ 4 h 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3" h="72">
                        <a:moveTo>
                          <a:pt x="11" y="4"/>
                        </a:moveTo>
                        <a:lnTo>
                          <a:pt x="54" y="56"/>
                        </a:lnTo>
                        <a:lnTo>
                          <a:pt x="73" y="49"/>
                        </a:lnTo>
                        <a:lnTo>
                          <a:pt x="50" y="72"/>
                        </a:lnTo>
                        <a:lnTo>
                          <a:pt x="11" y="51"/>
                        </a:lnTo>
                        <a:lnTo>
                          <a:pt x="36" y="55"/>
                        </a:lnTo>
                        <a:lnTo>
                          <a:pt x="0" y="0"/>
                        </a:lnTo>
                        <a:lnTo>
                          <a:pt x="11" y="4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8" name="Freeform 56"/>
                  <p:cNvSpPr>
                    <a:spLocks/>
                  </p:cNvSpPr>
                  <p:nvPr/>
                </p:nvSpPr>
                <p:spPr bwMode="auto">
                  <a:xfrm>
                    <a:off x="3292475" y="4314825"/>
                    <a:ext cx="293688" cy="122238"/>
                  </a:xfrm>
                  <a:custGeom>
                    <a:avLst/>
                    <a:gdLst>
                      <a:gd name="T0" fmla="*/ 174 w 185"/>
                      <a:gd name="T1" fmla="*/ 0 h 77"/>
                      <a:gd name="T2" fmla="*/ 27 w 185"/>
                      <a:gd name="T3" fmla="*/ 65 h 77"/>
                      <a:gd name="T4" fmla="*/ 25 w 185"/>
                      <a:gd name="T5" fmla="*/ 55 h 77"/>
                      <a:gd name="T6" fmla="*/ 0 w 185"/>
                      <a:gd name="T7" fmla="*/ 77 h 77"/>
                      <a:gd name="T8" fmla="*/ 57 w 185"/>
                      <a:gd name="T9" fmla="*/ 76 h 77"/>
                      <a:gd name="T10" fmla="*/ 35 w 185"/>
                      <a:gd name="T11" fmla="*/ 70 h 77"/>
                      <a:gd name="T12" fmla="*/ 185 w 185"/>
                      <a:gd name="T13" fmla="*/ 4 h 77"/>
                      <a:gd name="T14" fmla="*/ 174 w 185"/>
                      <a:gd name="T15" fmla="*/ 0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85" h="77">
                        <a:moveTo>
                          <a:pt x="174" y="0"/>
                        </a:moveTo>
                        <a:lnTo>
                          <a:pt x="27" y="65"/>
                        </a:lnTo>
                        <a:lnTo>
                          <a:pt x="25" y="55"/>
                        </a:lnTo>
                        <a:lnTo>
                          <a:pt x="0" y="77"/>
                        </a:lnTo>
                        <a:lnTo>
                          <a:pt x="57" y="76"/>
                        </a:lnTo>
                        <a:lnTo>
                          <a:pt x="35" y="70"/>
                        </a:lnTo>
                        <a:lnTo>
                          <a:pt x="185" y="4"/>
                        </a:lnTo>
                        <a:lnTo>
                          <a:pt x="174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89" name="Freeform 57"/>
                  <p:cNvSpPr>
                    <a:spLocks/>
                  </p:cNvSpPr>
                  <p:nvPr/>
                </p:nvSpPr>
                <p:spPr bwMode="auto">
                  <a:xfrm>
                    <a:off x="3568700" y="4310063"/>
                    <a:ext cx="325438" cy="20638"/>
                  </a:xfrm>
                  <a:custGeom>
                    <a:avLst/>
                    <a:gdLst>
                      <a:gd name="T0" fmla="*/ 11 w 205"/>
                      <a:gd name="T1" fmla="*/ 6 h 13"/>
                      <a:gd name="T2" fmla="*/ 162 w 205"/>
                      <a:gd name="T3" fmla="*/ 9 h 13"/>
                      <a:gd name="T4" fmla="*/ 161 w 205"/>
                      <a:gd name="T5" fmla="*/ 13 h 13"/>
                      <a:gd name="T6" fmla="*/ 205 w 205"/>
                      <a:gd name="T7" fmla="*/ 7 h 13"/>
                      <a:gd name="T8" fmla="*/ 151 w 205"/>
                      <a:gd name="T9" fmla="*/ 0 h 13"/>
                      <a:gd name="T10" fmla="*/ 162 w 205"/>
                      <a:gd name="T11" fmla="*/ 4 h 13"/>
                      <a:gd name="T12" fmla="*/ 0 w 205"/>
                      <a:gd name="T13" fmla="*/ 4 h 13"/>
                      <a:gd name="T14" fmla="*/ 11 w 205"/>
                      <a:gd name="T15" fmla="*/ 6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05" h="13">
                        <a:moveTo>
                          <a:pt x="11" y="6"/>
                        </a:moveTo>
                        <a:lnTo>
                          <a:pt x="162" y="9"/>
                        </a:lnTo>
                        <a:lnTo>
                          <a:pt x="161" y="13"/>
                        </a:lnTo>
                        <a:lnTo>
                          <a:pt x="205" y="7"/>
                        </a:lnTo>
                        <a:lnTo>
                          <a:pt x="151" y="0"/>
                        </a:lnTo>
                        <a:lnTo>
                          <a:pt x="162" y="4"/>
                        </a:lnTo>
                        <a:lnTo>
                          <a:pt x="0" y="4"/>
                        </a:lnTo>
                        <a:lnTo>
                          <a:pt x="11" y="6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0" name="Freeform 58"/>
                  <p:cNvSpPr>
                    <a:spLocks/>
                  </p:cNvSpPr>
                  <p:nvPr/>
                </p:nvSpPr>
                <p:spPr bwMode="auto">
                  <a:xfrm>
                    <a:off x="3568700" y="4278313"/>
                    <a:ext cx="66675" cy="42863"/>
                  </a:xfrm>
                  <a:custGeom>
                    <a:avLst/>
                    <a:gdLst>
                      <a:gd name="T0" fmla="*/ 11 w 42"/>
                      <a:gd name="T1" fmla="*/ 27 h 27"/>
                      <a:gd name="T2" fmla="*/ 27 w 42"/>
                      <a:gd name="T3" fmla="*/ 12 h 27"/>
                      <a:gd name="T4" fmla="*/ 29 w 42"/>
                      <a:gd name="T5" fmla="*/ 10 h 27"/>
                      <a:gd name="T6" fmla="*/ 42 w 42"/>
                      <a:gd name="T7" fmla="*/ 16 h 27"/>
                      <a:gd name="T8" fmla="*/ 36 w 42"/>
                      <a:gd name="T9" fmla="*/ 0 h 27"/>
                      <a:gd name="T10" fmla="*/ 6 w 42"/>
                      <a:gd name="T11" fmla="*/ 10 h 27"/>
                      <a:gd name="T12" fmla="*/ 18 w 42"/>
                      <a:gd name="T13" fmla="*/ 10 h 27"/>
                      <a:gd name="T14" fmla="*/ 0 w 42"/>
                      <a:gd name="T15" fmla="*/ 24 h 27"/>
                      <a:gd name="T16" fmla="*/ 11 w 42"/>
                      <a:gd name="T17" fmla="*/ 27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2" h="27">
                        <a:moveTo>
                          <a:pt x="11" y="27"/>
                        </a:moveTo>
                        <a:lnTo>
                          <a:pt x="27" y="12"/>
                        </a:lnTo>
                        <a:lnTo>
                          <a:pt x="29" y="10"/>
                        </a:lnTo>
                        <a:lnTo>
                          <a:pt x="42" y="16"/>
                        </a:lnTo>
                        <a:lnTo>
                          <a:pt x="36" y="0"/>
                        </a:lnTo>
                        <a:lnTo>
                          <a:pt x="6" y="10"/>
                        </a:lnTo>
                        <a:lnTo>
                          <a:pt x="18" y="10"/>
                        </a:lnTo>
                        <a:lnTo>
                          <a:pt x="0" y="24"/>
                        </a:lnTo>
                        <a:lnTo>
                          <a:pt x="11" y="27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1" name="Freeform 59"/>
                  <p:cNvSpPr>
                    <a:spLocks/>
                  </p:cNvSpPr>
                  <p:nvPr/>
                </p:nvSpPr>
                <p:spPr bwMode="auto">
                  <a:xfrm>
                    <a:off x="3379788" y="4297363"/>
                    <a:ext cx="207963" cy="31750"/>
                  </a:xfrm>
                  <a:custGeom>
                    <a:avLst/>
                    <a:gdLst>
                      <a:gd name="T0" fmla="*/ 131 w 131"/>
                      <a:gd name="T1" fmla="*/ 11 h 20"/>
                      <a:gd name="T2" fmla="*/ 35 w 131"/>
                      <a:gd name="T3" fmla="*/ 6 h 20"/>
                      <a:gd name="T4" fmla="*/ 32 w 131"/>
                      <a:gd name="T5" fmla="*/ 5 h 20"/>
                      <a:gd name="T6" fmla="*/ 42 w 131"/>
                      <a:gd name="T7" fmla="*/ 0 h 20"/>
                      <a:gd name="T8" fmla="*/ 0 w 131"/>
                      <a:gd name="T9" fmla="*/ 6 h 20"/>
                      <a:gd name="T10" fmla="*/ 44 w 131"/>
                      <a:gd name="T11" fmla="*/ 20 h 20"/>
                      <a:gd name="T12" fmla="*/ 36 w 131"/>
                      <a:gd name="T13" fmla="*/ 10 h 20"/>
                      <a:gd name="T14" fmla="*/ 125 w 131"/>
                      <a:gd name="T15" fmla="*/ 14 h 20"/>
                      <a:gd name="T16" fmla="*/ 131 w 131"/>
                      <a:gd name="T17" fmla="*/ 11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31" h="20">
                        <a:moveTo>
                          <a:pt x="131" y="11"/>
                        </a:moveTo>
                        <a:lnTo>
                          <a:pt x="35" y="6"/>
                        </a:lnTo>
                        <a:lnTo>
                          <a:pt x="32" y="5"/>
                        </a:lnTo>
                        <a:lnTo>
                          <a:pt x="42" y="0"/>
                        </a:lnTo>
                        <a:lnTo>
                          <a:pt x="0" y="6"/>
                        </a:lnTo>
                        <a:lnTo>
                          <a:pt x="44" y="20"/>
                        </a:lnTo>
                        <a:lnTo>
                          <a:pt x="36" y="10"/>
                        </a:lnTo>
                        <a:lnTo>
                          <a:pt x="125" y="14"/>
                        </a:lnTo>
                        <a:lnTo>
                          <a:pt x="131" y="11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2" name="Freeform 60"/>
                  <p:cNvSpPr>
                    <a:spLocks/>
                  </p:cNvSpPr>
                  <p:nvPr/>
                </p:nvSpPr>
                <p:spPr bwMode="auto">
                  <a:xfrm>
                    <a:off x="3206750" y="4319588"/>
                    <a:ext cx="379413" cy="49213"/>
                  </a:xfrm>
                  <a:custGeom>
                    <a:avLst/>
                    <a:gdLst>
                      <a:gd name="T0" fmla="*/ 234 w 239"/>
                      <a:gd name="T1" fmla="*/ 0 h 31"/>
                      <a:gd name="T2" fmla="*/ 43 w 239"/>
                      <a:gd name="T3" fmla="*/ 18 h 31"/>
                      <a:gd name="T4" fmla="*/ 42 w 239"/>
                      <a:gd name="T5" fmla="*/ 12 h 31"/>
                      <a:gd name="T6" fmla="*/ 0 w 239"/>
                      <a:gd name="T7" fmla="*/ 26 h 31"/>
                      <a:gd name="T8" fmla="*/ 48 w 239"/>
                      <a:gd name="T9" fmla="*/ 31 h 31"/>
                      <a:gd name="T10" fmla="*/ 35 w 239"/>
                      <a:gd name="T11" fmla="*/ 25 h 31"/>
                      <a:gd name="T12" fmla="*/ 239 w 239"/>
                      <a:gd name="T13" fmla="*/ 2 h 31"/>
                      <a:gd name="T14" fmla="*/ 234 w 239"/>
                      <a:gd name="T15" fmla="*/ 0 h 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9" h="31">
                        <a:moveTo>
                          <a:pt x="234" y="0"/>
                        </a:moveTo>
                        <a:lnTo>
                          <a:pt x="43" y="18"/>
                        </a:lnTo>
                        <a:lnTo>
                          <a:pt x="42" y="12"/>
                        </a:lnTo>
                        <a:lnTo>
                          <a:pt x="0" y="26"/>
                        </a:lnTo>
                        <a:lnTo>
                          <a:pt x="48" y="31"/>
                        </a:lnTo>
                        <a:lnTo>
                          <a:pt x="35" y="25"/>
                        </a:lnTo>
                        <a:lnTo>
                          <a:pt x="239" y="2"/>
                        </a:lnTo>
                        <a:lnTo>
                          <a:pt x="234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3" name="Freeform 61"/>
                  <p:cNvSpPr>
                    <a:spLocks/>
                  </p:cNvSpPr>
                  <p:nvPr/>
                </p:nvSpPr>
                <p:spPr bwMode="auto">
                  <a:xfrm>
                    <a:off x="3821113" y="4275138"/>
                    <a:ext cx="371475" cy="101600"/>
                  </a:xfrm>
                  <a:custGeom>
                    <a:avLst/>
                    <a:gdLst>
                      <a:gd name="T0" fmla="*/ 233 w 234"/>
                      <a:gd name="T1" fmla="*/ 0 h 64"/>
                      <a:gd name="T2" fmla="*/ 37 w 234"/>
                      <a:gd name="T3" fmla="*/ 50 h 64"/>
                      <a:gd name="T4" fmla="*/ 40 w 234"/>
                      <a:gd name="T5" fmla="*/ 36 h 64"/>
                      <a:gd name="T6" fmla="*/ 0 w 234"/>
                      <a:gd name="T7" fmla="*/ 64 h 64"/>
                      <a:gd name="T8" fmla="*/ 53 w 234"/>
                      <a:gd name="T9" fmla="*/ 61 h 64"/>
                      <a:gd name="T10" fmla="*/ 40 w 234"/>
                      <a:gd name="T11" fmla="*/ 54 h 64"/>
                      <a:gd name="T12" fmla="*/ 234 w 234"/>
                      <a:gd name="T13" fmla="*/ 4 h 64"/>
                      <a:gd name="T14" fmla="*/ 233 w 234"/>
                      <a:gd name="T15" fmla="*/ 0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4" h="64">
                        <a:moveTo>
                          <a:pt x="233" y="0"/>
                        </a:moveTo>
                        <a:lnTo>
                          <a:pt x="37" y="50"/>
                        </a:lnTo>
                        <a:lnTo>
                          <a:pt x="40" y="36"/>
                        </a:lnTo>
                        <a:lnTo>
                          <a:pt x="0" y="64"/>
                        </a:lnTo>
                        <a:lnTo>
                          <a:pt x="53" y="61"/>
                        </a:lnTo>
                        <a:lnTo>
                          <a:pt x="40" y="54"/>
                        </a:lnTo>
                        <a:lnTo>
                          <a:pt x="234" y="4"/>
                        </a:lnTo>
                        <a:lnTo>
                          <a:pt x="233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4" name="Freeform 62"/>
                  <p:cNvSpPr>
                    <a:spLocks/>
                  </p:cNvSpPr>
                  <p:nvPr/>
                </p:nvSpPr>
                <p:spPr bwMode="auto">
                  <a:xfrm>
                    <a:off x="4108450" y="4276725"/>
                    <a:ext cx="98425" cy="106363"/>
                  </a:xfrm>
                  <a:custGeom>
                    <a:avLst/>
                    <a:gdLst>
                      <a:gd name="T0" fmla="*/ 53 w 62"/>
                      <a:gd name="T1" fmla="*/ 3 h 67"/>
                      <a:gd name="T2" fmla="*/ 15 w 62"/>
                      <a:gd name="T3" fmla="*/ 52 h 67"/>
                      <a:gd name="T4" fmla="*/ 0 w 62"/>
                      <a:gd name="T5" fmla="*/ 45 h 67"/>
                      <a:gd name="T6" fmla="*/ 19 w 62"/>
                      <a:gd name="T7" fmla="*/ 67 h 67"/>
                      <a:gd name="T8" fmla="*/ 53 w 62"/>
                      <a:gd name="T9" fmla="*/ 47 h 67"/>
                      <a:gd name="T10" fmla="*/ 31 w 62"/>
                      <a:gd name="T11" fmla="*/ 51 h 67"/>
                      <a:gd name="T12" fmla="*/ 62 w 62"/>
                      <a:gd name="T13" fmla="*/ 0 h 67"/>
                      <a:gd name="T14" fmla="*/ 53 w 62"/>
                      <a:gd name="T15" fmla="*/ 3 h 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2" h="67">
                        <a:moveTo>
                          <a:pt x="53" y="3"/>
                        </a:moveTo>
                        <a:lnTo>
                          <a:pt x="15" y="52"/>
                        </a:lnTo>
                        <a:lnTo>
                          <a:pt x="0" y="45"/>
                        </a:lnTo>
                        <a:lnTo>
                          <a:pt x="19" y="67"/>
                        </a:lnTo>
                        <a:lnTo>
                          <a:pt x="53" y="47"/>
                        </a:lnTo>
                        <a:lnTo>
                          <a:pt x="31" y="51"/>
                        </a:lnTo>
                        <a:lnTo>
                          <a:pt x="62" y="0"/>
                        </a:lnTo>
                        <a:lnTo>
                          <a:pt x="53" y="3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5" name="Freeform 63"/>
                  <p:cNvSpPr>
                    <a:spLocks/>
                  </p:cNvSpPr>
                  <p:nvPr/>
                </p:nvSpPr>
                <p:spPr bwMode="auto">
                  <a:xfrm>
                    <a:off x="4192588" y="4276725"/>
                    <a:ext cx="250825" cy="114300"/>
                  </a:xfrm>
                  <a:custGeom>
                    <a:avLst/>
                    <a:gdLst>
                      <a:gd name="T0" fmla="*/ 9 w 158"/>
                      <a:gd name="T1" fmla="*/ 0 h 72"/>
                      <a:gd name="T2" fmla="*/ 135 w 158"/>
                      <a:gd name="T3" fmla="*/ 60 h 72"/>
                      <a:gd name="T4" fmla="*/ 137 w 158"/>
                      <a:gd name="T5" fmla="*/ 51 h 72"/>
                      <a:gd name="T6" fmla="*/ 158 w 158"/>
                      <a:gd name="T7" fmla="*/ 72 h 72"/>
                      <a:gd name="T8" fmla="*/ 110 w 158"/>
                      <a:gd name="T9" fmla="*/ 71 h 72"/>
                      <a:gd name="T10" fmla="*/ 128 w 158"/>
                      <a:gd name="T11" fmla="*/ 65 h 72"/>
                      <a:gd name="T12" fmla="*/ 0 w 158"/>
                      <a:gd name="T13" fmla="*/ 3 h 72"/>
                      <a:gd name="T14" fmla="*/ 9 w 158"/>
                      <a:gd name="T15" fmla="*/ 0 h 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58" h="72">
                        <a:moveTo>
                          <a:pt x="9" y="0"/>
                        </a:moveTo>
                        <a:lnTo>
                          <a:pt x="135" y="60"/>
                        </a:lnTo>
                        <a:lnTo>
                          <a:pt x="137" y="51"/>
                        </a:lnTo>
                        <a:lnTo>
                          <a:pt x="158" y="72"/>
                        </a:lnTo>
                        <a:lnTo>
                          <a:pt x="110" y="71"/>
                        </a:lnTo>
                        <a:lnTo>
                          <a:pt x="128" y="65"/>
                        </a:lnTo>
                        <a:lnTo>
                          <a:pt x="0" y="3"/>
                        </a:lnTo>
                        <a:lnTo>
                          <a:pt x="9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6" name="Freeform 64"/>
                  <p:cNvSpPr>
                    <a:spLocks/>
                  </p:cNvSpPr>
                  <p:nvPr/>
                </p:nvSpPr>
                <p:spPr bwMode="auto">
                  <a:xfrm>
                    <a:off x="3927475" y="4271963"/>
                    <a:ext cx="279400" cy="19050"/>
                  </a:xfrm>
                  <a:custGeom>
                    <a:avLst/>
                    <a:gdLst>
                      <a:gd name="T0" fmla="*/ 167 w 176"/>
                      <a:gd name="T1" fmla="*/ 6 h 12"/>
                      <a:gd name="T2" fmla="*/ 37 w 176"/>
                      <a:gd name="T3" fmla="*/ 8 h 12"/>
                      <a:gd name="T4" fmla="*/ 38 w 176"/>
                      <a:gd name="T5" fmla="*/ 12 h 12"/>
                      <a:gd name="T6" fmla="*/ 0 w 176"/>
                      <a:gd name="T7" fmla="*/ 6 h 12"/>
                      <a:gd name="T8" fmla="*/ 46 w 176"/>
                      <a:gd name="T9" fmla="*/ 0 h 12"/>
                      <a:gd name="T10" fmla="*/ 38 w 176"/>
                      <a:gd name="T11" fmla="*/ 3 h 12"/>
                      <a:gd name="T12" fmla="*/ 176 w 176"/>
                      <a:gd name="T13" fmla="*/ 3 h 12"/>
                      <a:gd name="T14" fmla="*/ 167 w 176"/>
                      <a:gd name="T15" fmla="*/ 6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76" h="12">
                        <a:moveTo>
                          <a:pt x="167" y="6"/>
                        </a:moveTo>
                        <a:lnTo>
                          <a:pt x="37" y="8"/>
                        </a:lnTo>
                        <a:lnTo>
                          <a:pt x="38" y="12"/>
                        </a:lnTo>
                        <a:lnTo>
                          <a:pt x="0" y="6"/>
                        </a:lnTo>
                        <a:lnTo>
                          <a:pt x="46" y="0"/>
                        </a:lnTo>
                        <a:lnTo>
                          <a:pt x="38" y="3"/>
                        </a:lnTo>
                        <a:lnTo>
                          <a:pt x="176" y="3"/>
                        </a:lnTo>
                        <a:lnTo>
                          <a:pt x="167" y="6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7" name="Freeform 65"/>
                  <p:cNvSpPr>
                    <a:spLocks/>
                  </p:cNvSpPr>
                  <p:nvPr/>
                </p:nvSpPr>
                <p:spPr bwMode="auto">
                  <a:xfrm>
                    <a:off x="4149725" y="4241800"/>
                    <a:ext cx="57150" cy="39688"/>
                  </a:xfrm>
                  <a:custGeom>
                    <a:avLst/>
                    <a:gdLst>
                      <a:gd name="T0" fmla="*/ 27 w 36"/>
                      <a:gd name="T1" fmla="*/ 25 h 25"/>
                      <a:gd name="T2" fmla="*/ 13 w 36"/>
                      <a:gd name="T3" fmla="*/ 11 h 25"/>
                      <a:gd name="T4" fmla="*/ 11 w 36"/>
                      <a:gd name="T5" fmla="*/ 9 h 25"/>
                      <a:gd name="T6" fmla="*/ 0 w 36"/>
                      <a:gd name="T7" fmla="*/ 15 h 25"/>
                      <a:gd name="T8" fmla="*/ 5 w 36"/>
                      <a:gd name="T9" fmla="*/ 0 h 25"/>
                      <a:gd name="T10" fmla="*/ 31 w 36"/>
                      <a:gd name="T11" fmla="*/ 9 h 25"/>
                      <a:gd name="T12" fmla="*/ 21 w 36"/>
                      <a:gd name="T13" fmla="*/ 9 h 25"/>
                      <a:gd name="T14" fmla="*/ 36 w 36"/>
                      <a:gd name="T15" fmla="*/ 22 h 25"/>
                      <a:gd name="T16" fmla="*/ 27 w 36"/>
                      <a:gd name="T17" fmla="*/ 25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6" h="25">
                        <a:moveTo>
                          <a:pt x="27" y="25"/>
                        </a:moveTo>
                        <a:lnTo>
                          <a:pt x="13" y="11"/>
                        </a:lnTo>
                        <a:lnTo>
                          <a:pt x="11" y="9"/>
                        </a:lnTo>
                        <a:lnTo>
                          <a:pt x="0" y="15"/>
                        </a:lnTo>
                        <a:lnTo>
                          <a:pt x="5" y="0"/>
                        </a:lnTo>
                        <a:lnTo>
                          <a:pt x="31" y="9"/>
                        </a:lnTo>
                        <a:lnTo>
                          <a:pt x="21" y="9"/>
                        </a:lnTo>
                        <a:lnTo>
                          <a:pt x="36" y="22"/>
                        </a:lnTo>
                        <a:lnTo>
                          <a:pt x="27" y="25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8" name="Freeform 66"/>
                  <p:cNvSpPr>
                    <a:spLocks/>
                  </p:cNvSpPr>
                  <p:nvPr/>
                </p:nvSpPr>
                <p:spPr bwMode="auto">
                  <a:xfrm>
                    <a:off x="4191000" y="4259263"/>
                    <a:ext cx="177800" cy="30163"/>
                  </a:xfrm>
                  <a:custGeom>
                    <a:avLst/>
                    <a:gdLst>
                      <a:gd name="T0" fmla="*/ 0 w 112"/>
                      <a:gd name="T1" fmla="*/ 10 h 19"/>
                      <a:gd name="T2" fmla="*/ 82 w 112"/>
                      <a:gd name="T3" fmla="*/ 5 h 19"/>
                      <a:gd name="T4" fmla="*/ 85 w 112"/>
                      <a:gd name="T5" fmla="*/ 5 h 19"/>
                      <a:gd name="T6" fmla="*/ 76 w 112"/>
                      <a:gd name="T7" fmla="*/ 0 h 19"/>
                      <a:gd name="T8" fmla="*/ 112 w 112"/>
                      <a:gd name="T9" fmla="*/ 5 h 19"/>
                      <a:gd name="T10" fmla="*/ 75 w 112"/>
                      <a:gd name="T11" fmla="*/ 19 h 19"/>
                      <a:gd name="T12" fmla="*/ 81 w 112"/>
                      <a:gd name="T13" fmla="*/ 9 h 19"/>
                      <a:gd name="T14" fmla="*/ 5 w 112"/>
                      <a:gd name="T15" fmla="*/ 13 h 19"/>
                      <a:gd name="T16" fmla="*/ 0 w 112"/>
                      <a:gd name="T17" fmla="*/ 10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2" h="19">
                        <a:moveTo>
                          <a:pt x="0" y="10"/>
                        </a:moveTo>
                        <a:lnTo>
                          <a:pt x="82" y="5"/>
                        </a:lnTo>
                        <a:lnTo>
                          <a:pt x="85" y="5"/>
                        </a:lnTo>
                        <a:lnTo>
                          <a:pt x="76" y="0"/>
                        </a:lnTo>
                        <a:lnTo>
                          <a:pt x="112" y="5"/>
                        </a:lnTo>
                        <a:lnTo>
                          <a:pt x="75" y="19"/>
                        </a:lnTo>
                        <a:lnTo>
                          <a:pt x="81" y="9"/>
                        </a:lnTo>
                        <a:lnTo>
                          <a:pt x="5" y="13"/>
                        </a:lnTo>
                        <a:lnTo>
                          <a:pt x="0" y="1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99" name="Freeform 67"/>
                  <p:cNvSpPr>
                    <a:spLocks/>
                  </p:cNvSpPr>
                  <p:nvPr/>
                </p:nvSpPr>
                <p:spPr bwMode="auto">
                  <a:xfrm>
                    <a:off x="4192588" y="4279900"/>
                    <a:ext cx="325438" cy="46038"/>
                  </a:xfrm>
                  <a:custGeom>
                    <a:avLst/>
                    <a:gdLst>
                      <a:gd name="T0" fmla="*/ 4 w 205"/>
                      <a:gd name="T1" fmla="*/ 0 h 29"/>
                      <a:gd name="T2" fmla="*/ 168 w 205"/>
                      <a:gd name="T3" fmla="*/ 17 h 29"/>
                      <a:gd name="T4" fmla="*/ 169 w 205"/>
                      <a:gd name="T5" fmla="*/ 12 h 29"/>
                      <a:gd name="T6" fmla="*/ 205 w 205"/>
                      <a:gd name="T7" fmla="*/ 25 h 29"/>
                      <a:gd name="T8" fmla="*/ 164 w 205"/>
                      <a:gd name="T9" fmla="*/ 29 h 29"/>
                      <a:gd name="T10" fmla="*/ 175 w 205"/>
                      <a:gd name="T11" fmla="*/ 23 h 29"/>
                      <a:gd name="T12" fmla="*/ 0 w 205"/>
                      <a:gd name="T13" fmla="*/ 2 h 29"/>
                      <a:gd name="T14" fmla="*/ 4 w 205"/>
                      <a:gd name="T15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05" h="29">
                        <a:moveTo>
                          <a:pt x="4" y="0"/>
                        </a:moveTo>
                        <a:lnTo>
                          <a:pt x="168" y="17"/>
                        </a:lnTo>
                        <a:lnTo>
                          <a:pt x="169" y="12"/>
                        </a:lnTo>
                        <a:lnTo>
                          <a:pt x="205" y="25"/>
                        </a:lnTo>
                        <a:lnTo>
                          <a:pt x="164" y="29"/>
                        </a:lnTo>
                        <a:lnTo>
                          <a:pt x="175" y="23"/>
                        </a:lnTo>
                        <a:lnTo>
                          <a:pt x="0" y="2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0" name="Freeform 68"/>
                  <p:cNvSpPr>
                    <a:spLocks/>
                  </p:cNvSpPr>
                  <p:nvPr/>
                </p:nvSpPr>
                <p:spPr bwMode="auto">
                  <a:xfrm>
                    <a:off x="2809875" y="4294188"/>
                    <a:ext cx="317500" cy="85725"/>
                  </a:xfrm>
                  <a:custGeom>
                    <a:avLst/>
                    <a:gdLst>
                      <a:gd name="T0" fmla="*/ 199 w 200"/>
                      <a:gd name="T1" fmla="*/ 0 h 54"/>
                      <a:gd name="T2" fmla="*/ 32 w 200"/>
                      <a:gd name="T3" fmla="*/ 42 h 54"/>
                      <a:gd name="T4" fmla="*/ 34 w 200"/>
                      <a:gd name="T5" fmla="*/ 30 h 54"/>
                      <a:gd name="T6" fmla="*/ 0 w 200"/>
                      <a:gd name="T7" fmla="*/ 54 h 54"/>
                      <a:gd name="T8" fmla="*/ 46 w 200"/>
                      <a:gd name="T9" fmla="*/ 52 h 54"/>
                      <a:gd name="T10" fmla="*/ 34 w 200"/>
                      <a:gd name="T11" fmla="*/ 46 h 54"/>
                      <a:gd name="T12" fmla="*/ 200 w 200"/>
                      <a:gd name="T13" fmla="*/ 3 h 54"/>
                      <a:gd name="T14" fmla="*/ 199 w 200"/>
                      <a:gd name="T15" fmla="*/ 0 h 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00" h="54">
                        <a:moveTo>
                          <a:pt x="199" y="0"/>
                        </a:moveTo>
                        <a:lnTo>
                          <a:pt x="32" y="42"/>
                        </a:lnTo>
                        <a:lnTo>
                          <a:pt x="34" y="30"/>
                        </a:lnTo>
                        <a:lnTo>
                          <a:pt x="0" y="54"/>
                        </a:lnTo>
                        <a:lnTo>
                          <a:pt x="46" y="52"/>
                        </a:lnTo>
                        <a:lnTo>
                          <a:pt x="34" y="46"/>
                        </a:lnTo>
                        <a:lnTo>
                          <a:pt x="200" y="3"/>
                        </a:lnTo>
                        <a:lnTo>
                          <a:pt x="199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1" name="Freeform 69"/>
                  <p:cNvSpPr>
                    <a:spLocks/>
                  </p:cNvSpPr>
                  <p:nvPr/>
                </p:nvSpPr>
                <p:spPr bwMode="auto">
                  <a:xfrm>
                    <a:off x="3055938" y="4294188"/>
                    <a:ext cx="84138" cy="92075"/>
                  </a:xfrm>
                  <a:custGeom>
                    <a:avLst/>
                    <a:gdLst>
                      <a:gd name="T0" fmla="*/ 45 w 53"/>
                      <a:gd name="T1" fmla="*/ 3 h 58"/>
                      <a:gd name="T2" fmla="*/ 14 w 53"/>
                      <a:gd name="T3" fmla="*/ 45 h 58"/>
                      <a:gd name="T4" fmla="*/ 0 w 53"/>
                      <a:gd name="T5" fmla="*/ 39 h 58"/>
                      <a:gd name="T6" fmla="*/ 16 w 53"/>
                      <a:gd name="T7" fmla="*/ 58 h 58"/>
                      <a:gd name="T8" fmla="*/ 45 w 53"/>
                      <a:gd name="T9" fmla="*/ 41 h 58"/>
                      <a:gd name="T10" fmla="*/ 27 w 53"/>
                      <a:gd name="T11" fmla="*/ 44 h 58"/>
                      <a:gd name="T12" fmla="*/ 53 w 53"/>
                      <a:gd name="T13" fmla="*/ 0 h 58"/>
                      <a:gd name="T14" fmla="*/ 45 w 53"/>
                      <a:gd name="T15" fmla="*/ 3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53" h="58">
                        <a:moveTo>
                          <a:pt x="45" y="3"/>
                        </a:moveTo>
                        <a:lnTo>
                          <a:pt x="14" y="45"/>
                        </a:lnTo>
                        <a:lnTo>
                          <a:pt x="0" y="39"/>
                        </a:lnTo>
                        <a:lnTo>
                          <a:pt x="16" y="58"/>
                        </a:lnTo>
                        <a:lnTo>
                          <a:pt x="45" y="41"/>
                        </a:lnTo>
                        <a:lnTo>
                          <a:pt x="27" y="44"/>
                        </a:lnTo>
                        <a:lnTo>
                          <a:pt x="53" y="0"/>
                        </a:lnTo>
                        <a:lnTo>
                          <a:pt x="45" y="3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2" name="Freeform 70"/>
                  <p:cNvSpPr>
                    <a:spLocks/>
                  </p:cNvSpPr>
                  <p:nvPr/>
                </p:nvSpPr>
                <p:spPr bwMode="auto">
                  <a:xfrm>
                    <a:off x="3127375" y="4294188"/>
                    <a:ext cx="215900" cy="98425"/>
                  </a:xfrm>
                  <a:custGeom>
                    <a:avLst/>
                    <a:gdLst>
                      <a:gd name="T0" fmla="*/ 8 w 136"/>
                      <a:gd name="T1" fmla="*/ 0 h 62"/>
                      <a:gd name="T2" fmla="*/ 116 w 136"/>
                      <a:gd name="T3" fmla="*/ 52 h 62"/>
                      <a:gd name="T4" fmla="*/ 118 w 136"/>
                      <a:gd name="T5" fmla="*/ 44 h 62"/>
                      <a:gd name="T6" fmla="*/ 136 w 136"/>
                      <a:gd name="T7" fmla="*/ 62 h 62"/>
                      <a:gd name="T8" fmla="*/ 94 w 136"/>
                      <a:gd name="T9" fmla="*/ 61 h 62"/>
                      <a:gd name="T10" fmla="*/ 110 w 136"/>
                      <a:gd name="T11" fmla="*/ 56 h 62"/>
                      <a:gd name="T12" fmla="*/ 0 w 136"/>
                      <a:gd name="T13" fmla="*/ 3 h 62"/>
                      <a:gd name="T14" fmla="*/ 8 w 136"/>
                      <a:gd name="T15" fmla="*/ 0 h 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36" h="62">
                        <a:moveTo>
                          <a:pt x="8" y="0"/>
                        </a:moveTo>
                        <a:lnTo>
                          <a:pt x="116" y="52"/>
                        </a:lnTo>
                        <a:lnTo>
                          <a:pt x="118" y="44"/>
                        </a:lnTo>
                        <a:lnTo>
                          <a:pt x="136" y="62"/>
                        </a:lnTo>
                        <a:lnTo>
                          <a:pt x="94" y="61"/>
                        </a:lnTo>
                        <a:lnTo>
                          <a:pt x="110" y="56"/>
                        </a:lnTo>
                        <a:lnTo>
                          <a:pt x="0" y="3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3" name="Freeform 71"/>
                  <p:cNvSpPr>
                    <a:spLocks/>
                  </p:cNvSpPr>
                  <p:nvPr/>
                </p:nvSpPr>
                <p:spPr bwMode="auto">
                  <a:xfrm>
                    <a:off x="2901950" y="4289425"/>
                    <a:ext cx="238125" cy="17463"/>
                  </a:xfrm>
                  <a:custGeom>
                    <a:avLst/>
                    <a:gdLst>
                      <a:gd name="T0" fmla="*/ 142 w 150"/>
                      <a:gd name="T1" fmla="*/ 6 h 11"/>
                      <a:gd name="T2" fmla="*/ 31 w 150"/>
                      <a:gd name="T3" fmla="*/ 8 h 11"/>
                      <a:gd name="T4" fmla="*/ 32 w 150"/>
                      <a:gd name="T5" fmla="*/ 11 h 11"/>
                      <a:gd name="T6" fmla="*/ 0 w 150"/>
                      <a:gd name="T7" fmla="*/ 6 h 11"/>
                      <a:gd name="T8" fmla="*/ 39 w 150"/>
                      <a:gd name="T9" fmla="*/ 0 h 11"/>
                      <a:gd name="T10" fmla="*/ 32 w 150"/>
                      <a:gd name="T11" fmla="*/ 3 h 11"/>
                      <a:gd name="T12" fmla="*/ 150 w 150"/>
                      <a:gd name="T13" fmla="*/ 4 h 11"/>
                      <a:gd name="T14" fmla="*/ 142 w 150"/>
                      <a:gd name="T15" fmla="*/ 6 h 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50" h="11">
                        <a:moveTo>
                          <a:pt x="142" y="6"/>
                        </a:moveTo>
                        <a:lnTo>
                          <a:pt x="31" y="8"/>
                        </a:lnTo>
                        <a:lnTo>
                          <a:pt x="32" y="11"/>
                        </a:lnTo>
                        <a:lnTo>
                          <a:pt x="0" y="6"/>
                        </a:lnTo>
                        <a:lnTo>
                          <a:pt x="39" y="0"/>
                        </a:lnTo>
                        <a:lnTo>
                          <a:pt x="32" y="3"/>
                        </a:lnTo>
                        <a:lnTo>
                          <a:pt x="150" y="4"/>
                        </a:lnTo>
                        <a:lnTo>
                          <a:pt x="142" y="6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4" name="Freeform 72"/>
                  <p:cNvSpPr>
                    <a:spLocks/>
                  </p:cNvSpPr>
                  <p:nvPr/>
                </p:nvSpPr>
                <p:spPr bwMode="auto">
                  <a:xfrm>
                    <a:off x="3090863" y="4264025"/>
                    <a:ext cx="49213" cy="34925"/>
                  </a:xfrm>
                  <a:custGeom>
                    <a:avLst/>
                    <a:gdLst>
                      <a:gd name="T0" fmla="*/ 23 w 31"/>
                      <a:gd name="T1" fmla="*/ 22 h 22"/>
                      <a:gd name="T2" fmla="*/ 11 w 31"/>
                      <a:gd name="T3" fmla="*/ 10 h 22"/>
                      <a:gd name="T4" fmla="*/ 10 w 31"/>
                      <a:gd name="T5" fmla="*/ 8 h 22"/>
                      <a:gd name="T6" fmla="*/ 0 w 31"/>
                      <a:gd name="T7" fmla="*/ 13 h 22"/>
                      <a:gd name="T8" fmla="*/ 4 w 31"/>
                      <a:gd name="T9" fmla="*/ 0 h 22"/>
                      <a:gd name="T10" fmla="*/ 27 w 31"/>
                      <a:gd name="T11" fmla="*/ 8 h 22"/>
                      <a:gd name="T12" fmla="*/ 18 w 31"/>
                      <a:gd name="T13" fmla="*/ 9 h 22"/>
                      <a:gd name="T14" fmla="*/ 31 w 31"/>
                      <a:gd name="T15" fmla="*/ 20 h 22"/>
                      <a:gd name="T16" fmla="*/ 23 w 31"/>
                      <a:gd name="T17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1" h="22">
                        <a:moveTo>
                          <a:pt x="23" y="22"/>
                        </a:moveTo>
                        <a:lnTo>
                          <a:pt x="11" y="10"/>
                        </a:lnTo>
                        <a:lnTo>
                          <a:pt x="10" y="8"/>
                        </a:lnTo>
                        <a:lnTo>
                          <a:pt x="0" y="13"/>
                        </a:lnTo>
                        <a:lnTo>
                          <a:pt x="4" y="0"/>
                        </a:lnTo>
                        <a:lnTo>
                          <a:pt x="27" y="8"/>
                        </a:lnTo>
                        <a:lnTo>
                          <a:pt x="18" y="9"/>
                        </a:lnTo>
                        <a:lnTo>
                          <a:pt x="31" y="20"/>
                        </a:lnTo>
                        <a:lnTo>
                          <a:pt x="23" y="22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5" name="Freeform 73"/>
                  <p:cNvSpPr>
                    <a:spLocks/>
                  </p:cNvSpPr>
                  <p:nvPr/>
                </p:nvSpPr>
                <p:spPr bwMode="auto">
                  <a:xfrm>
                    <a:off x="3125788" y="4279900"/>
                    <a:ext cx="152400" cy="25400"/>
                  </a:xfrm>
                  <a:custGeom>
                    <a:avLst/>
                    <a:gdLst>
                      <a:gd name="T0" fmla="*/ 0 w 96"/>
                      <a:gd name="T1" fmla="*/ 9 h 16"/>
                      <a:gd name="T2" fmla="*/ 71 w 96"/>
                      <a:gd name="T3" fmla="*/ 4 h 16"/>
                      <a:gd name="T4" fmla="*/ 73 w 96"/>
                      <a:gd name="T5" fmla="*/ 4 h 16"/>
                      <a:gd name="T6" fmla="*/ 66 w 96"/>
                      <a:gd name="T7" fmla="*/ 0 h 16"/>
                      <a:gd name="T8" fmla="*/ 96 w 96"/>
                      <a:gd name="T9" fmla="*/ 5 h 16"/>
                      <a:gd name="T10" fmla="*/ 65 w 96"/>
                      <a:gd name="T11" fmla="*/ 16 h 16"/>
                      <a:gd name="T12" fmla="*/ 70 w 96"/>
                      <a:gd name="T13" fmla="*/ 8 h 16"/>
                      <a:gd name="T14" fmla="*/ 5 w 96"/>
                      <a:gd name="T15" fmla="*/ 11 h 16"/>
                      <a:gd name="T16" fmla="*/ 0 w 96"/>
                      <a:gd name="T17" fmla="*/ 9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6" h="16">
                        <a:moveTo>
                          <a:pt x="0" y="9"/>
                        </a:moveTo>
                        <a:lnTo>
                          <a:pt x="71" y="4"/>
                        </a:lnTo>
                        <a:lnTo>
                          <a:pt x="73" y="4"/>
                        </a:lnTo>
                        <a:lnTo>
                          <a:pt x="66" y="0"/>
                        </a:lnTo>
                        <a:lnTo>
                          <a:pt x="96" y="5"/>
                        </a:lnTo>
                        <a:lnTo>
                          <a:pt x="65" y="16"/>
                        </a:lnTo>
                        <a:lnTo>
                          <a:pt x="70" y="8"/>
                        </a:lnTo>
                        <a:lnTo>
                          <a:pt x="5" y="11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6" name="Freeform 74"/>
                  <p:cNvSpPr>
                    <a:spLocks/>
                  </p:cNvSpPr>
                  <p:nvPr/>
                </p:nvSpPr>
                <p:spPr bwMode="auto">
                  <a:xfrm>
                    <a:off x="3127375" y="4297363"/>
                    <a:ext cx="279400" cy="39688"/>
                  </a:xfrm>
                  <a:custGeom>
                    <a:avLst/>
                    <a:gdLst>
                      <a:gd name="T0" fmla="*/ 4 w 176"/>
                      <a:gd name="T1" fmla="*/ 0 h 25"/>
                      <a:gd name="T2" fmla="*/ 144 w 176"/>
                      <a:gd name="T3" fmla="*/ 15 h 25"/>
                      <a:gd name="T4" fmla="*/ 145 w 176"/>
                      <a:gd name="T5" fmla="*/ 10 h 25"/>
                      <a:gd name="T6" fmla="*/ 176 w 176"/>
                      <a:gd name="T7" fmla="*/ 21 h 25"/>
                      <a:gd name="T8" fmla="*/ 140 w 176"/>
                      <a:gd name="T9" fmla="*/ 25 h 25"/>
                      <a:gd name="T10" fmla="*/ 150 w 176"/>
                      <a:gd name="T11" fmla="*/ 20 h 25"/>
                      <a:gd name="T12" fmla="*/ 0 w 176"/>
                      <a:gd name="T13" fmla="*/ 2 h 25"/>
                      <a:gd name="T14" fmla="*/ 4 w 176"/>
                      <a:gd name="T15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76" h="25">
                        <a:moveTo>
                          <a:pt x="4" y="0"/>
                        </a:moveTo>
                        <a:lnTo>
                          <a:pt x="144" y="15"/>
                        </a:lnTo>
                        <a:lnTo>
                          <a:pt x="145" y="10"/>
                        </a:lnTo>
                        <a:lnTo>
                          <a:pt x="176" y="21"/>
                        </a:lnTo>
                        <a:lnTo>
                          <a:pt x="140" y="25"/>
                        </a:lnTo>
                        <a:lnTo>
                          <a:pt x="150" y="20"/>
                        </a:lnTo>
                        <a:lnTo>
                          <a:pt x="0" y="2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D2D2D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7" name="Freeform 75"/>
                  <p:cNvSpPr>
                    <a:spLocks/>
                  </p:cNvSpPr>
                  <p:nvPr/>
                </p:nvSpPr>
                <p:spPr bwMode="auto">
                  <a:xfrm>
                    <a:off x="3660775" y="4113213"/>
                    <a:ext cx="23813" cy="38100"/>
                  </a:xfrm>
                  <a:custGeom>
                    <a:avLst/>
                    <a:gdLst>
                      <a:gd name="T0" fmla="*/ 1 w 60"/>
                      <a:gd name="T1" fmla="*/ 0 h 96"/>
                      <a:gd name="T2" fmla="*/ 0 w 60"/>
                      <a:gd name="T3" fmla="*/ 31 h 96"/>
                      <a:gd name="T4" fmla="*/ 2 w 60"/>
                      <a:gd name="T5" fmla="*/ 61 h 96"/>
                      <a:gd name="T6" fmla="*/ 11 w 60"/>
                      <a:gd name="T7" fmla="*/ 77 h 96"/>
                      <a:gd name="T8" fmla="*/ 23 w 60"/>
                      <a:gd name="T9" fmla="*/ 85 h 96"/>
                      <a:gd name="T10" fmla="*/ 27 w 60"/>
                      <a:gd name="T11" fmla="*/ 83 h 96"/>
                      <a:gd name="T12" fmla="*/ 31 w 60"/>
                      <a:gd name="T13" fmla="*/ 89 h 96"/>
                      <a:gd name="T14" fmla="*/ 38 w 60"/>
                      <a:gd name="T15" fmla="*/ 92 h 96"/>
                      <a:gd name="T16" fmla="*/ 41 w 60"/>
                      <a:gd name="T17" fmla="*/ 91 h 96"/>
                      <a:gd name="T18" fmla="*/ 48 w 60"/>
                      <a:gd name="T19" fmla="*/ 95 h 96"/>
                      <a:gd name="T20" fmla="*/ 53 w 60"/>
                      <a:gd name="T21" fmla="*/ 91 h 96"/>
                      <a:gd name="T22" fmla="*/ 57 w 60"/>
                      <a:gd name="T23" fmla="*/ 89 h 96"/>
                      <a:gd name="T24" fmla="*/ 60 w 60"/>
                      <a:gd name="T25" fmla="*/ 6 h 96"/>
                      <a:gd name="T26" fmla="*/ 1 w 60"/>
                      <a:gd name="T27" fmla="*/ 0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60" h="96">
                        <a:moveTo>
                          <a:pt x="1" y="0"/>
                        </a:moveTo>
                        <a:cubicBezTo>
                          <a:pt x="1" y="0"/>
                          <a:pt x="0" y="17"/>
                          <a:pt x="0" y="31"/>
                        </a:cubicBezTo>
                        <a:cubicBezTo>
                          <a:pt x="1" y="45"/>
                          <a:pt x="2" y="55"/>
                          <a:pt x="2" y="61"/>
                        </a:cubicBezTo>
                        <a:cubicBezTo>
                          <a:pt x="3" y="67"/>
                          <a:pt x="8" y="74"/>
                          <a:pt x="11" y="77"/>
                        </a:cubicBezTo>
                        <a:cubicBezTo>
                          <a:pt x="14" y="81"/>
                          <a:pt x="21" y="85"/>
                          <a:pt x="23" y="85"/>
                        </a:cubicBezTo>
                        <a:cubicBezTo>
                          <a:pt x="25" y="84"/>
                          <a:pt x="27" y="83"/>
                          <a:pt x="27" y="83"/>
                        </a:cubicBezTo>
                        <a:cubicBezTo>
                          <a:pt x="27" y="83"/>
                          <a:pt x="30" y="88"/>
                          <a:pt x="31" y="89"/>
                        </a:cubicBezTo>
                        <a:cubicBezTo>
                          <a:pt x="33" y="91"/>
                          <a:pt x="35" y="92"/>
                          <a:pt x="38" y="92"/>
                        </a:cubicBezTo>
                        <a:cubicBezTo>
                          <a:pt x="40" y="91"/>
                          <a:pt x="41" y="91"/>
                          <a:pt x="41" y="91"/>
                        </a:cubicBezTo>
                        <a:cubicBezTo>
                          <a:pt x="41" y="91"/>
                          <a:pt x="44" y="96"/>
                          <a:pt x="48" y="95"/>
                        </a:cubicBezTo>
                        <a:cubicBezTo>
                          <a:pt x="52" y="94"/>
                          <a:pt x="53" y="91"/>
                          <a:pt x="53" y="91"/>
                        </a:cubicBezTo>
                        <a:cubicBezTo>
                          <a:pt x="53" y="91"/>
                          <a:pt x="56" y="90"/>
                          <a:pt x="57" y="89"/>
                        </a:cubicBezTo>
                        <a:cubicBezTo>
                          <a:pt x="58" y="88"/>
                          <a:pt x="60" y="6"/>
                          <a:pt x="60" y="6"/>
                        </a:cubicBez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8" name="Freeform 76"/>
                  <p:cNvSpPr>
                    <a:spLocks/>
                  </p:cNvSpPr>
                  <p:nvPr/>
                </p:nvSpPr>
                <p:spPr bwMode="auto">
                  <a:xfrm>
                    <a:off x="3719513" y="3965575"/>
                    <a:ext cx="41275" cy="20638"/>
                  </a:xfrm>
                  <a:custGeom>
                    <a:avLst/>
                    <a:gdLst>
                      <a:gd name="T0" fmla="*/ 20 w 103"/>
                      <a:gd name="T1" fmla="*/ 52 h 52"/>
                      <a:gd name="T2" fmla="*/ 58 w 103"/>
                      <a:gd name="T3" fmla="*/ 29 h 52"/>
                      <a:gd name="T4" fmla="*/ 93 w 103"/>
                      <a:gd name="T5" fmla="*/ 21 h 52"/>
                      <a:gd name="T6" fmla="*/ 103 w 103"/>
                      <a:gd name="T7" fmla="*/ 21 h 52"/>
                      <a:gd name="T8" fmla="*/ 94 w 103"/>
                      <a:gd name="T9" fmla="*/ 14 h 52"/>
                      <a:gd name="T10" fmla="*/ 80 w 103"/>
                      <a:gd name="T11" fmla="*/ 3 h 52"/>
                      <a:gd name="T12" fmla="*/ 51 w 103"/>
                      <a:gd name="T13" fmla="*/ 5 h 52"/>
                      <a:gd name="T14" fmla="*/ 15 w 103"/>
                      <a:gd name="T15" fmla="*/ 28 h 52"/>
                      <a:gd name="T16" fmla="*/ 0 w 103"/>
                      <a:gd name="T17" fmla="*/ 39 h 52"/>
                      <a:gd name="T18" fmla="*/ 20 w 103"/>
                      <a:gd name="T19" fmla="*/ 52 h 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03" h="52">
                        <a:moveTo>
                          <a:pt x="20" y="52"/>
                        </a:moveTo>
                        <a:cubicBezTo>
                          <a:pt x="20" y="52"/>
                          <a:pt x="47" y="33"/>
                          <a:pt x="58" y="29"/>
                        </a:cubicBezTo>
                        <a:cubicBezTo>
                          <a:pt x="69" y="25"/>
                          <a:pt x="87" y="21"/>
                          <a:pt x="93" y="21"/>
                        </a:cubicBezTo>
                        <a:cubicBezTo>
                          <a:pt x="100" y="21"/>
                          <a:pt x="103" y="21"/>
                          <a:pt x="103" y="21"/>
                        </a:cubicBezTo>
                        <a:cubicBezTo>
                          <a:pt x="103" y="21"/>
                          <a:pt x="99" y="19"/>
                          <a:pt x="94" y="14"/>
                        </a:cubicBezTo>
                        <a:cubicBezTo>
                          <a:pt x="89" y="10"/>
                          <a:pt x="84" y="5"/>
                          <a:pt x="80" y="3"/>
                        </a:cubicBezTo>
                        <a:cubicBezTo>
                          <a:pt x="75" y="1"/>
                          <a:pt x="66" y="0"/>
                          <a:pt x="51" y="5"/>
                        </a:cubicBezTo>
                        <a:cubicBezTo>
                          <a:pt x="37" y="11"/>
                          <a:pt x="25" y="20"/>
                          <a:pt x="15" y="28"/>
                        </a:cubicBezTo>
                        <a:cubicBezTo>
                          <a:pt x="5" y="35"/>
                          <a:pt x="0" y="39"/>
                          <a:pt x="0" y="39"/>
                        </a:cubicBezTo>
                        <a:lnTo>
                          <a:pt x="20" y="52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9" name="Freeform 77"/>
                  <p:cNvSpPr>
                    <a:spLocks noEditPoints="1"/>
                  </p:cNvSpPr>
                  <p:nvPr/>
                </p:nvSpPr>
                <p:spPr bwMode="auto">
                  <a:xfrm>
                    <a:off x="3646488" y="3933825"/>
                    <a:ext cx="161925" cy="414338"/>
                  </a:xfrm>
                  <a:custGeom>
                    <a:avLst/>
                    <a:gdLst>
                      <a:gd name="T0" fmla="*/ 358 w 407"/>
                      <a:gd name="T1" fmla="*/ 241 h 1046"/>
                      <a:gd name="T2" fmla="*/ 294 w 407"/>
                      <a:gd name="T3" fmla="*/ 158 h 1046"/>
                      <a:gd name="T4" fmla="*/ 305 w 407"/>
                      <a:gd name="T5" fmla="*/ 137 h 1046"/>
                      <a:gd name="T6" fmla="*/ 316 w 407"/>
                      <a:gd name="T7" fmla="*/ 135 h 1046"/>
                      <a:gd name="T8" fmla="*/ 319 w 407"/>
                      <a:gd name="T9" fmla="*/ 109 h 1046"/>
                      <a:gd name="T10" fmla="*/ 329 w 407"/>
                      <a:gd name="T11" fmla="*/ 98 h 1046"/>
                      <a:gd name="T12" fmla="*/ 333 w 407"/>
                      <a:gd name="T13" fmla="*/ 70 h 1046"/>
                      <a:gd name="T14" fmla="*/ 323 w 407"/>
                      <a:gd name="T15" fmla="*/ 30 h 1046"/>
                      <a:gd name="T16" fmla="*/ 246 w 407"/>
                      <a:gd name="T17" fmla="*/ 7 h 1046"/>
                      <a:gd name="T18" fmla="*/ 213 w 407"/>
                      <a:gd name="T19" fmla="*/ 75 h 1046"/>
                      <a:gd name="T20" fmla="*/ 213 w 407"/>
                      <a:gd name="T21" fmla="*/ 91 h 1046"/>
                      <a:gd name="T22" fmla="*/ 197 w 407"/>
                      <a:gd name="T23" fmla="*/ 98 h 1046"/>
                      <a:gd name="T24" fmla="*/ 181 w 407"/>
                      <a:gd name="T25" fmla="*/ 114 h 1046"/>
                      <a:gd name="T26" fmla="*/ 134 w 407"/>
                      <a:gd name="T27" fmla="*/ 135 h 1046"/>
                      <a:gd name="T28" fmla="*/ 55 w 407"/>
                      <a:gd name="T29" fmla="*/ 212 h 1046"/>
                      <a:gd name="T30" fmla="*/ 1 w 407"/>
                      <a:gd name="T31" fmla="*/ 405 h 1046"/>
                      <a:gd name="T32" fmla="*/ 17 w 407"/>
                      <a:gd name="T33" fmla="*/ 478 h 1046"/>
                      <a:gd name="T34" fmla="*/ 50 w 407"/>
                      <a:gd name="T35" fmla="*/ 495 h 1046"/>
                      <a:gd name="T36" fmla="*/ 74 w 407"/>
                      <a:gd name="T37" fmla="*/ 489 h 1046"/>
                      <a:gd name="T38" fmla="*/ 78 w 407"/>
                      <a:gd name="T39" fmla="*/ 603 h 1046"/>
                      <a:gd name="T40" fmla="*/ 84 w 407"/>
                      <a:gd name="T41" fmla="*/ 727 h 1046"/>
                      <a:gd name="T42" fmla="*/ 97 w 407"/>
                      <a:gd name="T43" fmla="*/ 784 h 1046"/>
                      <a:gd name="T44" fmla="*/ 119 w 407"/>
                      <a:gd name="T45" fmla="*/ 939 h 1046"/>
                      <a:gd name="T46" fmla="*/ 115 w 407"/>
                      <a:gd name="T47" fmla="*/ 965 h 1046"/>
                      <a:gd name="T48" fmla="*/ 109 w 407"/>
                      <a:gd name="T49" fmla="*/ 1000 h 1046"/>
                      <a:gd name="T50" fmla="*/ 106 w 407"/>
                      <a:gd name="T51" fmla="*/ 1019 h 1046"/>
                      <a:gd name="T52" fmla="*/ 153 w 407"/>
                      <a:gd name="T53" fmla="*/ 1026 h 1046"/>
                      <a:gd name="T54" fmla="*/ 174 w 407"/>
                      <a:gd name="T55" fmla="*/ 1014 h 1046"/>
                      <a:gd name="T56" fmla="*/ 179 w 407"/>
                      <a:gd name="T57" fmla="*/ 1015 h 1046"/>
                      <a:gd name="T58" fmla="*/ 175 w 407"/>
                      <a:gd name="T59" fmla="*/ 1027 h 1046"/>
                      <a:gd name="T60" fmla="*/ 188 w 407"/>
                      <a:gd name="T61" fmla="*/ 1044 h 1046"/>
                      <a:gd name="T62" fmla="*/ 249 w 407"/>
                      <a:gd name="T63" fmla="*/ 1038 h 1046"/>
                      <a:gd name="T64" fmla="*/ 274 w 407"/>
                      <a:gd name="T65" fmla="*/ 1017 h 1046"/>
                      <a:gd name="T66" fmla="*/ 254 w 407"/>
                      <a:gd name="T67" fmla="*/ 990 h 1046"/>
                      <a:gd name="T68" fmla="*/ 239 w 407"/>
                      <a:gd name="T69" fmla="*/ 956 h 1046"/>
                      <a:gd name="T70" fmla="*/ 241 w 407"/>
                      <a:gd name="T71" fmla="*/ 921 h 1046"/>
                      <a:gd name="T72" fmla="*/ 269 w 407"/>
                      <a:gd name="T73" fmla="*/ 774 h 1046"/>
                      <a:gd name="T74" fmla="*/ 284 w 407"/>
                      <a:gd name="T75" fmla="*/ 730 h 1046"/>
                      <a:gd name="T76" fmla="*/ 311 w 407"/>
                      <a:gd name="T77" fmla="*/ 725 h 1046"/>
                      <a:gd name="T78" fmla="*/ 314 w 407"/>
                      <a:gd name="T79" fmla="*/ 630 h 1046"/>
                      <a:gd name="T80" fmla="*/ 314 w 407"/>
                      <a:gd name="T81" fmla="*/ 487 h 1046"/>
                      <a:gd name="T82" fmla="*/ 328 w 407"/>
                      <a:gd name="T83" fmla="*/ 479 h 1046"/>
                      <a:gd name="T84" fmla="*/ 361 w 407"/>
                      <a:gd name="T85" fmla="*/ 517 h 1046"/>
                      <a:gd name="T86" fmla="*/ 407 w 407"/>
                      <a:gd name="T87" fmla="*/ 443 h 1046"/>
                      <a:gd name="T88" fmla="*/ 197 w 407"/>
                      <a:gd name="T89" fmla="*/ 796 h 1046"/>
                      <a:gd name="T90" fmla="*/ 195 w 407"/>
                      <a:gd name="T91" fmla="*/ 925 h 1046"/>
                      <a:gd name="T92" fmla="*/ 191 w 407"/>
                      <a:gd name="T93" fmla="*/ 956 h 1046"/>
                      <a:gd name="T94" fmla="*/ 173 w 407"/>
                      <a:gd name="T95" fmla="*/ 958 h 1046"/>
                      <a:gd name="T96" fmla="*/ 158 w 407"/>
                      <a:gd name="T97" fmla="*/ 930 h 1046"/>
                      <a:gd name="T98" fmla="*/ 158 w 407"/>
                      <a:gd name="T99" fmla="*/ 890 h 1046"/>
                      <a:gd name="T100" fmla="*/ 177 w 407"/>
                      <a:gd name="T101" fmla="*/ 718 h 1046"/>
                      <a:gd name="T102" fmla="*/ 189 w 407"/>
                      <a:gd name="T103" fmla="*/ 712 h 1046"/>
                      <a:gd name="T104" fmla="*/ 193 w 407"/>
                      <a:gd name="T105" fmla="*/ 727 h 1046"/>
                      <a:gd name="T106" fmla="*/ 197 w 407"/>
                      <a:gd name="T107" fmla="*/ 796 h 10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407" h="1046">
                        <a:moveTo>
                          <a:pt x="394" y="372"/>
                        </a:moveTo>
                        <a:cubicBezTo>
                          <a:pt x="389" y="348"/>
                          <a:pt x="372" y="277"/>
                          <a:pt x="358" y="241"/>
                        </a:cubicBezTo>
                        <a:cubicBezTo>
                          <a:pt x="344" y="205"/>
                          <a:pt x="337" y="187"/>
                          <a:pt x="322" y="177"/>
                        </a:cubicBezTo>
                        <a:cubicBezTo>
                          <a:pt x="307" y="167"/>
                          <a:pt x="294" y="158"/>
                          <a:pt x="294" y="158"/>
                        </a:cubicBezTo>
                        <a:cubicBezTo>
                          <a:pt x="294" y="158"/>
                          <a:pt x="296" y="155"/>
                          <a:pt x="298" y="150"/>
                        </a:cubicBezTo>
                        <a:cubicBezTo>
                          <a:pt x="300" y="146"/>
                          <a:pt x="304" y="140"/>
                          <a:pt x="305" y="137"/>
                        </a:cubicBezTo>
                        <a:cubicBezTo>
                          <a:pt x="307" y="133"/>
                          <a:pt x="308" y="133"/>
                          <a:pt x="309" y="133"/>
                        </a:cubicBezTo>
                        <a:cubicBezTo>
                          <a:pt x="310" y="134"/>
                          <a:pt x="314" y="136"/>
                          <a:pt x="316" y="135"/>
                        </a:cubicBezTo>
                        <a:cubicBezTo>
                          <a:pt x="318" y="134"/>
                          <a:pt x="320" y="132"/>
                          <a:pt x="319" y="126"/>
                        </a:cubicBezTo>
                        <a:cubicBezTo>
                          <a:pt x="319" y="121"/>
                          <a:pt x="318" y="112"/>
                          <a:pt x="319" y="109"/>
                        </a:cubicBezTo>
                        <a:cubicBezTo>
                          <a:pt x="320" y="106"/>
                          <a:pt x="323" y="106"/>
                          <a:pt x="325" y="105"/>
                        </a:cubicBezTo>
                        <a:cubicBezTo>
                          <a:pt x="326" y="104"/>
                          <a:pt x="328" y="102"/>
                          <a:pt x="329" y="98"/>
                        </a:cubicBezTo>
                        <a:cubicBezTo>
                          <a:pt x="331" y="95"/>
                          <a:pt x="331" y="87"/>
                          <a:pt x="332" y="80"/>
                        </a:cubicBezTo>
                        <a:cubicBezTo>
                          <a:pt x="332" y="74"/>
                          <a:pt x="333" y="70"/>
                          <a:pt x="333" y="70"/>
                        </a:cubicBezTo>
                        <a:cubicBezTo>
                          <a:pt x="333" y="70"/>
                          <a:pt x="341" y="70"/>
                          <a:pt x="336" y="59"/>
                        </a:cubicBezTo>
                        <a:cubicBezTo>
                          <a:pt x="336" y="59"/>
                          <a:pt x="331" y="42"/>
                          <a:pt x="323" y="30"/>
                        </a:cubicBezTo>
                        <a:cubicBezTo>
                          <a:pt x="315" y="19"/>
                          <a:pt x="304" y="8"/>
                          <a:pt x="290" y="4"/>
                        </a:cubicBezTo>
                        <a:cubicBezTo>
                          <a:pt x="275" y="0"/>
                          <a:pt x="260" y="0"/>
                          <a:pt x="246" y="7"/>
                        </a:cubicBezTo>
                        <a:cubicBezTo>
                          <a:pt x="233" y="15"/>
                          <a:pt x="226" y="25"/>
                          <a:pt x="221" y="38"/>
                        </a:cubicBezTo>
                        <a:cubicBezTo>
                          <a:pt x="217" y="51"/>
                          <a:pt x="212" y="68"/>
                          <a:pt x="213" y="75"/>
                        </a:cubicBezTo>
                        <a:cubicBezTo>
                          <a:pt x="214" y="83"/>
                          <a:pt x="215" y="84"/>
                          <a:pt x="215" y="84"/>
                        </a:cubicBezTo>
                        <a:cubicBezTo>
                          <a:pt x="215" y="84"/>
                          <a:pt x="214" y="87"/>
                          <a:pt x="213" y="91"/>
                        </a:cubicBezTo>
                        <a:cubicBezTo>
                          <a:pt x="211" y="95"/>
                          <a:pt x="210" y="98"/>
                          <a:pt x="210" y="98"/>
                        </a:cubicBezTo>
                        <a:cubicBezTo>
                          <a:pt x="210" y="98"/>
                          <a:pt x="203" y="97"/>
                          <a:pt x="197" y="98"/>
                        </a:cubicBezTo>
                        <a:cubicBezTo>
                          <a:pt x="190" y="99"/>
                          <a:pt x="186" y="102"/>
                          <a:pt x="184" y="105"/>
                        </a:cubicBezTo>
                        <a:cubicBezTo>
                          <a:pt x="182" y="107"/>
                          <a:pt x="182" y="111"/>
                          <a:pt x="181" y="114"/>
                        </a:cubicBezTo>
                        <a:cubicBezTo>
                          <a:pt x="180" y="117"/>
                          <a:pt x="180" y="122"/>
                          <a:pt x="180" y="122"/>
                        </a:cubicBezTo>
                        <a:cubicBezTo>
                          <a:pt x="180" y="122"/>
                          <a:pt x="150" y="130"/>
                          <a:pt x="134" y="135"/>
                        </a:cubicBezTo>
                        <a:cubicBezTo>
                          <a:pt x="118" y="140"/>
                          <a:pt x="91" y="150"/>
                          <a:pt x="83" y="162"/>
                        </a:cubicBezTo>
                        <a:cubicBezTo>
                          <a:pt x="75" y="174"/>
                          <a:pt x="68" y="182"/>
                          <a:pt x="55" y="212"/>
                        </a:cubicBezTo>
                        <a:cubicBezTo>
                          <a:pt x="42" y="243"/>
                          <a:pt x="35" y="266"/>
                          <a:pt x="35" y="266"/>
                        </a:cubicBezTo>
                        <a:cubicBezTo>
                          <a:pt x="17" y="320"/>
                          <a:pt x="0" y="388"/>
                          <a:pt x="1" y="405"/>
                        </a:cubicBezTo>
                        <a:cubicBezTo>
                          <a:pt x="2" y="423"/>
                          <a:pt x="0" y="442"/>
                          <a:pt x="5" y="453"/>
                        </a:cubicBezTo>
                        <a:cubicBezTo>
                          <a:pt x="11" y="464"/>
                          <a:pt x="14" y="475"/>
                          <a:pt x="17" y="478"/>
                        </a:cubicBezTo>
                        <a:cubicBezTo>
                          <a:pt x="19" y="481"/>
                          <a:pt x="30" y="492"/>
                          <a:pt x="33" y="494"/>
                        </a:cubicBezTo>
                        <a:cubicBezTo>
                          <a:pt x="36" y="496"/>
                          <a:pt x="34" y="493"/>
                          <a:pt x="50" y="495"/>
                        </a:cubicBezTo>
                        <a:cubicBezTo>
                          <a:pt x="66" y="497"/>
                          <a:pt x="73" y="481"/>
                          <a:pt x="73" y="481"/>
                        </a:cubicBezTo>
                        <a:cubicBezTo>
                          <a:pt x="73" y="481"/>
                          <a:pt x="73" y="485"/>
                          <a:pt x="74" y="489"/>
                        </a:cubicBezTo>
                        <a:cubicBezTo>
                          <a:pt x="76" y="494"/>
                          <a:pt x="82" y="495"/>
                          <a:pt x="82" y="495"/>
                        </a:cubicBezTo>
                        <a:cubicBezTo>
                          <a:pt x="82" y="495"/>
                          <a:pt x="78" y="547"/>
                          <a:pt x="78" y="603"/>
                        </a:cubicBezTo>
                        <a:cubicBezTo>
                          <a:pt x="77" y="659"/>
                          <a:pt x="80" y="707"/>
                          <a:pt x="81" y="717"/>
                        </a:cubicBezTo>
                        <a:cubicBezTo>
                          <a:pt x="81" y="722"/>
                          <a:pt x="81" y="727"/>
                          <a:pt x="84" y="727"/>
                        </a:cubicBezTo>
                        <a:cubicBezTo>
                          <a:pt x="89" y="729"/>
                          <a:pt x="101" y="727"/>
                          <a:pt x="101" y="727"/>
                        </a:cubicBezTo>
                        <a:cubicBezTo>
                          <a:pt x="101" y="727"/>
                          <a:pt x="97" y="755"/>
                          <a:pt x="97" y="784"/>
                        </a:cubicBezTo>
                        <a:cubicBezTo>
                          <a:pt x="98" y="813"/>
                          <a:pt x="103" y="851"/>
                          <a:pt x="109" y="886"/>
                        </a:cubicBezTo>
                        <a:cubicBezTo>
                          <a:pt x="116" y="921"/>
                          <a:pt x="119" y="939"/>
                          <a:pt x="119" y="939"/>
                        </a:cubicBezTo>
                        <a:cubicBezTo>
                          <a:pt x="119" y="939"/>
                          <a:pt x="116" y="940"/>
                          <a:pt x="116" y="946"/>
                        </a:cubicBezTo>
                        <a:cubicBezTo>
                          <a:pt x="116" y="952"/>
                          <a:pt x="115" y="961"/>
                          <a:pt x="115" y="965"/>
                        </a:cubicBezTo>
                        <a:cubicBezTo>
                          <a:pt x="115" y="970"/>
                          <a:pt x="115" y="973"/>
                          <a:pt x="112" y="984"/>
                        </a:cubicBezTo>
                        <a:cubicBezTo>
                          <a:pt x="109" y="996"/>
                          <a:pt x="109" y="1000"/>
                          <a:pt x="109" y="1000"/>
                        </a:cubicBezTo>
                        <a:cubicBezTo>
                          <a:pt x="109" y="1000"/>
                          <a:pt x="107" y="1002"/>
                          <a:pt x="106" y="1007"/>
                        </a:cubicBezTo>
                        <a:cubicBezTo>
                          <a:pt x="106" y="1011"/>
                          <a:pt x="105" y="1017"/>
                          <a:pt x="106" y="1019"/>
                        </a:cubicBezTo>
                        <a:cubicBezTo>
                          <a:pt x="108" y="1022"/>
                          <a:pt x="112" y="1025"/>
                          <a:pt x="121" y="1026"/>
                        </a:cubicBezTo>
                        <a:cubicBezTo>
                          <a:pt x="131" y="1028"/>
                          <a:pt x="150" y="1027"/>
                          <a:pt x="153" y="1026"/>
                        </a:cubicBezTo>
                        <a:cubicBezTo>
                          <a:pt x="157" y="1024"/>
                          <a:pt x="160" y="1021"/>
                          <a:pt x="162" y="1019"/>
                        </a:cubicBezTo>
                        <a:cubicBezTo>
                          <a:pt x="167" y="1016"/>
                          <a:pt x="169" y="1015"/>
                          <a:pt x="174" y="1014"/>
                        </a:cubicBezTo>
                        <a:cubicBezTo>
                          <a:pt x="178" y="1013"/>
                          <a:pt x="180" y="1011"/>
                          <a:pt x="180" y="1011"/>
                        </a:cubicBezTo>
                        <a:cubicBezTo>
                          <a:pt x="180" y="1011"/>
                          <a:pt x="180" y="1013"/>
                          <a:pt x="179" y="1015"/>
                        </a:cubicBezTo>
                        <a:cubicBezTo>
                          <a:pt x="179" y="1016"/>
                          <a:pt x="178" y="1019"/>
                          <a:pt x="178" y="1019"/>
                        </a:cubicBezTo>
                        <a:cubicBezTo>
                          <a:pt x="178" y="1019"/>
                          <a:pt x="176" y="1023"/>
                          <a:pt x="175" y="1027"/>
                        </a:cubicBezTo>
                        <a:cubicBezTo>
                          <a:pt x="175" y="1032"/>
                          <a:pt x="176" y="1037"/>
                          <a:pt x="177" y="1039"/>
                        </a:cubicBezTo>
                        <a:cubicBezTo>
                          <a:pt x="178" y="1041"/>
                          <a:pt x="184" y="1043"/>
                          <a:pt x="188" y="1044"/>
                        </a:cubicBezTo>
                        <a:cubicBezTo>
                          <a:pt x="192" y="1044"/>
                          <a:pt x="221" y="1046"/>
                          <a:pt x="227" y="1045"/>
                        </a:cubicBezTo>
                        <a:cubicBezTo>
                          <a:pt x="234" y="1043"/>
                          <a:pt x="239" y="1040"/>
                          <a:pt x="249" y="1038"/>
                        </a:cubicBezTo>
                        <a:cubicBezTo>
                          <a:pt x="258" y="1037"/>
                          <a:pt x="271" y="1032"/>
                          <a:pt x="275" y="1027"/>
                        </a:cubicBezTo>
                        <a:cubicBezTo>
                          <a:pt x="278" y="1024"/>
                          <a:pt x="274" y="1017"/>
                          <a:pt x="274" y="1017"/>
                        </a:cubicBezTo>
                        <a:cubicBezTo>
                          <a:pt x="274" y="1017"/>
                          <a:pt x="275" y="1006"/>
                          <a:pt x="270" y="1000"/>
                        </a:cubicBezTo>
                        <a:cubicBezTo>
                          <a:pt x="266" y="994"/>
                          <a:pt x="259" y="993"/>
                          <a:pt x="254" y="990"/>
                        </a:cubicBezTo>
                        <a:cubicBezTo>
                          <a:pt x="248" y="986"/>
                          <a:pt x="244" y="981"/>
                          <a:pt x="243" y="975"/>
                        </a:cubicBezTo>
                        <a:cubicBezTo>
                          <a:pt x="242" y="970"/>
                          <a:pt x="242" y="957"/>
                          <a:pt x="239" y="956"/>
                        </a:cubicBezTo>
                        <a:cubicBezTo>
                          <a:pt x="236" y="954"/>
                          <a:pt x="233" y="954"/>
                          <a:pt x="233" y="954"/>
                        </a:cubicBezTo>
                        <a:cubicBezTo>
                          <a:pt x="233" y="954"/>
                          <a:pt x="236" y="935"/>
                          <a:pt x="241" y="921"/>
                        </a:cubicBezTo>
                        <a:cubicBezTo>
                          <a:pt x="245" y="907"/>
                          <a:pt x="260" y="862"/>
                          <a:pt x="263" y="844"/>
                        </a:cubicBezTo>
                        <a:cubicBezTo>
                          <a:pt x="268" y="817"/>
                          <a:pt x="269" y="791"/>
                          <a:pt x="269" y="774"/>
                        </a:cubicBezTo>
                        <a:cubicBezTo>
                          <a:pt x="269" y="757"/>
                          <a:pt x="270" y="732"/>
                          <a:pt x="270" y="732"/>
                        </a:cubicBezTo>
                        <a:cubicBezTo>
                          <a:pt x="270" y="732"/>
                          <a:pt x="277" y="731"/>
                          <a:pt x="284" y="730"/>
                        </a:cubicBezTo>
                        <a:cubicBezTo>
                          <a:pt x="291" y="730"/>
                          <a:pt x="297" y="726"/>
                          <a:pt x="303" y="726"/>
                        </a:cubicBezTo>
                        <a:cubicBezTo>
                          <a:pt x="309" y="726"/>
                          <a:pt x="310" y="727"/>
                          <a:pt x="311" y="725"/>
                        </a:cubicBezTo>
                        <a:cubicBezTo>
                          <a:pt x="312" y="723"/>
                          <a:pt x="310" y="705"/>
                          <a:pt x="312" y="691"/>
                        </a:cubicBezTo>
                        <a:cubicBezTo>
                          <a:pt x="314" y="677"/>
                          <a:pt x="314" y="646"/>
                          <a:pt x="314" y="630"/>
                        </a:cubicBezTo>
                        <a:cubicBezTo>
                          <a:pt x="314" y="615"/>
                          <a:pt x="313" y="559"/>
                          <a:pt x="314" y="527"/>
                        </a:cubicBezTo>
                        <a:cubicBezTo>
                          <a:pt x="316" y="495"/>
                          <a:pt x="314" y="487"/>
                          <a:pt x="314" y="487"/>
                        </a:cubicBezTo>
                        <a:cubicBezTo>
                          <a:pt x="314" y="487"/>
                          <a:pt x="320" y="484"/>
                          <a:pt x="323" y="482"/>
                        </a:cubicBezTo>
                        <a:cubicBezTo>
                          <a:pt x="326" y="481"/>
                          <a:pt x="328" y="479"/>
                          <a:pt x="328" y="479"/>
                        </a:cubicBezTo>
                        <a:cubicBezTo>
                          <a:pt x="328" y="479"/>
                          <a:pt x="336" y="491"/>
                          <a:pt x="341" y="497"/>
                        </a:cubicBezTo>
                        <a:cubicBezTo>
                          <a:pt x="346" y="503"/>
                          <a:pt x="353" y="512"/>
                          <a:pt x="361" y="517"/>
                        </a:cubicBezTo>
                        <a:cubicBezTo>
                          <a:pt x="369" y="522"/>
                          <a:pt x="388" y="531"/>
                          <a:pt x="388" y="531"/>
                        </a:cubicBezTo>
                        <a:cubicBezTo>
                          <a:pt x="407" y="443"/>
                          <a:pt x="407" y="443"/>
                          <a:pt x="407" y="443"/>
                        </a:cubicBezTo>
                        <a:cubicBezTo>
                          <a:pt x="407" y="443"/>
                          <a:pt x="398" y="395"/>
                          <a:pt x="394" y="372"/>
                        </a:cubicBezTo>
                        <a:close/>
                        <a:moveTo>
                          <a:pt x="197" y="796"/>
                        </a:moveTo>
                        <a:cubicBezTo>
                          <a:pt x="196" y="813"/>
                          <a:pt x="195" y="845"/>
                          <a:pt x="195" y="860"/>
                        </a:cubicBezTo>
                        <a:cubicBezTo>
                          <a:pt x="196" y="874"/>
                          <a:pt x="194" y="910"/>
                          <a:pt x="195" y="925"/>
                        </a:cubicBezTo>
                        <a:cubicBezTo>
                          <a:pt x="195" y="940"/>
                          <a:pt x="194" y="952"/>
                          <a:pt x="194" y="952"/>
                        </a:cubicBezTo>
                        <a:cubicBezTo>
                          <a:pt x="194" y="952"/>
                          <a:pt x="192" y="951"/>
                          <a:pt x="191" y="956"/>
                        </a:cubicBezTo>
                        <a:cubicBezTo>
                          <a:pt x="189" y="960"/>
                          <a:pt x="187" y="967"/>
                          <a:pt x="187" y="967"/>
                        </a:cubicBezTo>
                        <a:cubicBezTo>
                          <a:pt x="187" y="967"/>
                          <a:pt x="178" y="966"/>
                          <a:pt x="173" y="958"/>
                        </a:cubicBezTo>
                        <a:cubicBezTo>
                          <a:pt x="167" y="950"/>
                          <a:pt x="165" y="935"/>
                          <a:pt x="163" y="933"/>
                        </a:cubicBezTo>
                        <a:cubicBezTo>
                          <a:pt x="161" y="931"/>
                          <a:pt x="158" y="930"/>
                          <a:pt x="158" y="930"/>
                        </a:cubicBezTo>
                        <a:cubicBezTo>
                          <a:pt x="158" y="930"/>
                          <a:pt x="157" y="926"/>
                          <a:pt x="157" y="920"/>
                        </a:cubicBezTo>
                        <a:cubicBezTo>
                          <a:pt x="156" y="913"/>
                          <a:pt x="157" y="908"/>
                          <a:pt x="158" y="890"/>
                        </a:cubicBezTo>
                        <a:cubicBezTo>
                          <a:pt x="160" y="872"/>
                          <a:pt x="163" y="845"/>
                          <a:pt x="167" y="796"/>
                        </a:cubicBezTo>
                        <a:cubicBezTo>
                          <a:pt x="172" y="748"/>
                          <a:pt x="177" y="718"/>
                          <a:pt x="177" y="718"/>
                        </a:cubicBezTo>
                        <a:cubicBezTo>
                          <a:pt x="177" y="718"/>
                          <a:pt x="181" y="716"/>
                          <a:pt x="183" y="715"/>
                        </a:cubicBezTo>
                        <a:cubicBezTo>
                          <a:pt x="185" y="714"/>
                          <a:pt x="189" y="712"/>
                          <a:pt x="189" y="712"/>
                        </a:cubicBezTo>
                        <a:cubicBezTo>
                          <a:pt x="189" y="712"/>
                          <a:pt x="189" y="720"/>
                          <a:pt x="190" y="723"/>
                        </a:cubicBezTo>
                        <a:cubicBezTo>
                          <a:pt x="190" y="727"/>
                          <a:pt x="193" y="727"/>
                          <a:pt x="193" y="727"/>
                        </a:cubicBezTo>
                        <a:cubicBezTo>
                          <a:pt x="193" y="727"/>
                          <a:pt x="195" y="740"/>
                          <a:pt x="197" y="753"/>
                        </a:cubicBezTo>
                        <a:cubicBezTo>
                          <a:pt x="199" y="766"/>
                          <a:pt x="198" y="780"/>
                          <a:pt x="197" y="79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0" name="Freeform 78"/>
                  <p:cNvSpPr>
                    <a:spLocks/>
                  </p:cNvSpPr>
                  <p:nvPr/>
                </p:nvSpPr>
                <p:spPr bwMode="auto">
                  <a:xfrm>
                    <a:off x="3886200" y="4098925"/>
                    <a:ext cx="26988" cy="47625"/>
                  </a:xfrm>
                  <a:custGeom>
                    <a:avLst/>
                    <a:gdLst>
                      <a:gd name="T0" fmla="*/ 29 w 67"/>
                      <a:gd name="T1" fmla="*/ 0 h 120"/>
                      <a:gd name="T2" fmla="*/ 44 w 67"/>
                      <a:gd name="T3" fmla="*/ 26 h 120"/>
                      <a:gd name="T4" fmla="*/ 64 w 67"/>
                      <a:gd name="T5" fmla="*/ 76 h 120"/>
                      <a:gd name="T6" fmla="*/ 65 w 67"/>
                      <a:gd name="T7" fmla="*/ 104 h 120"/>
                      <a:gd name="T8" fmla="*/ 30 w 67"/>
                      <a:gd name="T9" fmla="*/ 116 h 120"/>
                      <a:gd name="T10" fmla="*/ 0 w 67"/>
                      <a:gd name="T11" fmla="*/ 120 h 120"/>
                      <a:gd name="T12" fmla="*/ 3 w 67"/>
                      <a:gd name="T13" fmla="*/ 85 h 120"/>
                      <a:gd name="T14" fmla="*/ 15 w 67"/>
                      <a:gd name="T15" fmla="*/ 81 h 120"/>
                      <a:gd name="T16" fmla="*/ 24 w 67"/>
                      <a:gd name="T17" fmla="*/ 78 h 120"/>
                      <a:gd name="T18" fmla="*/ 19 w 67"/>
                      <a:gd name="T19" fmla="*/ 66 h 120"/>
                      <a:gd name="T20" fmla="*/ 12 w 67"/>
                      <a:gd name="T21" fmla="*/ 52 h 120"/>
                      <a:gd name="T22" fmla="*/ 29 w 67"/>
                      <a:gd name="T23" fmla="*/ 0 h 1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67" h="120">
                        <a:moveTo>
                          <a:pt x="29" y="0"/>
                        </a:moveTo>
                        <a:cubicBezTo>
                          <a:pt x="29" y="0"/>
                          <a:pt x="36" y="11"/>
                          <a:pt x="44" y="26"/>
                        </a:cubicBezTo>
                        <a:cubicBezTo>
                          <a:pt x="52" y="41"/>
                          <a:pt x="62" y="64"/>
                          <a:pt x="64" y="76"/>
                        </a:cubicBezTo>
                        <a:cubicBezTo>
                          <a:pt x="67" y="88"/>
                          <a:pt x="66" y="100"/>
                          <a:pt x="65" y="104"/>
                        </a:cubicBezTo>
                        <a:cubicBezTo>
                          <a:pt x="63" y="108"/>
                          <a:pt x="51" y="113"/>
                          <a:pt x="30" y="116"/>
                        </a:cubicBezTo>
                        <a:cubicBezTo>
                          <a:pt x="10" y="119"/>
                          <a:pt x="0" y="120"/>
                          <a:pt x="0" y="120"/>
                        </a:cubicBezTo>
                        <a:cubicBezTo>
                          <a:pt x="3" y="85"/>
                          <a:pt x="3" y="85"/>
                          <a:pt x="3" y="85"/>
                        </a:cubicBezTo>
                        <a:cubicBezTo>
                          <a:pt x="3" y="85"/>
                          <a:pt x="10" y="84"/>
                          <a:pt x="15" y="81"/>
                        </a:cubicBezTo>
                        <a:cubicBezTo>
                          <a:pt x="19" y="79"/>
                          <a:pt x="24" y="78"/>
                          <a:pt x="24" y="78"/>
                        </a:cubicBezTo>
                        <a:cubicBezTo>
                          <a:pt x="24" y="78"/>
                          <a:pt x="22" y="71"/>
                          <a:pt x="19" y="66"/>
                        </a:cubicBezTo>
                        <a:cubicBezTo>
                          <a:pt x="16" y="60"/>
                          <a:pt x="12" y="52"/>
                          <a:pt x="12" y="52"/>
                        </a:cubicBezTo>
                        <a:lnTo>
                          <a:pt x="29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1" name="Freeform 79"/>
                  <p:cNvSpPr>
                    <a:spLocks/>
                  </p:cNvSpPr>
                  <p:nvPr/>
                </p:nvSpPr>
                <p:spPr bwMode="auto">
                  <a:xfrm>
                    <a:off x="3824288" y="4022725"/>
                    <a:ext cx="74613" cy="196850"/>
                  </a:xfrm>
                  <a:custGeom>
                    <a:avLst/>
                    <a:gdLst>
                      <a:gd name="T0" fmla="*/ 182 w 189"/>
                      <a:gd name="T1" fmla="*/ 171 h 496"/>
                      <a:gd name="T2" fmla="*/ 185 w 189"/>
                      <a:gd name="T3" fmla="*/ 210 h 496"/>
                      <a:gd name="T4" fmla="*/ 165 w 189"/>
                      <a:gd name="T5" fmla="*/ 263 h 496"/>
                      <a:gd name="T6" fmla="*/ 159 w 189"/>
                      <a:gd name="T7" fmla="*/ 311 h 496"/>
                      <a:gd name="T8" fmla="*/ 159 w 189"/>
                      <a:gd name="T9" fmla="*/ 336 h 496"/>
                      <a:gd name="T10" fmla="*/ 155 w 189"/>
                      <a:gd name="T11" fmla="*/ 340 h 496"/>
                      <a:gd name="T12" fmla="*/ 164 w 189"/>
                      <a:gd name="T13" fmla="*/ 391 h 496"/>
                      <a:gd name="T14" fmla="*/ 176 w 189"/>
                      <a:gd name="T15" fmla="*/ 474 h 496"/>
                      <a:gd name="T16" fmla="*/ 174 w 189"/>
                      <a:gd name="T17" fmla="*/ 489 h 496"/>
                      <a:gd name="T18" fmla="*/ 160 w 189"/>
                      <a:gd name="T19" fmla="*/ 490 h 496"/>
                      <a:gd name="T20" fmla="*/ 121 w 189"/>
                      <a:gd name="T21" fmla="*/ 496 h 496"/>
                      <a:gd name="T22" fmla="*/ 54 w 189"/>
                      <a:gd name="T23" fmla="*/ 494 h 496"/>
                      <a:gd name="T24" fmla="*/ 2 w 189"/>
                      <a:gd name="T25" fmla="*/ 493 h 496"/>
                      <a:gd name="T26" fmla="*/ 10 w 189"/>
                      <a:gd name="T27" fmla="*/ 433 h 496"/>
                      <a:gd name="T28" fmla="*/ 22 w 189"/>
                      <a:gd name="T29" fmla="*/ 359 h 496"/>
                      <a:gd name="T30" fmla="*/ 26 w 189"/>
                      <a:gd name="T31" fmla="*/ 340 h 496"/>
                      <a:gd name="T32" fmla="*/ 25 w 189"/>
                      <a:gd name="T33" fmla="*/ 322 h 496"/>
                      <a:gd name="T34" fmla="*/ 35 w 189"/>
                      <a:gd name="T35" fmla="*/ 256 h 496"/>
                      <a:gd name="T36" fmla="*/ 36 w 189"/>
                      <a:gd name="T37" fmla="*/ 218 h 496"/>
                      <a:gd name="T38" fmla="*/ 20 w 189"/>
                      <a:gd name="T39" fmla="*/ 213 h 496"/>
                      <a:gd name="T40" fmla="*/ 7 w 189"/>
                      <a:gd name="T41" fmla="*/ 185 h 496"/>
                      <a:gd name="T42" fmla="*/ 34 w 189"/>
                      <a:gd name="T43" fmla="*/ 152 h 496"/>
                      <a:gd name="T44" fmla="*/ 53 w 189"/>
                      <a:gd name="T45" fmla="*/ 144 h 496"/>
                      <a:gd name="T46" fmla="*/ 48 w 189"/>
                      <a:gd name="T47" fmla="*/ 137 h 496"/>
                      <a:gd name="T48" fmla="*/ 42 w 189"/>
                      <a:gd name="T49" fmla="*/ 122 h 496"/>
                      <a:gd name="T50" fmla="*/ 31 w 189"/>
                      <a:gd name="T51" fmla="*/ 98 h 496"/>
                      <a:gd name="T52" fmla="*/ 28 w 189"/>
                      <a:gd name="T53" fmla="*/ 91 h 496"/>
                      <a:gd name="T54" fmla="*/ 21 w 189"/>
                      <a:gd name="T55" fmla="*/ 81 h 496"/>
                      <a:gd name="T56" fmla="*/ 17 w 189"/>
                      <a:gd name="T57" fmla="*/ 67 h 496"/>
                      <a:gd name="T58" fmla="*/ 16 w 189"/>
                      <a:gd name="T59" fmla="*/ 54 h 496"/>
                      <a:gd name="T60" fmla="*/ 24 w 189"/>
                      <a:gd name="T61" fmla="*/ 29 h 496"/>
                      <a:gd name="T62" fmla="*/ 53 w 189"/>
                      <a:gd name="T63" fmla="*/ 7 h 496"/>
                      <a:gd name="T64" fmla="*/ 91 w 189"/>
                      <a:gd name="T65" fmla="*/ 2 h 496"/>
                      <a:gd name="T66" fmla="*/ 131 w 189"/>
                      <a:gd name="T67" fmla="*/ 40 h 496"/>
                      <a:gd name="T68" fmla="*/ 139 w 189"/>
                      <a:gd name="T69" fmla="*/ 96 h 496"/>
                      <a:gd name="T70" fmla="*/ 149 w 189"/>
                      <a:gd name="T71" fmla="*/ 122 h 496"/>
                      <a:gd name="T72" fmla="*/ 155 w 189"/>
                      <a:gd name="T73" fmla="*/ 134 h 496"/>
                      <a:gd name="T74" fmla="*/ 153 w 189"/>
                      <a:gd name="T75" fmla="*/ 139 h 496"/>
                      <a:gd name="T76" fmla="*/ 168 w 189"/>
                      <a:gd name="T77" fmla="*/ 149 h 496"/>
                      <a:gd name="T78" fmla="*/ 182 w 189"/>
                      <a:gd name="T79" fmla="*/ 171 h 4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189" h="496">
                        <a:moveTo>
                          <a:pt x="182" y="171"/>
                        </a:moveTo>
                        <a:cubicBezTo>
                          <a:pt x="185" y="181"/>
                          <a:pt x="189" y="197"/>
                          <a:pt x="185" y="210"/>
                        </a:cubicBezTo>
                        <a:cubicBezTo>
                          <a:pt x="181" y="223"/>
                          <a:pt x="169" y="249"/>
                          <a:pt x="165" y="263"/>
                        </a:cubicBezTo>
                        <a:cubicBezTo>
                          <a:pt x="160" y="278"/>
                          <a:pt x="158" y="297"/>
                          <a:pt x="159" y="311"/>
                        </a:cubicBezTo>
                        <a:cubicBezTo>
                          <a:pt x="160" y="325"/>
                          <a:pt x="161" y="332"/>
                          <a:pt x="159" y="336"/>
                        </a:cubicBezTo>
                        <a:cubicBezTo>
                          <a:pt x="158" y="340"/>
                          <a:pt x="155" y="340"/>
                          <a:pt x="155" y="340"/>
                        </a:cubicBezTo>
                        <a:cubicBezTo>
                          <a:pt x="155" y="340"/>
                          <a:pt x="159" y="359"/>
                          <a:pt x="164" y="391"/>
                        </a:cubicBezTo>
                        <a:cubicBezTo>
                          <a:pt x="168" y="423"/>
                          <a:pt x="176" y="464"/>
                          <a:pt x="176" y="474"/>
                        </a:cubicBezTo>
                        <a:cubicBezTo>
                          <a:pt x="177" y="483"/>
                          <a:pt x="177" y="488"/>
                          <a:pt x="174" y="489"/>
                        </a:cubicBezTo>
                        <a:cubicBezTo>
                          <a:pt x="171" y="490"/>
                          <a:pt x="166" y="490"/>
                          <a:pt x="160" y="490"/>
                        </a:cubicBezTo>
                        <a:cubicBezTo>
                          <a:pt x="154" y="489"/>
                          <a:pt x="136" y="496"/>
                          <a:pt x="121" y="496"/>
                        </a:cubicBezTo>
                        <a:cubicBezTo>
                          <a:pt x="106" y="495"/>
                          <a:pt x="78" y="494"/>
                          <a:pt x="54" y="494"/>
                        </a:cubicBezTo>
                        <a:cubicBezTo>
                          <a:pt x="30" y="493"/>
                          <a:pt x="3" y="496"/>
                          <a:pt x="2" y="493"/>
                        </a:cubicBezTo>
                        <a:cubicBezTo>
                          <a:pt x="0" y="487"/>
                          <a:pt x="6" y="461"/>
                          <a:pt x="10" y="433"/>
                        </a:cubicBezTo>
                        <a:cubicBezTo>
                          <a:pt x="14" y="404"/>
                          <a:pt x="20" y="371"/>
                          <a:pt x="22" y="359"/>
                        </a:cubicBezTo>
                        <a:cubicBezTo>
                          <a:pt x="24" y="348"/>
                          <a:pt x="26" y="340"/>
                          <a:pt x="26" y="340"/>
                        </a:cubicBezTo>
                        <a:cubicBezTo>
                          <a:pt x="26" y="340"/>
                          <a:pt x="21" y="340"/>
                          <a:pt x="25" y="322"/>
                        </a:cubicBezTo>
                        <a:cubicBezTo>
                          <a:pt x="28" y="304"/>
                          <a:pt x="35" y="275"/>
                          <a:pt x="35" y="256"/>
                        </a:cubicBezTo>
                        <a:cubicBezTo>
                          <a:pt x="35" y="236"/>
                          <a:pt x="36" y="218"/>
                          <a:pt x="36" y="218"/>
                        </a:cubicBezTo>
                        <a:cubicBezTo>
                          <a:pt x="36" y="218"/>
                          <a:pt x="25" y="219"/>
                          <a:pt x="20" y="213"/>
                        </a:cubicBezTo>
                        <a:cubicBezTo>
                          <a:pt x="16" y="208"/>
                          <a:pt x="4" y="192"/>
                          <a:pt x="7" y="185"/>
                        </a:cubicBezTo>
                        <a:cubicBezTo>
                          <a:pt x="10" y="178"/>
                          <a:pt x="30" y="159"/>
                          <a:pt x="34" y="152"/>
                        </a:cubicBezTo>
                        <a:cubicBezTo>
                          <a:pt x="38" y="146"/>
                          <a:pt x="53" y="144"/>
                          <a:pt x="53" y="144"/>
                        </a:cubicBezTo>
                        <a:cubicBezTo>
                          <a:pt x="53" y="144"/>
                          <a:pt x="49" y="142"/>
                          <a:pt x="48" y="137"/>
                        </a:cubicBezTo>
                        <a:cubicBezTo>
                          <a:pt x="46" y="133"/>
                          <a:pt x="44" y="127"/>
                          <a:pt x="42" y="122"/>
                        </a:cubicBezTo>
                        <a:cubicBezTo>
                          <a:pt x="39" y="117"/>
                          <a:pt x="31" y="105"/>
                          <a:pt x="31" y="98"/>
                        </a:cubicBezTo>
                        <a:cubicBezTo>
                          <a:pt x="31" y="94"/>
                          <a:pt x="30" y="92"/>
                          <a:pt x="28" y="91"/>
                        </a:cubicBezTo>
                        <a:cubicBezTo>
                          <a:pt x="25" y="89"/>
                          <a:pt x="22" y="84"/>
                          <a:pt x="21" y="81"/>
                        </a:cubicBezTo>
                        <a:cubicBezTo>
                          <a:pt x="20" y="78"/>
                          <a:pt x="18" y="74"/>
                          <a:pt x="17" y="67"/>
                        </a:cubicBezTo>
                        <a:cubicBezTo>
                          <a:pt x="15" y="60"/>
                          <a:pt x="16" y="54"/>
                          <a:pt x="16" y="54"/>
                        </a:cubicBezTo>
                        <a:cubicBezTo>
                          <a:pt x="16" y="54"/>
                          <a:pt x="15" y="42"/>
                          <a:pt x="24" y="29"/>
                        </a:cubicBezTo>
                        <a:cubicBezTo>
                          <a:pt x="33" y="16"/>
                          <a:pt x="43" y="12"/>
                          <a:pt x="53" y="7"/>
                        </a:cubicBezTo>
                        <a:cubicBezTo>
                          <a:pt x="63" y="3"/>
                          <a:pt x="80" y="0"/>
                          <a:pt x="91" y="2"/>
                        </a:cubicBezTo>
                        <a:cubicBezTo>
                          <a:pt x="101" y="3"/>
                          <a:pt x="124" y="14"/>
                          <a:pt x="131" y="40"/>
                        </a:cubicBezTo>
                        <a:cubicBezTo>
                          <a:pt x="139" y="67"/>
                          <a:pt x="137" y="85"/>
                          <a:pt x="139" y="96"/>
                        </a:cubicBezTo>
                        <a:cubicBezTo>
                          <a:pt x="140" y="106"/>
                          <a:pt x="143" y="113"/>
                          <a:pt x="149" y="122"/>
                        </a:cubicBezTo>
                        <a:cubicBezTo>
                          <a:pt x="154" y="130"/>
                          <a:pt x="154" y="132"/>
                          <a:pt x="155" y="134"/>
                        </a:cubicBezTo>
                        <a:cubicBezTo>
                          <a:pt x="155" y="137"/>
                          <a:pt x="153" y="139"/>
                          <a:pt x="153" y="139"/>
                        </a:cubicBezTo>
                        <a:cubicBezTo>
                          <a:pt x="153" y="139"/>
                          <a:pt x="161" y="143"/>
                          <a:pt x="168" y="149"/>
                        </a:cubicBezTo>
                        <a:cubicBezTo>
                          <a:pt x="175" y="156"/>
                          <a:pt x="179" y="161"/>
                          <a:pt x="182" y="17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2" name="Freeform 80"/>
                  <p:cNvSpPr>
                    <a:spLocks/>
                  </p:cNvSpPr>
                  <p:nvPr/>
                </p:nvSpPr>
                <p:spPr bwMode="auto">
                  <a:xfrm>
                    <a:off x="3733800" y="4095750"/>
                    <a:ext cx="104775" cy="42863"/>
                  </a:xfrm>
                  <a:custGeom>
                    <a:avLst/>
                    <a:gdLst>
                      <a:gd name="T0" fmla="*/ 267 w 267"/>
                      <a:gd name="T1" fmla="*/ 30 h 110"/>
                      <a:gd name="T2" fmla="*/ 236 w 267"/>
                      <a:gd name="T3" fmla="*/ 50 h 110"/>
                      <a:gd name="T4" fmla="*/ 171 w 267"/>
                      <a:gd name="T5" fmla="*/ 82 h 110"/>
                      <a:gd name="T6" fmla="*/ 111 w 267"/>
                      <a:gd name="T7" fmla="*/ 89 h 110"/>
                      <a:gd name="T8" fmla="*/ 73 w 267"/>
                      <a:gd name="T9" fmla="*/ 94 h 110"/>
                      <a:gd name="T10" fmla="*/ 60 w 267"/>
                      <a:gd name="T11" fmla="*/ 96 h 110"/>
                      <a:gd name="T12" fmla="*/ 52 w 267"/>
                      <a:gd name="T13" fmla="*/ 97 h 110"/>
                      <a:gd name="T14" fmla="*/ 49 w 267"/>
                      <a:gd name="T15" fmla="*/ 104 h 110"/>
                      <a:gd name="T16" fmla="*/ 39 w 267"/>
                      <a:gd name="T17" fmla="*/ 109 h 110"/>
                      <a:gd name="T18" fmla="*/ 35 w 267"/>
                      <a:gd name="T19" fmla="*/ 110 h 110"/>
                      <a:gd name="T20" fmla="*/ 27 w 267"/>
                      <a:gd name="T21" fmla="*/ 106 h 110"/>
                      <a:gd name="T22" fmla="*/ 23 w 267"/>
                      <a:gd name="T23" fmla="*/ 99 h 110"/>
                      <a:gd name="T24" fmla="*/ 28 w 267"/>
                      <a:gd name="T25" fmla="*/ 87 h 110"/>
                      <a:gd name="T26" fmla="*/ 17 w 267"/>
                      <a:gd name="T27" fmla="*/ 86 h 110"/>
                      <a:gd name="T28" fmla="*/ 6 w 267"/>
                      <a:gd name="T29" fmla="*/ 87 h 110"/>
                      <a:gd name="T30" fmla="*/ 0 w 267"/>
                      <a:gd name="T31" fmla="*/ 85 h 110"/>
                      <a:gd name="T32" fmla="*/ 4 w 267"/>
                      <a:gd name="T33" fmla="*/ 82 h 110"/>
                      <a:gd name="T34" fmla="*/ 18 w 267"/>
                      <a:gd name="T35" fmla="*/ 79 h 110"/>
                      <a:gd name="T36" fmla="*/ 40 w 267"/>
                      <a:gd name="T37" fmla="*/ 77 h 110"/>
                      <a:gd name="T38" fmla="*/ 69 w 267"/>
                      <a:gd name="T39" fmla="*/ 72 h 110"/>
                      <a:gd name="T40" fmla="*/ 127 w 267"/>
                      <a:gd name="T41" fmla="*/ 57 h 110"/>
                      <a:gd name="T42" fmla="*/ 157 w 267"/>
                      <a:gd name="T43" fmla="*/ 48 h 110"/>
                      <a:gd name="T44" fmla="*/ 177 w 267"/>
                      <a:gd name="T45" fmla="*/ 42 h 110"/>
                      <a:gd name="T46" fmla="*/ 220 w 267"/>
                      <a:gd name="T47" fmla="*/ 16 h 110"/>
                      <a:gd name="T48" fmla="*/ 240 w 267"/>
                      <a:gd name="T49" fmla="*/ 2 h 110"/>
                      <a:gd name="T50" fmla="*/ 251 w 267"/>
                      <a:gd name="T51" fmla="*/ 6 h 110"/>
                      <a:gd name="T52" fmla="*/ 266 w 267"/>
                      <a:gd name="T53" fmla="*/ 23 h 110"/>
                      <a:gd name="T54" fmla="*/ 267 w 267"/>
                      <a:gd name="T55" fmla="*/ 30 h 1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267" h="110">
                        <a:moveTo>
                          <a:pt x="267" y="30"/>
                        </a:moveTo>
                        <a:cubicBezTo>
                          <a:pt x="267" y="30"/>
                          <a:pt x="251" y="40"/>
                          <a:pt x="236" y="50"/>
                        </a:cubicBezTo>
                        <a:cubicBezTo>
                          <a:pt x="222" y="59"/>
                          <a:pt x="181" y="80"/>
                          <a:pt x="171" y="82"/>
                        </a:cubicBezTo>
                        <a:cubicBezTo>
                          <a:pt x="161" y="85"/>
                          <a:pt x="134" y="88"/>
                          <a:pt x="111" y="89"/>
                        </a:cubicBezTo>
                        <a:cubicBezTo>
                          <a:pt x="88" y="89"/>
                          <a:pt x="78" y="92"/>
                          <a:pt x="73" y="94"/>
                        </a:cubicBezTo>
                        <a:cubicBezTo>
                          <a:pt x="68" y="95"/>
                          <a:pt x="66" y="95"/>
                          <a:pt x="60" y="96"/>
                        </a:cubicBezTo>
                        <a:cubicBezTo>
                          <a:pt x="54" y="97"/>
                          <a:pt x="52" y="97"/>
                          <a:pt x="52" y="97"/>
                        </a:cubicBezTo>
                        <a:cubicBezTo>
                          <a:pt x="52" y="97"/>
                          <a:pt x="52" y="101"/>
                          <a:pt x="49" y="104"/>
                        </a:cubicBezTo>
                        <a:cubicBezTo>
                          <a:pt x="46" y="106"/>
                          <a:pt x="39" y="109"/>
                          <a:pt x="39" y="109"/>
                        </a:cubicBezTo>
                        <a:cubicBezTo>
                          <a:pt x="39" y="109"/>
                          <a:pt x="37" y="110"/>
                          <a:pt x="35" y="110"/>
                        </a:cubicBezTo>
                        <a:cubicBezTo>
                          <a:pt x="33" y="109"/>
                          <a:pt x="29" y="107"/>
                          <a:pt x="27" y="106"/>
                        </a:cubicBezTo>
                        <a:cubicBezTo>
                          <a:pt x="24" y="104"/>
                          <a:pt x="22" y="103"/>
                          <a:pt x="23" y="99"/>
                        </a:cubicBezTo>
                        <a:cubicBezTo>
                          <a:pt x="24" y="96"/>
                          <a:pt x="28" y="87"/>
                          <a:pt x="28" y="87"/>
                        </a:cubicBezTo>
                        <a:cubicBezTo>
                          <a:pt x="28" y="87"/>
                          <a:pt x="21" y="86"/>
                          <a:pt x="17" y="86"/>
                        </a:cubicBezTo>
                        <a:cubicBezTo>
                          <a:pt x="15" y="86"/>
                          <a:pt x="10" y="87"/>
                          <a:pt x="6" y="87"/>
                        </a:cubicBezTo>
                        <a:cubicBezTo>
                          <a:pt x="3" y="87"/>
                          <a:pt x="0" y="86"/>
                          <a:pt x="0" y="85"/>
                        </a:cubicBezTo>
                        <a:cubicBezTo>
                          <a:pt x="0" y="83"/>
                          <a:pt x="1" y="82"/>
                          <a:pt x="4" y="82"/>
                        </a:cubicBezTo>
                        <a:cubicBezTo>
                          <a:pt x="7" y="82"/>
                          <a:pt x="13" y="80"/>
                          <a:pt x="18" y="79"/>
                        </a:cubicBezTo>
                        <a:cubicBezTo>
                          <a:pt x="24" y="79"/>
                          <a:pt x="30" y="77"/>
                          <a:pt x="40" y="77"/>
                        </a:cubicBezTo>
                        <a:cubicBezTo>
                          <a:pt x="40" y="77"/>
                          <a:pt x="56" y="75"/>
                          <a:pt x="69" y="72"/>
                        </a:cubicBezTo>
                        <a:cubicBezTo>
                          <a:pt x="82" y="70"/>
                          <a:pt x="105" y="64"/>
                          <a:pt x="127" y="57"/>
                        </a:cubicBezTo>
                        <a:cubicBezTo>
                          <a:pt x="150" y="49"/>
                          <a:pt x="153" y="49"/>
                          <a:pt x="157" y="48"/>
                        </a:cubicBezTo>
                        <a:cubicBezTo>
                          <a:pt x="162" y="48"/>
                          <a:pt x="169" y="46"/>
                          <a:pt x="177" y="42"/>
                        </a:cubicBezTo>
                        <a:cubicBezTo>
                          <a:pt x="186" y="37"/>
                          <a:pt x="210" y="24"/>
                          <a:pt x="220" y="16"/>
                        </a:cubicBezTo>
                        <a:cubicBezTo>
                          <a:pt x="231" y="8"/>
                          <a:pt x="240" y="2"/>
                          <a:pt x="240" y="2"/>
                        </a:cubicBezTo>
                        <a:cubicBezTo>
                          <a:pt x="240" y="2"/>
                          <a:pt x="244" y="0"/>
                          <a:pt x="251" y="6"/>
                        </a:cubicBezTo>
                        <a:cubicBezTo>
                          <a:pt x="258" y="12"/>
                          <a:pt x="265" y="20"/>
                          <a:pt x="266" y="23"/>
                        </a:cubicBezTo>
                        <a:cubicBezTo>
                          <a:pt x="267" y="25"/>
                          <a:pt x="267" y="30"/>
                          <a:pt x="267" y="3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3" name="Freeform 81"/>
                  <p:cNvSpPr>
                    <a:spLocks/>
                  </p:cNvSpPr>
                  <p:nvPr/>
                </p:nvSpPr>
                <p:spPr bwMode="auto">
                  <a:xfrm>
                    <a:off x="3857625" y="4214813"/>
                    <a:ext cx="31750" cy="130175"/>
                  </a:xfrm>
                  <a:custGeom>
                    <a:avLst/>
                    <a:gdLst>
                      <a:gd name="T0" fmla="*/ 66 w 83"/>
                      <a:gd name="T1" fmla="*/ 0 h 327"/>
                      <a:gd name="T2" fmla="*/ 63 w 83"/>
                      <a:gd name="T3" fmla="*/ 44 h 327"/>
                      <a:gd name="T4" fmla="*/ 67 w 83"/>
                      <a:gd name="T5" fmla="*/ 103 h 327"/>
                      <a:gd name="T6" fmla="*/ 78 w 83"/>
                      <a:gd name="T7" fmla="*/ 166 h 327"/>
                      <a:gd name="T8" fmla="*/ 75 w 83"/>
                      <a:gd name="T9" fmla="*/ 246 h 327"/>
                      <a:gd name="T10" fmla="*/ 74 w 83"/>
                      <a:gd name="T11" fmla="*/ 285 h 327"/>
                      <a:gd name="T12" fmla="*/ 82 w 83"/>
                      <a:gd name="T13" fmla="*/ 313 h 327"/>
                      <a:gd name="T14" fmla="*/ 78 w 83"/>
                      <a:gd name="T15" fmla="*/ 324 h 327"/>
                      <a:gd name="T16" fmla="*/ 62 w 83"/>
                      <a:gd name="T17" fmla="*/ 325 h 327"/>
                      <a:gd name="T18" fmla="*/ 45 w 83"/>
                      <a:gd name="T19" fmla="*/ 319 h 327"/>
                      <a:gd name="T20" fmla="*/ 16 w 83"/>
                      <a:gd name="T21" fmla="*/ 312 h 327"/>
                      <a:gd name="T22" fmla="*/ 6 w 83"/>
                      <a:gd name="T23" fmla="*/ 306 h 327"/>
                      <a:gd name="T24" fmla="*/ 15 w 83"/>
                      <a:gd name="T25" fmla="*/ 300 h 327"/>
                      <a:gd name="T26" fmla="*/ 36 w 83"/>
                      <a:gd name="T27" fmla="*/ 292 h 327"/>
                      <a:gd name="T28" fmla="*/ 42 w 83"/>
                      <a:gd name="T29" fmla="*/ 264 h 327"/>
                      <a:gd name="T30" fmla="*/ 34 w 83"/>
                      <a:gd name="T31" fmla="*/ 173 h 327"/>
                      <a:gd name="T32" fmla="*/ 23 w 83"/>
                      <a:gd name="T33" fmla="*/ 119 h 327"/>
                      <a:gd name="T34" fmla="*/ 15 w 83"/>
                      <a:gd name="T35" fmla="*/ 93 h 327"/>
                      <a:gd name="T36" fmla="*/ 6 w 83"/>
                      <a:gd name="T37" fmla="*/ 39 h 327"/>
                      <a:gd name="T38" fmla="*/ 0 w 83"/>
                      <a:gd name="T39" fmla="*/ 5 h 327"/>
                      <a:gd name="T40" fmla="*/ 66 w 83"/>
                      <a:gd name="T41" fmla="*/ 0 h 3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83" h="327">
                        <a:moveTo>
                          <a:pt x="66" y="0"/>
                        </a:moveTo>
                        <a:cubicBezTo>
                          <a:pt x="66" y="0"/>
                          <a:pt x="65" y="23"/>
                          <a:pt x="63" y="44"/>
                        </a:cubicBezTo>
                        <a:cubicBezTo>
                          <a:pt x="62" y="66"/>
                          <a:pt x="61" y="85"/>
                          <a:pt x="67" y="103"/>
                        </a:cubicBezTo>
                        <a:cubicBezTo>
                          <a:pt x="72" y="120"/>
                          <a:pt x="78" y="145"/>
                          <a:pt x="78" y="166"/>
                        </a:cubicBezTo>
                        <a:cubicBezTo>
                          <a:pt x="78" y="188"/>
                          <a:pt x="76" y="232"/>
                          <a:pt x="75" y="246"/>
                        </a:cubicBezTo>
                        <a:cubicBezTo>
                          <a:pt x="74" y="261"/>
                          <a:pt x="73" y="276"/>
                          <a:pt x="74" y="285"/>
                        </a:cubicBezTo>
                        <a:cubicBezTo>
                          <a:pt x="76" y="293"/>
                          <a:pt x="82" y="306"/>
                          <a:pt x="82" y="313"/>
                        </a:cubicBezTo>
                        <a:cubicBezTo>
                          <a:pt x="83" y="319"/>
                          <a:pt x="83" y="322"/>
                          <a:pt x="78" y="324"/>
                        </a:cubicBezTo>
                        <a:cubicBezTo>
                          <a:pt x="72" y="326"/>
                          <a:pt x="69" y="327"/>
                          <a:pt x="62" y="325"/>
                        </a:cubicBezTo>
                        <a:cubicBezTo>
                          <a:pt x="55" y="323"/>
                          <a:pt x="53" y="320"/>
                          <a:pt x="45" y="319"/>
                        </a:cubicBezTo>
                        <a:cubicBezTo>
                          <a:pt x="37" y="317"/>
                          <a:pt x="21" y="313"/>
                          <a:pt x="16" y="312"/>
                        </a:cubicBezTo>
                        <a:cubicBezTo>
                          <a:pt x="12" y="311"/>
                          <a:pt x="6" y="309"/>
                          <a:pt x="6" y="306"/>
                        </a:cubicBezTo>
                        <a:cubicBezTo>
                          <a:pt x="7" y="302"/>
                          <a:pt x="11" y="302"/>
                          <a:pt x="15" y="300"/>
                        </a:cubicBezTo>
                        <a:cubicBezTo>
                          <a:pt x="20" y="298"/>
                          <a:pt x="34" y="295"/>
                          <a:pt x="36" y="292"/>
                        </a:cubicBezTo>
                        <a:cubicBezTo>
                          <a:pt x="38" y="290"/>
                          <a:pt x="41" y="283"/>
                          <a:pt x="42" y="264"/>
                        </a:cubicBezTo>
                        <a:cubicBezTo>
                          <a:pt x="43" y="245"/>
                          <a:pt x="36" y="187"/>
                          <a:pt x="34" y="173"/>
                        </a:cubicBezTo>
                        <a:cubicBezTo>
                          <a:pt x="32" y="159"/>
                          <a:pt x="27" y="131"/>
                          <a:pt x="23" y="119"/>
                        </a:cubicBezTo>
                        <a:cubicBezTo>
                          <a:pt x="18" y="108"/>
                          <a:pt x="16" y="101"/>
                          <a:pt x="15" y="93"/>
                        </a:cubicBezTo>
                        <a:cubicBezTo>
                          <a:pt x="14" y="85"/>
                          <a:pt x="10" y="57"/>
                          <a:pt x="6" y="39"/>
                        </a:cubicBezTo>
                        <a:cubicBezTo>
                          <a:pt x="2" y="21"/>
                          <a:pt x="0" y="5"/>
                          <a:pt x="0" y="5"/>
                        </a:cubicBezTo>
                        <a:lnTo>
                          <a:pt x="66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4" name="Freeform 82"/>
                  <p:cNvSpPr>
                    <a:spLocks/>
                  </p:cNvSpPr>
                  <p:nvPr/>
                </p:nvSpPr>
                <p:spPr bwMode="auto">
                  <a:xfrm>
                    <a:off x="3805238" y="4216400"/>
                    <a:ext cx="50800" cy="127000"/>
                  </a:xfrm>
                  <a:custGeom>
                    <a:avLst/>
                    <a:gdLst>
                      <a:gd name="T0" fmla="*/ 127 w 127"/>
                      <a:gd name="T1" fmla="*/ 0 h 322"/>
                      <a:gd name="T2" fmla="*/ 119 w 127"/>
                      <a:gd name="T3" fmla="*/ 33 h 322"/>
                      <a:gd name="T4" fmla="*/ 104 w 127"/>
                      <a:gd name="T5" fmla="*/ 112 h 322"/>
                      <a:gd name="T6" fmla="*/ 98 w 127"/>
                      <a:gd name="T7" fmla="*/ 171 h 322"/>
                      <a:gd name="T8" fmla="*/ 90 w 127"/>
                      <a:gd name="T9" fmla="*/ 226 h 322"/>
                      <a:gd name="T10" fmla="*/ 85 w 127"/>
                      <a:gd name="T11" fmla="*/ 280 h 322"/>
                      <a:gd name="T12" fmla="*/ 89 w 127"/>
                      <a:gd name="T13" fmla="*/ 312 h 322"/>
                      <a:gd name="T14" fmla="*/ 74 w 127"/>
                      <a:gd name="T15" fmla="*/ 322 h 322"/>
                      <a:gd name="T16" fmla="*/ 36 w 127"/>
                      <a:gd name="T17" fmla="*/ 317 h 322"/>
                      <a:gd name="T18" fmla="*/ 3 w 127"/>
                      <a:gd name="T19" fmla="*/ 308 h 322"/>
                      <a:gd name="T20" fmla="*/ 7 w 127"/>
                      <a:gd name="T21" fmla="*/ 299 h 322"/>
                      <a:gd name="T22" fmla="*/ 33 w 127"/>
                      <a:gd name="T23" fmla="*/ 291 h 322"/>
                      <a:gd name="T24" fmla="*/ 55 w 127"/>
                      <a:gd name="T25" fmla="*/ 275 h 322"/>
                      <a:gd name="T26" fmla="*/ 53 w 127"/>
                      <a:gd name="T27" fmla="*/ 237 h 322"/>
                      <a:gd name="T28" fmla="*/ 51 w 127"/>
                      <a:gd name="T29" fmla="*/ 153 h 322"/>
                      <a:gd name="T30" fmla="*/ 56 w 127"/>
                      <a:gd name="T31" fmla="*/ 80 h 322"/>
                      <a:gd name="T32" fmla="*/ 57 w 127"/>
                      <a:gd name="T33" fmla="*/ 21 h 322"/>
                      <a:gd name="T34" fmla="*/ 56 w 127"/>
                      <a:gd name="T35" fmla="*/ 3 h 322"/>
                      <a:gd name="T36" fmla="*/ 127 w 127"/>
                      <a:gd name="T37" fmla="*/ 0 h 3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27" h="322">
                        <a:moveTo>
                          <a:pt x="127" y="0"/>
                        </a:moveTo>
                        <a:cubicBezTo>
                          <a:pt x="127" y="0"/>
                          <a:pt x="123" y="15"/>
                          <a:pt x="119" y="33"/>
                        </a:cubicBezTo>
                        <a:cubicBezTo>
                          <a:pt x="115" y="52"/>
                          <a:pt x="108" y="100"/>
                          <a:pt x="104" y="112"/>
                        </a:cubicBezTo>
                        <a:cubicBezTo>
                          <a:pt x="100" y="123"/>
                          <a:pt x="101" y="151"/>
                          <a:pt x="98" y="171"/>
                        </a:cubicBezTo>
                        <a:cubicBezTo>
                          <a:pt x="96" y="191"/>
                          <a:pt x="93" y="205"/>
                          <a:pt x="90" y="226"/>
                        </a:cubicBezTo>
                        <a:cubicBezTo>
                          <a:pt x="87" y="248"/>
                          <a:pt x="85" y="267"/>
                          <a:pt x="85" y="280"/>
                        </a:cubicBezTo>
                        <a:cubicBezTo>
                          <a:pt x="85" y="292"/>
                          <a:pt x="89" y="305"/>
                          <a:pt x="89" y="312"/>
                        </a:cubicBezTo>
                        <a:cubicBezTo>
                          <a:pt x="88" y="318"/>
                          <a:pt x="83" y="322"/>
                          <a:pt x="74" y="322"/>
                        </a:cubicBezTo>
                        <a:cubicBezTo>
                          <a:pt x="66" y="322"/>
                          <a:pt x="50" y="321"/>
                          <a:pt x="36" y="317"/>
                        </a:cubicBezTo>
                        <a:cubicBezTo>
                          <a:pt x="21" y="313"/>
                          <a:pt x="6" y="310"/>
                          <a:pt x="3" y="308"/>
                        </a:cubicBezTo>
                        <a:cubicBezTo>
                          <a:pt x="0" y="306"/>
                          <a:pt x="4" y="301"/>
                          <a:pt x="7" y="299"/>
                        </a:cubicBezTo>
                        <a:cubicBezTo>
                          <a:pt x="10" y="297"/>
                          <a:pt x="26" y="293"/>
                          <a:pt x="33" y="291"/>
                        </a:cubicBezTo>
                        <a:cubicBezTo>
                          <a:pt x="41" y="288"/>
                          <a:pt x="52" y="283"/>
                          <a:pt x="55" y="275"/>
                        </a:cubicBezTo>
                        <a:cubicBezTo>
                          <a:pt x="57" y="268"/>
                          <a:pt x="54" y="255"/>
                          <a:pt x="53" y="237"/>
                        </a:cubicBezTo>
                        <a:cubicBezTo>
                          <a:pt x="52" y="220"/>
                          <a:pt x="51" y="179"/>
                          <a:pt x="51" y="153"/>
                        </a:cubicBezTo>
                        <a:cubicBezTo>
                          <a:pt x="51" y="127"/>
                          <a:pt x="55" y="96"/>
                          <a:pt x="56" y="80"/>
                        </a:cubicBezTo>
                        <a:cubicBezTo>
                          <a:pt x="57" y="65"/>
                          <a:pt x="57" y="31"/>
                          <a:pt x="57" y="21"/>
                        </a:cubicBezTo>
                        <a:cubicBezTo>
                          <a:pt x="56" y="11"/>
                          <a:pt x="56" y="3"/>
                          <a:pt x="56" y="3"/>
                        </a:cubicBezTo>
                        <a:lnTo>
                          <a:pt x="127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5" name="Freeform 83"/>
                  <p:cNvSpPr>
                    <a:spLocks/>
                  </p:cNvSpPr>
                  <p:nvPr/>
                </p:nvSpPr>
                <p:spPr bwMode="auto">
                  <a:xfrm>
                    <a:off x="3316288" y="4138613"/>
                    <a:ext cx="19050" cy="61913"/>
                  </a:xfrm>
                  <a:custGeom>
                    <a:avLst/>
                    <a:gdLst>
                      <a:gd name="T0" fmla="*/ 17 w 48"/>
                      <a:gd name="T1" fmla="*/ 0 h 159"/>
                      <a:gd name="T2" fmla="*/ 8 w 48"/>
                      <a:gd name="T3" fmla="*/ 33 h 159"/>
                      <a:gd name="T4" fmla="*/ 2 w 48"/>
                      <a:gd name="T5" fmla="*/ 110 h 159"/>
                      <a:gd name="T6" fmla="*/ 11 w 48"/>
                      <a:gd name="T7" fmla="*/ 137 h 159"/>
                      <a:gd name="T8" fmla="*/ 29 w 48"/>
                      <a:gd name="T9" fmla="*/ 159 h 159"/>
                      <a:gd name="T10" fmla="*/ 44 w 48"/>
                      <a:gd name="T11" fmla="*/ 68 h 159"/>
                      <a:gd name="T12" fmla="*/ 17 w 48"/>
                      <a:gd name="T13" fmla="*/ 0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8" h="159">
                        <a:moveTo>
                          <a:pt x="17" y="0"/>
                        </a:moveTo>
                        <a:cubicBezTo>
                          <a:pt x="17" y="0"/>
                          <a:pt x="11" y="16"/>
                          <a:pt x="8" y="33"/>
                        </a:cubicBezTo>
                        <a:cubicBezTo>
                          <a:pt x="6" y="50"/>
                          <a:pt x="0" y="95"/>
                          <a:pt x="2" y="110"/>
                        </a:cubicBezTo>
                        <a:cubicBezTo>
                          <a:pt x="4" y="125"/>
                          <a:pt x="6" y="129"/>
                          <a:pt x="11" y="137"/>
                        </a:cubicBezTo>
                        <a:cubicBezTo>
                          <a:pt x="15" y="146"/>
                          <a:pt x="29" y="159"/>
                          <a:pt x="29" y="159"/>
                        </a:cubicBezTo>
                        <a:cubicBezTo>
                          <a:pt x="29" y="159"/>
                          <a:pt x="48" y="119"/>
                          <a:pt x="44" y="68"/>
                        </a:cubicBezTo>
                        <a:cubicBezTo>
                          <a:pt x="40" y="17"/>
                          <a:pt x="17" y="0"/>
                          <a:pt x="17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6" name="Freeform 84"/>
                  <p:cNvSpPr>
                    <a:spLocks/>
                  </p:cNvSpPr>
                  <p:nvPr/>
                </p:nvSpPr>
                <p:spPr bwMode="auto">
                  <a:xfrm>
                    <a:off x="3389313" y="4138613"/>
                    <a:ext cx="19050" cy="22225"/>
                  </a:xfrm>
                  <a:custGeom>
                    <a:avLst/>
                    <a:gdLst>
                      <a:gd name="T0" fmla="*/ 4 w 45"/>
                      <a:gd name="T1" fmla="*/ 0 h 57"/>
                      <a:gd name="T2" fmla="*/ 0 w 45"/>
                      <a:gd name="T3" fmla="*/ 20 h 57"/>
                      <a:gd name="T4" fmla="*/ 2 w 45"/>
                      <a:gd name="T5" fmla="*/ 49 h 57"/>
                      <a:gd name="T6" fmla="*/ 15 w 45"/>
                      <a:gd name="T7" fmla="*/ 55 h 57"/>
                      <a:gd name="T8" fmla="*/ 33 w 45"/>
                      <a:gd name="T9" fmla="*/ 20 h 57"/>
                      <a:gd name="T10" fmla="*/ 35 w 45"/>
                      <a:gd name="T11" fmla="*/ 30 h 57"/>
                      <a:gd name="T12" fmla="*/ 41 w 45"/>
                      <a:gd name="T13" fmla="*/ 38 h 57"/>
                      <a:gd name="T14" fmla="*/ 45 w 45"/>
                      <a:gd name="T15" fmla="*/ 28 h 57"/>
                      <a:gd name="T16" fmla="*/ 43 w 45"/>
                      <a:gd name="T17" fmla="*/ 16 h 57"/>
                      <a:gd name="T18" fmla="*/ 42 w 45"/>
                      <a:gd name="T19" fmla="*/ 6 h 57"/>
                      <a:gd name="T20" fmla="*/ 4 w 45"/>
                      <a:gd name="T21" fmla="*/ 0 h 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45" h="57">
                        <a:moveTo>
                          <a:pt x="4" y="0"/>
                        </a:moveTo>
                        <a:cubicBezTo>
                          <a:pt x="4" y="0"/>
                          <a:pt x="1" y="7"/>
                          <a:pt x="0" y="20"/>
                        </a:cubicBezTo>
                        <a:cubicBezTo>
                          <a:pt x="0" y="33"/>
                          <a:pt x="0" y="45"/>
                          <a:pt x="2" y="49"/>
                        </a:cubicBezTo>
                        <a:cubicBezTo>
                          <a:pt x="3" y="53"/>
                          <a:pt x="10" y="57"/>
                          <a:pt x="15" y="55"/>
                        </a:cubicBezTo>
                        <a:cubicBezTo>
                          <a:pt x="21" y="52"/>
                          <a:pt x="33" y="20"/>
                          <a:pt x="33" y="20"/>
                        </a:cubicBezTo>
                        <a:cubicBezTo>
                          <a:pt x="33" y="20"/>
                          <a:pt x="34" y="25"/>
                          <a:pt x="35" y="30"/>
                        </a:cubicBezTo>
                        <a:cubicBezTo>
                          <a:pt x="36" y="35"/>
                          <a:pt x="39" y="38"/>
                          <a:pt x="41" y="38"/>
                        </a:cubicBezTo>
                        <a:cubicBezTo>
                          <a:pt x="43" y="38"/>
                          <a:pt x="45" y="33"/>
                          <a:pt x="45" y="28"/>
                        </a:cubicBezTo>
                        <a:cubicBezTo>
                          <a:pt x="45" y="22"/>
                          <a:pt x="44" y="21"/>
                          <a:pt x="43" y="16"/>
                        </a:cubicBezTo>
                        <a:cubicBezTo>
                          <a:pt x="42" y="12"/>
                          <a:pt x="42" y="6"/>
                          <a:pt x="42" y="6"/>
                        </a:cubicBez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7" name="Freeform 85"/>
                  <p:cNvSpPr>
                    <a:spLocks/>
                  </p:cNvSpPr>
                  <p:nvPr/>
                </p:nvSpPr>
                <p:spPr bwMode="auto">
                  <a:xfrm>
                    <a:off x="3373438" y="4138613"/>
                    <a:ext cx="30163" cy="49213"/>
                  </a:xfrm>
                  <a:custGeom>
                    <a:avLst/>
                    <a:gdLst>
                      <a:gd name="T0" fmla="*/ 0 w 76"/>
                      <a:gd name="T1" fmla="*/ 51 h 125"/>
                      <a:gd name="T2" fmla="*/ 18 w 76"/>
                      <a:gd name="T3" fmla="*/ 98 h 125"/>
                      <a:gd name="T4" fmla="*/ 42 w 76"/>
                      <a:gd name="T5" fmla="*/ 123 h 125"/>
                      <a:gd name="T6" fmla="*/ 62 w 76"/>
                      <a:gd name="T7" fmla="*/ 88 h 125"/>
                      <a:gd name="T8" fmla="*/ 68 w 76"/>
                      <a:gd name="T9" fmla="*/ 55 h 125"/>
                      <a:gd name="T10" fmla="*/ 71 w 76"/>
                      <a:gd name="T11" fmla="*/ 34 h 125"/>
                      <a:gd name="T12" fmla="*/ 75 w 76"/>
                      <a:gd name="T13" fmla="*/ 23 h 125"/>
                      <a:gd name="T14" fmla="*/ 74 w 76"/>
                      <a:gd name="T15" fmla="*/ 17 h 125"/>
                      <a:gd name="T16" fmla="*/ 70 w 76"/>
                      <a:gd name="T17" fmla="*/ 15 h 125"/>
                      <a:gd name="T18" fmla="*/ 66 w 76"/>
                      <a:gd name="T19" fmla="*/ 12 h 125"/>
                      <a:gd name="T20" fmla="*/ 57 w 76"/>
                      <a:gd name="T21" fmla="*/ 13 h 125"/>
                      <a:gd name="T22" fmla="*/ 51 w 76"/>
                      <a:gd name="T23" fmla="*/ 28 h 125"/>
                      <a:gd name="T24" fmla="*/ 49 w 76"/>
                      <a:gd name="T25" fmla="*/ 45 h 125"/>
                      <a:gd name="T26" fmla="*/ 40 w 76"/>
                      <a:gd name="T27" fmla="*/ 61 h 125"/>
                      <a:gd name="T28" fmla="*/ 38 w 76"/>
                      <a:gd name="T29" fmla="*/ 39 h 125"/>
                      <a:gd name="T30" fmla="*/ 32 w 76"/>
                      <a:gd name="T31" fmla="*/ 11 h 125"/>
                      <a:gd name="T32" fmla="*/ 16 w 76"/>
                      <a:gd name="T33" fmla="*/ 0 h 125"/>
                      <a:gd name="T34" fmla="*/ 0 w 76"/>
                      <a:gd name="T35" fmla="*/ 51 h 1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76" h="125">
                        <a:moveTo>
                          <a:pt x="0" y="51"/>
                        </a:moveTo>
                        <a:cubicBezTo>
                          <a:pt x="0" y="51"/>
                          <a:pt x="11" y="83"/>
                          <a:pt x="18" y="98"/>
                        </a:cubicBezTo>
                        <a:cubicBezTo>
                          <a:pt x="25" y="113"/>
                          <a:pt x="35" y="125"/>
                          <a:pt x="42" y="123"/>
                        </a:cubicBezTo>
                        <a:cubicBezTo>
                          <a:pt x="49" y="122"/>
                          <a:pt x="58" y="106"/>
                          <a:pt x="62" y="88"/>
                        </a:cubicBezTo>
                        <a:cubicBezTo>
                          <a:pt x="66" y="71"/>
                          <a:pt x="67" y="68"/>
                          <a:pt x="68" y="55"/>
                        </a:cubicBezTo>
                        <a:cubicBezTo>
                          <a:pt x="69" y="42"/>
                          <a:pt x="70" y="38"/>
                          <a:pt x="71" y="34"/>
                        </a:cubicBezTo>
                        <a:cubicBezTo>
                          <a:pt x="72" y="29"/>
                          <a:pt x="74" y="27"/>
                          <a:pt x="75" y="23"/>
                        </a:cubicBezTo>
                        <a:cubicBezTo>
                          <a:pt x="76" y="19"/>
                          <a:pt x="76" y="18"/>
                          <a:pt x="74" y="17"/>
                        </a:cubicBezTo>
                        <a:cubicBezTo>
                          <a:pt x="73" y="15"/>
                          <a:pt x="70" y="15"/>
                          <a:pt x="70" y="15"/>
                        </a:cubicBezTo>
                        <a:cubicBezTo>
                          <a:pt x="69" y="14"/>
                          <a:pt x="68" y="12"/>
                          <a:pt x="66" y="12"/>
                        </a:cubicBezTo>
                        <a:cubicBezTo>
                          <a:pt x="64" y="11"/>
                          <a:pt x="60" y="11"/>
                          <a:pt x="57" y="13"/>
                        </a:cubicBezTo>
                        <a:cubicBezTo>
                          <a:pt x="55" y="15"/>
                          <a:pt x="52" y="22"/>
                          <a:pt x="51" y="28"/>
                        </a:cubicBezTo>
                        <a:cubicBezTo>
                          <a:pt x="50" y="34"/>
                          <a:pt x="51" y="37"/>
                          <a:pt x="49" y="45"/>
                        </a:cubicBezTo>
                        <a:cubicBezTo>
                          <a:pt x="46" y="52"/>
                          <a:pt x="40" y="61"/>
                          <a:pt x="40" y="61"/>
                        </a:cubicBezTo>
                        <a:cubicBezTo>
                          <a:pt x="40" y="61"/>
                          <a:pt x="39" y="49"/>
                          <a:pt x="38" y="39"/>
                        </a:cubicBezTo>
                        <a:cubicBezTo>
                          <a:pt x="36" y="28"/>
                          <a:pt x="35" y="18"/>
                          <a:pt x="32" y="11"/>
                        </a:cubicBezTo>
                        <a:cubicBezTo>
                          <a:pt x="29" y="4"/>
                          <a:pt x="16" y="0"/>
                          <a:pt x="16" y="0"/>
                        </a:cubicBezTo>
                        <a:lnTo>
                          <a:pt x="0" y="51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8" name="Freeform 86"/>
                  <p:cNvSpPr>
                    <a:spLocks/>
                  </p:cNvSpPr>
                  <p:nvPr/>
                </p:nvSpPr>
                <p:spPr bwMode="auto">
                  <a:xfrm>
                    <a:off x="3330575" y="4279900"/>
                    <a:ext cx="31750" cy="60325"/>
                  </a:xfrm>
                  <a:custGeom>
                    <a:avLst/>
                    <a:gdLst>
                      <a:gd name="T0" fmla="*/ 5 w 81"/>
                      <a:gd name="T1" fmla="*/ 3 h 152"/>
                      <a:gd name="T2" fmla="*/ 16 w 81"/>
                      <a:gd name="T3" fmla="*/ 41 h 152"/>
                      <a:gd name="T4" fmla="*/ 25 w 81"/>
                      <a:gd name="T5" fmla="*/ 76 h 152"/>
                      <a:gd name="T6" fmla="*/ 31 w 81"/>
                      <a:gd name="T7" fmla="*/ 102 h 152"/>
                      <a:gd name="T8" fmla="*/ 25 w 81"/>
                      <a:gd name="T9" fmla="*/ 114 h 152"/>
                      <a:gd name="T10" fmla="*/ 16 w 81"/>
                      <a:gd name="T11" fmla="*/ 128 h 152"/>
                      <a:gd name="T12" fmla="*/ 5 w 81"/>
                      <a:gd name="T13" fmla="*/ 136 h 152"/>
                      <a:gd name="T14" fmla="*/ 0 w 81"/>
                      <a:gd name="T15" fmla="*/ 144 h 152"/>
                      <a:gd name="T16" fmla="*/ 7 w 81"/>
                      <a:gd name="T17" fmla="*/ 152 h 152"/>
                      <a:gd name="T18" fmla="*/ 36 w 81"/>
                      <a:gd name="T19" fmla="*/ 150 h 152"/>
                      <a:gd name="T20" fmla="*/ 68 w 81"/>
                      <a:gd name="T21" fmla="*/ 143 h 152"/>
                      <a:gd name="T22" fmla="*/ 75 w 81"/>
                      <a:gd name="T23" fmla="*/ 136 h 152"/>
                      <a:gd name="T24" fmla="*/ 80 w 81"/>
                      <a:gd name="T25" fmla="*/ 126 h 152"/>
                      <a:gd name="T26" fmla="*/ 80 w 81"/>
                      <a:gd name="T27" fmla="*/ 115 h 152"/>
                      <a:gd name="T28" fmla="*/ 78 w 81"/>
                      <a:gd name="T29" fmla="*/ 104 h 152"/>
                      <a:gd name="T30" fmla="*/ 74 w 81"/>
                      <a:gd name="T31" fmla="*/ 97 h 152"/>
                      <a:gd name="T32" fmla="*/ 69 w 81"/>
                      <a:gd name="T33" fmla="*/ 95 h 152"/>
                      <a:gd name="T34" fmla="*/ 68 w 81"/>
                      <a:gd name="T35" fmla="*/ 67 h 152"/>
                      <a:gd name="T36" fmla="*/ 50 w 81"/>
                      <a:gd name="T37" fmla="*/ 12 h 152"/>
                      <a:gd name="T38" fmla="*/ 49 w 81"/>
                      <a:gd name="T39" fmla="*/ 2 h 152"/>
                      <a:gd name="T40" fmla="*/ 5 w 81"/>
                      <a:gd name="T41" fmla="*/ 3 h 1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81" h="152">
                        <a:moveTo>
                          <a:pt x="5" y="3"/>
                        </a:moveTo>
                        <a:cubicBezTo>
                          <a:pt x="7" y="9"/>
                          <a:pt x="12" y="28"/>
                          <a:pt x="16" y="41"/>
                        </a:cubicBezTo>
                        <a:cubicBezTo>
                          <a:pt x="20" y="60"/>
                          <a:pt x="22" y="64"/>
                          <a:pt x="25" y="76"/>
                        </a:cubicBezTo>
                        <a:cubicBezTo>
                          <a:pt x="28" y="88"/>
                          <a:pt x="31" y="102"/>
                          <a:pt x="31" y="102"/>
                        </a:cubicBezTo>
                        <a:cubicBezTo>
                          <a:pt x="31" y="102"/>
                          <a:pt x="27" y="108"/>
                          <a:pt x="25" y="114"/>
                        </a:cubicBezTo>
                        <a:cubicBezTo>
                          <a:pt x="22" y="123"/>
                          <a:pt x="20" y="125"/>
                          <a:pt x="16" y="128"/>
                        </a:cubicBezTo>
                        <a:cubicBezTo>
                          <a:pt x="13" y="131"/>
                          <a:pt x="9" y="134"/>
                          <a:pt x="5" y="136"/>
                        </a:cubicBezTo>
                        <a:cubicBezTo>
                          <a:pt x="1" y="138"/>
                          <a:pt x="0" y="142"/>
                          <a:pt x="0" y="144"/>
                        </a:cubicBezTo>
                        <a:cubicBezTo>
                          <a:pt x="0" y="147"/>
                          <a:pt x="2" y="152"/>
                          <a:pt x="7" y="152"/>
                        </a:cubicBezTo>
                        <a:cubicBezTo>
                          <a:pt x="13" y="152"/>
                          <a:pt x="29" y="151"/>
                          <a:pt x="36" y="150"/>
                        </a:cubicBezTo>
                        <a:cubicBezTo>
                          <a:pt x="44" y="148"/>
                          <a:pt x="65" y="147"/>
                          <a:pt x="68" y="143"/>
                        </a:cubicBezTo>
                        <a:cubicBezTo>
                          <a:pt x="70" y="140"/>
                          <a:pt x="72" y="138"/>
                          <a:pt x="75" y="136"/>
                        </a:cubicBezTo>
                        <a:cubicBezTo>
                          <a:pt x="77" y="134"/>
                          <a:pt x="79" y="131"/>
                          <a:pt x="80" y="126"/>
                        </a:cubicBezTo>
                        <a:cubicBezTo>
                          <a:pt x="81" y="121"/>
                          <a:pt x="81" y="118"/>
                          <a:pt x="80" y="115"/>
                        </a:cubicBezTo>
                        <a:cubicBezTo>
                          <a:pt x="79" y="109"/>
                          <a:pt x="79" y="108"/>
                          <a:pt x="78" y="104"/>
                        </a:cubicBezTo>
                        <a:cubicBezTo>
                          <a:pt x="76" y="99"/>
                          <a:pt x="75" y="99"/>
                          <a:pt x="74" y="97"/>
                        </a:cubicBezTo>
                        <a:cubicBezTo>
                          <a:pt x="72" y="96"/>
                          <a:pt x="69" y="95"/>
                          <a:pt x="69" y="95"/>
                        </a:cubicBezTo>
                        <a:cubicBezTo>
                          <a:pt x="69" y="95"/>
                          <a:pt x="68" y="82"/>
                          <a:pt x="68" y="67"/>
                        </a:cubicBezTo>
                        <a:cubicBezTo>
                          <a:pt x="68" y="52"/>
                          <a:pt x="50" y="24"/>
                          <a:pt x="50" y="12"/>
                        </a:cubicBezTo>
                        <a:cubicBezTo>
                          <a:pt x="49" y="7"/>
                          <a:pt x="49" y="4"/>
                          <a:pt x="49" y="2"/>
                        </a:cubicBezTo>
                        <a:cubicBezTo>
                          <a:pt x="35" y="0"/>
                          <a:pt x="19" y="1"/>
                          <a:pt x="5" y="3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9" name="Freeform 87"/>
                  <p:cNvSpPr>
                    <a:spLocks/>
                  </p:cNvSpPr>
                  <p:nvPr/>
                </p:nvSpPr>
                <p:spPr bwMode="auto">
                  <a:xfrm>
                    <a:off x="3321050" y="4106863"/>
                    <a:ext cx="63500" cy="176213"/>
                  </a:xfrm>
                  <a:custGeom>
                    <a:avLst/>
                    <a:gdLst>
                      <a:gd name="T0" fmla="*/ 161 w 163"/>
                      <a:gd name="T1" fmla="*/ 82 h 445"/>
                      <a:gd name="T2" fmla="*/ 142 w 163"/>
                      <a:gd name="T3" fmla="*/ 71 h 445"/>
                      <a:gd name="T4" fmla="*/ 125 w 163"/>
                      <a:gd name="T5" fmla="*/ 62 h 445"/>
                      <a:gd name="T6" fmla="*/ 120 w 163"/>
                      <a:gd name="T7" fmla="*/ 60 h 445"/>
                      <a:gd name="T8" fmla="*/ 116 w 163"/>
                      <a:gd name="T9" fmla="*/ 58 h 445"/>
                      <a:gd name="T10" fmla="*/ 113 w 163"/>
                      <a:gd name="T11" fmla="*/ 53 h 445"/>
                      <a:gd name="T12" fmla="*/ 117 w 163"/>
                      <a:gd name="T13" fmla="*/ 47 h 445"/>
                      <a:gd name="T14" fmla="*/ 121 w 163"/>
                      <a:gd name="T15" fmla="*/ 36 h 445"/>
                      <a:gd name="T16" fmla="*/ 123 w 163"/>
                      <a:gd name="T17" fmla="*/ 30 h 445"/>
                      <a:gd name="T18" fmla="*/ 127 w 163"/>
                      <a:gd name="T19" fmla="*/ 28 h 445"/>
                      <a:gd name="T20" fmla="*/ 129 w 163"/>
                      <a:gd name="T21" fmla="*/ 20 h 445"/>
                      <a:gd name="T22" fmla="*/ 131 w 163"/>
                      <a:gd name="T23" fmla="*/ 9 h 445"/>
                      <a:gd name="T24" fmla="*/ 58 w 163"/>
                      <a:gd name="T25" fmla="*/ 1 h 445"/>
                      <a:gd name="T26" fmla="*/ 40 w 163"/>
                      <a:gd name="T27" fmla="*/ 6 h 445"/>
                      <a:gd name="T28" fmla="*/ 42 w 163"/>
                      <a:gd name="T29" fmla="*/ 14 h 445"/>
                      <a:gd name="T30" fmla="*/ 47 w 163"/>
                      <a:gd name="T31" fmla="*/ 25 h 445"/>
                      <a:gd name="T32" fmla="*/ 54 w 163"/>
                      <a:gd name="T33" fmla="*/ 38 h 445"/>
                      <a:gd name="T34" fmla="*/ 57 w 163"/>
                      <a:gd name="T35" fmla="*/ 43 h 445"/>
                      <a:gd name="T36" fmla="*/ 57 w 163"/>
                      <a:gd name="T37" fmla="*/ 49 h 445"/>
                      <a:gd name="T38" fmla="*/ 53 w 163"/>
                      <a:gd name="T39" fmla="*/ 53 h 445"/>
                      <a:gd name="T40" fmla="*/ 42 w 163"/>
                      <a:gd name="T41" fmla="*/ 56 h 445"/>
                      <a:gd name="T42" fmla="*/ 30 w 163"/>
                      <a:gd name="T43" fmla="*/ 62 h 445"/>
                      <a:gd name="T44" fmla="*/ 19 w 163"/>
                      <a:gd name="T45" fmla="*/ 66 h 445"/>
                      <a:gd name="T46" fmla="*/ 0 w 163"/>
                      <a:gd name="T47" fmla="*/ 79 h 445"/>
                      <a:gd name="T48" fmla="*/ 4 w 163"/>
                      <a:gd name="T49" fmla="*/ 98 h 445"/>
                      <a:gd name="T50" fmla="*/ 9 w 163"/>
                      <a:gd name="T51" fmla="*/ 166 h 445"/>
                      <a:gd name="T52" fmla="*/ 6 w 163"/>
                      <a:gd name="T53" fmla="*/ 247 h 445"/>
                      <a:gd name="T54" fmla="*/ 2 w 163"/>
                      <a:gd name="T55" fmla="*/ 283 h 445"/>
                      <a:gd name="T56" fmla="*/ 4 w 163"/>
                      <a:gd name="T57" fmla="*/ 289 h 445"/>
                      <a:gd name="T58" fmla="*/ 7 w 163"/>
                      <a:gd name="T59" fmla="*/ 321 h 445"/>
                      <a:gd name="T60" fmla="*/ 9 w 163"/>
                      <a:gd name="T61" fmla="*/ 353 h 445"/>
                      <a:gd name="T62" fmla="*/ 9 w 163"/>
                      <a:gd name="T63" fmla="*/ 378 h 445"/>
                      <a:gd name="T64" fmla="*/ 12 w 163"/>
                      <a:gd name="T65" fmla="*/ 405 h 445"/>
                      <a:gd name="T66" fmla="*/ 18 w 163"/>
                      <a:gd name="T67" fmla="*/ 426 h 445"/>
                      <a:gd name="T68" fmla="*/ 26 w 163"/>
                      <a:gd name="T69" fmla="*/ 442 h 445"/>
                      <a:gd name="T70" fmla="*/ 31 w 163"/>
                      <a:gd name="T71" fmla="*/ 444 h 445"/>
                      <a:gd name="T72" fmla="*/ 55 w 163"/>
                      <a:gd name="T73" fmla="*/ 443 h 445"/>
                      <a:gd name="T74" fmla="*/ 74 w 163"/>
                      <a:gd name="T75" fmla="*/ 436 h 445"/>
                      <a:gd name="T76" fmla="*/ 92 w 163"/>
                      <a:gd name="T77" fmla="*/ 443 h 445"/>
                      <a:gd name="T78" fmla="*/ 113 w 163"/>
                      <a:gd name="T79" fmla="*/ 442 h 445"/>
                      <a:gd name="T80" fmla="*/ 119 w 163"/>
                      <a:gd name="T81" fmla="*/ 437 h 445"/>
                      <a:gd name="T82" fmla="*/ 119 w 163"/>
                      <a:gd name="T83" fmla="*/ 408 h 445"/>
                      <a:gd name="T84" fmla="*/ 126 w 163"/>
                      <a:gd name="T85" fmla="*/ 343 h 445"/>
                      <a:gd name="T86" fmla="*/ 132 w 163"/>
                      <a:gd name="T87" fmla="*/ 310 h 445"/>
                      <a:gd name="T88" fmla="*/ 134 w 163"/>
                      <a:gd name="T89" fmla="*/ 295 h 445"/>
                      <a:gd name="T90" fmla="*/ 136 w 163"/>
                      <a:gd name="T91" fmla="*/ 293 h 445"/>
                      <a:gd name="T92" fmla="*/ 140 w 163"/>
                      <a:gd name="T93" fmla="*/ 261 h 445"/>
                      <a:gd name="T94" fmla="*/ 143 w 163"/>
                      <a:gd name="T95" fmla="*/ 202 h 445"/>
                      <a:gd name="T96" fmla="*/ 144 w 163"/>
                      <a:gd name="T97" fmla="*/ 138 h 445"/>
                      <a:gd name="T98" fmla="*/ 155 w 163"/>
                      <a:gd name="T99" fmla="*/ 100 h 445"/>
                      <a:gd name="T100" fmla="*/ 161 w 163"/>
                      <a:gd name="T101" fmla="*/ 86 h 445"/>
                      <a:gd name="T102" fmla="*/ 161 w 163"/>
                      <a:gd name="T103" fmla="*/ 82 h 4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163" h="445">
                        <a:moveTo>
                          <a:pt x="161" y="82"/>
                        </a:moveTo>
                        <a:cubicBezTo>
                          <a:pt x="160" y="82"/>
                          <a:pt x="150" y="76"/>
                          <a:pt x="142" y="71"/>
                        </a:cubicBezTo>
                        <a:cubicBezTo>
                          <a:pt x="134" y="67"/>
                          <a:pt x="128" y="64"/>
                          <a:pt x="125" y="62"/>
                        </a:cubicBezTo>
                        <a:cubicBezTo>
                          <a:pt x="122" y="60"/>
                          <a:pt x="120" y="60"/>
                          <a:pt x="120" y="60"/>
                        </a:cubicBezTo>
                        <a:cubicBezTo>
                          <a:pt x="120" y="60"/>
                          <a:pt x="118" y="60"/>
                          <a:pt x="116" y="58"/>
                        </a:cubicBezTo>
                        <a:cubicBezTo>
                          <a:pt x="114" y="56"/>
                          <a:pt x="113" y="53"/>
                          <a:pt x="113" y="53"/>
                        </a:cubicBezTo>
                        <a:cubicBezTo>
                          <a:pt x="113" y="53"/>
                          <a:pt x="116" y="50"/>
                          <a:pt x="117" y="47"/>
                        </a:cubicBezTo>
                        <a:cubicBezTo>
                          <a:pt x="119" y="43"/>
                          <a:pt x="120" y="40"/>
                          <a:pt x="121" y="36"/>
                        </a:cubicBezTo>
                        <a:cubicBezTo>
                          <a:pt x="122" y="32"/>
                          <a:pt x="123" y="30"/>
                          <a:pt x="123" y="30"/>
                        </a:cubicBezTo>
                        <a:cubicBezTo>
                          <a:pt x="123" y="30"/>
                          <a:pt x="125" y="30"/>
                          <a:pt x="127" y="28"/>
                        </a:cubicBezTo>
                        <a:cubicBezTo>
                          <a:pt x="128" y="26"/>
                          <a:pt x="128" y="24"/>
                          <a:pt x="129" y="20"/>
                        </a:cubicBezTo>
                        <a:cubicBezTo>
                          <a:pt x="131" y="17"/>
                          <a:pt x="131" y="12"/>
                          <a:pt x="131" y="9"/>
                        </a:cubicBezTo>
                        <a:cubicBezTo>
                          <a:pt x="131" y="6"/>
                          <a:pt x="72" y="0"/>
                          <a:pt x="58" y="1"/>
                        </a:cubicBezTo>
                        <a:cubicBezTo>
                          <a:pt x="44" y="2"/>
                          <a:pt x="41" y="4"/>
                          <a:pt x="40" y="6"/>
                        </a:cubicBezTo>
                        <a:cubicBezTo>
                          <a:pt x="39" y="7"/>
                          <a:pt x="40" y="11"/>
                          <a:pt x="42" y="14"/>
                        </a:cubicBezTo>
                        <a:cubicBezTo>
                          <a:pt x="43" y="17"/>
                          <a:pt x="45" y="22"/>
                          <a:pt x="47" y="25"/>
                        </a:cubicBezTo>
                        <a:cubicBezTo>
                          <a:pt x="48" y="28"/>
                          <a:pt x="51" y="33"/>
                          <a:pt x="54" y="38"/>
                        </a:cubicBezTo>
                        <a:cubicBezTo>
                          <a:pt x="55" y="41"/>
                          <a:pt x="57" y="43"/>
                          <a:pt x="57" y="43"/>
                        </a:cubicBezTo>
                        <a:cubicBezTo>
                          <a:pt x="57" y="43"/>
                          <a:pt x="58" y="47"/>
                          <a:pt x="57" y="49"/>
                        </a:cubicBezTo>
                        <a:cubicBezTo>
                          <a:pt x="56" y="51"/>
                          <a:pt x="53" y="53"/>
                          <a:pt x="53" y="53"/>
                        </a:cubicBezTo>
                        <a:cubicBezTo>
                          <a:pt x="53" y="53"/>
                          <a:pt x="47" y="54"/>
                          <a:pt x="42" y="56"/>
                        </a:cubicBezTo>
                        <a:cubicBezTo>
                          <a:pt x="37" y="58"/>
                          <a:pt x="38" y="60"/>
                          <a:pt x="30" y="62"/>
                        </a:cubicBezTo>
                        <a:cubicBezTo>
                          <a:pt x="22" y="65"/>
                          <a:pt x="19" y="66"/>
                          <a:pt x="19" y="66"/>
                        </a:cubicBezTo>
                        <a:cubicBezTo>
                          <a:pt x="11" y="69"/>
                          <a:pt x="0" y="76"/>
                          <a:pt x="0" y="79"/>
                        </a:cubicBezTo>
                        <a:cubicBezTo>
                          <a:pt x="0" y="82"/>
                          <a:pt x="3" y="87"/>
                          <a:pt x="4" y="98"/>
                        </a:cubicBezTo>
                        <a:cubicBezTo>
                          <a:pt x="5" y="109"/>
                          <a:pt x="8" y="135"/>
                          <a:pt x="9" y="166"/>
                        </a:cubicBezTo>
                        <a:cubicBezTo>
                          <a:pt x="10" y="196"/>
                          <a:pt x="7" y="225"/>
                          <a:pt x="6" y="247"/>
                        </a:cubicBezTo>
                        <a:cubicBezTo>
                          <a:pt x="4" y="269"/>
                          <a:pt x="2" y="277"/>
                          <a:pt x="2" y="283"/>
                        </a:cubicBezTo>
                        <a:cubicBezTo>
                          <a:pt x="2" y="288"/>
                          <a:pt x="4" y="289"/>
                          <a:pt x="4" y="289"/>
                        </a:cubicBezTo>
                        <a:cubicBezTo>
                          <a:pt x="4" y="289"/>
                          <a:pt x="7" y="303"/>
                          <a:pt x="7" y="321"/>
                        </a:cubicBezTo>
                        <a:cubicBezTo>
                          <a:pt x="8" y="339"/>
                          <a:pt x="9" y="349"/>
                          <a:pt x="9" y="353"/>
                        </a:cubicBezTo>
                        <a:cubicBezTo>
                          <a:pt x="9" y="357"/>
                          <a:pt x="8" y="364"/>
                          <a:pt x="9" y="378"/>
                        </a:cubicBezTo>
                        <a:cubicBezTo>
                          <a:pt x="11" y="391"/>
                          <a:pt x="11" y="399"/>
                          <a:pt x="12" y="405"/>
                        </a:cubicBezTo>
                        <a:cubicBezTo>
                          <a:pt x="12" y="412"/>
                          <a:pt x="15" y="417"/>
                          <a:pt x="18" y="426"/>
                        </a:cubicBezTo>
                        <a:cubicBezTo>
                          <a:pt x="21" y="436"/>
                          <a:pt x="24" y="440"/>
                          <a:pt x="26" y="442"/>
                        </a:cubicBezTo>
                        <a:cubicBezTo>
                          <a:pt x="29" y="443"/>
                          <a:pt x="31" y="444"/>
                          <a:pt x="31" y="444"/>
                        </a:cubicBezTo>
                        <a:cubicBezTo>
                          <a:pt x="31" y="444"/>
                          <a:pt x="37" y="445"/>
                          <a:pt x="55" y="443"/>
                        </a:cubicBezTo>
                        <a:cubicBezTo>
                          <a:pt x="73" y="440"/>
                          <a:pt x="74" y="436"/>
                          <a:pt x="74" y="436"/>
                        </a:cubicBezTo>
                        <a:cubicBezTo>
                          <a:pt x="74" y="436"/>
                          <a:pt x="85" y="441"/>
                          <a:pt x="92" y="443"/>
                        </a:cubicBezTo>
                        <a:cubicBezTo>
                          <a:pt x="99" y="444"/>
                          <a:pt x="110" y="444"/>
                          <a:pt x="113" y="442"/>
                        </a:cubicBezTo>
                        <a:cubicBezTo>
                          <a:pt x="116" y="441"/>
                          <a:pt x="119" y="439"/>
                          <a:pt x="119" y="437"/>
                        </a:cubicBezTo>
                        <a:cubicBezTo>
                          <a:pt x="119" y="436"/>
                          <a:pt x="118" y="420"/>
                          <a:pt x="119" y="408"/>
                        </a:cubicBezTo>
                        <a:cubicBezTo>
                          <a:pt x="119" y="397"/>
                          <a:pt x="123" y="359"/>
                          <a:pt x="126" y="343"/>
                        </a:cubicBezTo>
                        <a:cubicBezTo>
                          <a:pt x="129" y="327"/>
                          <a:pt x="131" y="317"/>
                          <a:pt x="132" y="310"/>
                        </a:cubicBezTo>
                        <a:cubicBezTo>
                          <a:pt x="134" y="304"/>
                          <a:pt x="134" y="295"/>
                          <a:pt x="134" y="295"/>
                        </a:cubicBezTo>
                        <a:cubicBezTo>
                          <a:pt x="134" y="295"/>
                          <a:pt x="136" y="295"/>
                          <a:pt x="136" y="293"/>
                        </a:cubicBezTo>
                        <a:cubicBezTo>
                          <a:pt x="137" y="291"/>
                          <a:pt x="139" y="276"/>
                          <a:pt x="140" y="261"/>
                        </a:cubicBezTo>
                        <a:cubicBezTo>
                          <a:pt x="142" y="247"/>
                          <a:pt x="143" y="218"/>
                          <a:pt x="143" y="202"/>
                        </a:cubicBezTo>
                        <a:cubicBezTo>
                          <a:pt x="143" y="185"/>
                          <a:pt x="143" y="152"/>
                          <a:pt x="144" y="138"/>
                        </a:cubicBezTo>
                        <a:cubicBezTo>
                          <a:pt x="145" y="124"/>
                          <a:pt x="151" y="110"/>
                          <a:pt x="155" y="100"/>
                        </a:cubicBezTo>
                        <a:cubicBezTo>
                          <a:pt x="158" y="91"/>
                          <a:pt x="160" y="88"/>
                          <a:pt x="161" y="86"/>
                        </a:cubicBezTo>
                        <a:cubicBezTo>
                          <a:pt x="163" y="84"/>
                          <a:pt x="162" y="83"/>
                          <a:pt x="161" y="8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0" name="Freeform 88"/>
                  <p:cNvSpPr>
                    <a:spLocks/>
                  </p:cNvSpPr>
                  <p:nvPr/>
                </p:nvSpPr>
                <p:spPr bwMode="auto">
                  <a:xfrm>
                    <a:off x="3335338" y="4081463"/>
                    <a:ext cx="39688" cy="34925"/>
                  </a:xfrm>
                  <a:custGeom>
                    <a:avLst/>
                    <a:gdLst>
                      <a:gd name="T0" fmla="*/ 51 w 104"/>
                      <a:gd name="T1" fmla="*/ 91 h 92"/>
                      <a:gd name="T2" fmla="*/ 88 w 104"/>
                      <a:gd name="T3" fmla="*/ 85 h 92"/>
                      <a:gd name="T4" fmla="*/ 101 w 104"/>
                      <a:gd name="T5" fmla="*/ 74 h 92"/>
                      <a:gd name="T6" fmla="*/ 103 w 104"/>
                      <a:gd name="T7" fmla="*/ 48 h 92"/>
                      <a:gd name="T8" fmla="*/ 97 w 104"/>
                      <a:gd name="T9" fmla="*/ 18 h 92"/>
                      <a:gd name="T10" fmla="*/ 53 w 104"/>
                      <a:gd name="T11" fmla="*/ 0 h 92"/>
                      <a:gd name="T12" fmla="*/ 11 w 104"/>
                      <a:gd name="T13" fmla="*/ 22 h 92"/>
                      <a:gd name="T14" fmla="*/ 1 w 104"/>
                      <a:gd name="T15" fmla="*/ 58 h 92"/>
                      <a:gd name="T16" fmla="*/ 3 w 104"/>
                      <a:gd name="T17" fmla="*/ 71 h 92"/>
                      <a:gd name="T18" fmla="*/ 17 w 104"/>
                      <a:gd name="T19" fmla="*/ 82 h 92"/>
                      <a:gd name="T20" fmla="*/ 51 w 104"/>
                      <a:gd name="T21" fmla="*/ 91 h 9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04" h="92">
                        <a:moveTo>
                          <a:pt x="51" y="91"/>
                        </a:moveTo>
                        <a:cubicBezTo>
                          <a:pt x="73" y="92"/>
                          <a:pt x="78" y="91"/>
                          <a:pt x="88" y="85"/>
                        </a:cubicBezTo>
                        <a:cubicBezTo>
                          <a:pt x="98" y="80"/>
                          <a:pt x="101" y="76"/>
                          <a:pt x="101" y="74"/>
                        </a:cubicBezTo>
                        <a:cubicBezTo>
                          <a:pt x="101" y="71"/>
                          <a:pt x="103" y="61"/>
                          <a:pt x="103" y="48"/>
                        </a:cubicBezTo>
                        <a:cubicBezTo>
                          <a:pt x="104" y="35"/>
                          <a:pt x="101" y="25"/>
                          <a:pt x="97" y="18"/>
                        </a:cubicBezTo>
                        <a:cubicBezTo>
                          <a:pt x="92" y="11"/>
                          <a:pt x="71" y="1"/>
                          <a:pt x="53" y="0"/>
                        </a:cubicBezTo>
                        <a:cubicBezTo>
                          <a:pt x="34" y="0"/>
                          <a:pt x="18" y="9"/>
                          <a:pt x="11" y="22"/>
                        </a:cubicBezTo>
                        <a:cubicBezTo>
                          <a:pt x="1" y="39"/>
                          <a:pt x="2" y="52"/>
                          <a:pt x="1" y="58"/>
                        </a:cubicBezTo>
                        <a:cubicBezTo>
                          <a:pt x="0" y="65"/>
                          <a:pt x="0" y="68"/>
                          <a:pt x="3" y="71"/>
                        </a:cubicBezTo>
                        <a:cubicBezTo>
                          <a:pt x="6" y="75"/>
                          <a:pt x="8" y="76"/>
                          <a:pt x="17" y="82"/>
                        </a:cubicBezTo>
                        <a:cubicBezTo>
                          <a:pt x="25" y="88"/>
                          <a:pt x="35" y="90"/>
                          <a:pt x="51" y="9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1" name="Freeform 89"/>
                  <p:cNvSpPr>
                    <a:spLocks/>
                  </p:cNvSpPr>
                  <p:nvPr/>
                </p:nvSpPr>
                <p:spPr bwMode="auto">
                  <a:xfrm>
                    <a:off x="3370263" y="4102100"/>
                    <a:ext cx="12700" cy="9525"/>
                  </a:xfrm>
                  <a:custGeom>
                    <a:avLst/>
                    <a:gdLst>
                      <a:gd name="T0" fmla="*/ 0 w 29"/>
                      <a:gd name="T1" fmla="*/ 26 h 26"/>
                      <a:gd name="T2" fmla="*/ 24 w 29"/>
                      <a:gd name="T3" fmla="*/ 18 h 26"/>
                      <a:gd name="T4" fmla="*/ 14 w 29"/>
                      <a:gd name="T5" fmla="*/ 4 h 26"/>
                      <a:gd name="T6" fmla="*/ 7 w 29"/>
                      <a:gd name="T7" fmla="*/ 0 h 26"/>
                      <a:gd name="T8" fmla="*/ 0 w 29"/>
                      <a:gd name="T9" fmla="*/ 26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9" h="26">
                        <a:moveTo>
                          <a:pt x="0" y="26"/>
                        </a:moveTo>
                        <a:cubicBezTo>
                          <a:pt x="0" y="26"/>
                          <a:pt x="20" y="23"/>
                          <a:pt x="24" y="18"/>
                        </a:cubicBezTo>
                        <a:cubicBezTo>
                          <a:pt x="29" y="14"/>
                          <a:pt x="17" y="6"/>
                          <a:pt x="14" y="4"/>
                        </a:cubicBezTo>
                        <a:cubicBezTo>
                          <a:pt x="12" y="3"/>
                          <a:pt x="7" y="0"/>
                          <a:pt x="7" y="0"/>
                        </a:cubicBezTo>
                        <a:cubicBezTo>
                          <a:pt x="6" y="0"/>
                          <a:pt x="0" y="26"/>
                          <a:pt x="0" y="2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2" name="Freeform 90"/>
                  <p:cNvSpPr>
                    <a:spLocks/>
                  </p:cNvSpPr>
                  <p:nvPr/>
                </p:nvSpPr>
                <p:spPr bwMode="auto">
                  <a:xfrm>
                    <a:off x="3348038" y="4278313"/>
                    <a:ext cx="15875" cy="38100"/>
                  </a:xfrm>
                  <a:custGeom>
                    <a:avLst/>
                    <a:gdLst>
                      <a:gd name="T0" fmla="*/ 21 w 40"/>
                      <a:gd name="T1" fmla="*/ 97 h 97"/>
                      <a:gd name="T2" fmla="*/ 33 w 40"/>
                      <a:gd name="T3" fmla="*/ 63 h 97"/>
                      <a:gd name="T4" fmla="*/ 30 w 40"/>
                      <a:gd name="T5" fmla="*/ 4 h 97"/>
                      <a:gd name="T6" fmla="*/ 0 w 40"/>
                      <a:gd name="T7" fmla="*/ 0 h 97"/>
                      <a:gd name="T8" fmla="*/ 21 w 40"/>
                      <a:gd name="T9" fmla="*/ 97 h 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0" h="97">
                        <a:moveTo>
                          <a:pt x="21" y="97"/>
                        </a:moveTo>
                        <a:cubicBezTo>
                          <a:pt x="21" y="97"/>
                          <a:pt x="27" y="86"/>
                          <a:pt x="33" y="63"/>
                        </a:cubicBezTo>
                        <a:cubicBezTo>
                          <a:pt x="40" y="39"/>
                          <a:pt x="30" y="4"/>
                          <a:pt x="30" y="4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0"/>
                          <a:pt x="9" y="40"/>
                          <a:pt x="21" y="9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3" name="Freeform 91"/>
                  <p:cNvSpPr>
                    <a:spLocks/>
                  </p:cNvSpPr>
                  <p:nvPr/>
                </p:nvSpPr>
                <p:spPr bwMode="auto">
                  <a:xfrm>
                    <a:off x="3635375" y="4103688"/>
                    <a:ext cx="33338" cy="107950"/>
                  </a:xfrm>
                  <a:custGeom>
                    <a:avLst/>
                    <a:gdLst>
                      <a:gd name="T0" fmla="*/ 0 w 83"/>
                      <a:gd name="T1" fmla="*/ 58 h 275"/>
                      <a:gd name="T2" fmla="*/ 7 w 83"/>
                      <a:gd name="T3" fmla="*/ 95 h 275"/>
                      <a:gd name="T4" fmla="*/ 22 w 83"/>
                      <a:gd name="T5" fmla="*/ 142 h 275"/>
                      <a:gd name="T6" fmla="*/ 44 w 83"/>
                      <a:gd name="T7" fmla="*/ 196 h 275"/>
                      <a:gd name="T8" fmla="*/ 51 w 83"/>
                      <a:gd name="T9" fmla="*/ 215 h 275"/>
                      <a:gd name="T10" fmla="*/ 52 w 83"/>
                      <a:gd name="T11" fmla="*/ 222 h 275"/>
                      <a:gd name="T12" fmla="*/ 53 w 83"/>
                      <a:gd name="T13" fmla="*/ 229 h 275"/>
                      <a:gd name="T14" fmla="*/ 55 w 83"/>
                      <a:gd name="T15" fmla="*/ 237 h 275"/>
                      <a:gd name="T16" fmla="*/ 59 w 83"/>
                      <a:gd name="T17" fmla="*/ 250 h 275"/>
                      <a:gd name="T18" fmla="*/ 61 w 83"/>
                      <a:gd name="T19" fmla="*/ 257 h 275"/>
                      <a:gd name="T20" fmla="*/ 59 w 83"/>
                      <a:gd name="T21" fmla="*/ 261 h 275"/>
                      <a:gd name="T22" fmla="*/ 57 w 83"/>
                      <a:gd name="T23" fmla="*/ 265 h 275"/>
                      <a:gd name="T24" fmla="*/ 56 w 83"/>
                      <a:gd name="T25" fmla="*/ 269 h 275"/>
                      <a:gd name="T26" fmla="*/ 58 w 83"/>
                      <a:gd name="T27" fmla="*/ 270 h 275"/>
                      <a:gd name="T28" fmla="*/ 57 w 83"/>
                      <a:gd name="T29" fmla="*/ 272 h 275"/>
                      <a:gd name="T30" fmla="*/ 60 w 83"/>
                      <a:gd name="T31" fmla="*/ 275 h 275"/>
                      <a:gd name="T32" fmla="*/ 69 w 83"/>
                      <a:gd name="T33" fmla="*/ 270 h 275"/>
                      <a:gd name="T34" fmla="*/ 75 w 83"/>
                      <a:gd name="T35" fmla="*/ 264 h 275"/>
                      <a:gd name="T36" fmla="*/ 75 w 83"/>
                      <a:gd name="T37" fmla="*/ 262 h 275"/>
                      <a:gd name="T38" fmla="*/ 79 w 83"/>
                      <a:gd name="T39" fmla="*/ 260 h 275"/>
                      <a:gd name="T40" fmla="*/ 80 w 83"/>
                      <a:gd name="T41" fmla="*/ 252 h 275"/>
                      <a:gd name="T42" fmla="*/ 80 w 83"/>
                      <a:gd name="T43" fmla="*/ 248 h 275"/>
                      <a:gd name="T44" fmla="*/ 81 w 83"/>
                      <a:gd name="T45" fmla="*/ 246 h 275"/>
                      <a:gd name="T46" fmla="*/ 82 w 83"/>
                      <a:gd name="T47" fmla="*/ 235 h 275"/>
                      <a:gd name="T48" fmla="*/ 80 w 83"/>
                      <a:gd name="T49" fmla="*/ 219 h 275"/>
                      <a:gd name="T50" fmla="*/ 79 w 83"/>
                      <a:gd name="T51" fmla="*/ 212 h 275"/>
                      <a:gd name="T52" fmla="*/ 77 w 83"/>
                      <a:gd name="T53" fmla="*/ 198 h 275"/>
                      <a:gd name="T54" fmla="*/ 69 w 83"/>
                      <a:gd name="T55" fmla="*/ 159 h 275"/>
                      <a:gd name="T56" fmla="*/ 50 w 83"/>
                      <a:gd name="T57" fmla="*/ 110 h 275"/>
                      <a:gd name="T58" fmla="*/ 37 w 83"/>
                      <a:gd name="T59" fmla="*/ 60 h 275"/>
                      <a:gd name="T60" fmla="*/ 25 w 83"/>
                      <a:gd name="T61" fmla="*/ 18 h 275"/>
                      <a:gd name="T62" fmla="*/ 10 w 83"/>
                      <a:gd name="T63" fmla="*/ 0 h 275"/>
                      <a:gd name="T64" fmla="*/ 0 w 83"/>
                      <a:gd name="T65" fmla="*/ 58 h 2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83" h="275">
                        <a:moveTo>
                          <a:pt x="0" y="58"/>
                        </a:moveTo>
                        <a:cubicBezTo>
                          <a:pt x="0" y="58"/>
                          <a:pt x="3" y="77"/>
                          <a:pt x="7" y="95"/>
                        </a:cubicBezTo>
                        <a:cubicBezTo>
                          <a:pt x="12" y="113"/>
                          <a:pt x="16" y="130"/>
                          <a:pt x="22" y="142"/>
                        </a:cubicBezTo>
                        <a:cubicBezTo>
                          <a:pt x="27" y="154"/>
                          <a:pt x="39" y="181"/>
                          <a:pt x="44" y="196"/>
                        </a:cubicBezTo>
                        <a:cubicBezTo>
                          <a:pt x="47" y="205"/>
                          <a:pt x="51" y="212"/>
                          <a:pt x="51" y="215"/>
                        </a:cubicBezTo>
                        <a:cubicBezTo>
                          <a:pt x="52" y="217"/>
                          <a:pt x="52" y="220"/>
                          <a:pt x="52" y="222"/>
                        </a:cubicBezTo>
                        <a:cubicBezTo>
                          <a:pt x="52" y="223"/>
                          <a:pt x="52" y="225"/>
                          <a:pt x="53" y="229"/>
                        </a:cubicBezTo>
                        <a:cubicBezTo>
                          <a:pt x="54" y="232"/>
                          <a:pt x="55" y="234"/>
                          <a:pt x="55" y="237"/>
                        </a:cubicBezTo>
                        <a:cubicBezTo>
                          <a:pt x="56" y="240"/>
                          <a:pt x="58" y="247"/>
                          <a:pt x="59" y="250"/>
                        </a:cubicBezTo>
                        <a:cubicBezTo>
                          <a:pt x="60" y="253"/>
                          <a:pt x="61" y="255"/>
                          <a:pt x="61" y="257"/>
                        </a:cubicBezTo>
                        <a:cubicBezTo>
                          <a:pt x="60" y="258"/>
                          <a:pt x="60" y="259"/>
                          <a:pt x="59" y="261"/>
                        </a:cubicBezTo>
                        <a:cubicBezTo>
                          <a:pt x="58" y="264"/>
                          <a:pt x="58" y="264"/>
                          <a:pt x="57" y="265"/>
                        </a:cubicBezTo>
                        <a:cubicBezTo>
                          <a:pt x="56" y="267"/>
                          <a:pt x="56" y="268"/>
                          <a:pt x="56" y="269"/>
                        </a:cubicBezTo>
                        <a:cubicBezTo>
                          <a:pt x="57" y="270"/>
                          <a:pt x="58" y="270"/>
                          <a:pt x="58" y="270"/>
                        </a:cubicBezTo>
                        <a:cubicBezTo>
                          <a:pt x="58" y="270"/>
                          <a:pt x="57" y="271"/>
                          <a:pt x="57" y="272"/>
                        </a:cubicBezTo>
                        <a:cubicBezTo>
                          <a:pt x="57" y="273"/>
                          <a:pt x="58" y="275"/>
                          <a:pt x="60" y="275"/>
                        </a:cubicBezTo>
                        <a:cubicBezTo>
                          <a:pt x="63" y="274"/>
                          <a:pt x="65" y="274"/>
                          <a:pt x="69" y="270"/>
                        </a:cubicBezTo>
                        <a:cubicBezTo>
                          <a:pt x="74" y="266"/>
                          <a:pt x="75" y="265"/>
                          <a:pt x="75" y="264"/>
                        </a:cubicBezTo>
                        <a:cubicBezTo>
                          <a:pt x="75" y="264"/>
                          <a:pt x="75" y="262"/>
                          <a:pt x="75" y="262"/>
                        </a:cubicBezTo>
                        <a:cubicBezTo>
                          <a:pt x="75" y="262"/>
                          <a:pt x="78" y="262"/>
                          <a:pt x="79" y="260"/>
                        </a:cubicBezTo>
                        <a:cubicBezTo>
                          <a:pt x="80" y="258"/>
                          <a:pt x="80" y="255"/>
                          <a:pt x="80" y="252"/>
                        </a:cubicBezTo>
                        <a:cubicBezTo>
                          <a:pt x="80" y="250"/>
                          <a:pt x="80" y="248"/>
                          <a:pt x="80" y="248"/>
                        </a:cubicBezTo>
                        <a:cubicBezTo>
                          <a:pt x="80" y="248"/>
                          <a:pt x="80" y="248"/>
                          <a:pt x="81" y="246"/>
                        </a:cubicBezTo>
                        <a:cubicBezTo>
                          <a:pt x="82" y="244"/>
                          <a:pt x="83" y="241"/>
                          <a:pt x="82" y="235"/>
                        </a:cubicBezTo>
                        <a:cubicBezTo>
                          <a:pt x="81" y="229"/>
                          <a:pt x="81" y="221"/>
                          <a:pt x="80" y="219"/>
                        </a:cubicBezTo>
                        <a:cubicBezTo>
                          <a:pt x="80" y="216"/>
                          <a:pt x="79" y="214"/>
                          <a:pt x="79" y="212"/>
                        </a:cubicBezTo>
                        <a:cubicBezTo>
                          <a:pt x="78" y="209"/>
                          <a:pt x="78" y="202"/>
                          <a:pt x="77" y="198"/>
                        </a:cubicBezTo>
                        <a:cubicBezTo>
                          <a:pt x="76" y="191"/>
                          <a:pt x="72" y="171"/>
                          <a:pt x="69" y="159"/>
                        </a:cubicBezTo>
                        <a:cubicBezTo>
                          <a:pt x="65" y="146"/>
                          <a:pt x="53" y="121"/>
                          <a:pt x="50" y="110"/>
                        </a:cubicBezTo>
                        <a:cubicBezTo>
                          <a:pt x="46" y="100"/>
                          <a:pt x="39" y="78"/>
                          <a:pt x="37" y="60"/>
                        </a:cubicBezTo>
                        <a:cubicBezTo>
                          <a:pt x="35" y="43"/>
                          <a:pt x="31" y="28"/>
                          <a:pt x="25" y="18"/>
                        </a:cubicBezTo>
                        <a:cubicBezTo>
                          <a:pt x="19" y="7"/>
                          <a:pt x="10" y="0"/>
                          <a:pt x="10" y="0"/>
                        </a:cubicBezTo>
                        <a:lnTo>
                          <a:pt x="0" y="58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7" name="Freeform 92"/>
                  <p:cNvSpPr>
                    <a:spLocks/>
                  </p:cNvSpPr>
                  <p:nvPr/>
                </p:nvSpPr>
                <p:spPr bwMode="auto">
                  <a:xfrm>
                    <a:off x="3527425" y="4135438"/>
                    <a:ext cx="12700" cy="25400"/>
                  </a:xfrm>
                  <a:custGeom>
                    <a:avLst/>
                    <a:gdLst>
                      <a:gd name="T0" fmla="*/ 1 w 34"/>
                      <a:gd name="T1" fmla="*/ 15 h 61"/>
                      <a:gd name="T2" fmla="*/ 0 w 34"/>
                      <a:gd name="T3" fmla="*/ 21 h 61"/>
                      <a:gd name="T4" fmla="*/ 12 w 34"/>
                      <a:gd name="T5" fmla="*/ 39 h 61"/>
                      <a:gd name="T6" fmla="*/ 16 w 34"/>
                      <a:gd name="T7" fmla="*/ 58 h 61"/>
                      <a:gd name="T8" fmla="*/ 18 w 34"/>
                      <a:gd name="T9" fmla="*/ 59 h 61"/>
                      <a:gd name="T10" fmla="*/ 22 w 34"/>
                      <a:gd name="T11" fmla="*/ 60 h 61"/>
                      <a:gd name="T12" fmla="*/ 25 w 34"/>
                      <a:gd name="T13" fmla="*/ 59 h 61"/>
                      <a:gd name="T14" fmla="*/ 29 w 34"/>
                      <a:gd name="T15" fmla="*/ 56 h 61"/>
                      <a:gd name="T16" fmla="*/ 32 w 34"/>
                      <a:gd name="T17" fmla="*/ 50 h 61"/>
                      <a:gd name="T18" fmla="*/ 33 w 34"/>
                      <a:gd name="T19" fmla="*/ 29 h 61"/>
                      <a:gd name="T20" fmla="*/ 32 w 34"/>
                      <a:gd name="T21" fmla="*/ 12 h 61"/>
                      <a:gd name="T22" fmla="*/ 31 w 34"/>
                      <a:gd name="T23" fmla="*/ 6 h 61"/>
                      <a:gd name="T24" fmla="*/ 28 w 34"/>
                      <a:gd name="T25" fmla="*/ 1 h 61"/>
                      <a:gd name="T26" fmla="*/ 21 w 34"/>
                      <a:gd name="T27" fmla="*/ 1 h 61"/>
                      <a:gd name="T28" fmla="*/ 1 w 34"/>
                      <a:gd name="T29" fmla="*/ 15 h 6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4" h="61">
                        <a:moveTo>
                          <a:pt x="1" y="15"/>
                        </a:moveTo>
                        <a:cubicBezTo>
                          <a:pt x="2" y="17"/>
                          <a:pt x="0" y="21"/>
                          <a:pt x="0" y="21"/>
                        </a:cubicBezTo>
                        <a:cubicBezTo>
                          <a:pt x="0" y="21"/>
                          <a:pt x="10" y="26"/>
                          <a:pt x="12" y="39"/>
                        </a:cubicBezTo>
                        <a:cubicBezTo>
                          <a:pt x="14" y="52"/>
                          <a:pt x="15" y="57"/>
                          <a:pt x="16" y="58"/>
                        </a:cubicBezTo>
                        <a:cubicBezTo>
                          <a:pt x="17" y="59"/>
                          <a:pt x="18" y="59"/>
                          <a:pt x="18" y="59"/>
                        </a:cubicBezTo>
                        <a:cubicBezTo>
                          <a:pt x="18" y="59"/>
                          <a:pt x="20" y="61"/>
                          <a:pt x="22" y="60"/>
                        </a:cubicBezTo>
                        <a:cubicBezTo>
                          <a:pt x="24" y="60"/>
                          <a:pt x="25" y="59"/>
                          <a:pt x="25" y="59"/>
                        </a:cubicBezTo>
                        <a:cubicBezTo>
                          <a:pt x="25" y="59"/>
                          <a:pt x="28" y="58"/>
                          <a:pt x="29" y="56"/>
                        </a:cubicBezTo>
                        <a:cubicBezTo>
                          <a:pt x="30" y="55"/>
                          <a:pt x="31" y="55"/>
                          <a:pt x="32" y="50"/>
                        </a:cubicBezTo>
                        <a:cubicBezTo>
                          <a:pt x="32" y="46"/>
                          <a:pt x="33" y="38"/>
                          <a:pt x="33" y="29"/>
                        </a:cubicBezTo>
                        <a:cubicBezTo>
                          <a:pt x="34" y="20"/>
                          <a:pt x="33" y="14"/>
                          <a:pt x="32" y="12"/>
                        </a:cubicBezTo>
                        <a:cubicBezTo>
                          <a:pt x="31" y="9"/>
                          <a:pt x="31" y="8"/>
                          <a:pt x="31" y="6"/>
                        </a:cubicBezTo>
                        <a:cubicBezTo>
                          <a:pt x="31" y="4"/>
                          <a:pt x="30" y="2"/>
                          <a:pt x="28" y="1"/>
                        </a:cubicBezTo>
                        <a:cubicBezTo>
                          <a:pt x="26" y="1"/>
                          <a:pt x="24" y="0"/>
                          <a:pt x="21" y="1"/>
                        </a:cubicBezTo>
                        <a:cubicBezTo>
                          <a:pt x="18" y="1"/>
                          <a:pt x="1" y="15"/>
                          <a:pt x="1" y="1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8" name="Freeform 93"/>
                  <p:cNvSpPr>
                    <a:spLocks/>
                  </p:cNvSpPr>
                  <p:nvPr/>
                </p:nvSpPr>
                <p:spPr bwMode="auto">
                  <a:xfrm>
                    <a:off x="3521075" y="4098925"/>
                    <a:ext cx="63500" cy="55563"/>
                  </a:xfrm>
                  <a:custGeom>
                    <a:avLst/>
                    <a:gdLst>
                      <a:gd name="T0" fmla="*/ 0 w 160"/>
                      <a:gd name="T1" fmla="*/ 89 h 139"/>
                      <a:gd name="T2" fmla="*/ 6 w 160"/>
                      <a:gd name="T3" fmla="*/ 111 h 139"/>
                      <a:gd name="T4" fmla="*/ 16 w 160"/>
                      <a:gd name="T5" fmla="*/ 132 h 139"/>
                      <a:gd name="T6" fmla="*/ 31 w 160"/>
                      <a:gd name="T7" fmla="*/ 139 h 139"/>
                      <a:gd name="T8" fmla="*/ 75 w 160"/>
                      <a:gd name="T9" fmla="*/ 135 h 139"/>
                      <a:gd name="T10" fmla="*/ 111 w 160"/>
                      <a:gd name="T11" fmla="*/ 124 h 139"/>
                      <a:gd name="T12" fmla="*/ 134 w 160"/>
                      <a:gd name="T13" fmla="*/ 95 h 139"/>
                      <a:gd name="T14" fmla="*/ 150 w 160"/>
                      <a:gd name="T15" fmla="*/ 71 h 139"/>
                      <a:gd name="T16" fmla="*/ 158 w 160"/>
                      <a:gd name="T17" fmla="*/ 56 h 139"/>
                      <a:gd name="T18" fmla="*/ 159 w 160"/>
                      <a:gd name="T19" fmla="*/ 37 h 139"/>
                      <a:gd name="T20" fmla="*/ 151 w 160"/>
                      <a:gd name="T21" fmla="*/ 11 h 139"/>
                      <a:gd name="T22" fmla="*/ 143 w 160"/>
                      <a:gd name="T23" fmla="*/ 1 h 139"/>
                      <a:gd name="T24" fmla="*/ 139 w 160"/>
                      <a:gd name="T25" fmla="*/ 0 h 139"/>
                      <a:gd name="T26" fmla="*/ 129 w 160"/>
                      <a:gd name="T27" fmla="*/ 15 h 139"/>
                      <a:gd name="T28" fmla="*/ 106 w 160"/>
                      <a:gd name="T29" fmla="*/ 68 h 139"/>
                      <a:gd name="T30" fmla="*/ 86 w 160"/>
                      <a:gd name="T31" fmla="*/ 90 h 139"/>
                      <a:gd name="T32" fmla="*/ 63 w 160"/>
                      <a:gd name="T33" fmla="*/ 98 h 139"/>
                      <a:gd name="T34" fmla="*/ 32 w 160"/>
                      <a:gd name="T35" fmla="*/ 112 h 139"/>
                      <a:gd name="T36" fmla="*/ 16 w 160"/>
                      <a:gd name="T37" fmla="*/ 109 h 139"/>
                      <a:gd name="T38" fmla="*/ 0 w 160"/>
                      <a:gd name="T39" fmla="*/ 89 h 1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160" h="139">
                        <a:moveTo>
                          <a:pt x="0" y="89"/>
                        </a:moveTo>
                        <a:cubicBezTo>
                          <a:pt x="0" y="89"/>
                          <a:pt x="4" y="101"/>
                          <a:pt x="6" y="111"/>
                        </a:cubicBezTo>
                        <a:cubicBezTo>
                          <a:pt x="9" y="122"/>
                          <a:pt x="13" y="128"/>
                          <a:pt x="16" y="132"/>
                        </a:cubicBezTo>
                        <a:cubicBezTo>
                          <a:pt x="19" y="136"/>
                          <a:pt x="23" y="139"/>
                          <a:pt x="31" y="139"/>
                        </a:cubicBezTo>
                        <a:cubicBezTo>
                          <a:pt x="39" y="138"/>
                          <a:pt x="57" y="136"/>
                          <a:pt x="75" y="135"/>
                        </a:cubicBezTo>
                        <a:cubicBezTo>
                          <a:pt x="94" y="133"/>
                          <a:pt x="106" y="128"/>
                          <a:pt x="111" y="124"/>
                        </a:cubicBezTo>
                        <a:cubicBezTo>
                          <a:pt x="116" y="119"/>
                          <a:pt x="129" y="102"/>
                          <a:pt x="134" y="95"/>
                        </a:cubicBezTo>
                        <a:cubicBezTo>
                          <a:pt x="139" y="87"/>
                          <a:pt x="148" y="74"/>
                          <a:pt x="150" y="71"/>
                        </a:cubicBezTo>
                        <a:cubicBezTo>
                          <a:pt x="152" y="67"/>
                          <a:pt x="158" y="56"/>
                          <a:pt x="158" y="56"/>
                        </a:cubicBezTo>
                        <a:cubicBezTo>
                          <a:pt x="158" y="56"/>
                          <a:pt x="160" y="49"/>
                          <a:pt x="159" y="37"/>
                        </a:cubicBezTo>
                        <a:cubicBezTo>
                          <a:pt x="157" y="26"/>
                          <a:pt x="156" y="19"/>
                          <a:pt x="151" y="11"/>
                        </a:cubicBezTo>
                        <a:cubicBezTo>
                          <a:pt x="147" y="4"/>
                          <a:pt x="145" y="3"/>
                          <a:pt x="143" y="1"/>
                        </a:cubicBezTo>
                        <a:cubicBezTo>
                          <a:pt x="141" y="0"/>
                          <a:pt x="140" y="0"/>
                          <a:pt x="139" y="0"/>
                        </a:cubicBezTo>
                        <a:cubicBezTo>
                          <a:pt x="139" y="0"/>
                          <a:pt x="135" y="3"/>
                          <a:pt x="129" y="15"/>
                        </a:cubicBezTo>
                        <a:cubicBezTo>
                          <a:pt x="124" y="27"/>
                          <a:pt x="116" y="50"/>
                          <a:pt x="106" y="68"/>
                        </a:cubicBezTo>
                        <a:cubicBezTo>
                          <a:pt x="95" y="86"/>
                          <a:pt x="90" y="89"/>
                          <a:pt x="86" y="90"/>
                        </a:cubicBezTo>
                        <a:cubicBezTo>
                          <a:pt x="81" y="92"/>
                          <a:pt x="72" y="94"/>
                          <a:pt x="63" y="98"/>
                        </a:cubicBezTo>
                        <a:cubicBezTo>
                          <a:pt x="53" y="102"/>
                          <a:pt x="41" y="111"/>
                          <a:pt x="32" y="112"/>
                        </a:cubicBezTo>
                        <a:cubicBezTo>
                          <a:pt x="23" y="112"/>
                          <a:pt x="19" y="112"/>
                          <a:pt x="16" y="109"/>
                        </a:cubicBezTo>
                        <a:cubicBezTo>
                          <a:pt x="14" y="106"/>
                          <a:pt x="0" y="89"/>
                          <a:pt x="0" y="89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9" name="Freeform 94"/>
                  <p:cNvSpPr>
                    <a:spLocks/>
                  </p:cNvSpPr>
                  <p:nvPr/>
                </p:nvSpPr>
                <p:spPr bwMode="auto">
                  <a:xfrm>
                    <a:off x="3486150" y="4119563"/>
                    <a:ext cx="33338" cy="46038"/>
                  </a:xfrm>
                  <a:custGeom>
                    <a:avLst/>
                    <a:gdLst>
                      <a:gd name="T0" fmla="*/ 19 w 85"/>
                      <a:gd name="T1" fmla="*/ 18 h 113"/>
                      <a:gd name="T2" fmla="*/ 8 w 85"/>
                      <a:gd name="T3" fmla="*/ 58 h 113"/>
                      <a:gd name="T4" fmla="*/ 0 w 85"/>
                      <a:gd name="T5" fmla="*/ 104 h 113"/>
                      <a:gd name="T6" fmla="*/ 18 w 85"/>
                      <a:gd name="T7" fmla="*/ 110 h 113"/>
                      <a:gd name="T8" fmla="*/ 47 w 85"/>
                      <a:gd name="T9" fmla="*/ 110 h 113"/>
                      <a:gd name="T10" fmla="*/ 72 w 85"/>
                      <a:gd name="T11" fmla="*/ 98 h 113"/>
                      <a:gd name="T12" fmla="*/ 85 w 85"/>
                      <a:gd name="T13" fmla="*/ 84 h 113"/>
                      <a:gd name="T14" fmla="*/ 72 w 85"/>
                      <a:gd name="T15" fmla="*/ 43 h 113"/>
                      <a:gd name="T16" fmla="*/ 53 w 85"/>
                      <a:gd name="T17" fmla="*/ 11 h 113"/>
                      <a:gd name="T18" fmla="*/ 43 w 85"/>
                      <a:gd name="T19" fmla="*/ 0 h 113"/>
                      <a:gd name="T20" fmla="*/ 32 w 85"/>
                      <a:gd name="T21" fmla="*/ 8 h 113"/>
                      <a:gd name="T22" fmla="*/ 19 w 85"/>
                      <a:gd name="T23" fmla="*/ 18 h 1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85" h="113">
                        <a:moveTo>
                          <a:pt x="19" y="18"/>
                        </a:moveTo>
                        <a:cubicBezTo>
                          <a:pt x="18" y="23"/>
                          <a:pt x="11" y="41"/>
                          <a:pt x="8" y="58"/>
                        </a:cubicBezTo>
                        <a:cubicBezTo>
                          <a:pt x="5" y="76"/>
                          <a:pt x="0" y="104"/>
                          <a:pt x="0" y="104"/>
                        </a:cubicBezTo>
                        <a:cubicBezTo>
                          <a:pt x="0" y="104"/>
                          <a:pt x="7" y="107"/>
                          <a:pt x="18" y="110"/>
                        </a:cubicBezTo>
                        <a:cubicBezTo>
                          <a:pt x="29" y="113"/>
                          <a:pt x="39" y="113"/>
                          <a:pt x="47" y="110"/>
                        </a:cubicBezTo>
                        <a:cubicBezTo>
                          <a:pt x="55" y="107"/>
                          <a:pt x="64" y="103"/>
                          <a:pt x="72" y="98"/>
                        </a:cubicBezTo>
                        <a:cubicBezTo>
                          <a:pt x="81" y="92"/>
                          <a:pt x="85" y="88"/>
                          <a:pt x="85" y="84"/>
                        </a:cubicBezTo>
                        <a:cubicBezTo>
                          <a:pt x="84" y="80"/>
                          <a:pt x="81" y="65"/>
                          <a:pt x="72" y="43"/>
                        </a:cubicBezTo>
                        <a:cubicBezTo>
                          <a:pt x="62" y="21"/>
                          <a:pt x="58" y="17"/>
                          <a:pt x="53" y="11"/>
                        </a:cubicBezTo>
                        <a:cubicBezTo>
                          <a:pt x="48" y="4"/>
                          <a:pt x="43" y="0"/>
                          <a:pt x="43" y="0"/>
                        </a:cubicBezTo>
                        <a:cubicBezTo>
                          <a:pt x="43" y="0"/>
                          <a:pt x="36" y="3"/>
                          <a:pt x="32" y="8"/>
                        </a:cubicBezTo>
                        <a:cubicBezTo>
                          <a:pt x="28" y="12"/>
                          <a:pt x="19" y="18"/>
                          <a:pt x="19" y="1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0" name="Freeform 95"/>
                  <p:cNvSpPr>
                    <a:spLocks noEditPoints="1"/>
                  </p:cNvSpPr>
                  <p:nvPr/>
                </p:nvSpPr>
                <p:spPr bwMode="auto">
                  <a:xfrm>
                    <a:off x="3387725" y="3930650"/>
                    <a:ext cx="152400" cy="406400"/>
                  </a:xfrm>
                  <a:custGeom>
                    <a:avLst/>
                    <a:gdLst>
                      <a:gd name="T0" fmla="*/ 372 w 382"/>
                      <a:gd name="T1" fmla="*/ 501 h 1030"/>
                      <a:gd name="T2" fmla="*/ 330 w 382"/>
                      <a:gd name="T3" fmla="*/ 366 h 1030"/>
                      <a:gd name="T4" fmla="*/ 297 w 382"/>
                      <a:gd name="T5" fmla="*/ 221 h 1030"/>
                      <a:gd name="T6" fmla="*/ 233 w 382"/>
                      <a:gd name="T7" fmla="*/ 139 h 1030"/>
                      <a:gd name="T8" fmla="*/ 206 w 382"/>
                      <a:gd name="T9" fmla="*/ 120 h 1030"/>
                      <a:gd name="T10" fmla="*/ 193 w 382"/>
                      <a:gd name="T11" fmla="*/ 110 h 1030"/>
                      <a:gd name="T12" fmla="*/ 199 w 382"/>
                      <a:gd name="T13" fmla="*/ 89 h 1030"/>
                      <a:gd name="T14" fmla="*/ 188 w 382"/>
                      <a:gd name="T15" fmla="*/ 18 h 1030"/>
                      <a:gd name="T16" fmla="*/ 112 w 382"/>
                      <a:gd name="T17" fmla="*/ 13 h 1030"/>
                      <a:gd name="T18" fmla="*/ 97 w 382"/>
                      <a:gd name="T19" fmla="*/ 50 h 1030"/>
                      <a:gd name="T20" fmla="*/ 98 w 382"/>
                      <a:gd name="T21" fmla="*/ 62 h 1030"/>
                      <a:gd name="T22" fmla="*/ 99 w 382"/>
                      <a:gd name="T23" fmla="*/ 76 h 1030"/>
                      <a:gd name="T24" fmla="*/ 110 w 382"/>
                      <a:gd name="T25" fmla="*/ 111 h 1030"/>
                      <a:gd name="T26" fmla="*/ 108 w 382"/>
                      <a:gd name="T27" fmla="*/ 128 h 1030"/>
                      <a:gd name="T28" fmla="*/ 66 w 382"/>
                      <a:gd name="T29" fmla="*/ 151 h 1030"/>
                      <a:gd name="T30" fmla="*/ 32 w 382"/>
                      <a:gd name="T31" fmla="*/ 216 h 1030"/>
                      <a:gd name="T32" fmla="*/ 12 w 382"/>
                      <a:gd name="T33" fmla="*/ 443 h 1030"/>
                      <a:gd name="T34" fmla="*/ 5 w 382"/>
                      <a:gd name="T35" fmla="*/ 532 h 1030"/>
                      <a:gd name="T36" fmla="*/ 46 w 382"/>
                      <a:gd name="T37" fmla="*/ 537 h 1030"/>
                      <a:gd name="T38" fmla="*/ 49 w 382"/>
                      <a:gd name="T39" fmla="*/ 542 h 1030"/>
                      <a:gd name="T40" fmla="*/ 56 w 382"/>
                      <a:gd name="T41" fmla="*/ 556 h 1030"/>
                      <a:gd name="T42" fmla="*/ 59 w 382"/>
                      <a:gd name="T43" fmla="*/ 732 h 1030"/>
                      <a:gd name="T44" fmla="*/ 126 w 382"/>
                      <a:gd name="T45" fmla="*/ 895 h 1030"/>
                      <a:gd name="T46" fmla="*/ 123 w 382"/>
                      <a:gd name="T47" fmla="*/ 956 h 1030"/>
                      <a:gd name="T48" fmla="*/ 122 w 382"/>
                      <a:gd name="T49" fmla="*/ 1027 h 1030"/>
                      <a:gd name="T50" fmla="*/ 158 w 382"/>
                      <a:gd name="T51" fmla="*/ 1025 h 1030"/>
                      <a:gd name="T52" fmla="*/ 190 w 382"/>
                      <a:gd name="T53" fmla="*/ 999 h 1030"/>
                      <a:gd name="T54" fmla="*/ 178 w 382"/>
                      <a:gd name="T55" fmla="*/ 988 h 1030"/>
                      <a:gd name="T56" fmla="*/ 179 w 382"/>
                      <a:gd name="T57" fmla="*/ 953 h 1030"/>
                      <a:gd name="T58" fmla="*/ 193 w 382"/>
                      <a:gd name="T59" fmla="*/ 922 h 1030"/>
                      <a:gd name="T60" fmla="*/ 202 w 382"/>
                      <a:gd name="T61" fmla="*/ 880 h 1030"/>
                      <a:gd name="T62" fmla="*/ 221 w 382"/>
                      <a:gd name="T63" fmla="*/ 719 h 1030"/>
                      <a:gd name="T64" fmla="*/ 249 w 382"/>
                      <a:gd name="T65" fmla="*/ 593 h 1030"/>
                      <a:gd name="T66" fmla="*/ 262 w 382"/>
                      <a:gd name="T67" fmla="*/ 560 h 1030"/>
                      <a:gd name="T68" fmla="*/ 267 w 382"/>
                      <a:gd name="T69" fmla="*/ 517 h 1030"/>
                      <a:gd name="T70" fmla="*/ 270 w 382"/>
                      <a:gd name="T71" fmla="*/ 387 h 1030"/>
                      <a:gd name="T72" fmla="*/ 326 w 382"/>
                      <a:gd name="T73" fmla="*/ 509 h 1030"/>
                      <a:gd name="T74" fmla="*/ 352 w 382"/>
                      <a:gd name="T75" fmla="*/ 540 h 1030"/>
                      <a:gd name="T76" fmla="*/ 381 w 382"/>
                      <a:gd name="T77" fmla="*/ 523 h 1030"/>
                      <a:gd name="T78" fmla="*/ 161 w 382"/>
                      <a:gd name="T79" fmla="*/ 841 h 1030"/>
                      <a:gd name="T80" fmla="*/ 154 w 382"/>
                      <a:gd name="T81" fmla="*/ 843 h 1030"/>
                      <a:gd name="T82" fmla="*/ 138 w 382"/>
                      <a:gd name="T83" fmla="*/ 767 h 1030"/>
                      <a:gd name="T84" fmla="*/ 133 w 382"/>
                      <a:gd name="T85" fmla="*/ 659 h 1030"/>
                      <a:gd name="T86" fmla="*/ 162 w 382"/>
                      <a:gd name="T87" fmla="*/ 579 h 1030"/>
                      <a:gd name="T88" fmla="*/ 161 w 382"/>
                      <a:gd name="T89" fmla="*/ 729 h 10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382" h="1030">
                        <a:moveTo>
                          <a:pt x="381" y="523"/>
                        </a:moveTo>
                        <a:cubicBezTo>
                          <a:pt x="381" y="521"/>
                          <a:pt x="376" y="511"/>
                          <a:pt x="372" y="501"/>
                        </a:cubicBezTo>
                        <a:cubicBezTo>
                          <a:pt x="367" y="490"/>
                          <a:pt x="356" y="464"/>
                          <a:pt x="350" y="445"/>
                        </a:cubicBezTo>
                        <a:cubicBezTo>
                          <a:pt x="342" y="422"/>
                          <a:pt x="336" y="386"/>
                          <a:pt x="330" y="366"/>
                        </a:cubicBezTo>
                        <a:cubicBezTo>
                          <a:pt x="325" y="347"/>
                          <a:pt x="312" y="315"/>
                          <a:pt x="306" y="286"/>
                        </a:cubicBezTo>
                        <a:cubicBezTo>
                          <a:pt x="299" y="257"/>
                          <a:pt x="301" y="248"/>
                          <a:pt x="297" y="221"/>
                        </a:cubicBezTo>
                        <a:cubicBezTo>
                          <a:pt x="293" y="194"/>
                          <a:pt x="287" y="176"/>
                          <a:pt x="279" y="167"/>
                        </a:cubicBezTo>
                        <a:cubicBezTo>
                          <a:pt x="271" y="157"/>
                          <a:pt x="248" y="146"/>
                          <a:pt x="233" y="139"/>
                        </a:cubicBezTo>
                        <a:cubicBezTo>
                          <a:pt x="218" y="131"/>
                          <a:pt x="213" y="129"/>
                          <a:pt x="213" y="129"/>
                        </a:cubicBezTo>
                        <a:cubicBezTo>
                          <a:pt x="213" y="129"/>
                          <a:pt x="212" y="125"/>
                          <a:pt x="206" y="120"/>
                        </a:cubicBezTo>
                        <a:cubicBezTo>
                          <a:pt x="200" y="115"/>
                          <a:pt x="204" y="117"/>
                          <a:pt x="199" y="114"/>
                        </a:cubicBezTo>
                        <a:cubicBezTo>
                          <a:pt x="194" y="111"/>
                          <a:pt x="193" y="110"/>
                          <a:pt x="193" y="110"/>
                        </a:cubicBezTo>
                        <a:cubicBezTo>
                          <a:pt x="193" y="110"/>
                          <a:pt x="194" y="108"/>
                          <a:pt x="196" y="103"/>
                        </a:cubicBezTo>
                        <a:cubicBezTo>
                          <a:pt x="197" y="98"/>
                          <a:pt x="198" y="95"/>
                          <a:pt x="199" y="89"/>
                        </a:cubicBezTo>
                        <a:cubicBezTo>
                          <a:pt x="200" y="84"/>
                          <a:pt x="201" y="55"/>
                          <a:pt x="201" y="44"/>
                        </a:cubicBezTo>
                        <a:cubicBezTo>
                          <a:pt x="200" y="34"/>
                          <a:pt x="192" y="21"/>
                          <a:pt x="188" y="18"/>
                        </a:cubicBezTo>
                        <a:cubicBezTo>
                          <a:pt x="184" y="14"/>
                          <a:pt x="167" y="0"/>
                          <a:pt x="147" y="0"/>
                        </a:cubicBezTo>
                        <a:cubicBezTo>
                          <a:pt x="127" y="1"/>
                          <a:pt x="120" y="5"/>
                          <a:pt x="112" y="13"/>
                        </a:cubicBezTo>
                        <a:cubicBezTo>
                          <a:pt x="103" y="20"/>
                          <a:pt x="96" y="19"/>
                          <a:pt x="94" y="26"/>
                        </a:cubicBezTo>
                        <a:cubicBezTo>
                          <a:pt x="92" y="33"/>
                          <a:pt x="96" y="45"/>
                          <a:pt x="97" y="50"/>
                        </a:cubicBezTo>
                        <a:cubicBezTo>
                          <a:pt x="97" y="55"/>
                          <a:pt x="98" y="56"/>
                          <a:pt x="98" y="56"/>
                        </a:cubicBezTo>
                        <a:cubicBezTo>
                          <a:pt x="98" y="56"/>
                          <a:pt x="97" y="60"/>
                          <a:pt x="98" y="62"/>
                        </a:cubicBezTo>
                        <a:cubicBezTo>
                          <a:pt x="99" y="63"/>
                          <a:pt x="99" y="65"/>
                          <a:pt x="99" y="67"/>
                        </a:cubicBezTo>
                        <a:cubicBezTo>
                          <a:pt x="99" y="69"/>
                          <a:pt x="99" y="72"/>
                          <a:pt x="99" y="76"/>
                        </a:cubicBezTo>
                        <a:cubicBezTo>
                          <a:pt x="100" y="81"/>
                          <a:pt x="100" y="85"/>
                          <a:pt x="103" y="92"/>
                        </a:cubicBezTo>
                        <a:cubicBezTo>
                          <a:pt x="105" y="99"/>
                          <a:pt x="108" y="106"/>
                          <a:pt x="110" y="111"/>
                        </a:cubicBezTo>
                        <a:cubicBezTo>
                          <a:pt x="112" y="117"/>
                          <a:pt x="114" y="123"/>
                          <a:pt x="114" y="123"/>
                        </a:cubicBezTo>
                        <a:cubicBezTo>
                          <a:pt x="114" y="123"/>
                          <a:pt x="110" y="125"/>
                          <a:pt x="108" y="128"/>
                        </a:cubicBezTo>
                        <a:cubicBezTo>
                          <a:pt x="106" y="131"/>
                          <a:pt x="104" y="137"/>
                          <a:pt x="104" y="137"/>
                        </a:cubicBezTo>
                        <a:cubicBezTo>
                          <a:pt x="104" y="137"/>
                          <a:pt x="82" y="145"/>
                          <a:pt x="66" y="151"/>
                        </a:cubicBezTo>
                        <a:cubicBezTo>
                          <a:pt x="50" y="157"/>
                          <a:pt x="42" y="167"/>
                          <a:pt x="39" y="178"/>
                        </a:cubicBezTo>
                        <a:cubicBezTo>
                          <a:pt x="37" y="189"/>
                          <a:pt x="32" y="216"/>
                          <a:pt x="32" y="216"/>
                        </a:cubicBezTo>
                        <a:cubicBezTo>
                          <a:pt x="31" y="238"/>
                          <a:pt x="30" y="268"/>
                          <a:pt x="26" y="312"/>
                        </a:cubicBezTo>
                        <a:cubicBezTo>
                          <a:pt x="23" y="356"/>
                          <a:pt x="19" y="404"/>
                          <a:pt x="12" y="443"/>
                        </a:cubicBezTo>
                        <a:cubicBezTo>
                          <a:pt x="5" y="483"/>
                          <a:pt x="0" y="516"/>
                          <a:pt x="0" y="522"/>
                        </a:cubicBezTo>
                        <a:cubicBezTo>
                          <a:pt x="0" y="528"/>
                          <a:pt x="0" y="531"/>
                          <a:pt x="5" y="532"/>
                        </a:cubicBezTo>
                        <a:cubicBezTo>
                          <a:pt x="10" y="534"/>
                          <a:pt x="20" y="535"/>
                          <a:pt x="29" y="537"/>
                        </a:cubicBezTo>
                        <a:cubicBezTo>
                          <a:pt x="39" y="538"/>
                          <a:pt x="45" y="538"/>
                          <a:pt x="46" y="537"/>
                        </a:cubicBezTo>
                        <a:cubicBezTo>
                          <a:pt x="47" y="535"/>
                          <a:pt x="48" y="531"/>
                          <a:pt x="48" y="531"/>
                        </a:cubicBezTo>
                        <a:cubicBezTo>
                          <a:pt x="48" y="531"/>
                          <a:pt x="48" y="537"/>
                          <a:pt x="49" y="542"/>
                        </a:cubicBezTo>
                        <a:cubicBezTo>
                          <a:pt x="50" y="547"/>
                          <a:pt x="50" y="551"/>
                          <a:pt x="52" y="553"/>
                        </a:cubicBezTo>
                        <a:cubicBezTo>
                          <a:pt x="54" y="554"/>
                          <a:pt x="56" y="556"/>
                          <a:pt x="56" y="556"/>
                        </a:cubicBezTo>
                        <a:cubicBezTo>
                          <a:pt x="56" y="556"/>
                          <a:pt x="56" y="578"/>
                          <a:pt x="55" y="632"/>
                        </a:cubicBezTo>
                        <a:cubicBezTo>
                          <a:pt x="53" y="687"/>
                          <a:pt x="56" y="714"/>
                          <a:pt x="59" y="732"/>
                        </a:cubicBezTo>
                        <a:cubicBezTo>
                          <a:pt x="62" y="751"/>
                          <a:pt x="74" y="787"/>
                          <a:pt x="90" y="821"/>
                        </a:cubicBezTo>
                        <a:cubicBezTo>
                          <a:pt x="107" y="855"/>
                          <a:pt x="120" y="878"/>
                          <a:pt x="126" y="895"/>
                        </a:cubicBezTo>
                        <a:cubicBezTo>
                          <a:pt x="132" y="911"/>
                          <a:pt x="136" y="923"/>
                          <a:pt x="136" y="923"/>
                        </a:cubicBezTo>
                        <a:cubicBezTo>
                          <a:pt x="136" y="923"/>
                          <a:pt x="130" y="942"/>
                          <a:pt x="123" y="956"/>
                        </a:cubicBezTo>
                        <a:cubicBezTo>
                          <a:pt x="117" y="969"/>
                          <a:pt x="107" y="979"/>
                          <a:pt x="105" y="998"/>
                        </a:cubicBezTo>
                        <a:cubicBezTo>
                          <a:pt x="103" y="1016"/>
                          <a:pt x="111" y="1024"/>
                          <a:pt x="122" y="1027"/>
                        </a:cubicBezTo>
                        <a:cubicBezTo>
                          <a:pt x="134" y="1030"/>
                          <a:pt x="140" y="1023"/>
                          <a:pt x="140" y="1023"/>
                        </a:cubicBezTo>
                        <a:cubicBezTo>
                          <a:pt x="140" y="1023"/>
                          <a:pt x="147" y="1026"/>
                          <a:pt x="158" y="1025"/>
                        </a:cubicBezTo>
                        <a:cubicBezTo>
                          <a:pt x="170" y="1023"/>
                          <a:pt x="177" y="1018"/>
                          <a:pt x="183" y="1015"/>
                        </a:cubicBezTo>
                        <a:cubicBezTo>
                          <a:pt x="189" y="1011"/>
                          <a:pt x="191" y="1004"/>
                          <a:pt x="190" y="999"/>
                        </a:cubicBezTo>
                        <a:cubicBezTo>
                          <a:pt x="190" y="994"/>
                          <a:pt x="189" y="991"/>
                          <a:pt x="186" y="990"/>
                        </a:cubicBezTo>
                        <a:cubicBezTo>
                          <a:pt x="183" y="988"/>
                          <a:pt x="178" y="988"/>
                          <a:pt x="178" y="988"/>
                        </a:cubicBezTo>
                        <a:cubicBezTo>
                          <a:pt x="178" y="988"/>
                          <a:pt x="178" y="983"/>
                          <a:pt x="179" y="972"/>
                        </a:cubicBezTo>
                        <a:cubicBezTo>
                          <a:pt x="179" y="961"/>
                          <a:pt x="179" y="953"/>
                          <a:pt x="179" y="953"/>
                        </a:cubicBezTo>
                        <a:cubicBezTo>
                          <a:pt x="179" y="953"/>
                          <a:pt x="183" y="947"/>
                          <a:pt x="186" y="942"/>
                        </a:cubicBezTo>
                        <a:cubicBezTo>
                          <a:pt x="189" y="936"/>
                          <a:pt x="193" y="929"/>
                          <a:pt x="193" y="922"/>
                        </a:cubicBezTo>
                        <a:cubicBezTo>
                          <a:pt x="192" y="915"/>
                          <a:pt x="192" y="912"/>
                          <a:pt x="192" y="912"/>
                        </a:cubicBezTo>
                        <a:cubicBezTo>
                          <a:pt x="192" y="912"/>
                          <a:pt x="197" y="895"/>
                          <a:pt x="202" y="880"/>
                        </a:cubicBezTo>
                        <a:cubicBezTo>
                          <a:pt x="207" y="864"/>
                          <a:pt x="219" y="824"/>
                          <a:pt x="220" y="796"/>
                        </a:cubicBezTo>
                        <a:cubicBezTo>
                          <a:pt x="221" y="769"/>
                          <a:pt x="220" y="743"/>
                          <a:pt x="221" y="719"/>
                        </a:cubicBezTo>
                        <a:cubicBezTo>
                          <a:pt x="223" y="695"/>
                          <a:pt x="229" y="672"/>
                          <a:pt x="236" y="644"/>
                        </a:cubicBezTo>
                        <a:cubicBezTo>
                          <a:pt x="243" y="617"/>
                          <a:pt x="242" y="617"/>
                          <a:pt x="249" y="593"/>
                        </a:cubicBezTo>
                        <a:cubicBezTo>
                          <a:pt x="256" y="568"/>
                          <a:pt x="258" y="561"/>
                          <a:pt x="258" y="561"/>
                        </a:cubicBezTo>
                        <a:cubicBezTo>
                          <a:pt x="258" y="561"/>
                          <a:pt x="260" y="561"/>
                          <a:pt x="262" y="560"/>
                        </a:cubicBezTo>
                        <a:cubicBezTo>
                          <a:pt x="264" y="560"/>
                          <a:pt x="265" y="557"/>
                          <a:pt x="265" y="550"/>
                        </a:cubicBezTo>
                        <a:cubicBezTo>
                          <a:pt x="265" y="544"/>
                          <a:pt x="266" y="532"/>
                          <a:pt x="267" y="517"/>
                        </a:cubicBezTo>
                        <a:cubicBezTo>
                          <a:pt x="269" y="502"/>
                          <a:pt x="270" y="448"/>
                          <a:pt x="270" y="425"/>
                        </a:cubicBezTo>
                        <a:cubicBezTo>
                          <a:pt x="271" y="403"/>
                          <a:pt x="270" y="387"/>
                          <a:pt x="270" y="387"/>
                        </a:cubicBezTo>
                        <a:cubicBezTo>
                          <a:pt x="270" y="387"/>
                          <a:pt x="280" y="421"/>
                          <a:pt x="290" y="443"/>
                        </a:cubicBezTo>
                        <a:cubicBezTo>
                          <a:pt x="299" y="465"/>
                          <a:pt x="317" y="496"/>
                          <a:pt x="326" y="509"/>
                        </a:cubicBezTo>
                        <a:cubicBezTo>
                          <a:pt x="336" y="523"/>
                          <a:pt x="346" y="535"/>
                          <a:pt x="348" y="537"/>
                        </a:cubicBezTo>
                        <a:cubicBezTo>
                          <a:pt x="349" y="539"/>
                          <a:pt x="351" y="541"/>
                          <a:pt x="352" y="540"/>
                        </a:cubicBezTo>
                        <a:cubicBezTo>
                          <a:pt x="353" y="540"/>
                          <a:pt x="361" y="536"/>
                          <a:pt x="364" y="535"/>
                        </a:cubicBezTo>
                        <a:cubicBezTo>
                          <a:pt x="367" y="533"/>
                          <a:pt x="382" y="524"/>
                          <a:pt x="381" y="523"/>
                        </a:cubicBezTo>
                        <a:close/>
                        <a:moveTo>
                          <a:pt x="162" y="797"/>
                        </a:moveTo>
                        <a:cubicBezTo>
                          <a:pt x="161" y="820"/>
                          <a:pt x="161" y="841"/>
                          <a:pt x="161" y="841"/>
                        </a:cubicBezTo>
                        <a:cubicBezTo>
                          <a:pt x="161" y="841"/>
                          <a:pt x="159" y="842"/>
                          <a:pt x="157" y="842"/>
                        </a:cubicBezTo>
                        <a:cubicBezTo>
                          <a:pt x="155" y="842"/>
                          <a:pt x="154" y="843"/>
                          <a:pt x="154" y="843"/>
                        </a:cubicBezTo>
                        <a:cubicBezTo>
                          <a:pt x="154" y="843"/>
                          <a:pt x="152" y="839"/>
                          <a:pt x="150" y="826"/>
                        </a:cubicBezTo>
                        <a:cubicBezTo>
                          <a:pt x="147" y="814"/>
                          <a:pt x="145" y="789"/>
                          <a:pt x="138" y="767"/>
                        </a:cubicBezTo>
                        <a:cubicBezTo>
                          <a:pt x="131" y="745"/>
                          <a:pt x="122" y="737"/>
                          <a:pt x="120" y="730"/>
                        </a:cubicBezTo>
                        <a:cubicBezTo>
                          <a:pt x="119" y="723"/>
                          <a:pt x="126" y="686"/>
                          <a:pt x="133" y="659"/>
                        </a:cubicBezTo>
                        <a:cubicBezTo>
                          <a:pt x="139" y="631"/>
                          <a:pt x="155" y="579"/>
                          <a:pt x="155" y="579"/>
                        </a:cubicBezTo>
                        <a:cubicBezTo>
                          <a:pt x="162" y="579"/>
                          <a:pt x="162" y="579"/>
                          <a:pt x="162" y="579"/>
                        </a:cubicBezTo>
                        <a:cubicBezTo>
                          <a:pt x="162" y="579"/>
                          <a:pt x="162" y="631"/>
                          <a:pt x="162" y="657"/>
                        </a:cubicBezTo>
                        <a:cubicBezTo>
                          <a:pt x="162" y="684"/>
                          <a:pt x="157" y="706"/>
                          <a:pt x="161" y="729"/>
                        </a:cubicBezTo>
                        <a:cubicBezTo>
                          <a:pt x="164" y="752"/>
                          <a:pt x="164" y="774"/>
                          <a:pt x="162" y="79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1" name="Freeform 96"/>
                  <p:cNvSpPr>
                    <a:spLocks/>
                  </p:cNvSpPr>
                  <p:nvPr/>
                </p:nvSpPr>
                <p:spPr bwMode="auto">
                  <a:xfrm>
                    <a:off x="3414713" y="3984625"/>
                    <a:ext cx="87313" cy="161925"/>
                  </a:xfrm>
                  <a:custGeom>
                    <a:avLst/>
                    <a:gdLst>
                      <a:gd name="T0" fmla="*/ 0 w 224"/>
                      <a:gd name="T1" fmla="*/ 11 h 409"/>
                      <a:gd name="T2" fmla="*/ 4 w 224"/>
                      <a:gd name="T3" fmla="*/ 22 h 409"/>
                      <a:gd name="T4" fmla="*/ 34 w 224"/>
                      <a:gd name="T5" fmla="*/ 84 h 409"/>
                      <a:gd name="T6" fmla="*/ 102 w 224"/>
                      <a:gd name="T7" fmla="*/ 199 h 409"/>
                      <a:gd name="T8" fmla="*/ 184 w 224"/>
                      <a:gd name="T9" fmla="*/ 327 h 409"/>
                      <a:gd name="T10" fmla="*/ 202 w 224"/>
                      <a:gd name="T11" fmla="*/ 376 h 409"/>
                      <a:gd name="T12" fmla="*/ 211 w 224"/>
                      <a:gd name="T13" fmla="*/ 401 h 409"/>
                      <a:gd name="T14" fmla="*/ 224 w 224"/>
                      <a:gd name="T15" fmla="*/ 342 h 409"/>
                      <a:gd name="T16" fmla="*/ 210 w 224"/>
                      <a:gd name="T17" fmla="*/ 311 h 409"/>
                      <a:gd name="T18" fmla="*/ 174 w 224"/>
                      <a:gd name="T19" fmla="*/ 252 h 409"/>
                      <a:gd name="T20" fmla="*/ 110 w 224"/>
                      <a:gd name="T21" fmla="*/ 147 h 409"/>
                      <a:gd name="T22" fmla="*/ 63 w 224"/>
                      <a:gd name="T23" fmla="*/ 62 h 409"/>
                      <a:gd name="T24" fmla="*/ 37 w 224"/>
                      <a:gd name="T25" fmla="*/ 8 h 409"/>
                      <a:gd name="T26" fmla="*/ 31 w 224"/>
                      <a:gd name="T27" fmla="*/ 0 h 409"/>
                      <a:gd name="T28" fmla="*/ 15 w 224"/>
                      <a:gd name="T29" fmla="*/ 5 h 409"/>
                      <a:gd name="T30" fmla="*/ 0 w 224"/>
                      <a:gd name="T31" fmla="*/ 11 h 40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224" h="409">
                        <a:moveTo>
                          <a:pt x="0" y="11"/>
                        </a:moveTo>
                        <a:cubicBezTo>
                          <a:pt x="0" y="12"/>
                          <a:pt x="1" y="16"/>
                          <a:pt x="4" y="22"/>
                        </a:cubicBezTo>
                        <a:cubicBezTo>
                          <a:pt x="7" y="29"/>
                          <a:pt x="22" y="59"/>
                          <a:pt x="34" y="84"/>
                        </a:cubicBezTo>
                        <a:cubicBezTo>
                          <a:pt x="46" y="108"/>
                          <a:pt x="80" y="163"/>
                          <a:pt x="102" y="199"/>
                        </a:cubicBezTo>
                        <a:cubicBezTo>
                          <a:pt x="124" y="234"/>
                          <a:pt x="174" y="304"/>
                          <a:pt x="184" y="327"/>
                        </a:cubicBezTo>
                        <a:cubicBezTo>
                          <a:pt x="194" y="351"/>
                          <a:pt x="199" y="365"/>
                          <a:pt x="202" y="376"/>
                        </a:cubicBezTo>
                        <a:cubicBezTo>
                          <a:pt x="205" y="387"/>
                          <a:pt x="208" y="393"/>
                          <a:pt x="211" y="401"/>
                        </a:cubicBezTo>
                        <a:cubicBezTo>
                          <a:pt x="214" y="409"/>
                          <a:pt x="224" y="342"/>
                          <a:pt x="224" y="342"/>
                        </a:cubicBezTo>
                        <a:cubicBezTo>
                          <a:pt x="224" y="342"/>
                          <a:pt x="217" y="326"/>
                          <a:pt x="210" y="311"/>
                        </a:cubicBezTo>
                        <a:cubicBezTo>
                          <a:pt x="202" y="296"/>
                          <a:pt x="187" y="274"/>
                          <a:pt x="174" y="252"/>
                        </a:cubicBezTo>
                        <a:cubicBezTo>
                          <a:pt x="160" y="230"/>
                          <a:pt x="130" y="182"/>
                          <a:pt x="110" y="147"/>
                        </a:cubicBezTo>
                        <a:cubicBezTo>
                          <a:pt x="90" y="112"/>
                          <a:pt x="76" y="88"/>
                          <a:pt x="63" y="62"/>
                        </a:cubicBezTo>
                        <a:cubicBezTo>
                          <a:pt x="49" y="36"/>
                          <a:pt x="40" y="13"/>
                          <a:pt x="37" y="8"/>
                        </a:cubicBezTo>
                        <a:cubicBezTo>
                          <a:pt x="34" y="3"/>
                          <a:pt x="32" y="0"/>
                          <a:pt x="31" y="0"/>
                        </a:cubicBezTo>
                        <a:cubicBezTo>
                          <a:pt x="30" y="0"/>
                          <a:pt x="25" y="1"/>
                          <a:pt x="15" y="5"/>
                        </a:cubicBezTo>
                        <a:cubicBezTo>
                          <a:pt x="5" y="9"/>
                          <a:pt x="0" y="11"/>
                          <a:pt x="0" y="11"/>
                        </a:cubicBezTo>
                        <a:close/>
                      </a:path>
                    </a:pathLst>
                  </a:custGeom>
                  <a:solidFill>
                    <a:srgbClr val="282828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2" name="Freeform 97"/>
                  <p:cNvSpPr>
                    <a:spLocks/>
                  </p:cNvSpPr>
                  <p:nvPr/>
                </p:nvSpPr>
                <p:spPr bwMode="auto">
                  <a:xfrm>
                    <a:off x="3576638" y="4064000"/>
                    <a:ext cx="63500" cy="277813"/>
                  </a:xfrm>
                  <a:custGeom>
                    <a:avLst/>
                    <a:gdLst>
                      <a:gd name="T0" fmla="*/ 0 w 164"/>
                      <a:gd name="T1" fmla="*/ 89 h 703"/>
                      <a:gd name="T2" fmla="*/ 10 w 164"/>
                      <a:gd name="T3" fmla="*/ 159 h 703"/>
                      <a:gd name="T4" fmla="*/ 2 w 164"/>
                      <a:gd name="T5" fmla="*/ 246 h 703"/>
                      <a:gd name="T6" fmla="*/ 6 w 164"/>
                      <a:gd name="T7" fmla="*/ 360 h 703"/>
                      <a:gd name="T8" fmla="*/ 15 w 164"/>
                      <a:gd name="T9" fmla="*/ 363 h 703"/>
                      <a:gd name="T10" fmla="*/ 14 w 164"/>
                      <a:gd name="T11" fmla="*/ 470 h 703"/>
                      <a:gd name="T12" fmla="*/ 21 w 164"/>
                      <a:gd name="T13" fmla="*/ 501 h 703"/>
                      <a:gd name="T14" fmla="*/ 53 w 164"/>
                      <a:gd name="T15" fmla="*/ 565 h 703"/>
                      <a:gd name="T16" fmla="*/ 57 w 164"/>
                      <a:gd name="T17" fmla="*/ 609 h 703"/>
                      <a:gd name="T18" fmla="*/ 49 w 164"/>
                      <a:gd name="T19" fmla="*/ 636 h 703"/>
                      <a:gd name="T20" fmla="*/ 31 w 164"/>
                      <a:gd name="T21" fmla="*/ 650 h 703"/>
                      <a:gd name="T22" fmla="*/ 14 w 164"/>
                      <a:gd name="T23" fmla="*/ 661 h 703"/>
                      <a:gd name="T24" fmla="*/ 29 w 164"/>
                      <a:gd name="T25" fmla="*/ 679 h 703"/>
                      <a:gd name="T26" fmla="*/ 54 w 164"/>
                      <a:gd name="T27" fmla="*/ 685 h 703"/>
                      <a:gd name="T28" fmla="*/ 87 w 164"/>
                      <a:gd name="T29" fmla="*/ 686 h 703"/>
                      <a:gd name="T30" fmla="*/ 121 w 164"/>
                      <a:gd name="T31" fmla="*/ 698 h 703"/>
                      <a:gd name="T32" fmla="*/ 130 w 164"/>
                      <a:gd name="T33" fmla="*/ 642 h 703"/>
                      <a:gd name="T34" fmla="*/ 133 w 164"/>
                      <a:gd name="T35" fmla="*/ 600 h 703"/>
                      <a:gd name="T36" fmla="*/ 104 w 164"/>
                      <a:gd name="T37" fmla="*/ 577 h 703"/>
                      <a:gd name="T38" fmla="*/ 97 w 164"/>
                      <a:gd name="T39" fmla="*/ 566 h 703"/>
                      <a:gd name="T40" fmla="*/ 100 w 164"/>
                      <a:gd name="T41" fmla="*/ 507 h 703"/>
                      <a:gd name="T42" fmla="*/ 103 w 164"/>
                      <a:gd name="T43" fmla="*/ 485 h 703"/>
                      <a:gd name="T44" fmla="*/ 109 w 164"/>
                      <a:gd name="T45" fmla="*/ 467 h 703"/>
                      <a:gd name="T46" fmla="*/ 134 w 164"/>
                      <a:gd name="T47" fmla="*/ 397 h 703"/>
                      <a:gd name="T48" fmla="*/ 151 w 164"/>
                      <a:gd name="T49" fmla="*/ 364 h 703"/>
                      <a:gd name="T50" fmla="*/ 155 w 164"/>
                      <a:gd name="T51" fmla="*/ 314 h 703"/>
                      <a:gd name="T52" fmla="*/ 151 w 164"/>
                      <a:gd name="T53" fmla="*/ 210 h 703"/>
                      <a:gd name="T54" fmla="*/ 160 w 164"/>
                      <a:gd name="T55" fmla="*/ 128 h 703"/>
                      <a:gd name="T56" fmla="*/ 163 w 164"/>
                      <a:gd name="T57" fmla="*/ 100 h 703"/>
                      <a:gd name="T58" fmla="*/ 134 w 164"/>
                      <a:gd name="T59" fmla="*/ 81 h 703"/>
                      <a:gd name="T60" fmla="*/ 135 w 164"/>
                      <a:gd name="T61" fmla="*/ 39 h 703"/>
                      <a:gd name="T62" fmla="*/ 116 w 164"/>
                      <a:gd name="T63" fmla="*/ 4 h 703"/>
                      <a:gd name="T64" fmla="*/ 17 w 164"/>
                      <a:gd name="T65" fmla="*/ 22 h 703"/>
                      <a:gd name="T66" fmla="*/ 21 w 164"/>
                      <a:gd name="T67" fmla="*/ 42 h 703"/>
                      <a:gd name="T68" fmla="*/ 35 w 164"/>
                      <a:gd name="T69" fmla="*/ 73 h 703"/>
                      <a:gd name="T70" fmla="*/ 9 w 164"/>
                      <a:gd name="T71" fmla="*/ 80 h 7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164" h="703">
                        <a:moveTo>
                          <a:pt x="9" y="80"/>
                        </a:moveTo>
                        <a:cubicBezTo>
                          <a:pt x="4" y="84"/>
                          <a:pt x="0" y="87"/>
                          <a:pt x="0" y="89"/>
                        </a:cubicBezTo>
                        <a:cubicBezTo>
                          <a:pt x="0" y="91"/>
                          <a:pt x="0" y="95"/>
                          <a:pt x="0" y="98"/>
                        </a:cubicBezTo>
                        <a:cubicBezTo>
                          <a:pt x="1" y="104"/>
                          <a:pt x="10" y="148"/>
                          <a:pt x="10" y="159"/>
                        </a:cubicBezTo>
                        <a:cubicBezTo>
                          <a:pt x="10" y="170"/>
                          <a:pt x="10" y="175"/>
                          <a:pt x="10" y="182"/>
                        </a:cubicBezTo>
                        <a:cubicBezTo>
                          <a:pt x="11" y="188"/>
                          <a:pt x="4" y="224"/>
                          <a:pt x="2" y="246"/>
                        </a:cubicBezTo>
                        <a:cubicBezTo>
                          <a:pt x="0" y="269"/>
                          <a:pt x="1" y="296"/>
                          <a:pt x="2" y="318"/>
                        </a:cubicBezTo>
                        <a:cubicBezTo>
                          <a:pt x="3" y="340"/>
                          <a:pt x="4" y="358"/>
                          <a:pt x="6" y="360"/>
                        </a:cubicBezTo>
                        <a:cubicBezTo>
                          <a:pt x="8" y="361"/>
                          <a:pt x="10" y="362"/>
                          <a:pt x="11" y="362"/>
                        </a:cubicBezTo>
                        <a:cubicBezTo>
                          <a:pt x="13" y="363"/>
                          <a:pt x="15" y="363"/>
                          <a:pt x="15" y="363"/>
                        </a:cubicBezTo>
                        <a:cubicBezTo>
                          <a:pt x="15" y="363"/>
                          <a:pt x="14" y="374"/>
                          <a:pt x="13" y="395"/>
                        </a:cubicBezTo>
                        <a:cubicBezTo>
                          <a:pt x="12" y="416"/>
                          <a:pt x="12" y="454"/>
                          <a:pt x="14" y="470"/>
                        </a:cubicBezTo>
                        <a:cubicBezTo>
                          <a:pt x="16" y="486"/>
                          <a:pt x="17" y="498"/>
                          <a:pt x="18" y="499"/>
                        </a:cubicBezTo>
                        <a:cubicBezTo>
                          <a:pt x="19" y="501"/>
                          <a:pt x="21" y="501"/>
                          <a:pt x="21" y="501"/>
                        </a:cubicBezTo>
                        <a:cubicBezTo>
                          <a:pt x="21" y="501"/>
                          <a:pt x="23" y="517"/>
                          <a:pt x="34" y="535"/>
                        </a:cubicBezTo>
                        <a:cubicBezTo>
                          <a:pt x="45" y="553"/>
                          <a:pt x="49" y="559"/>
                          <a:pt x="53" y="565"/>
                        </a:cubicBezTo>
                        <a:cubicBezTo>
                          <a:pt x="57" y="571"/>
                          <a:pt x="59" y="573"/>
                          <a:pt x="59" y="573"/>
                        </a:cubicBezTo>
                        <a:cubicBezTo>
                          <a:pt x="59" y="573"/>
                          <a:pt x="60" y="595"/>
                          <a:pt x="57" y="609"/>
                        </a:cubicBezTo>
                        <a:cubicBezTo>
                          <a:pt x="55" y="624"/>
                          <a:pt x="54" y="629"/>
                          <a:pt x="52" y="632"/>
                        </a:cubicBezTo>
                        <a:cubicBezTo>
                          <a:pt x="50" y="635"/>
                          <a:pt x="49" y="636"/>
                          <a:pt x="49" y="636"/>
                        </a:cubicBezTo>
                        <a:cubicBezTo>
                          <a:pt x="49" y="636"/>
                          <a:pt x="44" y="635"/>
                          <a:pt x="42" y="639"/>
                        </a:cubicBezTo>
                        <a:cubicBezTo>
                          <a:pt x="40" y="642"/>
                          <a:pt x="34" y="649"/>
                          <a:pt x="31" y="650"/>
                        </a:cubicBezTo>
                        <a:cubicBezTo>
                          <a:pt x="27" y="650"/>
                          <a:pt x="19" y="649"/>
                          <a:pt x="17" y="652"/>
                        </a:cubicBezTo>
                        <a:cubicBezTo>
                          <a:pt x="15" y="654"/>
                          <a:pt x="14" y="657"/>
                          <a:pt x="14" y="661"/>
                        </a:cubicBezTo>
                        <a:cubicBezTo>
                          <a:pt x="13" y="665"/>
                          <a:pt x="13" y="669"/>
                          <a:pt x="15" y="672"/>
                        </a:cubicBezTo>
                        <a:cubicBezTo>
                          <a:pt x="18" y="675"/>
                          <a:pt x="24" y="679"/>
                          <a:pt x="29" y="679"/>
                        </a:cubicBezTo>
                        <a:cubicBezTo>
                          <a:pt x="29" y="679"/>
                          <a:pt x="35" y="680"/>
                          <a:pt x="39" y="681"/>
                        </a:cubicBezTo>
                        <a:cubicBezTo>
                          <a:pt x="43" y="682"/>
                          <a:pt x="49" y="685"/>
                          <a:pt x="54" y="685"/>
                        </a:cubicBezTo>
                        <a:cubicBezTo>
                          <a:pt x="60" y="686"/>
                          <a:pt x="66" y="687"/>
                          <a:pt x="73" y="687"/>
                        </a:cubicBezTo>
                        <a:cubicBezTo>
                          <a:pt x="81" y="686"/>
                          <a:pt x="87" y="686"/>
                          <a:pt x="87" y="686"/>
                        </a:cubicBezTo>
                        <a:cubicBezTo>
                          <a:pt x="87" y="686"/>
                          <a:pt x="91" y="696"/>
                          <a:pt x="97" y="700"/>
                        </a:cubicBezTo>
                        <a:cubicBezTo>
                          <a:pt x="102" y="703"/>
                          <a:pt x="115" y="703"/>
                          <a:pt x="121" y="698"/>
                        </a:cubicBezTo>
                        <a:cubicBezTo>
                          <a:pt x="127" y="693"/>
                          <a:pt x="130" y="686"/>
                          <a:pt x="131" y="674"/>
                        </a:cubicBezTo>
                        <a:cubicBezTo>
                          <a:pt x="131" y="661"/>
                          <a:pt x="131" y="649"/>
                          <a:pt x="130" y="642"/>
                        </a:cubicBezTo>
                        <a:cubicBezTo>
                          <a:pt x="130" y="635"/>
                          <a:pt x="131" y="631"/>
                          <a:pt x="131" y="627"/>
                        </a:cubicBezTo>
                        <a:cubicBezTo>
                          <a:pt x="132" y="623"/>
                          <a:pt x="134" y="611"/>
                          <a:pt x="133" y="600"/>
                        </a:cubicBezTo>
                        <a:cubicBezTo>
                          <a:pt x="132" y="589"/>
                          <a:pt x="130" y="582"/>
                          <a:pt x="121" y="578"/>
                        </a:cubicBezTo>
                        <a:cubicBezTo>
                          <a:pt x="112" y="575"/>
                          <a:pt x="104" y="577"/>
                          <a:pt x="104" y="577"/>
                        </a:cubicBezTo>
                        <a:cubicBezTo>
                          <a:pt x="104" y="577"/>
                          <a:pt x="102" y="575"/>
                          <a:pt x="100" y="572"/>
                        </a:cubicBezTo>
                        <a:cubicBezTo>
                          <a:pt x="98" y="568"/>
                          <a:pt x="97" y="566"/>
                          <a:pt x="97" y="566"/>
                        </a:cubicBezTo>
                        <a:cubicBezTo>
                          <a:pt x="97" y="566"/>
                          <a:pt x="98" y="557"/>
                          <a:pt x="100" y="546"/>
                        </a:cubicBezTo>
                        <a:cubicBezTo>
                          <a:pt x="101" y="536"/>
                          <a:pt x="101" y="522"/>
                          <a:pt x="100" y="507"/>
                        </a:cubicBezTo>
                        <a:cubicBezTo>
                          <a:pt x="98" y="491"/>
                          <a:pt x="98" y="487"/>
                          <a:pt x="98" y="487"/>
                        </a:cubicBezTo>
                        <a:cubicBezTo>
                          <a:pt x="98" y="487"/>
                          <a:pt x="100" y="486"/>
                          <a:pt x="103" y="485"/>
                        </a:cubicBezTo>
                        <a:cubicBezTo>
                          <a:pt x="106" y="484"/>
                          <a:pt x="107" y="484"/>
                          <a:pt x="107" y="482"/>
                        </a:cubicBezTo>
                        <a:cubicBezTo>
                          <a:pt x="107" y="481"/>
                          <a:pt x="108" y="472"/>
                          <a:pt x="109" y="467"/>
                        </a:cubicBezTo>
                        <a:cubicBezTo>
                          <a:pt x="110" y="462"/>
                          <a:pt x="117" y="449"/>
                          <a:pt x="121" y="438"/>
                        </a:cubicBezTo>
                        <a:cubicBezTo>
                          <a:pt x="124" y="427"/>
                          <a:pt x="128" y="415"/>
                          <a:pt x="134" y="397"/>
                        </a:cubicBezTo>
                        <a:cubicBezTo>
                          <a:pt x="139" y="379"/>
                          <a:pt x="142" y="365"/>
                          <a:pt x="142" y="365"/>
                        </a:cubicBezTo>
                        <a:cubicBezTo>
                          <a:pt x="142" y="365"/>
                          <a:pt x="149" y="365"/>
                          <a:pt x="151" y="364"/>
                        </a:cubicBezTo>
                        <a:cubicBezTo>
                          <a:pt x="153" y="364"/>
                          <a:pt x="154" y="359"/>
                          <a:pt x="154" y="354"/>
                        </a:cubicBezTo>
                        <a:cubicBezTo>
                          <a:pt x="154" y="348"/>
                          <a:pt x="155" y="331"/>
                          <a:pt x="155" y="314"/>
                        </a:cubicBezTo>
                        <a:cubicBezTo>
                          <a:pt x="154" y="297"/>
                          <a:pt x="155" y="290"/>
                          <a:pt x="155" y="270"/>
                        </a:cubicBezTo>
                        <a:cubicBezTo>
                          <a:pt x="156" y="250"/>
                          <a:pt x="152" y="229"/>
                          <a:pt x="151" y="210"/>
                        </a:cubicBezTo>
                        <a:cubicBezTo>
                          <a:pt x="150" y="191"/>
                          <a:pt x="152" y="173"/>
                          <a:pt x="153" y="163"/>
                        </a:cubicBezTo>
                        <a:cubicBezTo>
                          <a:pt x="155" y="153"/>
                          <a:pt x="158" y="139"/>
                          <a:pt x="160" y="128"/>
                        </a:cubicBezTo>
                        <a:cubicBezTo>
                          <a:pt x="162" y="117"/>
                          <a:pt x="163" y="110"/>
                          <a:pt x="163" y="107"/>
                        </a:cubicBezTo>
                        <a:cubicBezTo>
                          <a:pt x="163" y="104"/>
                          <a:pt x="164" y="101"/>
                          <a:pt x="163" y="100"/>
                        </a:cubicBezTo>
                        <a:cubicBezTo>
                          <a:pt x="162" y="99"/>
                          <a:pt x="158" y="97"/>
                          <a:pt x="150" y="92"/>
                        </a:cubicBezTo>
                        <a:cubicBezTo>
                          <a:pt x="142" y="87"/>
                          <a:pt x="134" y="81"/>
                          <a:pt x="134" y="81"/>
                        </a:cubicBezTo>
                        <a:cubicBezTo>
                          <a:pt x="134" y="81"/>
                          <a:pt x="136" y="77"/>
                          <a:pt x="138" y="68"/>
                        </a:cubicBezTo>
                        <a:cubicBezTo>
                          <a:pt x="140" y="60"/>
                          <a:pt x="138" y="46"/>
                          <a:pt x="135" y="39"/>
                        </a:cubicBezTo>
                        <a:cubicBezTo>
                          <a:pt x="132" y="32"/>
                          <a:pt x="127" y="24"/>
                          <a:pt x="125" y="19"/>
                        </a:cubicBezTo>
                        <a:cubicBezTo>
                          <a:pt x="122" y="14"/>
                          <a:pt x="116" y="4"/>
                          <a:pt x="116" y="4"/>
                        </a:cubicBezTo>
                        <a:cubicBezTo>
                          <a:pt x="116" y="4"/>
                          <a:pt x="94" y="0"/>
                          <a:pt x="61" y="5"/>
                        </a:cubicBezTo>
                        <a:cubicBezTo>
                          <a:pt x="29" y="9"/>
                          <a:pt x="17" y="22"/>
                          <a:pt x="17" y="22"/>
                        </a:cubicBezTo>
                        <a:cubicBezTo>
                          <a:pt x="17" y="22"/>
                          <a:pt x="17" y="28"/>
                          <a:pt x="17" y="32"/>
                        </a:cubicBezTo>
                        <a:cubicBezTo>
                          <a:pt x="18" y="37"/>
                          <a:pt x="19" y="40"/>
                          <a:pt x="21" y="42"/>
                        </a:cubicBezTo>
                        <a:cubicBezTo>
                          <a:pt x="22" y="43"/>
                          <a:pt x="23" y="51"/>
                          <a:pt x="27" y="59"/>
                        </a:cubicBezTo>
                        <a:cubicBezTo>
                          <a:pt x="30" y="66"/>
                          <a:pt x="35" y="73"/>
                          <a:pt x="35" y="73"/>
                        </a:cubicBezTo>
                        <a:cubicBezTo>
                          <a:pt x="35" y="73"/>
                          <a:pt x="25" y="74"/>
                          <a:pt x="19" y="76"/>
                        </a:cubicBezTo>
                        <a:cubicBezTo>
                          <a:pt x="13" y="78"/>
                          <a:pt x="9" y="80"/>
                          <a:pt x="9" y="8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3" name="Freeform 98"/>
                  <p:cNvSpPr>
                    <a:spLocks/>
                  </p:cNvSpPr>
                  <p:nvPr/>
                </p:nvSpPr>
                <p:spPr bwMode="auto">
                  <a:xfrm>
                    <a:off x="3578225" y="4071938"/>
                    <a:ext cx="11113" cy="17463"/>
                  </a:xfrm>
                  <a:custGeom>
                    <a:avLst/>
                    <a:gdLst>
                      <a:gd name="T0" fmla="*/ 10 w 31"/>
                      <a:gd name="T1" fmla="*/ 1 h 42"/>
                      <a:gd name="T2" fmla="*/ 2 w 31"/>
                      <a:gd name="T3" fmla="*/ 12 h 42"/>
                      <a:gd name="T4" fmla="*/ 1 w 31"/>
                      <a:gd name="T5" fmla="*/ 28 h 42"/>
                      <a:gd name="T6" fmla="*/ 8 w 31"/>
                      <a:gd name="T7" fmla="*/ 36 h 42"/>
                      <a:gd name="T8" fmla="*/ 22 w 31"/>
                      <a:gd name="T9" fmla="*/ 42 h 42"/>
                      <a:gd name="T10" fmla="*/ 31 w 31"/>
                      <a:gd name="T11" fmla="*/ 42 h 42"/>
                      <a:gd name="T12" fmla="*/ 19 w 31"/>
                      <a:gd name="T13" fmla="*/ 2 h 42"/>
                      <a:gd name="T14" fmla="*/ 10 w 31"/>
                      <a:gd name="T15" fmla="*/ 1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31" h="42">
                        <a:moveTo>
                          <a:pt x="10" y="1"/>
                        </a:moveTo>
                        <a:cubicBezTo>
                          <a:pt x="10" y="1"/>
                          <a:pt x="4" y="6"/>
                          <a:pt x="2" y="12"/>
                        </a:cubicBezTo>
                        <a:cubicBezTo>
                          <a:pt x="0" y="18"/>
                          <a:pt x="0" y="25"/>
                          <a:pt x="1" y="28"/>
                        </a:cubicBezTo>
                        <a:cubicBezTo>
                          <a:pt x="2" y="30"/>
                          <a:pt x="4" y="33"/>
                          <a:pt x="8" y="36"/>
                        </a:cubicBezTo>
                        <a:cubicBezTo>
                          <a:pt x="13" y="40"/>
                          <a:pt x="17" y="42"/>
                          <a:pt x="22" y="42"/>
                        </a:cubicBezTo>
                        <a:cubicBezTo>
                          <a:pt x="26" y="42"/>
                          <a:pt x="31" y="42"/>
                          <a:pt x="31" y="42"/>
                        </a:cubicBezTo>
                        <a:cubicBezTo>
                          <a:pt x="31" y="42"/>
                          <a:pt x="21" y="4"/>
                          <a:pt x="19" y="2"/>
                        </a:cubicBezTo>
                        <a:cubicBezTo>
                          <a:pt x="16" y="0"/>
                          <a:pt x="13" y="0"/>
                          <a:pt x="10" y="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4" name="Freeform 99"/>
                  <p:cNvSpPr>
                    <a:spLocks/>
                  </p:cNvSpPr>
                  <p:nvPr/>
                </p:nvSpPr>
                <p:spPr bwMode="auto">
                  <a:xfrm>
                    <a:off x="3581400" y="4062413"/>
                    <a:ext cx="44450" cy="12700"/>
                  </a:xfrm>
                  <a:custGeom>
                    <a:avLst/>
                    <a:gdLst>
                      <a:gd name="T0" fmla="*/ 2 w 112"/>
                      <a:gd name="T1" fmla="*/ 30 h 31"/>
                      <a:gd name="T2" fmla="*/ 9 w 112"/>
                      <a:gd name="T3" fmla="*/ 28 h 31"/>
                      <a:gd name="T4" fmla="*/ 29 w 112"/>
                      <a:gd name="T5" fmla="*/ 19 h 31"/>
                      <a:gd name="T6" fmla="*/ 60 w 112"/>
                      <a:gd name="T7" fmla="*/ 16 h 31"/>
                      <a:gd name="T8" fmla="*/ 99 w 112"/>
                      <a:gd name="T9" fmla="*/ 15 h 31"/>
                      <a:gd name="T10" fmla="*/ 111 w 112"/>
                      <a:gd name="T11" fmla="*/ 19 h 31"/>
                      <a:gd name="T12" fmla="*/ 112 w 112"/>
                      <a:gd name="T13" fmla="*/ 14 h 31"/>
                      <a:gd name="T14" fmla="*/ 111 w 112"/>
                      <a:gd name="T15" fmla="*/ 9 h 31"/>
                      <a:gd name="T16" fmla="*/ 93 w 112"/>
                      <a:gd name="T17" fmla="*/ 2 h 31"/>
                      <a:gd name="T18" fmla="*/ 40 w 112"/>
                      <a:gd name="T19" fmla="*/ 5 h 31"/>
                      <a:gd name="T20" fmla="*/ 1 w 112"/>
                      <a:gd name="T21" fmla="*/ 17 h 31"/>
                      <a:gd name="T22" fmla="*/ 1 w 112"/>
                      <a:gd name="T23" fmla="*/ 24 h 31"/>
                      <a:gd name="T24" fmla="*/ 2 w 112"/>
                      <a:gd name="T25" fmla="*/ 30 h 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2" h="31">
                        <a:moveTo>
                          <a:pt x="2" y="30"/>
                        </a:moveTo>
                        <a:cubicBezTo>
                          <a:pt x="3" y="31"/>
                          <a:pt x="6" y="30"/>
                          <a:pt x="9" y="28"/>
                        </a:cubicBezTo>
                        <a:cubicBezTo>
                          <a:pt x="12" y="26"/>
                          <a:pt x="22" y="22"/>
                          <a:pt x="29" y="19"/>
                        </a:cubicBezTo>
                        <a:cubicBezTo>
                          <a:pt x="36" y="17"/>
                          <a:pt x="49" y="16"/>
                          <a:pt x="60" y="16"/>
                        </a:cubicBezTo>
                        <a:cubicBezTo>
                          <a:pt x="72" y="15"/>
                          <a:pt x="92" y="13"/>
                          <a:pt x="99" y="15"/>
                        </a:cubicBezTo>
                        <a:cubicBezTo>
                          <a:pt x="106" y="17"/>
                          <a:pt x="111" y="20"/>
                          <a:pt x="111" y="19"/>
                        </a:cubicBezTo>
                        <a:cubicBezTo>
                          <a:pt x="112" y="17"/>
                          <a:pt x="112" y="16"/>
                          <a:pt x="112" y="14"/>
                        </a:cubicBezTo>
                        <a:cubicBezTo>
                          <a:pt x="112" y="11"/>
                          <a:pt x="111" y="9"/>
                          <a:pt x="111" y="9"/>
                        </a:cubicBezTo>
                        <a:cubicBezTo>
                          <a:pt x="111" y="9"/>
                          <a:pt x="108" y="4"/>
                          <a:pt x="93" y="2"/>
                        </a:cubicBezTo>
                        <a:cubicBezTo>
                          <a:pt x="78" y="0"/>
                          <a:pt x="62" y="1"/>
                          <a:pt x="40" y="5"/>
                        </a:cubicBezTo>
                        <a:cubicBezTo>
                          <a:pt x="20" y="9"/>
                          <a:pt x="1" y="17"/>
                          <a:pt x="1" y="17"/>
                        </a:cubicBezTo>
                        <a:cubicBezTo>
                          <a:pt x="1" y="17"/>
                          <a:pt x="0" y="20"/>
                          <a:pt x="1" y="24"/>
                        </a:cubicBezTo>
                        <a:cubicBezTo>
                          <a:pt x="1" y="28"/>
                          <a:pt x="1" y="30"/>
                          <a:pt x="2" y="3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5" name="Freeform 100"/>
                  <p:cNvSpPr>
                    <a:spLocks/>
                  </p:cNvSpPr>
                  <p:nvPr/>
                </p:nvSpPr>
                <p:spPr bwMode="auto">
                  <a:xfrm>
                    <a:off x="3581400" y="4043363"/>
                    <a:ext cx="44450" cy="26988"/>
                  </a:xfrm>
                  <a:custGeom>
                    <a:avLst/>
                    <a:gdLst>
                      <a:gd name="T0" fmla="*/ 112 w 114"/>
                      <a:gd name="T1" fmla="*/ 56 h 68"/>
                      <a:gd name="T2" fmla="*/ 112 w 114"/>
                      <a:gd name="T3" fmla="*/ 46 h 68"/>
                      <a:gd name="T4" fmla="*/ 100 w 114"/>
                      <a:gd name="T5" fmla="*/ 21 h 68"/>
                      <a:gd name="T6" fmla="*/ 80 w 114"/>
                      <a:gd name="T7" fmla="*/ 5 h 68"/>
                      <a:gd name="T8" fmla="*/ 48 w 114"/>
                      <a:gd name="T9" fmla="*/ 1 h 68"/>
                      <a:gd name="T10" fmla="*/ 15 w 114"/>
                      <a:gd name="T11" fmla="*/ 24 h 68"/>
                      <a:gd name="T12" fmla="*/ 3 w 114"/>
                      <a:gd name="T13" fmla="*/ 53 h 68"/>
                      <a:gd name="T14" fmla="*/ 2 w 114"/>
                      <a:gd name="T15" fmla="*/ 64 h 68"/>
                      <a:gd name="T16" fmla="*/ 9 w 114"/>
                      <a:gd name="T17" fmla="*/ 67 h 68"/>
                      <a:gd name="T18" fmla="*/ 54 w 114"/>
                      <a:gd name="T19" fmla="*/ 57 h 68"/>
                      <a:gd name="T20" fmla="*/ 112 w 114"/>
                      <a:gd name="T21" fmla="*/ 56 h 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14" h="68">
                        <a:moveTo>
                          <a:pt x="112" y="56"/>
                        </a:moveTo>
                        <a:cubicBezTo>
                          <a:pt x="112" y="56"/>
                          <a:pt x="114" y="55"/>
                          <a:pt x="112" y="46"/>
                        </a:cubicBezTo>
                        <a:cubicBezTo>
                          <a:pt x="110" y="38"/>
                          <a:pt x="105" y="27"/>
                          <a:pt x="100" y="21"/>
                        </a:cubicBezTo>
                        <a:cubicBezTo>
                          <a:pt x="96" y="16"/>
                          <a:pt x="90" y="9"/>
                          <a:pt x="80" y="5"/>
                        </a:cubicBezTo>
                        <a:cubicBezTo>
                          <a:pt x="70" y="1"/>
                          <a:pt x="59" y="0"/>
                          <a:pt x="48" y="1"/>
                        </a:cubicBezTo>
                        <a:cubicBezTo>
                          <a:pt x="37" y="3"/>
                          <a:pt x="22" y="12"/>
                          <a:pt x="15" y="24"/>
                        </a:cubicBezTo>
                        <a:cubicBezTo>
                          <a:pt x="8" y="37"/>
                          <a:pt x="5" y="44"/>
                          <a:pt x="3" y="53"/>
                        </a:cubicBezTo>
                        <a:cubicBezTo>
                          <a:pt x="0" y="63"/>
                          <a:pt x="2" y="64"/>
                          <a:pt x="2" y="64"/>
                        </a:cubicBezTo>
                        <a:cubicBezTo>
                          <a:pt x="2" y="64"/>
                          <a:pt x="3" y="68"/>
                          <a:pt x="9" y="67"/>
                        </a:cubicBezTo>
                        <a:cubicBezTo>
                          <a:pt x="14" y="66"/>
                          <a:pt x="40" y="60"/>
                          <a:pt x="54" y="57"/>
                        </a:cubicBezTo>
                        <a:cubicBezTo>
                          <a:pt x="69" y="55"/>
                          <a:pt x="107" y="58"/>
                          <a:pt x="112" y="5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6" name="Freeform 101"/>
                  <p:cNvSpPr>
                    <a:spLocks/>
                  </p:cNvSpPr>
                  <p:nvPr/>
                </p:nvSpPr>
                <p:spPr bwMode="auto">
                  <a:xfrm>
                    <a:off x="3446463" y="3940175"/>
                    <a:ext cx="44450" cy="76200"/>
                  </a:xfrm>
                  <a:custGeom>
                    <a:avLst/>
                    <a:gdLst>
                      <a:gd name="T0" fmla="*/ 49 w 114"/>
                      <a:gd name="T1" fmla="*/ 0 h 194"/>
                      <a:gd name="T2" fmla="*/ 71 w 114"/>
                      <a:gd name="T3" fmla="*/ 62 h 194"/>
                      <a:gd name="T4" fmla="*/ 94 w 114"/>
                      <a:gd name="T5" fmla="*/ 144 h 194"/>
                      <a:gd name="T6" fmla="*/ 114 w 114"/>
                      <a:gd name="T7" fmla="*/ 194 h 194"/>
                      <a:gd name="T8" fmla="*/ 47 w 114"/>
                      <a:gd name="T9" fmla="*/ 160 h 194"/>
                      <a:gd name="T10" fmla="*/ 0 w 114"/>
                      <a:gd name="T11" fmla="*/ 70 h 194"/>
                      <a:gd name="T12" fmla="*/ 49 w 114"/>
                      <a:gd name="T13" fmla="*/ 0 h 1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14" h="194">
                        <a:moveTo>
                          <a:pt x="49" y="0"/>
                        </a:moveTo>
                        <a:cubicBezTo>
                          <a:pt x="49" y="0"/>
                          <a:pt x="61" y="36"/>
                          <a:pt x="71" y="62"/>
                        </a:cubicBezTo>
                        <a:cubicBezTo>
                          <a:pt x="80" y="88"/>
                          <a:pt x="76" y="118"/>
                          <a:pt x="94" y="144"/>
                        </a:cubicBezTo>
                        <a:cubicBezTo>
                          <a:pt x="112" y="170"/>
                          <a:pt x="114" y="194"/>
                          <a:pt x="114" y="194"/>
                        </a:cubicBezTo>
                        <a:cubicBezTo>
                          <a:pt x="47" y="160"/>
                          <a:pt x="47" y="160"/>
                          <a:pt x="47" y="160"/>
                        </a:cubicBezTo>
                        <a:cubicBezTo>
                          <a:pt x="0" y="70"/>
                          <a:pt x="0" y="70"/>
                          <a:pt x="0" y="70"/>
                        </a:cubicBezTo>
                        <a:lnTo>
                          <a:pt x="49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7" name="Freeform 102"/>
                  <p:cNvSpPr>
                    <a:spLocks/>
                  </p:cNvSpPr>
                  <p:nvPr/>
                </p:nvSpPr>
                <p:spPr bwMode="auto">
                  <a:xfrm>
                    <a:off x="4238625" y="4179888"/>
                    <a:ext cx="19050" cy="30163"/>
                  </a:xfrm>
                  <a:custGeom>
                    <a:avLst/>
                    <a:gdLst>
                      <a:gd name="T0" fmla="*/ 41 w 50"/>
                      <a:gd name="T1" fmla="*/ 11 h 75"/>
                      <a:gd name="T2" fmla="*/ 39 w 50"/>
                      <a:gd name="T3" fmla="*/ 18 h 75"/>
                      <a:gd name="T4" fmla="*/ 38 w 50"/>
                      <a:gd name="T5" fmla="*/ 22 h 75"/>
                      <a:gd name="T6" fmla="*/ 45 w 50"/>
                      <a:gd name="T7" fmla="*/ 46 h 75"/>
                      <a:gd name="T8" fmla="*/ 50 w 50"/>
                      <a:gd name="T9" fmla="*/ 60 h 75"/>
                      <a:gd name="T10" fmla="*/ 42 w 50"/>
                      <a:gd name="T11" fmla="*/ 71 h 75"/>
                      <a:gd name="T12" fmla="*/ 22 w 50"/>
                      <a:gd name="T13" fmla="*/ 75 h 75"/>
                      <a:gd name="T14" fmla="*/ 14 w 50"/>
                      <a:gd name="T15" fmla="*/ 69 h 75"/>
                      <a:gd name="T16" fmla="*/ 11 w 50"/>
                      <a:gd name="T17" fmla="*/ 56 h 75"/>
                      <a:gd name="T18" fmla="*/ 9 w 50"/>
                      <a:gd name="T19" fmla="*/ 33 h 75"/>
                      <a:gd name="T20" fmla="*/ 7 w 50"/>
                      <a:gd name="T21" fmla="*/ 27 h 75"/>
                      <a:gd name="T22" fmla="*/ 2 w 50"/>
                      <a:gd name="T23" fmla="*/ 24 h 75"/>
                      <a:gd name="T24" fmla="*/ 0 w 50"/>
                      <a:gd name="T25" fmla="*/ 18 h 75"/>
                      <a:gd name="T26" fmla="*/ 2 w 50"/>
                      <a:gd name="T27" fmla="*/ 10 h 75"/>
                      <a:gd name="T28" fmla="*/ 36 w 50"/>
                      <a:gd name="T29" fmla="*/ 4 h 75"/>
                      <a:gd name="T30" fmla="*/ 41 w 50"/>
                      <a:gd name="T31" fmla="*/ 11 h 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50" h="75">
                        <a:moveTo>
                          <a:pt x="41" y="11"/>
                        </a:moveTo>
                        <a:cubicBezTo>
                          <a:pt x="42" y="14"/>
                          <a:pt x="40" y="16"/>
                          <a:pt x="39" y="18"/>
                        </a:cubicBezTo>
                        <a:cubicBezTo>
                          <a:pt x="38" y="20"/>
                          <a:pt x="37" y="21"/>
                          <a:pt x="38" y="22"/>
                        </a:cubicBezTo>
                        <a:cubicBezTo>
                          <a:pt x="38" y="24"/>
                          <a:pt x="43" y="40"/>
                          <a:pt x="45" y="46"/>
                        </a:cubicBezTo>
                        <a:cubicBezTo>
                          <a:pt x="47" y="52"/>
                          <a:pt x="49" y="58"/>
                          <a:pt x="50" y="60"/>
                        </a:cubicBezTo>
                        <a:cubicBezTo>
                          <a:pt x="50" y="63"/>
                          <a:pt x="49" y="68"/>
                          <a:pt x="42" y="71"/>
                        </a:cubicBezTo>
                        <a:cubicBezTo>
                          <a:pt x="35" y="74"/>
                          <a:pt x="27" y="75"/>
                          <a:pt x="22" y="75"/>
                        </a:cubicBezTo>
                        <a:cubicBezTo>
                          <a:pt x="18" y="75"/>
                          <a:pt x="15" y="72"/>
                          <a:pt x="14" y="69"/>
                        </a:cubicBezTo>
                        <a:cubicBezTo>
                          <a:pt x="13" y="67"/>
                          <a:pt x="11" y="60"/>
                          <a:pt x="11" y="56"/>
                        </a:cubicBezTo>
                        <a:cubicBezTo>
                          <a:pt x="10" y="53"/>
                          <a:pt x="9" y="36"/>
                          <a:pt x="9" y="33"/>
                        </a:cubicBezTo>
                        <a:cubicBezTo>
                          <a:pt x="9" y="30"/>
                          <a:pt x="9" y="29"/>
                          <a:pt x="7" y="27"/>
                        </a:cubicBezTo>
                        <a:cubicBezTo>
                          <a:pt x="6" y="26"/>
                          <a:pt x="3" y="25"/>
                          <a:pt x="2" y="24"/>
                        </a:cubicBezTo>
                        <a:cubicBezTo>
                          <a:pt x="1" y="23"/>
                          <a:pt x="0" y="21"/>
                          <a:pt x="0" y="18"/>
                        </a:cubicBezTo>
                        <a:cubicBezTo>
                          <a:pt x="0" y="16"/>
                          <a:pt x="0" y="12"/>
                          <a:pt x="2" y="10"/>
                        </a:cubicBezTo>
                        <a:cubicBezTo>
                          <a:pt x="3" y="7"/>
                          <a:pt x="33" y="0"/>
                          <a:pt x="36" y="4"/>
                        </a:cubicBezTo>
                        <a:cubicBezTo>
                          <a:pt x="39" y="8"/>
                          <a:pt x="41" y="9"/>
                          <a:pt x="41" y="1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8" name="Freeform 103"/>
                  <p:cNvSpPr>
                    <a:spLocks/>
                  </p:cNvSpPr>
                  <p:nvPr/>
                </p:nvSpPr>
                <p:spPr bwMode="auto">
                  <a:xfrm>
                    <a:off x="4237038" y="4175125"/>
                    <a:ext cx="17463" cy="11113"/>
                  </a:xfrm>
                  <a:custGeom>
                    <a:avLst/>
                    <a:gdLst>
                      <a:gd name="T0" fmla="*/ 17 w 43"/>
                      <a:gd name="T1" fmla="*/ 28 h 28"/>
                      <a:gd name="T2" fmla="*/ 2 w 43"/>
                      <a:gd name="T3" fmla="*/ 25 h 28"/>
                      <a:gd name="T4" fmla="*/ 1 w 43"/>
                      <a:gd name="T5" fmla="*/ 14 h 28"/>
                      <a:gd name="T6" fmla="*/ 13 w 43"/>
                      <a:gd name="T7" fmla="*/ 3 h 28"/>
                      <a:gd name="T8" fmla="*/ 34 w 43"/>
                      <a:gd name="T9" fmla="*/ 2 h 28"/>
                      <a:gd name="T10" fmla="*/ 42 w 43"/>
                      <a:gd name="T11" fmla="*/ 10 h 28"/>
                      <a:gd name="T12" fmla="*/ 42 w 43"/>
                      <a:gd name="T13" fmla="*/ 17 h 28"/>
                      <a:gd name="T14" fmla="*/ 34 w 43"/>
                      <a:gd name="T15" fmla="*/ 24 h 28"/>
                      <a:gd name="T16" fmla="*/ 17 w 43"/>
                      <a:gd name="T17" fmla="*/ 28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3" h="28">
                        <a:moveTo>
                          <a:pt x="17" y="28"/>
                        </a:moveTo>
                        <a:cubicBezTo>
                          <a:pt x="11" y="28"/>
                          <a:pt x="3" y="27"/>
                          <a:pt x="2" y="25"/>
                        </a:cubicBezTo>
                        <a:cubicBezTo>
                          <a:pt x="1" y="23"/>
                          <a:pt x="0" y="16"/>
                          <a:pt x="1" y="14"/>
                        </a:cubicBezTo>
                        <a:cubicBezTo>
                          <a:pt x="2" y="11"/>
                          <a:pt x="7" y="5"/>
                          <a:pt x="13" y="3"/>
                        </a:cubicBezTo>
                        <a:cubicBezTo>
                          <a:pt x="19" y="1"/>
                          <a:pt x="29" y="0"/>
                          <a:pt x="34" y="2"/>
                        </a:cubicBezTo>
                        <a:cubicBezTo>
                          <a:pt x="38" y="4"/>
                          <a:pt x="40" y="6"/>
                          <a:pt x="42" y="10"/>
                        </a:cubicBezTo>
                        <a:cubicBezTo>
                          <a:pt x="43" y="14"/>
                          <a:pt x="43" y="16"/>
                          <a:pt x="42" y="17"/>
                        </a:cubicBezTo>
                        <a:cubicBezTo>
                          <a:pt x="42" y="18"/>
                          <a:pt x="38" y="22"/>
                          <a:pt x="34" y="24"/>
                        </a:cubicBezTo>
                        <a:cubicBezTo>
                          <a:pt x="30" y="26"/>
                          <a:pt x="24" y="27"/>
                          <a:pt x="17" y="2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39" name="Freeform 104"/>
                  <p:cNvSpPr>
                    <a:spLocks/>
                  </p:cNvSpPr>
                  <p:nvPr/>
                </p:nvSpPr>
                <p:spPr bwMode="auto">
                  <a:xfrm>
                    <a:off x="4225925" y="4187825"/>
                    <a:ext cx="31750" cy="30163"/>
                  </a:xfrm>
                  <a:custGeom>
                    <a:avLst/>
                    <a:gdLst>
                      <a:gd name="T0" fmla="*/ 0 w 79"/>
                      <a:gd name="T1" fmla="*/ 67 h 76"/>
                      <a:gd name="T2" fmla="*/ 8 w 79"/>
                      <a:gd name="T3" fmla="*/ 73 h 76"/>
                      <a:gd name="T4" fmla="*/ 18 w 79"/>
                      <a:gd name="T5" fmla="*/ 74 h 76"/>
                      <a:gd name="T6" fmla="*/ 33 w 79"/>
                      <a:gd name="T7" fmla="*/ 61 h 76"/>
                      <a:gd name="T8" fmla="*/ 52 w 79"/>
                      <a:gd name="T9" fmla="*/ 35 h 76"/>
                      <a:gd name="T10" fmla="*/ 62 w 79"/>
                      <a:gd name="T11" fmla="*/ 33 h 76"/>
                      <a:gd name="T12" fmla="*/ 71 w 79"/>
                      <a:gd name="T13" fmla="*/ 32 h 76"/>
                      <a:gd name="T14" fmla="*/ 79 w 79"/>
                      <a:gd name="T15" fmla="*/ 29 h 76"/>
                      <a:gd name="T16" fmla="*/ 75 w 79"/>
                      <a:gd name="T17" fmla="*/ 27 h 76"/>
                      <a:gd name="T18" fmla="*/ 67 w 79"/>
                      <a:gd name="T19" fmla="*/ 25 h 76"/>
                      <a:gd name="T20" fmla="*/ 68 w 79"/>
                      <a:gd name="T21" fmla="*/ 22 h 76"/>
                      <a:gd name="T22" fmla="*/ 76 w 79"/>
                      <a:gd name="T23" fmla="*/ 17 h 76"/>
                      <a:gd name="T24" fmla="*/ 76 w 79"/>
                      <a:gd name="T25" fmla="*/ 11 h 76"/>
                      <a:gd name="T26" fmla="*/ 74 w 79"/>
                      <a:gd name="T27" fmla="*/ 10 h 76"/>
                      <a:gd name="T28" fmla="*/ 74 w 79"/>
                      <a:gd name="T29" fmla="*/ 6 h 76"/>
                      <a:gd name="T30" fmla="*/ 72 w 79"/>
                      <a:gd name="T31" fmla="*/ 3 h 76"/>
                      <a:gd name="T32" fmla="*/ 72 w 79"/>
                      <a:gd name="T33" fmla="*/ 1 h 76"/>
                      <a:gd name="T34" fmla="*/ 69 w 79"/>
                      <a:gd name="T35" fmla="*/ 1 h 76"/>
                      <a:gd name="T36" fmla="*/ 59 w 79"/>
                      <a:gd name="T37" fmla="*/ 3 h 76"/>
                      <a:gd name="T38" fmla="*/ 50 w 79"/>
                      <a:gd name="T39" fmla="*/ 8 h 76"/>
                      <a:gd name="T40" fmla="*/ 45 w 79"/>
                      <a:gd name="T41" fmla="*/ 10 h 76"/>
                      <a:gd name="T42" fmla="*/ 41 w 79"/>
                      <a:gd name="T43" fmla="*/ 8 h 76"/>
                      <a:gd name="T44" fmla="*/ 37 w 79"/>
                      <a:gd name="T45" fmla="*/ 10 h 76"/>
                      <a:gd name="T46" fmla="*/ 37 w 79"/>
                      <a:gd name="T47" fmla="*/ 15 h 76"/>
                      <a:gd name="T48" fmla="*/ 38 w 79"/>
                      <a:gd name="T49" fmla="*/ 21 h 76"/>
                      <a:gd name="T50" fmla="*/ 34 w 79"/>
                      <a:gd name="T51" fmla="*/ 29 h 76"/>
                      <a:gd name="T52" fmla="*/ 23 w 79"/>
                      <a:gd name="T53" fmla="*/ 39 h 76"/>
                      <a:gd name="T54" fmla="*/ 15 w 79"/>
                      <a:gd name="T55" fmla="*/ 45 h 76"/>
                      <a:gd name="T56" fmla="*/ 0 w 79"/>
                      <a:gd name="T57" fmla="*/ 67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79" h="76">
                        <a:moveTo>
                          <a:pt x="0" y="67"/>
                        </a:moveTo>
                        <a:cubicBezTo>
                          <a:pt x="0" y="67"/>
                          <a:pt x="5" y="71"/>
                          <a:pt x="8" y="73"/>
                        </a:cubicBezTo>
                        <a:cubicBezTo>
                          <a:pt x="11" y="76"/>
                          <a:pt x="15" y="75"/>
                          <a:pt x="18" y="74"/>
                        </a:cubicBezTo>
                        <a:cubicBezTo>
                          <a:pt x="20" y="72"/>
                          <a:pt x="29" y="65"/>
                          <a:pt x="33" y="61"/>
                        </a:cubicBezTo>
                        <a:cubicBezTo>
                          <a:pt x="37" y="56"/>
                          <a:pt x="50" y="37"/>
                          <a:pt x="52" y="35"/>
                        </a:cubicBezTo>
                        <a:cubicBezTo>
                          <a:pt x="54" y="34"/>
                          <a:pt x="60" y="33"/>
                          <a:pt x="62" y="33"/>
                        </a:cubicBezTo>
                        <a:cubicBezTo>
                          <a:pt x="64" y="32"/>
                          <a:pt x="68" y="32"/>
                          <a:pt x="71" y="32"/>
                        </a:cubicBezTo>
                        <a:cubicBezTo>
                          <a:pt x="73" y="32"/>
                          <a:pt x="79" y="31"/>
                          <a:pt x="79" y="29"/>
                        </a:cubicBezTo>
                        <a:cubicBezTo>
                          <a:pt x="79" y="27"/>
                          <a:pt x="77" y="28"/>
                          <a:pt x="75" y="27"/>
                        </a:cubicBezTo>
                        <a:cubicBezTo>
                          <a:pt x="73" y="27"/>
                          <a:pt x="68" y="26"/>
                          <a:pt x="67" y="25"/>
                        </a:cubicBezTo>
                        <a:cubicBezTo>
                          <a:pt x="67" y="24"/>
                          <a:pt x="67" y="22"/>
                          <a:pt x="68" y="22"/>
                        </a:cubicBezTo>
                        <a:cubicBezTo>
                          <a:pt x="70" y="21"/>
                          <a:pt x="74" y="19"/>
                          <a:pt x="76" y="17"/>
                        </a:cubicBezTo>
                        <a:cubicBezTo>
                          <a:pt x="77" y="14"/>
                          <a:pt x="77" y="13"/>
                          <a:pt x="76" y="11"/>
                        </a:cubicBezTo>
                        <a:cubicBezTo>
                          <a:pt x="76" y="10"/>
                          <a:pt x="74" y="10"/>
                          <a:pt x="74" y="10"/>
                        </a:cubicBezTo>
                        <a:cubicBezTo>
                          <a:pt x="74" y="10"/>
                          <a:pt x="75" y="7"/>
                          <a:pt x="74" y="6"/>
                        </a:cubicBezTo>
                        <a:cubicBezTo>
                          <a:pt x="73" y="4"/>
                          <a:pt x="72" y="3"/>
                          <a:pt x="72" y="3"/>
                        </a:cubicBezTo>
                        <a:cubicBezTo>
                          <a:pt x="72" y="3"/>
                          <a:pt x="72" y="3"/>
                          <a:pt x="72" y="1"/>
                        </a:cubicBezTo>
                        <a:cubicBezTo>
                          <a:pt x="71" y="0"/>
                          <a:pt x="70" y="0"/>
                          <a:pt x="69" y="1"/>
                        </a:cubicBezTo>
                        <a:cubicBezTo>
                          <a:pt x="68" y="1"/>
                          <a:pt x="63" y="2"/>
                          <a:pt x="59" y="3"/>
                        </a:cubicBezTo>
                        <a:cubicBezTo>
                          <a:pt x="56" y="5"/>
                          <a:pt x="53" y="7"/>
                          <a:pt x="50" y="8"/>
                        </a:cubicBezTo>
                        <a:cubicBezTo>
                          <a:pt x="47" y="10"/>
                          <a:pt x="47" y="10"/>
                          <a:pt x="45" y="10"/>
                        </a:cubicBezTo>
                        <a:cubicBezTo>
                          <a:pt x="43" y="10"/>
                          <a:pt x="41" y="8"/>
                          <a:pt x="41" y="8"/>
                        </a:cubicBezTo>
                        <a:cubicBezTo>
                          <a:pt x="41" y="8"/>
                          <a:pt x="38" y="8"/>
                          <a:pt x="37" y="10"/>
                        </a:cubicBezTo>
                        <a:cubicBezTo>
                          <a:pt x="36" y="12"/>
                          <a:pt x="36" y="13"/>
                          <a:pt x="37" y="15"/>
                        </a:cubicBezTo>
                        <a:cubicBezTo>
                          <a:pt x="38" y="16"/>
                          <a:pt x="38" y="18"/>
                          <a:pt x="38" y="21"/>
                        </a:cubicBezTo>
                        <a:cubicBezTo>
                          <a:pt x="38" y="24"/>
                          <a:pt x="36" y="25"/>
                          <a:pt x="34" y="29"/>
                        </a:cubicBezTo>
                        <a:cubicBezTo>
                          <a:pt x="31" y="33"/>
                          <a:pt x="27" y="37"/>
                          <a:pt x="23" y="39"/>
                        </a:cubicBezTo>
                        <a:cubicBezTo>
                          <a:pt x="19" y="42"/>
                          <a:pt x="15" y="45"/>
                          <a:pt x="15" y="45"/>
                        </a:cubicBezTo>
                        <a:lnTo>
                          <a:pt x="0" y="67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0" name="Freeform 105"/>
                  <p:cNvSpPr>
                    <a:spLocks/>
                  </p:cNvSpPr>
                  <p:nvPr/>
                </p:nvSpPr>
                <p:spPr bwMode="auto">
                  <a:xfrm>
                    <a:off x="4176713" y="4170363"/>
                    <a:ext cx="57150" cy="158750"/>
                  </a:xfrm>
                  <a:custGeom>
                    <a:avLst/>
                    <a:gdLst>
                      <a:gd name="T0" fmla="*/ 128 w 144"/>
                      <a:gd name="T1" fmla="*/ 64 h 405"/>
                      <a:gd name="T2" fmla="*/ 143 w 144"/>
                      <a:gd name="T3" fmla="*/ 95 h 405"/>
                      <a:gd name="T4" fmla="*/ 132 w 144"/>
                      <a:gd name="T5" fmla="*/ 110 h 405"/>
                      <a:gd name="T6" fmla="*/ 122 w 144"/>
                      <a:gd name="T7" fmla="*/ 116 h 405"/>
                      <a:gd name="T8" fmla="*/ 123 w 144"/>
                      <a:gd name="T9" fmla="*/ 142 h 405"/>
                      <a:gd name="T10" fmla="*/ 110 w 144"/>
                      <a:gd name="T11" fmla="*/ 189 h 405"/>
                      <a:gd name="T12" fmla="*/ 103 w 144"/>
                      <a:gd name="T13" fmla="*/ 192 h 405"/>
                      <a:gd name="T14" fmla="*/ 106 w 144"/>
                      <a:gd name="T15" fmla="*/ 222 h 405"/>
                      <a:gd name="T16" fmla="*/ 111 w 144"/>
                      <a:gd name="T17" fmla="*/ 280 h 405"/>
                      <a:gd name="T18" fmla="*/ 108 w 144"/>
                      <a:gd name="T19" fmla="*/ 303 h 405"/>
                      <a:gd name="T20" fmla="*/ 97 w 144"/>
                      <a:gd name="T21" fmla="*/ 305 h 405"/>
                      <a:gd name="T22" fmla="*/ 95 w 144"/>
                      <a:gd name="T23" fmla="*/ 335 h 405"/>
                      <a:gd name="T24" fmla="*/ 90 w 144"/>
                      <a:gd name="T25" fmla="*/ 368 h 405"/>
                      <a:gd name="T26" fmla="*/ 105 w 144"/>
                      <a:gd name="T27" fmla="*/ 379 h 405"/>
                      <a:gd name="T28" fmla="*/ 122 w 144"/>
                      <a:gd name="T29" fmla="*/ 389 h 405"/>
                      <a:gd name="T30" fmla="*/ 126 w 144"/>
                      <a:gd name="T31" fmla="*/ 397 h 405"/>
                      <a:gd name="T32" fmla="*/ 118 w 144"/>
                      <a:gd name="T33" fmla="*/ 404 h 405"/>
                      <a:gd name="T34" fmla="*/ 83 w 144"/>
                      <a:gd name="T35" fmla="*/ 403 h 405"/>
                      <a:gd name="T36" fmla="*/ 51 w 144"/>
                      <a:gd name="T37" fmla="*/ 397 h 405"/>
                      <a:gd name="T38" fmla="*/ 28 w 144"/>
                      <a:gd name="T39" fmla="*/ 397 h 405"/>
                      <a:gd name="T40" fmla="*/ 18 w 144"/>
                      <a:gd name="T41" fmla="*/ 387 h 405"/>
                      <a:gd name="T42" fmla="*/ 24 w 144"/>
                      <a:gd name="T43" fmla="*/ 366 h 405"/>
                      <a:gd name="T44" fmla="*/ 28 w 144"/>
                      <a:gd name="T45" fmla="*/ 360 h 405"/>
                      <a:gd name="T46" fmla="*/ 26 w 144"/>
                      <a:gd name="T47" fmla="*/ 331 h 405"/>
                      <a:gd name="T48" fmla="*/ 25 w 144"/>
                      <a:gd name="T49" fmla="*/ 309 h 405"/>
                      <a:gd name="T50" fmla="*/ 16 w 144"/>
                      <a:gd name="T51" fmla="*/ 307 h 405"/>
                      <a:gd name="T52" fmla="*/ 10 w 144"/>
                      <a:gd name="T53" fmla="*/ 292 h 405"/>
                      <a:gd name="T54" fmla="*/ 2 w 144"/>
                      <a:gd name="T55" fmla="*/ 223 h 405"/>
                      <a:gd name="T56" fmla="*/ 7 w 144"/>
                      <a:gd name="T57" fmla="*/ 176 h 405"/>
                      <a:gd name="T58" fmla="*/ 12 w 144"/>
                      <a:gd name="T59" fmla="*/ 164 h 405"/>
                      <a:gd name="T60" fmla="*/ 10 w 144"/>
                      <a:gd name="T61" fmla="*/ 140 h 405"/>
                      <a:gd name="T62" fmla="*/ 5 w 144"/>
                      <a:gd name="T63" fmla="*/ 100 h 405"/>
                      <a:gd name="T64" fmla="*/ 14 w 144"/>
                      <a:gd name="T65" fmla="*/ 51 h 405"/>
                      <a:gd name="T66" fmla="*/ 25 w 144"/>
                      <a:gd name="T67" fmla="*/ 38 h 405"/>
                      <a:gd name="T68" fmla="*/ 37 w 144"/>
                      <a:gd name="T69" fmla="*/ 34 h 405"/>
                      <a:gd name="T70" fmla="*/ 36 w 144"/>
                      <a:gd name="T71" fmla="*/ 29 h 405"/>
                      <a:gd name="T72" fmla="*/ 36 w 144"/>
                      <a:gd name="T73" fmla="*/ 14 h 405"/>
                      <a:gd name="T74" fmla="*/ 116 w 144"/>
                      <a:gd name="T75" fmla="*/ 0 h 405"/>
                      <a:gd name="T76" fmla="*/ 110 w 144"/>
                      <a:gd name="T77" fmla="*/ 13 h 405"/>
                      <a:gd name="T78" fmla="*/ 103 w 144"/>
                      <a:gd name="T79" fmla="*/ 24 h 405"/>
                      <a:gd name="T80" fmla="*/ 93 w 144"/>
                      <a:gd name="T81" fmla="*/ 29 h 405"/>
                      <a:gd name="T82" fmla="*/ 84 w 144"/>
                      <a:gd name="T83" fmla="*/ 29 h 405"/>
                      <a:gd name="T84" fmla="*/ 84 w 144"/>
                      <a:gd name="T85" fmla="*/ 30 h 405"/>
                      <a:gd name="T86" fmla="*/ 84 w 144"/>
                      <a:gd name="T87" fmla="*/ 31 h 405"/>
                      <a:gd name="T88" fmla="*/ 88 w 144"/>
                      <a:gd name="T89" fmla="*/ 32 h 405"/>
                      <a:gd name="T90" fmla="*/ 97 w 144"/>
                      <a:gd name="T91" fmla="*/ 38 h 405"/>
                      <a:gd name="T92" fmla="*/ 115 w 144"/>
                      <a:gd name="T93" fmla="*/ 48 h 405"/>
                      <a:gd name="T94" fmla="*/ 128 w 144"/>
                      <a:gd name="T95" fmla="*/ 64 h 4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44" h="405">
                        <a:moveTo>
                          <a:pt x="128" y="64"/>
                        </a:moveTo>
                        <a:cubicBezTo>
                          <a:pt x="136" y="79"/>
                          <a:pt x="144" y="92"/>
                          <a:pt x="143" y="95"/>
                        </a:cubicBezTo>
                        <a:cubicBezTo>
                          <a:pt x="142" y="98"/>
                          <a:pt x="137" y="105"/>
                          <a:pt x="132" y="110"/>
                        </a:cubicBezTo>
                        <a:cubicBezTo>
                          <a:pt x="126" y="115"/>
                          <a:pt x="122" y="116"/>
                          <a:pt x="122" y="116"/>
                        </a:cubicBezTo>
                        <a:cubicBezTo>
                          <a:pt x="122" y="116"/>
                          <a:pt x="124" y="125"/>
                          <a:pt x="123" y="142"/>
                        </a:cubicBezTo>
                        <a:cubicBezTo>
                          <a:pt x="122" y="159"/>
                          <a:pt x="112" y="186"/>
                          <a:pt x="110" y="189"/>
                        </a:cubicBezTo>
                        <a:cubicBezTo>
                          <a:pt x="108" y="193"/>
                          <a:pt x="103" y="192"/>
                          <a:pt x="103" y="192"/>
                        </a:cubicBezTo>
                        <a:cubicBezTo>
                          <a:pt x="103" y="192"/>
                          <a:pt x="106" y="207"/>
                          <a:pt x="106" y="222"/>
                        </a:cubicBezTo>
                        <a:cubicBezTo>
                          <a:pt x="106" y="238"/>
                          <a:pt x="110" y="263"/>
                          <a:pt x="111" y="280"/>
                        </a:cubicBezTo>
                        <a:cubicBezTo>
                          <a:pt x="112" y="297"/>
                          <a:pt x="112" y="303"/>
                          <a:pt x="108" y="303"/>
                        </a:cubicBezTo>
                        <a:cubicBezTo>
                          <a:pt x="104" y="304"/>
                          <a:pt x="97" y="305"/>
                          <a:pt x="97" y="305"/>
                        </a:cubicBezTo>
                        <a:cubicBezTo>
                          <a:pt x="97" y="305"/>
                          <a:pt x="97" y="318"/>
                          <a:pt x="95" y="335"/>
                        </a:cubicBezTo>
                        <a:cubicBezTo>
                          <a:pt x="92" y="353"/>
                          <a:pt x="90" y="368"/>
                          <a:pt x="90" y="368"/>
                        </a:cubicBezTo>
                        <a:cubicBezTo>
                          <a:pt x="90" y="368"/>
                          <a:pt x="97" y="373"/>
                          <a:pt x="105" y="379"/>
                        </a:cubicBezTo>
                        <a:cubicBezTo>
                          <a:pt x="113" y="385"/>
                          <a:pt x="116" y="387"/>
                          <a:pt x="122" y="389"/>
                        </a:cubicBezTo>
                        <a:cubicBezTo>
                          <a:pt x="127" y="391"/>
                          <a:pt x="126" y="394"/>
                          <a:pt x="126" y="397"/>
                        </a:cubicBezTo>
                        <a:cubicBezTo>
                          <a:pt x="126" y="400"/>
                          <a:pt x="124" y="403"/>
                          <a:pt x="118" y="404"/>
                        </a:cubicBezTo>
                        <a:cubicBezTo>
                          <a:pt x="112" y="404"/>
                          <a:pt x="108" y="405"/>
                          <a:pt x="83" y="403"/>
                        </a:cubicBezTo>
                        <a:cubicBezTo>
                          <a:pt x="57" y="402"/>
                          <a:pt x="51" y="397"/>
                          <a:pt x="51" y="397"/>
                        </a:cubicBezTo>
                        <a:cubicBezTo>
                          <a:pt x="51" y="397"/>
                          <a:pt x="34" y="399"/>
                          <a:pt x="28" y="397"/>
                        </a:cubicBezTo>
                        <a:cubicBezTo>
                          <a:pt x="21" y="396"/>
                          <a:pt x="16" y="393"/>
                          <a:pt x="18" y="387"/>
                        </a:cubicBezTo>
                        <a:cubicBezTo>
                          <a:pt x="19" y="381"/>
                          <a:pt x="22" y="369"/>
                          <a:pt x="24" y="366"/>
                        </a:cubicBezTo>
                        <a:cubicBezTo>
                          <a:pt x="25" y="362"/>
                          <a:pt x="28" y="360"/>
                          <a:pt x="28" y="360"/>
                        </a:cubicBezTo>
                        <a:cubicBezTo>
                          <a:pt x="28" y="360"/>
                          <a:pt x="27" y="345"/>
                          <a:pt x="26" y="331"/>
                        </a:cubicBezTo>
                        <a:cubicBezTo>
                          <a:pt x="25" y="318"/>
                          <a:pt x="25" y="309"/>
                          <a:pt x="25" y="309"/>
                        </a:cubicBezTo>
                        <a:cubicBezTo>
                          <a:pt x="25" y="309"/>
                          <a:pt x="17" y="308"/>
                          <a:pt x="16" y="307"/>
                        </a:cubicBezTo>
                        <a:cubicBezTo>
                          <a:pt x="14" y="307"/>
                          <a:pt x="12" y="304"/>
                          <a:pt x="10" y="292"/>
                        </a:cubicBezTo>
                        <a:cubicBezTo>
                          <a:pt x="8" y="280"/>
                          <a:pt x="3" y="235"/>
                          <a:pt x="2" y="223"/>
                        </a:cubicBezTo>
                        <a:cubicBezTo>
                          <a:pt x="0" y="211"/>
                          <a:pt x="6" y="180"/>
                          <a:pt x="7" y="176"/>
                        </a:cubicBezTo>
                        <a:cubicBezTo>
                          <a:pt x="9" y="171"/>
                          <a:pt x="12" y="164"/>
                          <a:pt x="12" y="164"/>
                        </a:cubicBezTo>
                        <a:cubicBezTo>
                          <a:pt x="12" y="164"/>
                          <a:pt x="11" y="152"/>
                          <a:pt x="10" y="140"/>
                        </a:cubicBezTo>
                        <a:cubicBezTo>
                          <a:pt x="9" y="129"/>
                          <a:pt x="5" y="115"/>
                          <a:pt x="5" y="100"/>
                        </a:cubicBezTo>
                        <a:cubicBezTo>
                          <a:pt x="6" y="84"/>
                          <a:pt x="10" y="58"/>
                          <a:pt x="14" y="51"/>
                        </a:cubicBezTo>
                        <a:cubicBezTo>
                          <a:pt x="19" y="43"/>
                          <a:pt x="21" y="40"/>
                          <a:pt x="25" y="38"/>
                        </a:cubicBezTo>
                        <a:cubicBezTo>
                          <a:pt x="28" y="36"/>
                          <a:pt x="37" y="34"/>
                          <a:pt x="37" y="34"/>
                        </a:cubicBezTo>
                        <a:cubicBezTo>
                          <a:pt x="37" y="34"/>
                          <a:pt x="36" y="32"/>
                          <a:pt x="36" y="29"/>
                        </a:cubicBezTo>
                        <a:cubicBezTo>
                          <a:pt x="36" y="27"/>
                          <a:pt x="36" y="18"/>
                          <a:pt x="36" y="14"/>
                        </a:cubicBezTo>
                        <a:cubicBezTo>
                          <a:pt x="36" y="9"/>
                          <a:pt x="116" y="0"/>
                          <a:pt x="116" y="0"/>
                        </a:cubicBezTo>
                        <a:cubicBezTo>
                          <a:pt x="116" y="0"/>
                          <a:pt x="112" y="10"/>
                          <a:pt x="110" y="13"/>
                        </a:cubicBezTo>
                        <a:cubicBezTo>
                          <a:pt x="109" y="15"/>
                          <a:pt x="105" y="20"/>
                          <a:pt x="103" y="24"/>
                        </a:cubicBezTo>
                        <a:cubicBezTo>
                          <a:pt x="101" y="27"/>
                          <a:pt x="97" y="29"/>
                          <a:pt x="93" y="29"/>
                        </a:cubicBezTo>
                        <a:cubicBezTo>
                          <a:pt x="91" y="29"/>
                          <a:pt x="84" y="29"/>
                          <a:pt x="84" y="29"/>
                        </a:cubicBezTo>
                        <a:cubicBezTo>
                          <a:pt x="84" y="29"/>
                          <a:pt x="84" y="29"/>
                          <a:pt x="84" y="30"/>
                        </a:cubicBezTo>
                        <a:cubicBezTo>
                          <a:pt x="84" y="30"/>
                          <a:pt x="84" y="31"/>
                          <a:pt x="84" y="31"/>
                        </a:cubicBezTo>
                        <a:cubicBezTo>
                          <a:pt x="84" y="31"/>
                          <a:pt x="86" y="30"/>
                          <a:pt x="88" y="32"/>
                        </a:cubicBezTo>
                        <a:cubicBezTo>
                          <a:pt x="90" y="34"/>
                          <a:pt x="95" y="37"/>
                          <a:pt x="97" y="38"/>
                        </a:cubicBezTo>
                        <a:cubicBezTo>
                          <a:pt x="100" y="38"/>
                          <a:pt x="111" y="42"/>
                          <a:pt x="115" y="48"/>
                        </a:cubicBezTo>
                        <a:cubicBezTo>
                          <a:pt x="120" y="53"/>
                          <a:pt x="125" y="59"/>
                          <a:pt x="128" y="64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1" name="Freeform 106"/>
                  <p:cNvSpPr>
                    <a:spLocks/>
                  </p:cNvSpPr>
                  <p:nvPr/>
                </p:nvSpPr>
                <p:spPr bwMode="auto">
                  <a:xfrm>
                    <a:off x="4184650" y="4138613"/>
                    <a:ext cx="38100" cy="30163"/>
                  </a:xfrm>
                  <a:custGeom>
                    <a:avLst/>
                    <a:gdLst>
                      <a:gd name="T0" fmla="*/ 38 w 96"/>
                      <a:gd name="T1" fmla="*/ 5 h 77"/>
                      <a:gd name="T2" fmla="*/ 79 w 96"/>
                      <a:gd name="T3" fmla="*/ 9 h 77"/>
                      <a:gd name="T4" fmla="*/ 91 w 96"/>
                      <a:gd name="T5" fmla="*/ 27 h 77"/>
                      <a:gd name="T6" fmla="*/ 96 w 96"/>
                      <a:gd name="T7" fmla="*/ 43 h 77"/>
                      <a:gd name="T8" fmla="*/ 71 w 96"/>
                      <a:gd name="T9" fmla="*/ 67 h 77"/>
                      <a:gd name="T10" fmla="*/ 20 w 96"/>
                      <a:gd name="T11" fmla="*/ 77 h 77"/>
                      <a:gd name="T12" fmla="*/ 4 w 96"/>
                      <a:gd name="T13" fmla="*/ 73 h 77"/>
                      <a:gd name="T14" fmla="*/ 2 w 96"/>
                      <a:gd name="T15" fmla="*/ 59 h 77"/>
                      <a:gd name="T16" fmla="*/ 2 w 96"/>
                      <a:gd name="T17" fmla="*/ 31 h 77"/>
                      <a:gd name="T18" fmla="*/ 38 w 96"/>
                      <a:gd name="T19" fmla="*/ 5 h 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96" h="77">
                        <a:moveTo>
                          <a:pt x="38" y="5"/>
                        </a:moveTo>
                        <a:cubicBezTo>
                          <a:pt x="56" y="0"/>
                          <a:pt x="72" y="3"/>
                          <a:pt x="79" y="9"/>
                        </a:cubicBezTo>
                        <a:cubicBezTo>
                          <a:pt x="85" y="15"/>
                          <a:pt x="89" y="21"/>
                          <a:pt x="91" y="27"/>
                        </a:cubicBezTo>
                        <a:cubicBezTo>
                          <a:pt x="94" y="33"/>
                          <a:pt x="96" y="43"/>
                          <a:pt x="96" y="43"/>
                        </a:cubicBezTo>
                        <a:cubicBezTo>
                          <a:pt x="96" y="43"/>
                          <a:pt x="94" y="59"/>
                          <a:pt x="71" y="67"/>
                        </a:cubicBezTo>
                        <a:cubicBezTo>
                          <a:pt x="48" y="76"/>
                          <a:pt x="29" y="77"/>
                          <a:pt x="20" y="77"/>
                        </a:cubicBezTo>
                        <a:cubicBezTo>
                          <a:pt x="12" y="77"/>
                          <a:pt x="4" y="73"/>
                          <a:pt x="4" y="73"/>
                        </a:cubicBezTo>
                        <a:cubicBezTo>
                          <a:pt x="4" y="73"/>
                          <a:pt x="3" y="66"/>
                          <a:pt x="2" y="59"/>
                        </a:cubicBezTo>
                        <a:cubicBezTo>
                          <a:pt x="1" y="52"/>
                          <a:pt x="0" y="38"/>
                          <a:pt x="2" y="31"/>
                        </a:cubicBezTo>
                        <a:cubicBezTo>
                          <a:pt x="4" y="24"/>
                          <a:pt x="14" y="12"/>
                          <a:pt x="38" y="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2" name="Freeform 107"/>
                  <p:cNvSpPr>
                    <a:spLocks/>
                  </p:cNvSpPr>
                  <p:nvPr/>
                </p:nvSpPr>
                <p:spPr bwMode="auto">
                  <a:xfrm>
                    <a:off x="4181475" y="4154488"/>
                    <a:ext cx="50800" cy="25400"/>
                  </a:xfrm>
                  <a:custGeom>
                    <a:avLst/>
                    <a:gdLst>
                      <a:gd name="T0" fmla="*/ 103 w 130"/>
                      <a:gd name="T1" fmla="*/ 0 h 64"/>
                      <a:gd name="T2" fmla="*/ 112 w 130"/>
                      <a:gd name="T3" fmla="*/ 4 h 64"/>
                      <a:gd name="T4" fmla="*/ 125 w 130"/>
                      <a:gd name="T5" fmla="*/ 11 h 64"/>
                      <a:gd name="T6" fmla="*/ 129 w 130"/>
                      <a:gd name="T7" fmla="*/ 12 h 64"/>
                      <a:gd name="T8" fmla="*/ 128 w 130"/>
                      <a:gd name="T9" fmla="*/ 20 h 64"/>
                      <a:gd name="T10" fmla="*/ 105 w 130"/>
                      <a:gd name="T11" fmla="*/ 43 h 64"/>
                      <a:gd name="T12" fmla="*/ 34 w 130"/>
                      <a:gd name="T13" fmla="*/ 64 h 64"/>
                      <a:gd name="T14" fmla="*/ 5 w 130"/>
                      <a:gd name="T15" fmla="*/ 56 h 64"/>
                      <a:gd name="T16" fmla="*/ 0 w 130"/>
                      <a:gd name="T17" fmla="*/ 49 h 64"/>
                      <a:gd name="T18" fmla="*/ 7 w 130"/>
                      <a:gd name="T19" fmla="*/ 39 h 64"/>
                      <a:gd name="T20" fmla="*/ 15 w 130"/>
                      <a:gd name="T21" fmla="*/ 28 h 64"/>
                      <a:gd name="T22" fmla="*/ 103 w 130"/>
                      <a:gd name="T23" fmla="*/ 0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30" h="64">
                        <a:moveTo>
                          <a:pt x="103" y="0"/>
                        </a:moveTo>
                        <a:cubicBezTo>
                          <a:pt x="103" y="0"/>
                          <a:pt x="107" y="1"/>
                          <a:pt x="112" y="4"/>
                        </a:cubicBezTo>
                        <a:cubicBezTo>
                          <a:pt x="117" y="7"/>
                          <a:pt x="122" y="10"/>
                          <a:pt x="125" y="11"/>
                        </a:cubicBezTo>
                        <a:cubicBezTo>
                          <a:pt x="127" y="11"/>
                          <a:pt x="129" y="11"/>
                          <a:pt x="129" y="12"/>
                        </a:cubicBezTo>
                        <a:cubicBezTo>
                          <a:pt x="130" y="13"/>
                          <a:pt x="130" y="16"/>
                          <a:pt x="128" y="20"/>
                        </a:cubicBezTo>
                        <a:cubicBezTo>
                          <a:pt x="127" y="25"/>
                          <a:pt x="118" y="36"/>
                          <a:pt x="105" y="43"/>
                        </a:cubicBezTo>
                        <a:cubicBezTo>
                          <a:pt x="92" y="51"/>
                          <a:pt x="50" y="64"/>
                          <a:pt x="34" y="64"/>
                        </a:cubicBezTo>
                        <a:cubicBezTo>
                          <a:pt x="19" y="64"/>
                          <a:pt x="8" y="59"/>
                          <a:pt x="5" y="56"/>
                        </a:cubicBezTo>
                        <a:cubicBezTo>
                          <a:pt x="2" y="54"/>
                          <a:pt x="0" y="51"/>
                          <a:pt x="0" y="49"/>
                        </a:cubicBezTo>
                        <a:cubicBezTo>
                          <a:pt x="1" y="48"/>
                          <a:pt x="5" y="44"/>
                          <a:pt x="7" y="39"/>
                        </a:cubicBezTo>
                        <a:cubicBezTo>
                          <a:pt x="10" y="35"/>
                          <a:pt x="15" y="28"/>
                          <a:pt x="15" y="28"/>
                        </a:cubicBezTo>
                        <a:cubicBezTo>
                          <a:pt x="15" y="28"/>
                          <a:pt x="80" y="22"/>
                          <a:pt x="103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3" name="Freeform 108"/>
                  <p:cNvSpPr>
                    <a:spLocks/>
                  </p:cNvSpPr>
                  <p:nvPr/>
                </p:nvSpPr>
                <p:spPr bwMode="auto">
                  <a:xfrm>
                    <a:off x="4298950" y="4289425"/>
                    <a:ext cx="4763" cy="23813"/>
                  </a:xfrm>
                  <a:custGeom>
                    <a:avLst/>
                    <a:gdLst>
                      <a:gd name="T0" fmla="*/ 0 w 15"/>
                      <a:gd name="T1" fmla="*/ 4 h 59"/>
                      <a:gd name="T2" fmla="*/ 4 w 15"/>
                      <a:gd name="T3" fmla="*/ 18 h 59"/>
                      <a:gd name="T4" fmla="*/ 7 w 15"/>
                      <a:gd name="T5" fmla="*/ 32 h 59"/>
                      <a:gd name="T6" fmla="*/ 9 w 15"/>
                      <a:gd name="T7" fmla="*/ 52 h 59"/>
                      <a:gd name="T8" fmla="*/ 8 w 15"/>
                      <a:gd name="T9" fmla="*/ 58 h 59"/>
                      <a:gd name="T10" fmla="*/ 14 w 15"/>
                      <a:gd name="T11" fmla="*/ 59 h 59"/>
                      <a:gd name="T12" fmla="*/ 15 w 15"/>
                      <a:gd name="T13" fmla="*/ 52 h 59"/>
                      <a:gd name="T14" fmla="*/ 12 w 15"/>
                      <a:gd name="T15" fmla="*/ 32 h 59"/>
                      <a:gd name="T16" fmla="*/ 9 w 15"/>
                      <a:gd name="T17" fmla="*/ 10 h 59"/>
                      <a:gd name="T18" fmla="*/ 5 w 15"/>
                      <a:gd name="T19" fmla="*/ 0 h 59"/>
                      <a:gd name="T20" fmla="*/ 0 w 15"/>
                      <a:gd name="T21" fmla="*/ 4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5" h="59">
                        <a:moveTo>
                          <a:pt x="0" y="4"/>
                        </a:moveTo>
                        <a:cubicBezTo>
                          <a:pt x="1" y="7"/>
                          <a:pt x="3" y="12"/>
                          <a:pt x="4" y="18"/>
                        </a:cubicBezTo>
                        <a:cubicBezTo>
                          <a:pt x="5" y="24"/>
                          <a:pt x="6" y="27"/>
                          <a:pt x="7" y="32"/>
                        </a:cubicBezTo>
                        <a:cubicBezTo>
                          <a:pt x="7" y="38"/>
                          <a:pt x="8" y="49"/>
                          <a:pt x="9" y="52"/>
                        </a:cubicBezTo>
                        <a:cubicBezTo>
                          <a:pt x="9" y="55"/>
                          <a:pt x="8" y="57"/>
                          <a:pt x="8" y="58"/>
                        </a:cubicBezTo>
                        <a:cubicBezTo>
                          <a:pt x="9" y="58"/>
                          <a:pt x="13" y="59"/>
                          <a:pt x="14" y="59"/>
                        </a:cubicBezTo>
                        <a:cubicBezTo>
                          <a:pt x="15" y="58"/>
                          <a:pt x="15" y="56"/>
                          <a:pt x="15" y="52"/>
                        </a:cubicBezTo>
                        <a:cubicBezTo>
                          <a:pt x="14" y="49"/>
                          <a:pt x="13" y="40"/>
                          <a:pt x="12" y="32"/>
                        </a:cubicBezTo>
                        <a:cubicBezTo>
                          <a:pt x="11" y="24"/>
                          <a:pt x="10" y="17"/>
                          <a:pt x="9" y="10"/>
                        </a:cubicBezTo>
                        <a:cubicBezTo>
                          <a:pt x="8" y="3"/>
                          <a:pt x="5" y="0"/>
                          <a:pt x="5" y="0"/>
                        </a:cubicBezTo>
                        <a:lnTo>
                          <a:pt x="0" y="4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4" name="Freeform 109"/>
                  <p:cNvSpPr>
                    <a:spLocks/>
                  </p:cNvSpPr>
                  <p:nvPr/>
                </p:nvSpPr>
                <p:spPr bwMode="auto">
                  <a:xfrm>
                    <a:off x="4281488" y="4295775"/>
                    <a:ext cx="14288" cy="12700"/>
                  </a:xfrm>
                  <a:custGeom>
                    <a:avLst/>
                    <a:gdLst>
                      <a:gd name="T0" fmla="*/ 5 w 36"/>
                      <a:gd name="T1" fmla="*/ 0 h 33"/>
                      <a:gd name="T2" fmla="*/ 1 w 36"/>
                      <a:gd name="T3" fmla="*/ 20 h 33"/>
                      <a:gd name="T4" fmla="*/ 13 w 36"/>
                      <a:gd name="T5" fmla="*/ 31 h 33"/>
                      <a:gd name="T6" fmla="*/ 19 w 36"/>
                      <a:gd name="T7" fmla="*/ 32 h 33"/>
                      <a:gd name="T8" fmla="*/ 29 w 36"/>
                      <a:gd name="T9" fmla="*/ 22 h 33"/>
                      <a:gd name="T10" fmla="*/ 36 w 36"/>
                      <a:gd name="T11" fmla="*/ 15 h 33"/>
                      <a:gd name="T12" fmla="*/ 5 w 36"/>
                      <a:gd name="T13" fmla="*/ 0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6" h="33">
                        <a:moveTo>
                          <a:pt x="5" y="0"/>
                        </a:moveTo>
                        <a:cubicBezTo>
                          <a:pt x="1" y="6"/>
                          <a:pt x="0" y="18"/>
                          <a:pt x="1" y="20"/>
                        </a:cubicBezTo>
                        <a:cubicBezTo>
                          <a:pt x="1" y="22"/>
                          <a:pt x="9" y="29"/>
                          <a:pt x="13" y="31"/>
                        </a:cubicBezTo>
                        <a:cubicBezTo>
                          <a:pt x="17" y="33"/>
                          <a:pt x="19" y="33"/>
                          <a:pt x="19" y="32"/>
                        </a:cubicBezTo>
                        <a:cubicBezTo>
                          <a:pt x="20" y="32"/>
                          <a:pt x="26" y="25"/>
                          <a:pt x="29" y="22"/>
                        </a:cubicBezTo>
                        <a:cubicBezTo>
                          <a:pt x="32" y="19"/>
                          <a:pt x="36" y="15"/>
                          <a:pt x="36" y="15"/>
                        </a:cubicBezTo>
                        <a:lnTo>
                          <a:pt x="5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5" name="Freeform 110"/>
                  <p:cNvSpPr>
                    <a:spLocks/>
                  </p:cNvSpPr>
                  <p:nvPr/>
                </p:nvSpPr>
                <p:spPr bwMode="auto">
                  <a:xfrm>
                    <a:off x="4279900" y="4298950"/>
                    <a:ext cx="25400" cy="15875"/>
                  </a:xfrm>
                  <a:custGeom>
                    <a:avLst/>
                    <a:gdLst>
                      <a:gd name="T0" fmla="*/ 4 w 62"/>
                      <a:gd name="T1" fmla="*/ 2 h 39"/>
                      <a:gd name="T2" fmla="*/ 1 w 62"/>
                      <a:gd name="T3" fmla="*/ 9 h 39"/>
                      <a:gd name="T4" fmla="*/ 16 w 62"/>
                      <a:gd name="T5" fmla="*/ 23 h 39"/>
                      <a:gd name="T6" fmla="*/ 37 w 62"/>
                      <a:gd name="T7" fmla="*/ 35 h 39"/>
                      <a:gd name="T8" fmla="*/ 55 w 62"/>
                      <a:gd name="T9" fmla="*/ 39 h 39"/>
                      <a:gd name="T10" fmla="*/ 61 w 62"/>
                      <a:gd name="T11" fmla="*/ 30 h 39"/>
                      <a:gd name="T12" fmla="*/ 28 w 62"/>
                      <a:gd name="T13" fmla="*/ 11 h 39"/>
                      <a:gd name="T14" fmla="*/ 4 w 62"/>
                      <a:gd name="T15" fmla="*/ 2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62" h="39">
                        <a:moveTo>
                          <a:pt x="4" y="2"/>
                        </a:moveTo>
                        <a:cubicBezTo>
                          <a:pt x="2" y="4"/>
                          <a:pt x="0" y="7"/>
                          <a:pt x="1" y="9"/>
                        </a:cubicBezTo>
                        <a:cubicBezTo>
                          <a:pt x="2" y="12"/>
                          <a:pt x="9" y="18"/>
                          <a:pt x="16" y="23"/>
                        </a:cubicBezTo>
                        <a:cubicBezTo>
                          <a:pt x="24" y="28"/>
                          <a:pt x="31" y="32"/>
                          <a:pt x="37" y="35"/>
                        </a:cubicBezTo>
                        <a:cubicBezTo>
                          <a:pt x="44" y="38"/>
                          <a:pt x="51" y="38"/>
                          <a:pt x="55" y="39"/>
                        </a:cubicBezTo>
                        <a:cubicBezTo>
                          <a:pt x="59" y="39"/>
                          <a:pt x="62" y="32"/>
                          <a:pt x="61" y="30"/>
                        </a:cubicBezTo>
                        <a:cubicBezTo>
                          <a:pt x="58" y="26"/>
                          <a:pt x="33" y="15"/>
                          <a:pt x="28" y="11"/>
                        </a:cubicBezTo>
                        <a:cubicBezTo>
                          <a:pt x="23" y="8"/>
                          <a:pt x="8" y="0"/>
                          <a:pt x="4" y="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6" name="Freeform 111"/>
                  <p:cNvSpPr>
                    <a:spLocks/>
                  </p:cNvSpPr>
                  <p:nvPr/>
                </p:nvSpPr>
                <p:spPr bwMode="auto">
                  <a:xfrm>
                    <a:off x="4248150" y="4271963"/>
                    <a:ext cx="7938" cy="20638"/>
                  </a:xfrm>
                  <a:custGeom>
                    <a:avLst/>
                    <a:gdLst>
                      <a:gd name="T0" fmla="*/ 2 w 23"/>
                      <a:gd name="T1" fmla="*/ 0 h 52"/>
                      <a:gd name="T2" fmla="*/ 1 w 23"/>
                      <a:gd name="T3" fmla="*/ 26 h 52"/>
                      <a:gd name="T4" fmla="*/ 1 w 23"/>
                      <a:gd name="T5" fmla="*/ 50 h 52"/>
                      <a:gd name="T6" fmla="*/ 10 w 23"/>
                      <a:gd name="T7" fmla="*/ 52 h 52"/>
                      <a:gd name="T8" fmla="*/ 21 w 23"/>
                      <a:gd name="T9" fmla="*/ 51 h 52"/>
                      <a:gd name="T10" fmla="*/ 22 w 23"/>
                      <a:gd name="T11" fmla="*/ 19 h 52"/>
                      <a:gd name="T12" fmla="*/ 22 w 23"/>
                      <a:gd name="T13" fmla="*/ 4 h 52"/>
                      <a:gd name="T14" fmla="*/ 2 w 23"/>
                      <a:gd name="T15" fmla="*/ 0 h 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" h="52">
                        <a:moveTo>
                          <a:pt x="2" y="0"/>
                        </a:moveTo>
                        <a:cubicBezTo>
                          <a:pt x="2" y="0"/>
                          <a:pt x="1" y="14"/>
                          <a:pt x="1" y="26"/>
                        </a:cubicBezTo>
                        <a:cubicBezTo>
                          <a:pt x="0" y="39"/>
                          <a:pt x="0" y="49"/>
                          <a:pt x="1" y="50"/>
                        </a:cubicBezTo>
                        <a:cubicBezTo>
                          <a:pt x="2" y="51"/>
                          <a:pt x="5" y="52"/>
                          <a:pt x="10" y="52"/>
                        </a:cubicBezTo>
                        <a:cubicBezTo>
                          <a:pt x="15" y="52"/>
                          <a:pt x="20" y="52"/>
                          <a:pt x="21" y="51"/>
                        </a:cubicBezTo>
                        <a:cubicBezTo>
                          <a:pt x="21" y="49"/>
                          <a:pt x="22" y="30"/>
                          <a:pt x="22" y="19"/>
                        </a:cubicBezTo>
                        <a:cubicBezTo>
                          <a:pt x="23" y="8"/>
                          <a:pt x="22" y="4"/>
                          <a:pt x="22" y="4"/>
                        </a:cubicBezTo>
                        <a:lnTo>
                          <a:pt x="2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7" name="Freeform 112"/>
                  <p:cNvSpPr>
                    <a:spLocks/>
                  </p:cNvSpPr>
                  <p:nvPr/>
                </p:nvSpPr>
                <p:spPr bwMode="auto">
                  <a:xfrm>
                    <a:off x="4292600" y="4310063"/>
                    <a:ext cx="12700" cy="6350"/>
                  </a:xfrm>
                  <a:custGeom>
                    <a:avLst/>
                    <a:gdLst>
                      <a:gd name="T0" fmla="*/ 4 w 29"/>
                      <a:gd name="T1" fmla="*/ 15 h 15"/>
                      <a:gd name="T2" fmla="*/ 15 w 29"/>
                      <a:gd name="T3" fmla="*/ 14 h 15"/>
                      <a:gd name="T4" fmla="*/ 27 w 29"/>
                      <a:gd name="T5" fmla="*/ 11 h 15"/>
                      <a:gd name="T6" fmla="*/ 29 w 29"/>
                      <a:gd name="T7" fmla="*/ 6 h 15"/>
                      <a:gd name="T8" fmla="*/ 25 w 29"/>
                      <a:gd name="T9" fmla="*/ 0 h 15"/>
                      <a:gd name="T10" fmla="*/ 13 w 29"/>
                      <a:gd name="T11" fmla="*/ 1 h 15"/>
                      <a:gd name="T12" fmla="*/ 1 w 29"/>
                      <a:gd name="T13" fmla="*/ 3 h 15"/>
                      <a:gd name="T14" fmla="*/ 4 w 29"/>
                      <a:gd name="T15" fmla="*/ 15 h 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9" h="15">
                        <a:moveTo>
                          <a:pt x="4" y="15"/>
                        </a:moveTo>
                        <a:cubicBezTo>
                          <a:pt x="4" y="15"/>
                          <a:pt x="9" y="14"/>
                          <a:pt x="15" y="14"/>
                        </a:cubicBezTo>
                        <a:cubicBezTo>
                          <a:pt x="20" y="13"/>
                          <a:pt x="26" y="11"/>
                          <a:pt x="27" y="11"/>
                        </a:cubicBezTo>
                        <a:cubicBezTo>
                          <a:pt x="29" y="11"/>
                          <a:pt x="29" y="8"/>
                          <a:pt x="29" y="6"/>
                        </a:cubicBezTo>
                        <a:cubicBezTo>
                          <a:pt x="28" y="3"/>
                          <a:pt x="29" y="0"/>
                          <a:pt x="25" y="0"/>
                        </a:cubicBezTo>
                        <a:cubicBezTo>
                          <a:pt x="22" y="0"/>
                          <a:pt x="20" y="0"/>
                          <a:pt x="13" y="1"/>
                        </a:cubicBezTo>
                        <a:cubicBezTo>
                          <a:pt x="7" y="1"/>
                          <a:pt x="2" y="1"/>
                          <a:pt x="1" y="3"/>
                        </a:cubicBezTo>
                        <a:cubicBezTo>
                          <a:pt x="0" y="4"/>
                          <a:pt x="3" y="14"/>
                          <a:pt x="4" y="1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8" name="Freeform 113"/>
                  <p:cNvSpPr>
                    <a:spLocks noEditPoints="1"/>
                  </p:cNvSpPr>
                  <p:nvPr/>
                </p:nvSpPr>
                <p:spPr bwMode="auto">
                  <a:xfrm>
                    <a:off x="4283075" y="4298950"/>
                    <a:ext cx="30163" cy="30163"/>
                  </a:xfrm>
                  <a:custGeom>
                    <a:avLst/>
                    <a:gdLst>
                      <a:gd name="T0" fmla="*/ 72 w 75"/>
                      <a:gd name="T1" fmla="*/ 23 h 76"/>
                      <a:gd name="T2" fmla="*/ 58 w 75"/>
                      <a:gd name="T3" fmla="*/ 9 h 76"/>
                      <a:gd name="T4" fmla="*/ 25 w 75"/>
                      <a:gd name="T5" fmla="*/ 5 h 76"/>
                      <a:gd name="T6" fmla="*/ 2 w 75"/>
                      <a:gd name="T7" fmla="*/ 28 h 76"/>
                      <a:gd name="T8" fmla="*/ 7 w 75"/>
                      <a:gd name="T9" fmla="*/ 56 h 76"/>
                      <a:gd name="T10" fmla="*/ 39 w 75"/>
                      <a:gd name="T11" fmla="*/ 75 h 76"/>
                      <a:gd name="T12" fmla="*/ 72 w 75"/>
                      <a:gd name="T13" fmla="*/ 51 h 76"/>
                      <a:gd name="T14" fmla="*/ 72 w 75"/>
                      <a:gd name="T15" fmla="*/ 23 h 76"/>
                      <a:gd name="T16" fmla="*/ 39 w 75"/>
                      <a:gd name="T17" fmla="*/ 9 h 76"/>
                      <a:gd name="T18" fmla="*/ 46 w 75"/>
                      <a:gd name="T19" fmla="*/ 10 h 76"/>
                      <a:gd name="T20" fmla="*/ 54 w 75"/>
                      <a:gd name="T21" fmla="*/ 19 h 76"/>
                      <a:gd name="T22" fmla="*/ 46 w 75"/>
                      <a:gd name="T23" fmla="*/ 26 h 76"/>
                      <a:gd name="T24" fmla="*/ 40 w 75"/>
                      <a:gd name="T25" fmla="*/ 26 h 76"/>
                      <a:gd name="T26" fmla="*/ 37 w 75"/>
                      <a:gd name="T27" fmla="*/ 14 h 76"/>
                      <a:gd name="T28" fmla="*/ 39 w 75"/>
                      <a:gd name="T29" fmla="*/ 9 h 76"/>
                      <a:gd name="T30" fmla="*/ 30 w 75"/>
                      <a:gd name="T31" fmla="*/ 49 h 76"/>
                      <a:gd name="T32" fmla="*/ 26 w 75"/>
                      <a:gd name="T33" fmla="*/ 55 h 76"/>
                      <a:gd name="T34" fmla="*/ 18 w 75"/>
                      <a:gd name="T35" fmla="*/ 46 h 76"/>
                      <a:gd name="T36" fmla="*/ 16 w 75"/>
                      <a:gd name="T37" fmla="*/ 36 h 76"/>
                      <a:gd name="T38" fmla="*/ 31 w 75"/>
                      <a:gd name="T39" fmla="*/ 41 h 76"/>
                      <a:gd name="T40" fmla="*/ 30 w 75"/>
                      <a:gd name="T41" fmla="*/ 49 h 76"/>
                      <a:gd name="T42" fmla="*/ 47 w 75"/>
                      <a:gd name="T43" fmla="*/ 58 h 76"/>
                      <a:gd name="T44" fmla="*/ 39 w 75"/>
                      <a:gd name="T45" fmla="*/ 60 h 76"/>
                      <a:gd name="T46" fmla="*/ 34 w 75"/>
                      <a:gd name="T47" fmla="*/ 58 h 76"/>
                      <a:gd name="T48" fmla="*/ 37 w 75"/>
                      <a:gd name="T49" fmla="*/ 48 h 76"/>
                      <a:gd name="T50" fmla="*/ 41 w 75"/>
                      <a:gd name="T51" fmla="*/ 44 h 76"/>
                      <a:gd name="T52" fmla="*/ 47 w 75"/>
                      <a:gd name="T53" fmla="*/ 48 h 76"/>
                      <a:gd name="T54" fmla="*/ 51 w 75"/>
                      <a:gd name="T55" fmla="*/ 54 h 76"/>
                      <a:gd name="T56" fmla="*/ 47 w 75"/>
                      <a:gd name="T57" fmla="*/ 58 h 76"/>
                      <a:gd name="T58" fmla="*/ 60 w 75"/>
                      <a:gd name="T59" fmla="*/ 38 h 76"/>
                      <a:gd name="T60" fmla="*/ 56 w 75"/>
                      <a:gd name="T61" fmla="*/ 48 h 76"/>
                      <a:gd name="T62" fmla="*/ 48 w 75"/>
                      <a:gd name="T63" fmla="*/ 42 h 76"/>
                      <a:gd name="T64" fmla="*/ 47 w 75"/>
                      <a:gd name="T65" fmla="*/ 34 h 76"/>
                      <a:gd name="T66" fmla="*/ 51 w 75"/>
                      <a:gd name="T67" fmla="*/ 30 h 76"/>
                      <a:gd name="T68" fmla="*/ 57 w 75"/>
                      <a:gd name="T69" fmla="*/ 27 h 76"/>
                      <a:gd name="T70" fmla="*/ 60 w 75"/>
                      <a:gd name="T71" fmla="*/ 38 h 7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75" h="76">
                        <a:moveTo>
                          <a:pt x="72" y="23"/>
                        </a:moveTo>
                        <a:cubicBezTo>
                          <a:pt x="69" y="16"/>
                          <a:pt x="63" y="11"/>
                          <a:pt x="58" y="9"/>
                        </a:cubicBezTo>
                        <a:cubicBezTo>
                          <a:pt x="53" y="6"/>
                          <a:pt x="37" y="0"/>
                          <a:pt x="25" y="5"/>
                        </a:cubicBezTo>
                        <a:cubicBezTo>
                          <a:pt x="13" y="11"/>
                          <a:pt x="2" y="28"/>
                          <a:pt x="2" y="28"/>
                        </a:cubicBezTo>
                        <a:cubicBezTo>
                          <a:pt x="0" y="35"/>
                          <a:pt x="2" y="48"/>
                          <a:pt x="7" y="56"/>
                        </a:cubicBezTo>
                        <a:cubicBezTo>
                          <a:pt x="12" y="65"/>
                          <a:pt x="23" y="75"/>
                          <a:pt x="39" y="75"/>
                        </a:cubicBezTo>
                        <a:cubicBezTo>
                          <a:pt x="55" y="76"/>
                          <a:pt x="69" y="60"/>
                          <a:pt x="72" y="51"/>
                        </a:cubicBezTo>
                        <a:cubicBezTo>
                          <a:pt x="75" y="42"/>
                          <a:pt x="75" y="31"/>
                          <a:pt x="72" y="23"/>
                        </a:cubicBezTo>
                        <a:close/>
                        <a:moveTo>
                          <a:pt x="39" y="9"/>
                        </a:moveTo>
                        <a:cubicBezTo>
                          <a:pt x="39" y="9"/>
                          <a:pt x="44" y="8"/>
                          <a:pt x="46" y="10"/>
                        </a:cubicBezTo>
                        <a:cubicBezTo>
                          <a:pt x="48" y="12"/>
                          <a:pt x="54" y="18"/>
                          <a:pt x="54" y="19"/>
                        </a:cubicBezTo>
                        <a:cubicBezTo>
                          <a:pt x="54" y="21"/>
                          <a:pt x="49" y="24"/>
                          <a:pt x="46" y="26"/>
                        </a:cubicBezTo>
                        <a:cubicBezTo>
                          <a:pt x="43" y="27"/>
                          <a:pt x="41" y="27"/>
                          <a:pt x="40" y="26"/>
                        </a:cubicBezTo>
                        <a:cubicBezTo>
                          <a:pt x="38" y="25"/>
                          <a:pt x="37" y="17"/>
                          <a:pt x="37" y="14"/>
                        </a:cubicBezTo>
                        <a:cubicBezTo>
                          <a:pt x="36" y="11"/>
                          <a:pt x="36" y="9"/>
                          <a:pt x="39" y="9"/>
                        </a:cubicBezTo>
                        <a:close/>
                        <a:moveTo>
                          <a:pt x="30" y="49"/>
                        </a:moveTo>
                        <a:cubicBezTo>
                          <a:pt x="29" y="53"/>
                          <a:pt x="28" y="55"/>
                          <a:pt x="26" y="55"/>
                        </a:cubicBezTo>
                        <a:cubicBezTo>
                          <a:pt x="24" y="55"/>
                          <a:pt x="21" y="51"/>
                          <a:pt x="18" y="46"/>
                        </a:cubicBezTo>
                        <a:cubicBezTo>
                          <a:pt x="16" y="41"/>
                          <a:pt x="16" y="36"/>
                          <a:pt x="16" y="36"/>
                        </a:cubicBezTo>
                        <a:cubicBezTo>
                          <a:pt x="16" y="36"/>
                          <a:pt x="29" y="40"/>
                          <a:pt x="31" y="41"/>
                        </a:cubicBezTo>
                        <a:cubicBezTo>
                          <a:pt x="32" y="42"/>
                          <a:pt x="32" y="46"/>
                          <a:pt x="30" y="49"/>
                        </a:cubicBezTo>
                        <a:close/>
                        <a:moveTo>
                          <a:pt x="47" y="58"/>
                        </a:moveTo>
                        <a:cubicBezTo>
                          <a:pt x="46" y="59"/>
                          <a:pt x="41" y="60"/>
                          <a:pt x="39" y="60"/>
                        </a:cubicBezTo>
                        <a:cubicBezTo>
                          <a:pt x="36" y="61"/>
                          <a:pt x="34" y="60"/>
                          <a:pt x="34" y="58"/>
                        </a:cubicBezTo>
                        <a:cubicBezTo>
                          <a:pt x="33" y="56"/>
                          <a:pt x="35" y="50"/>
                          <a:pt x="37" y="48"/>
                        </a:cubicBezTo>
                        <a:cubicBezTo>
                          <a:pt x="38" y="45"/>
                          <a:pt x="39" y="44"/>
                          <a:pt x="41" y="44"/>
                        </a:cubicBezTo>
                        <a:cubicBezTo>
                          <a:pt x="42" y="44"/>
                          <a:pt x="45" y="46"/>
                          <a:pt x="47" y="48"/>
                        </a:cubicBezTo>
                        <a:cubicBezTo>
                          <a:pt x="48" y="49"/>
                          <a:pt x="51" y="52"/>
                          <a:pt x="51" y="54"/>
                        </a:cubicBezTo>
                        <a:cubicBezTo>
                          <a:pt x="51" y="56"/>
                          <a:pt x="49" y="57"/>
                          <a:pt x="47" y="58"/>
                        </a:cubicBezTo>
                        <a:close/>
                        <a:moveTo>
                          <a:pt x="60" y="38"/>
                        </a:moveTo>
                        <a:cubicBezTo>
                          <a:pt x="60" y="45"/>
                          <a:pt x="58" y="48"/>
                          <a:pt x="56" y="48"/>
                        </a:cubicBezTo>
                        <a:cubicBezTo>
                          <a:pt x="55" y="48"/>
                          <a:pt x="50" y="45"/>
                          <a:pt x="48" y="42"/>
                        </a:cubicBezTo>
                        <a:cubicBezTo>
                          <a:pt x="47" y="40"/>
                          <a:pt x="46" y="36"/>
                          <a:pt x="47" y="34"/>
                        </a:cubicBezTo>
                        <a:cubicBezTo>
                          <a:pt x="48" y="33"/>
                          <a:pt x="48" y="32"/>
                          <a:pt x="51" y="30"/>
                        </a:cubicBezTo>
                        <a:cubicBezTo>
                          <a:pt x="54" y="27"/>
                          <a:pt x="55" y="27"/>
                          <a:pt x="57" y="27"/>
                        </a:cubicBezTo>
                        <a:cubicBezTo>
                          <a:pt x="59" y="27"/>
                          <a:pt x="60" y="32"/>
                          <a:pt x="60" y="3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49" name="Freeform 114"/>
                  <p:cNvSpPr>
                    <a:spLocks/>
                  </p:cNvSpPr>
                  <p:nvPr/>
                </p:nvSpPr>
                <p:spPr bwMode="auto">
                  <a:xfrm>
                    <a:off x="4291013" y="4289425"/>
                    <a:ext cx="4763" cy="25400"/>
                  </a:xfrm>
                  <a:custGeom>
                    <a:avLst/>
                    <a:gdLst>
                      <a:gd name="T0" fmla="*/ 4 w 11"/>
                      <a:gd name="T1" fmla="*/ 1 h 64"/>
                      <a:gd name="T2" fmla="*/ 0 w 11"/>
                      <a:gd name="T3" fmla="*/ 7 h 64"/>
                      <a:gd name="T4" fmla="*/ 3 w 11"/>
                      <a:gd name="T5" fmla="*/ 26 h 64"/>
                      <a:gd name="T6" fmla="*/ 6 w 11"/>
                      <a:gd name="T7" fmla="*/ 53 h 64"/>
                      <a:gd name="T8" fmla="*/ 9 w 11"/>
                      <a:gd name="T9" fmla="*/ 62 h 64"/>
                      <a:gd name="T10" fmla="*/ 11 w 11"/>
                      <a:gd name="T11" fmla="*/ 51 h 64"/>
                      <a:gd name="T12" fmla="*/ 10 w 11"/>
                      <a:gd name="T13" fmla="*/ 34 h 64"/>
                      <a:gd name="T14" fmla="*/ 8 w 11"/>
                      <a:gd name="T15" fmla="*/ 14 h 64"/>
                      <a:gd name="T16" fmla="*/ 4 w 11"/>
                      <a:gd name="T17" fmla="*/ 1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" h="64">
                        <a:moveTo>
                          <a:pt x="4" y="1"/>
                        </a:moveTo>
                        <a:cubicBezTo>
                          <a:pt x="1" y="0"/>
                          <a:pt x="0" y="3"/>
                          <a:pt x="0" y="7"/>
                        </a:cubicBezTo>
                        <a:cubicBezTo>
                          <a:pt x="1" y="12"/>
                          <a:pt x="2" y="18"/>
                          <a:pt x="3" y="26"/>
                        </a:cubicBezTo>
                        <a:cubicBezTo>
                          <a:pt x="4" y="35"/>
                          <a:pt x="5" y="50"/>
                          <a:pt x="6" y="53"/>
                        </a:cubicBezTo>
                        <a:cubicBezTo>
                          <a:pt x="6" y="64"/>
                          <a:pt x="8" y="62"/>
                          <a:pt x="9" y="62"/>
                        </a:cubicBezTo>
                        <a:cubicBezTo>
                          <a:pt x="10" y="62"/>
                          <a:pt x="11" y="63"/>
                          <a:pt x="11" y="51"/>
                        </a:cubicBezTo>
                        <a:cubicBezTo>
                          <a:pt x="11" y="47"/>
                          <a:pt x="10" y="42"/>
                          <a:pt x="10" y="34"/>
                        </a:cubicBezTo>
                        <a:cubicBezTo>
                          <a:pt x="9" y="26"/>
                          <a:pt x="9" y="20"/>
                          <a:pt x="8" y="14"/>
                        </a:cubicBezTo>
                        <a:cubicBezTo>
                          <a:pt x="7" y="8"/>
                          <a:pt x="6" y="1"/>
                          <a:pt x="4" y="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0" name="Freeform 115"/>
                  <p:cNvSpPr>
                    <a:spLocks/>
                  </p:cNvSpPr>
                  <p:nvPr/>
                </p:nvSpPr>
                <p:spPr bwMode="auto">
                  <a:xfrm>
                    <a:off x="4302125" y="4243388"/>
                    <a:ext cx="47625" cy="36513"/>
                  </a:xfrm>
                  <a:custGeom>
                    <a:avLst/>
                    <a:gdLst>
                      <a:gd name="T0" fmla="*/ 115 w 120"/>
                      <a:gd name="T1" fmla="*/ 5 h 92"/>
                      <a:gd name="T2" fmla="*/ 107 w 120"/>
                      <a:gd name="T3" fmla="*/ 1 h 92"/>
                      <a:gd name="T4" fmla="*/ 75 w 120"/>
                      <a:gd name="T5" fmla="*/ 30 h 92"/>
                      <a:gd name="T6" fmla="*/ 42 w 120"/>
                      <a:gd name="T7" fmla="*/ 60 h 92"/>
                      <a:gd name="T8" fmla="*/ 26 w 120"/>
                      <a:gd name="T9" fmla="*/ 68 h 92"/>
                      <a:gd name="T10" fmla="*/ 9 w 120"/>
                      <a:gd name="T11" fmla="*/ 69 h 92"/>
                      <a:gd name="T12" fmla="*/ 2 w 120"/>
                      <a:gd name="T13" fmla="*/ 79 h 92"/>
                      <a:gd name="T14" fmla="*/ 2 w 120"/>
                      <a:gd name="T15" fmla="*/ 88 h 92"/>
                      <a:gd name="T16" fmla="*/ 30 w 120"/>
                      <a:gd name="T17" fmla="*/ 90 h 92"/>
                      <a:gd name="T18" fmla="*/ 55 w 120"/>
                      <a:gd name="T19" fmla="*/ 72 h 92"/>
                      <a:gd name="T20" fmla="*/ 95 w 120"/>
                      <a:gd name="T21" fmla="*/ 37 h 92"/>
                      <a:gd name="T22" fmla="*/ 120 w 120"/>
                      <a:gd name="T23" fmla="*/ 13 h 92"/>
                      <a:gd name="T24" fmla="*/ 115 w 120"/>
                      <a:gd name="T25" fmla="*/ 5 h 9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20" h="92">
                        <a:moveTo>
                          <a:pt x="115" y="5"/>
                        </a:moveTo>
                        <a:cubicBezTo>
                          <a:pt x="110" y="1"/>
                          <a:pt x="109" y="0"/>
                          <a:pt x="107" y="1"/>
                        </a:cubicBezTo>
                        <a:cubicBezTo>
                          <a:pt x="105" y="2"/>
                          <a:pt x="93" y="14"/>
                          <a:pt x="75" y="30"/>
                        </a:cubicBezTo>
                        <a:cubicBezTo>
                          <a:pt x="57" y="47"/>
                          <a:pt x="47" y="56"/>
                          <a:pt x="42" y="60"/>
                        </a:cubicBezTo>
                        <a:cubicBezTo>
                          <a:pt x="36" y="64"/>
                          <a:pt x="37" y="67"/>
                          <a:pt x="26" y="68"/>
                        </a:cubicBezTo>
                        <a:cubicBezTo>
                          <a:pt x="15" y="68"/>
                          <a:pt x="10" y="68"/>
                          <a:pt x="9" y="69"/>
                        </a:cubicBezTo>
                        <a:cubicBezTo>
                          <a:pt x="7" y="70"/>
                          <a:pt x="4" y="75"/>
                          <a:pt x="2" y="79"/>
                        </a:cubicBezTo>
                        <a:cubicBezTo>
                          <a:pt x="0" y="83"/>
                          <a:pt x="1" y="88"/>
                          <a:pt x="2" y="88"/>
                        </a:cubicBezTo>
                        <a:cubicBezTo>
                          <a:pt x="3" y="89"/>
                          <a:pt x="19" y="92"/>
                          <a:pt x="30" y="90"/>
                        </a:cubicBezTo>
                        <a:cubicBezTo>
                          <a:pt x="40" y="87"/>
                          <a:pt x="47" y="80"/>
                          <a:pt x="55" y="72"/>
                        </a:cubicBezTo>
                        <a:cubicBezTo>
                          <a:pt x="64" y="65"/>
                          <a:pt x="81" y="49"/>
                          <a:pt x="95" y="37"/>
                        </a:cubicBezTo>
                        <a:cubicBezTo>
                          <a:pt x="109" y="25"/>
                          <a:pt x="120" y="15"/>
                          <a:pt x="120" y="13"/>
                        </a:cubicBezTo>
                        <a:cubicBezTo>
                          <a:pt x="120" y="11"/>
                          <a:pt x="117" y="8"/>
                          <a:pt x="115" y="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1" name="Freeform 116"/>
                  <p:cNvSpPr>
                    <a:spLocks/>
                  </p:cNvSpPr>
                  <p:nvPr/>
                </p:nvSpPr>
                <p:spPr bwMode="auto">
                  <a:xfrm>
                    <a:off x="4271963" y="4235450"/>
                    <a:ext cx="93663" cy="69850"/>
                  </a:xfrm>
                  <a:custGeom>
                    <a:avLst/>
                    <a:gdLst>
                      <a:gd name="T0" fmla="*/ 0 w 235"/>
                      <a:gd name="T1" fmla="*/ 87 h 178"/>
                      <a:gd name="T2" fmla="*/ 15 w 235"/>
                      <a:gd name="T3" fmla="*/ 138 h 178"/>
                      <a:gd name="T4" fmla="*/ 69 w 235"/>
                      <a:gd name="T5" fmla="*/ 172 h 178"/>
                      <a:gd name="T6" fmla="*/ 156 w 235"/>
                      <a:gd name="T7" fmla="*/ 172 h 178"/>
                      <a:gd name="T8" fmla="*/ 215 w 235"/>
                      <a:gd name="T9" fmla="*/ 136 h 178"/>
                      <a:gd name="T10" fmla="*/ 232 w 235"/>
                      <a:gd name="T11" fmla="*/ 88 h 178"/>
                      <a:gd name="T12" fmla="*/ 198 w 235"/>
                      <a:gd name="T13" fmla="*/ 53 h 178"/>
                      <a:gd name="T14" fmla="*/ 146 w 235"/>
                      <a:gd name="T15" fmla="*/ 14 h 178"/>
                      <a:gd name="T16" fmla="*/ 90 w 235"/>
                      <a:gd name="T17" fmla="*/ 2 h 178"/>
                      <a:gd name="T18" fmla="*/ 0 w 235"/>
                      <a:gd name="T19" fmla="*/ 87 h 1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35" h="178">
                        <a:moveTo>
                          <a:pt x="0" y="87"/>
                        </a:moveTo>
                        <a:cubicBezTo>
                          <a:pt x="0" y="87"/>
                          <a:pt x="4" y="120"/>
                          <a:pt x="15" y="138"/>
                        </a:cubicBezTo>
                        <a:cubicBezTo>
                          <a:pt x="26" y="156"/>
                          <a:pt x="41" y="169"/>
                          <a:pt x="69" y="172"/>
                        </a:cubicBezTo>
                        <a:cubicBezTo>
                          <a:pt x="97" y="174"/>
                          <a:pt x="136" y="178"/>
                          <a:pt x="156" y="172"/>
                        </a:cubicBezTo>
                        <a:cubicBezTo>
                          <a:pt x="176" y="166"/>
                          <a:pt x="202" y="153"/>
                          <a:pt x="215" y="136"/>
                        </a:cubicBezTo>
                        <a:cubicBezTo>
                          <a:pt x="227" y="119"/>
                          <a:pt x="235" y="95"/>
                          <a:pt x="232" y="88"/>
                        </a:cubicBezTo>
                        <a:cubicBezTo>
                          <a:pt x="226" y="76"/>
                          <a:pt x="210" y="63"/>
                          <a:pt x="198" y="53"/>
                        </a:cubicBezTo>
                        <a:cubicBezTo>
                          <a:pt x="173" y="33"/>
                          <a:pt x="163" y="24"/>
                          <a:pt x="146" y="14"/>
                        </a:cubicBezTo>
                        <a:cubicBezTo>
                          <a:pt x="129" y="3"/>
                          <a:pt x="94" y="4"/>
                          <a:pt x="90" y="2"/>
                        </a:cubicBezTo>
                        <a:cubicBezTo>
                          <a:pt x="86" y="0"/>
                          <a:pt x="36" y="3"/>
                          <a:pt x="0" y="8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2" name="Freeform 117"/>
                  <p:cNvSpPr>
                    <a:spLocks/>
                  </p:cNvSpPr>
                  <p:nvPr/>
                </p:nvSpPr>
                <p:spPr bwMode="auto">
                  <a:xfrm>
                    <a:off x="4241800" y="4100513"/>
                    <a:ext cx="136525" cy="92075"/>
                  </a:xfrm>
                  <a:custGeom>
                    <a:avLst/>
                    <a:gdLst>
                      <a:gd name="T0" fmla="*/ 330 w 347"/>
                      <a:gd name="T1" fmla="*/ 44 h 232"/>
                      <a:gd name="T2" fmla="*/ 309 w 347"/>
                      <a:gd name="T3" fmla="*/ 42 h 232"/>
                      <a:gd name="T4" fmla="*/ 296 w 347"/>
                      <a:gd name="T5" fmla="*/ 40 h 232"/>
                      <a:gd name="T6" fmla="*/ 286 w 347"/>
                      <a:gd name="T7" fmla="*/ 37 h 232"/>
                      <a:gd name="T8" fmla="*/ 210 w 347"/>
                      <a:gd name="T9" fmla="*/ 11 h 232"/>
                      <a:gd name="T10" fmla="*/ 166 w 347"/>
                      <a:gd name="T11" fmla="*/ 1 h 232"/>
                      <a:gd name="T12" fmla="*/ 118 w 347"/>
                      <a:gd name="T13" fmla="*/ 22 h 232"/>
                      <a:gd name="T14" fmla="*/ 76 w 347"/>
                      <a:gd name="T15" fmla="*/ 61 h 232"/>
                      <a:gd name="T16" fmla="*/ 25 w 347"/>
                      <a:gd name="T17" fmla="*/ 105 h 232"/>
                      <a:gd name="T18" fmla="*/ 3 w 347"/>
                      <a:gd name="T19" fmla="*/ 122 h 232"/>
                      <a:gd name="T20" fmla="*/ 29 w 347"/>
                      <a:gd name="T21" fmla="*/ 164 h 232"/>
                      <a:gd name="T22" fmla="*/ 105 w 347"/>
                      <a:gd name="T23" fmla="*/ 214 h 232"/>
                      <a:gd name="T24" fmla="*/ 139 w 347"/>
                      <a:gd name="T25" fmla="*/ 231 h 232"/>
                      <a:gd name="T26" fmla="*/ 173 w 347"/>
                      <a:gd name="T27" fmla="*/ 197 h 232"/>
                      <a:gd name="T28" fmla="*/ 252 w 347"/>
                      <a:gd name="T29" fmla="*/ 107 h 232"/>
                      <a:gd name="T30" fmla="*/ 324 w 347"/>
                      <a:gd name="T31" fmla="*/ 57 h 232"/>
                      <a:gd name="T32" fmla="*/ 347 w 347"/>
                      <a:gd name="T33" fmla="*/ 52 h 232"/>
                      <a:gd name="T34" fmla="*/ 330 w 347"/>
                      <a:gd name="T35" fmla="*/ 44 h 2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47" h="232">
                        <a:moveTo>
                          <a:pt x="330" y="44"/>
                        </a:moveTo>
                        <a:cubicBezTo>
                          <a:pt x="322" y="43"/>
                          <a:pt x="316" y="43"/>
                          <a:pt x="309" y="42"/>
                        </a:cubicBezTo>
                        <a:cubicBezTo>
                          <a:pt x="305" y="44"/>
                          <a:pt x="295" y="42"/>
                          <a:pt x="296" y="40"/>
                        </a:cubicBezTo>
                        <a:cubicBezTo>
                          <a:pt x="293" y="39"/>
                          <a:pt x="289" y="38"/>
                          <a:pt x="286" y="37"/>
                        </a:cubicBezTo>
                        <a:cubicBezTo>
                          <a:pt x="264" y="30"/>
                          <a:pt x="225" y="17"/>
                          <a:pt x="210" y="11"/>
                        </a:cubicBezTo>
                        <a:cubicBezTo>
                          <a:pt x="196" y="5"/>
                          <a:pt x="181" y="0"/>
                          <a:pt x="166" y="1"/>
                        </a:cubicBezTo>
                        <a:cubicBezTo>
                          <a:pt x="151" y="3"/>
                          <a:pt x="129" y="8"/>
                          <a:pt x="118" y="22"/>
                        </a:cubicBezTo>
                        <a:cubicBezTo>
                          <a:pt x="106" y="35"/>
                          <a:pt x="96" y="44"/>
                          <a:pt x="76" y="61"/>
                        </a:cubicBezTo>
                        <a:cubicBezTo>
                          <a:pt x="59" y="76"/>
                          <a:pt x="30" y="101"/>
                          <a:pt x="25" y="105"/>
                        </a:cubicBezTo>
                        <a:cubicBezTo>
                          <a:pt x="20" y="108"/>
                          <a:pt x="6" y="110"/>
                          <a:pt x="3" y="122"/>
                        </a:cubicBezTo>
                        <a:cubicBezTo>
                          <a:pt x="0" y="134"/>
                          <a:pt x="9" y="148"/>
                          <a:pt x="29" y="164"/>
                        </a:cubicBezTo>
                        <a:cubicBezTo>
                          <a:pt x="50" y="179"/>
                          <a:pt x="94" y="206"/>
                          <a:pt x="105" y="214"/>
                        </a:cubicBezTo>
                        <a:cubicBezTo>
                          <a:pt x="105" y="214"/>
                          <a:pt x="133" y="232"/>
                          <a:pt x="139" y="231"/>
                        </a:cubicBezTo>
                        <a:cubicBezTo>
                          <a:pt x="146" y="230"/>
                          <a:pt x="163" y="211"/>
                          <a:pt x="173" y="197"/>
                        </a:cubicBezTo>
                        <a:cubicBezTo>
                          <a:pt x="183" y="183"/>
                          <a:pt x="231" y="128"/>
                          <a:pt x="252" y="107"/>
                        </a:cubicBezTo>
                        <a:cubicBezTo>
                          <a:pt x="272" y="85"/>
                          <a:pt x="313" y="61"/>
                          <a:pt x="324" y="57"/>
                        </a:cubicBezTo>
                        <a:cubicBezTo>
                          <a:pt x="336" y="53"/>
                          <a:pt x="347" y="52"/>
                          <a:pt x="347" y="52"/>
                        </a:cubicBezTo>
                        <a:cubicBezTo>
                          <a:pt x="347" y="52"/>
                          <a:pt x="344" y="46"/>
                          <a:pt x="330" y="44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3" name="Freeform 118"/>
                  <p:cNvSpPr>
                    <a:spLocks/>
                  </p:cNvSpPr>
                  <p:nvPr/>
                </p:nvSpPr>
                <p:spPr bwMode="auto">
                  <a:xfrm>
                    <a:off x="4259263" y="4130675"/>
                    <a:ext cx="30163" cy="42863"/>
                  </a:xfrm>
                  <a:custGeom>
                    <a:avLst/>
                    <a:gdLst>
                      <a:gd name="T0" fmla="*/ 56 w 79"/>
                      <a:gd name="T1" fmla="*/ 1 h 105"/>
                      <a:gd name="T2" fmla="*/ 27 w 79"/>
                      <a:gd name="T3" fmla="*/ 23 h 105"/>
                      <a:gd name="T4" fmla="*/ 1 w 79"/>
                      <a:gd name="T5" fmla="*/ 49 h 105"/>
                      <a:gd name="T6" fmla="*/ 29 w 79"/>
                      <a:gd name="T7" fmla="*/ 75 h 105"/>
                      <a:gd name="T8" fmla="*/ 75 w 79"/>
                      <a:gd name="T9" fmla="*/ 103 h 105"/>
                      <a:gd name="T10" fmla="*/ 73 w 79"/>
                      <a:gd name="T11" fmla="*/ 68 h 105"/>
                      <a:gd name="T12" fmla="*/ 62 w 79"/>
                      <a:gd name="T13" fmla="*/ 21 h 105"/>
                      <a:gd name="T14" fmla="*/ 56 w 79"/>
                      <a:gd name="T15" fmla="*/ 1 h 1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9" h="105">
                        <a:moveTo>
                          <a:pt x="56" y="1"/>
                        </a:moveTo>
                        <a:cubicBezTo>
                          <a:pt x="52" y="0"/>
                          <a:pt x="43" y="9"/>
                          <a:pt x="27" y="23"/>
                        </a:cubicBezTo>
                        <a:cubicBezTo>
                          <a:pt x="12" y="37"/>
                          <a:pt x="2" y="44"/>
                          <a:pt x="1" y="49"/>
                        </a:cubicBezTo>
                        <a:cubicBezTo>
                          <a:pt x="0" y="54"/>
                          <a:pt x="13" y="63"/>
                          <a:pt x="29" y="75"/>
                        </a:cubicBezTo>
                        <a:cubicBezTo>
                          <a:pt x="44" y="86"/>
                          <a:pt x="71" y="105"/>
                          <a:pt x="75" y="103"/>
                        </a:cubicBezTo>
                        <a:cubicBezTo>
                          <a:pt x="79" y="100"/>
                          <a:pt x="78" y="90"/>
                          <a:pt x="73" y="68"/>
                        </a:cubicBezTo>
                        <a:cubicBezTo>
                          <a:pt x="68" y="46"/>
                          <a:pt x="64" y="32"/>
                          <a:pt x="62" y="21"/>
                        </a:cubicBezTo>
                        <a:cubicBezTo>
                          <a:pt x="60" y="11"/>
                          <a:pt x="59" y="2"/>
                          <a:pt x="56" y="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4" name="Freeform 119"/>
                  <p:cNvSpPr>
                    <a:spLocks/>
                  </p:cNvSpPr>
                  <p:nvPr/>
                </p:nvSpPr>
                <p:spPr bwMode="auto">
                  <a:xfrm>
                    <a:off x="4298950" y="4116388"/>
                    <a:ext cx="65088" cy="41275"/>
                  </a:xfrm>
                  <a:custGeom>
                    <a:avLst/>
                    <a:gdLst>
                      <a:gd name="T0" fmla="*/ 59 w 162"/>
                      <a:gd name="T1" fmla="*/ 25 h 106"/>
                      <a:gd name="T2" fmla="*/ 17 w 162"/>
                      <a:gd name="T3" fmla="*/ 24 h 106"/>
                      <a:gd name="T4" fmla="*/ 3 w 162"/>
                      <a:gd name="T5" fmla="*/ 27 h 106"/>
                      <a:gd name="T6" fmla="*/ 11 w 162"/>
                      <a:gd name="T7" fmla="*/ 68 h 106"/>
                      <a:gd name="T8" fmla="*/ 21 w 162"/>
                      <a:gd name="T9" fmla="*/ 104 h 106"/>
                      <a:gd name="T10" fmla="*/ 50 w 162"/>
                      <a:gd name="T11" fmla="*/ 76 h 106"/>
                      <a:gd name="T12" fmla="*/ 92 w 162"/>
                      <a:gd name="T13" fmla="*/ 31 h 106"/>
                      <a:gd name="T14" fmla="*/ 141 w 162"/>
                      <a:gd name="T15" fmla="*/ 9 h 106"/>
                      <a:gd name="T16" fmla="*/ 162 w 162"/>
                      <a:gd name="T17" fmla="*/ 2 h 106"/>
                      <a:gd name="T18" fmla="*/ 149 w 162"/>
                      <a:gd name="T19" fmla="*/ 0 h 106"/>
                      <a:gd name="T20" fmla="*/ 119 w 162"/>
                      <a:gd name="T21" fmla="*/ 7 h 106"/>
                      <a:gd name="T22" fmla="*/ 59 w 162"/>
                      <a:gd name="T23" fmla="*/ 25 h 1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62" h="106">
                        <a:moveTo>
                          <a:pt x="59" y="25"/>
                        </a:moveTo>
                        <a:cubicBezTo>
                          <a:pt x="49" y="27"/>
                          <a:pt x="27" y="24"/>
                          <a:pt x="17" y="24"/>
                        </a:cubicBezTo>
                        <a:cubicBezTo>
                          <a:pt x="8" y="24"/>
                          <a:pt x="4" y="25"/>
                          <a:pt x="3" y="27"/>
                        </a:cubicBezTo>
                        <a:cubicBezTo>
                          <a:pt x="0" y="30"/>
                          <a:pt x="6" y="44"/>
                          <a:pt x="11" y="68"/>
                        </a:cubicBezTo>
                        <a:cubicBezTo>
                          <a:pt x="16" y="91"/>
                          <a:pt x="18" y="102"/>
                          <a:pt x="21" y="104"/>
                        </a:cubicBezTo>
                        <a:cubicBezTo>
                          <a:pt x="23" y="106"/>
                          <a:pt x="36" y="92"/>
                          <a:pt x="50" y="76"/>
                        </a:cubicBezTo>
                        <a:cubicBezTo>
                          <a:pt x="63" y="59"/>
                          <a:pt x="82" y="37"/>
                          <a:pt x="92" y="31"/>
                        </a:cubicBezTo>
                        <a:cubicBezTo>
                          <a:pt x="102" y="25"/>
                          <a:pt x="129" y="12"/>
                          <a:pt x="141" y="9"/>
                        </a:cubicBezTo>
                        <a:cubicBezTo>
                          <a:pt x="150" y="7"/>
                          <a:pt x="158" y="4"/>
                          <a:pt x="162" y="2"/>
                        </a:cubicBezTo>
                        <a:cubicBezTo>
                          <a:pt x="158" y="2"/>
                          <a:pt x="154" y="1"/>
                          <a:pt x="149" y="0"/>
                        </a:cubicBezTo>
                        <a:cubicBezTo>
                          <a:pt x="144" y="1"/>
                          <a:pt x="132" y="3"/>
                          <a:pt x="119" y="7"/>
                        </a:cubicBezTo>
                        <a:cubicBezTo>
                          <a:pt x="101" y="12"/>
                          <a:pt x="69" y="24"/>
                          <a:pt x="59" y="2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5" name="Freeform 120"/>
                  <p:cNvSpPr>
                    <a:spLocks/>
                  </p:cNvSpPr>
                  <p:nvPr/>
                </p:nvSpPr>
                <p:spPr bwMode="auto">
                  <a:xfrm>
                    <a:off x="4325938" y="4117975"/>
                    <a:ext cx="52388" cy="38100"/>
                  </a:xfrm>
                  <a:custGeom>
                    <a:avLst/>
                    <a:gdLst>
                      <a:gd name="T0" fmla="*/ 0 w 132"/>
                      <a:gd name="T1" fmla="*/ 92 h 93"/>
                      <a:gd name="T2" fmla="*/ 22 w 132"/>
                      <a:gd name="T3" fmla="*/ 89 h 93"/>
                      <a:gd name="T4" fmla="*/ 55 w 132"/>
                      <a:gd name="T5" fmla="*/ 65 h 93"/>
                      <a:gd name="T6" fmla="*/ 101 w 132"/>
                      <a:gd name="T7" fmla="*/ 41 h 93"/>
                      <a:gd name="T8" fmla="*/ 125 w 132"/>
                      <a:gd name="T9" fmla="*/ 38 h 93"/>
                      <a:gd name="T10" fmla="*/ 132 w 132"/>
                      <a:gd name="T11" fmla="*/ 5 h 93"/>
                      <a:gd name="T12" fmla="*/ 100 w 132"/>
                      <a:gd name="T13" fmla="*/ 5 h 93"/>
                      <a:gd name="T14" fmla="*/ 0 w 132"/>
                      <a:gd name="T15" fmla="*/ 92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32" h="93">
                        <a:moveTo>
                          <a:pt x="0" y="92"/>
                        </a:moveTo>
                        <a:cubicBezTo>
                          <a:pt x="0" y="92"/>
                          <a:pt x="13" y="93"/>
                          <a:pt x="22" y="89"/>
                        </a:cubicBezTo>
                        <a:cubicBezTo>
                          <a:pt x="30" y="85"/>
                          <a:pt x="46" y="73"/>
                          <a:pt x="55" y="65"/>
                        </a:cubicBezTo>
                        <a:cubicBezTo>
                          <a:pt x="64" y="57"/>
                          <a:pt x="87" y="45"/>
                          <a:pt x="101" y="41"/>
                        </a:cubicBezTo>
                        <a:cubicBezTo>
                          <a:pt x="116" y="36"/>
                          <a:pt x="125" y="38"/>
                          <a:pt x="125" y="38"/>
                        </a:cubicBezTo>
                        <a:cubicBezTo>
                          <a:pt x="132" y="5"/>
                          <a:pt x="132" y="5"/>
                          <a:pt x="132" y="5"/>
                        </a:cubicBezTo>
                        <a:cubicBezTo>
                          <a:pt x="132" y="5"/>
                          <a:pt x="122" y="0"/>
                          <a:pt x="100" y="5"/>
                        </a:cubicBezTo>
                        <a:cubicBezTo>
                          <a:pt x="78" y="10"/>
                          <a:pt x="25" y="49"/>
                          <a:pt x="0" y="9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6" name="Freeform 121"/>
                  <p:cNvSpPr>
                    <a:spLocks/>
                  </p:cNvSpPr>
                  <p:nvPr/>
                </p:nvSpPr>
                <p:spPr bwMode="auto">
                  <a:xfrm>
                    <a:off x="4244975" y="4200525"/>
                    <a:ext cx="65088" cy="76200"/>
                  </a:xfrm>
                  <a:custGeom>
                    <a:avLst/>
                    <a:gdLst>
                      <a:gd name="T0" fmla="*/ 0 w 165"/>
                      <a:gd name="T1" fmla="*/ 178 h 193"/>
                      <a:gd name="T2" fmla="*/ 17 w 165"/>
                      <a:gd name="T3" fmla="*/ 190 h 193"/>
                      <a:gd name="T4" fmla="*/ 72 w 165"/>
                      <a:gd name="T5" fmla="*/ 182 h 193"/>
                      <a:gd name="T6" fmla="*/ 141 w 165"/>
                      <a:gd name="T7" fmla="*/ 167 h 193"/>
                      <a:gd name="T8" fmla="*/ 162 w 165"/>
                      <a:gd name="T9" fmla="*/ 113 h 193"/>
                      <a:gd name="T10" fmla="*/ 153 w 165"/>
                      <a:gd name="T11" fmla="*/ 38 h 193"/>
                      <a:gd name="T12" fmla="*/ 137 w 165"/>
                      <a:gd name="T13" fmla="*/ 0 h 193"/>
                      <a:gd name="T14" fmla="*/ 0 w 165"/>
                      <a:gd name="T15" fmla="*/ 178 h 1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65" h="193">
                        <a:moveTo>
                          <a:pt x="0" y="178"/>
                        </a:moveTo>
                        <a:cubicBezTo>
                          <a:pt x="0" y="178"/>
                          <a:pt x="10" y="186"/>
                          <a:pt x="17" y="190"/>
                        </a:cubicBezTo>
                        <a:cubicBezTo>
                          <a:pt x="24" y="193"/>
                          <a:pt x="56" y="186"/>
                          <a:pt x="72" y="182"/>
                        </a:cubicBezTo>
                        <a:cubicBezTo>
                          <a:pt x="89" y="178"/>
                          <a:pt x="130" y="176"/>
                          <a:pt x="141" y="167"/>
                        </a:cubicBezTo>
                        <a:cubicBezTo>
                          <a:pt x="151" y="157"/>
                          <a:pt x="159" y="134"/>
                          <a:pt x="162" y="113"/>
                        </a:cubicBezTo>
                        <a:cubicBezTo>
                          <a:pt x="165" y="92"/>
                          <a:pt x="156" y="60"/>
                          <a:pt x="153" y="38"/>
                        </a:cubicBezTo>
                        <a:cubicBezTo>
                          <a:pt x="150" y="16"/>
                          <a:pt x="137" y="0"/>
                          <a:pt x="137" y="0"/>
                        </a:cubicBezTo>
                        <a:lnTo>
                          <a:pt x="0" y="178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7" name="Freeform 122"/>
                  <p:cNvSpPr>
                    <a:spLocks/>
                  </p:cNvSpPr>
                  <p:nvPr/>
                </p:nvSpPr>
                <p:spPr bwMode="auto">
                  <a:xfrm>
                    <a:off x="4260850" y="4294188"/>
                    <a:ext cx="4763" cy="23813"/>
                  </a:xfrm>
                  <a:custGeom>
                    <a:avLst/>
                    <a:gdLst>
                      <a:gd name="T0" fmla="*/ 0 w 14"/>
                      <a:gd name="T1" fmla="*/ 4 h 59"/>
                      <a:gd name="T2" fmla="*/ 4 w 14"/>
                      <a:gd name="T3" fmla="*/ 18 h 59"/>
                      <a:gd name="T4" fmla="*/ 7 w 14"/>
                      <a:gd name="T5" fmla="*/ 32 h 59"/>
                      <a:gd name="T6" fmla="*/ 8 w 14"/>
                      <a:gd name="T7" fmla="*/ 52 h 59"/>
                      <a:gd name="T8" fmla="*/ 8 w 14"/>
                      <a:gd name="T9" fmla="*/ 58 h 59"/>
                      <a:gd name="T10" fmla="*/ 14 w 14"/>
                      <a:gd name="T11" fmla="*/ 59 h 59"/>
                      <a:gd name="T12" fmla="*/ 14 w 14"/>
                      <a:gd name="T13" fmla="*/ 52 h 59"/>
                      <a:gd name="T14" fmla="*/ 12 w 14"/>
                      <a:gd name="T15" fmla="*/ 32 h 59"/>
                      <a:gd name="T16" fmla="*/ 8 w 14"/>
                      <a:gd name="T17" fmla="*/ 10 h 59"/>
                      <a:gd name="T18" fmla="*/ 5 w 14"/>
                      <a:gd name="T19" fmla="*/ 0 h 59"/>
                      <a:gd name="T20" fmla="*/ 0 w 14"/>
                      <a:gd name="T21" fmla="*/ 4 h 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4" h="59">
                        <a:moveTo>
                          <a:pt x="0" y="4"/>
                        </a:moveTo>
                        <a:cubicBezTo>
                          <a:pt x="1" y="7"/>
                          <a:pt x="3" y="12"/>
                          <a:pt x="4" y="18"/>
                        </a:cubicBezTo>
                        <a:cubicBezTo>
                          <a:pt x="5" y="24"/>
                          <a:pt x="6" y="27"/>
                          <a:pt x="7" y="32"/>
                        </a:cubicBezTo>
                        <a:cubicBezTo>
                          <a:pt x="7" y="38"/>
                          <a:pt x="8" y="49"/>
                          <a:pt x="8" y="52"/>
                        </a:cubicBezTo>
                        <a:cubicBezTo>
                          <a:pt x="8" y="55"/>
                          <a:pt x="8" y="57"/>
                          <a:pt x="8" y="58"/>
                        </a:cubicBezTo>
                        <a:cubicBezTo>
                          <a:pt x="8" y="58"/>
                          <a:pt x="13" y="59"/>
                          <a:pt x="14" y="59"/>
                        </a:cubicBezTo>
                        <a:cubicBezTo>
                          <a:pt x="14" y="58"/>
                          <a:pt x="14" y="55"/>
                          <a:pt x="14" y="52"/>
                        </a:cubicBezTo>
                        <a:cubicBezTo>
                          <a:pt x="14" y="48"/>
                          <a:pt x="13" y="40"/>
                          <a:pt x="12" y="32"/>
                        </a:cubicBezTo>
                        <a:cubicBezTo>
                          <a:pt x="10" y="24"/>
                          <a:pt x="9" y="17"/>
                          <a:pt x="8" y="10"/>
                        </a:cubicBezTo>
                        <a:cubicBezTo>
                          <a:pt x="8" y="3"/>
                          <a:pt x="5" y="0"/>
                          <a:pt x="5" y="0"/>
                        </a:cubicBezTo>
                        <a:lnTo>
                          <a:pt x="0" y="4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8" name="Freeform 123"/>
                  <p:cNvSpPr>
                    <a:spLocks/>
                  </p:cNvSpPr>
                  <p:nvPr/>
                </p:nvSpPr>
                <p:spPr bwMode="auto">
                  <a:xfrm>
                    <a:off x="4311650" y="4259263"/>
                    <a:ext cx="39688" cy="46038"/>
                  </a:xfrm>
                  <a:custGeom>
                    <a:avLst/>
                    <a:gdLst>
                      <a:gd name="T0" fmla="*/ 0 w 103"/>
                      <a:gd name="T1" fmla="*/ 12 h 115"/>
                      <a:gd name="T2" fmla="*/ 20 w 103"/>
                      <a:gd name="T3" fmla="*/ 38 h 115"/>
                      <a:gd name="T4" fmla="*/ 97 w 103"/>
                      <a:gd name="T5" fmla="*/ 115 h 115"/>
                      <a:gd name="T6" fmla="*/ 103 w 103"/>
                      <a:gd name="T7" fmla="*/ 107 h 115"/>
                      <a:gd name="T8" fmla="*/ 34 w 103"/>
                      <a:gd name="T9" fmla="*/ 24 h 115"/>
                      <a:gd name="T10" fmla="*/ 13 w 103"/>
                      <a:gd name="T11" fmla="*/ 0 h 115"/>
                      <a:gd name="T12" fmla="*/ 6 w 103"/>
                      <a:gd name="T13" fmla="*/ 4 h 115"/>
                      <a:gd name="T14" fmla="*/ 0 w 103"/>
                      <a:gd name="T15" fmla="*/ 12 h 1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03" h="115">
                        <a:moveTo>
                          <a:pt x="0" y="12"/>
                        </a:moveTo>
                        <a:cubicBezTo>
                          <a:pt x="0" y="14"/>
                          <a:pt x="10" y="24"/>
                          <a:pt x="20" y="38"/>
                        </a:cubicBezTo>
                        <a:cubicBezTo>
                          <a:pt x="30" y="51"/>
                          <a:pt x="97" y="115"/>
                          <a:pt x="97" y="115"/>
                        </a:cubicBezTo>
                        <a:cubicBezTo>
                          <a:pt x="103" y="107"/>
                          <a:pt x="103" y="107"/>
                          <a:pt x="103" y="107"/>
                        </a:cubicBezTo>
                        <a:cubicBezTo>
                          <a:pt x="103" y="107"/>
                          <a:pt x="43" y="35"/>
                          <a:pt x="34" y="24"/>
                        </a:cubicBezTo>
                        <a:cubicBezTo>
                          <a:pt x="25" y="14"/>
                          <a:pt x="15" y="0"/>
                          <a:pt x="13" y="0"/>
                        </a:cubicBezTo>
                        <a:cubicBezTo>
                          <a:pt x="11" y="0"/>
                          <a:pt x="9" y="1"/>
                          <a:pt x="6" y="4"/>
                        </a:cubicBezTo>
                        <a:cubicBezTo>
                          <a:pt x="3" y="7"/>
                          <a:pt x="0" y="10"/>
                          <a:pt x="0" y="1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9" name="Freeform 124"/>
                  <p:cNvSpPr>
                    <a:spLocks/>
                  </p:cNvSpPr>
                  <p:nvPr/>
                </p:nvSpPr>
                <p:spPr bwMode="auto">
                  <a:xfrm>
                    <a:off x="4297363" y="4138613"/>
                    <a:ext cx="69850" cy="101600"/>
                  </a:xfrm>
                  <a:custGeom>
                    <a:avLst/>
                    <a:gdLst>
                      <a:gd name="T0" fmla="*/ 26 w 176"/>
                      <a:gd name="T1" fmla="*/ 250 h 257"/>
                      <a:gd name="T2" fmla="*/ 63 w 176"/>
                      <a:gd name="T3" fmla="*/ 257 h 257"/>
                      <a:gd name="T4" fmla="*/ 109 w 176"/>
                      <a:gd name="T5" fmla="*/ 248 h 257"/>
                      <a:gd name="T6" fmla="*/ 134 w 176"/>
                      <a:gd name="T7" fmla="*/ 168 h 257"/>
                      <a:gd name="T8" fmla="*/ 157 w 176"/>
                      <a:gd name="T9" fmla="*/ 57 h 257"/>
                      <a:gd name="T10" fmla="*/ 176 w 176"/>
                      <a:gd name="T11" fmla="*/ 0 h 257"/>
                      <a:gd name="T12" fmla="*/ 103 w 176"/>
                      <a:gd name="T13" fmla="*/ 40 h 257"/>
                      <a:gd name="T14" fmla="*/ 0 w 176"/>
                      <a:gd name="T15" fmla="*/ 164 h 257"/>
                      <a:gd name="T16" fmla="*/ 9 w 176"/>
                      <a:gd name="T17" fmla="*/ 216 h 257"/>
                      <a:gd name="T18" fmla="*/ 26 w 176"/>
                      <a:gd name="T19" fmla="*/ 250 h 2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76" h="257">
                        <a:moveTo>
                          <a:pt x="26" y="250"/>
                        </a:moveTo>
                        <a:cubicBezTo>
                          <a:pt x="26" y="250"/>
                          <a:pt x="51" y="257"/>
                          <a:pt x="63" y="257"/>
                        </a:cubicBezTo>
                        <a:cubicBezTo>
                          <a:pt x="75" y="257"/>
                          <a:pt x="103" y="252"/>
                          <a:pt x="109" y="248"/>
                        </a:cubicBezTo>
                        <a:cubicBezTo>
                          <a:pt x="114" y="245"/>
                          <a:pt x="128" y="196"/>
                          <a:pt x="134" y="168"/>
                        </a:cubicBezTo>
                        <a:cubicBezTo>
                          <a:pt x="140" y="139"/>
                          <a:pt x="154" y="73"/>
                          <a:pt x="157" y="57"/>
                        </a:cubicBezTo>
                        <a:cubicBezTo>
                          <a:pt x="160" y="42"/>
                          <a:pt x="176" y="0"/>
                          <a:pt x="176" y="0"/>
                        </a:cubicBezTo>
                        <a:cubicBezTo>
                          <a:pt x="176" y="0"/>
                          <a:pt x="132" y="18"/>
                          <a:pt x="103" y="40"/>
                        </a:cubicBezTo>
                        <a:cubicBezTo>
                          <a:pt x="74" y="61"/>
                          <a:pt x="0" y="164"/>
                          <a:pt x="0" y="164"/>
                        </a:cubicBezTo>
                        <a:cubicBezTo>
                          <a:pt x="0" y="164"/>
                          <a:pt x="5" y="195"/>
                          <a:pt x="9" y="216"/>
                        </a:cubicBezTo>
                        <a:cubicBezTo>
                          <a:pt x="14" y="236"/>
                          <a:pt x="26" y="250"/>
                          <a:pt x="26" y="25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0" name="Freeform 125"/>
                  <p:cNvSpPr>
                    <a:spLocks noEditPoints="1"/>
                  </p:cNvSpPr>
                  <p:nvPr/>
                </p:nvSpPr>
                <p:spPr bwMode="auto">
                  <a:xfrm>
                    <a:off x="4324350" y="4276725"/>
                    <a:ext cx="50800" cy="53975"/>
                  </a:xfrm>
                  <a:custGeom>
                    <a:avLst/>
                    <a:gdLst>
                      <a:gd name="T0" fmla="*/ 73 w 127"/>
                      <a:gd name="T1" fmla="*/ 3 h 138"/>
                      <a:gd name="T2" fmla="*/ 10 w 127"/>
                      <a:gd name="T3" fmla="*/ 36 h 138"/>
                      <a:gd name="T4" fmla="*/ 19 w 127"/>
                      <a:gd name="T5" fmla="*/ 114 h 138"/>
                      <a:gd name="T6" fmla="*/ 61 w 127"/>
                      <a:gd name="T7" fmla="*/ 137 h 138"/>
                      <a:gd name="T8" fmla="*/ 127 w 127"/>
                      <a:gd name="T9" fmla="*/ 73 h 138"/>
                      <a:gd name="T10" fmla="*/ 73 w 127"/>
                      <a:gd name="T11" fmla="*/ 3 h 138"/>
                      <a:gd name="T12" fmla="*/ 25 w 127"/>
                      <a:gd name="T13" fmla="*/ 74 h 138"/>
                      <a:gd name="T14" fmla="*/ 26 w 127"/>
                      <a:gd name="T15" fmla="*/ 49 h 138"/>
                      <a:gd name="T16" fmla="*/ 29 w 127"/>
                      <a:gd name="T17" fmla="*/ 41 h 138"/>
                      <a:gd name="T18" fmla="*/ 36 w 127"/>
                      <a:gd name="T19" fmla="*/ 32 h 138"/>
                      <a:gd name="T20" fmla="*/ 47 w 127"/>
                      <a:gd name="T21" fmla="*/ 45 h 138"/>
                      <a:gd name="T22" fmla="*/ 55 w 127"/>
                      <a:gd name="T23" fmla="*/ 57 h 138"/>
                      <a:gd name="T24" fmla="*/ 56 w 127"/>
                      <a:gd name="T25" fmla="*/ 64 h 138"/>
                      <a:gd name="T26" fmla="*/ 49 w 127"/>
                      <a:gd name="T27" fmla="*/ 69 h 138"/>
                      <a:gd name="T28" fmla="*/ 37 w 127"/>
                      <a:gd name="T29" fmla="*/ 74 h 138"/>
                      <a:gd name="T30" fmla="*/ 25 w 127"/>
                      <a:gd name="T31" fmla="*/ 74 h 138"/>
                      <a:gd name="T32" fmla="*/ 62 w 127"/>
                      <a:gd name="T33" fmla="*/ 114 h 138"/>
                      <a:gd name="T34" fmla="*/ 40 w 127"/>
                      <a:gd name="T35" fmla="*/ 105 h 138"/>
                      <a:gd name="T36" fmla="*/ 31 w 127"/>
                      <a:gd name="T37" fmla="*/ 87 h 138"/>
                      <a:gd name="T38" fmla="*/ 49 w 127"/>
                      <a:gd name="T39" fmla="*/ 79 h 138"/>
                      <a:gd name="T40" fmla="*/ 61 w 127"/>
                      <a:gd name="T41" fmla="*/ 75 h 138"/>
                      <a:gd name="T42" fmla="*/ 63 w 127"/>
                      <a:gd name="T43" fmla="*/ 97 h 138"/>
                      <a:gd name="T44" fmla="*/ 62 w 127"/>
                      <a:gd name="T45" fmla="*/ 114 h 138"/>
                      <a:gd name="T46" fmla="*/ 64 w 127"/>
                      <a:gd name="T47" fmla="*/ 56 h 138"/>
                      <a:gd name="T48" fmla="*/ 53 w 127"/>
                      <a:gd name="T49" fmla="*/ 39 h 138"/>
                      <a:gd name="T50" fmla="*/ 48 w 127"/>
                      <a:gd name="T51" fmla="*/ 25 h 138"/>
                      <a:gd name="T52" fmla="*/ 67 w 127"/>
                      <a:gd name="T53" fmla="*/ 21 h 138"/>
                      <a:gd name="T54" fmla="*/ 84 w 127"/>
                      <a:gd name="T55" fmla="*/ 29 h 138"/>
                      <a:gd name="T56" fmla="*/ 76 w 127"/>
                      <a:gd name="T57" fmla="*/ 44 h 138"/>
                      <a:gd name="T58" fmla="*/ 64 w 127"/>
                      <a:gd name="T59" fmla="*/ 56 h 138"/>
                      <a:gd name="T60" fmla="*/ 102 w 127"/>
                      <a:gd name="T61" fmla="*/ 98 h 138"/>
                      <a:gd name="T62" fmla="*/ 84 w 127"/>
                      <a:gd name="T63" fmla="*/ 112 h 138"/>
                      <a:gd name="T64" fmla="*/ 74 w 127"/>
                      <a:gd name="T65" fmla="*/ 115 h 138"/>
                      <a:gd name="T66" fmla="*/ 71 w 127"/>
                      <a:gd name="T67" fmla="*/ 110 h 138"/>
                      <a:gd name="T68" fmla="*/ 69 w 127"/>
                      <a:gd name="T69" fmla="*/ 86 h 138"/>
                      <a:gd name="T70" fmla="*/ 70 w 127"/>
                      <a:gd name="T71" fmla="*/ 75 h 138"/>
                      <a:gd name="T72" fmla="*/ 89 w 127"/>
                      <a:gd name="T73" fmla="*/ 80 h 138"/>
                      <a:gd name="T74" fmla="*/ 104 w 127"/>
                      <a:gd name="T75" fmla="*/ 90 h 138"/>
                      <a:gd name="T76" fmla="*/ 102 w 127"/>
                      <a:gd name="T77" fmla="*/ 98 h 138"/>
                      <a:gd name="T78" fmla="*/ 106 w 127"/>
                      <a:gd name="T79" fmla="*/ 78 h 138"/>
                      <a:gd name="T80" fmla="*/ 98 w 127"/>
                      <a:gd name="T81" fmla="*/ 76 h 138"/>
                      <a:gd name="T82" fmla="*/ 79 w 127"/>
                      <a:gd name="T83" fmla="*/ 69 h 138"/>
                      <a:gd name="T84" fmla="*/ 74 w 127"/>
                      <a:gd name="T85" fmla="*/ 65 h 138"/>
                      <a:gd name="T86" fmla="*/ 83 w 127"/>
                      <a:gd name="T87" fmla="*/ 50 h 138"/>
                      <a:gd name="T88" fmla="*/ 94 w 127"/>
                      <a:gd name="T89" fmla="*/ 34 h 138"/>
                      <a:gd name="T90" fmla="*/ 99 w 127"/>
                      <a:gd name="T91" fmla="*/ 38 h 138"/>
                      <a:gd name="T92" fmla="*/ 108 w 127"/>
                      <a:gd name="T93" fmla="*/ 59 h 138"/>
                      <a:gd name="T94" fmla="*/ 106 w 127"/>
                      <a:gd name="T95" fmla="*/ 78 h 1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27" h="138">
                        <a:moveTo>
                          <a:pt x="73" y="3"/>
                        </a:moveTo>
                        <a:cubicBezTo>
                          <a:pt x="39" y="0"/>
                          <a:pt x="20" y="9"/>
                          <a:pt x="10" y="36"/>
                        </a:cubicBezTo>
                        <a:cubicBezTo>
                          <a:pt x="0" y="63"/>
                          <a:pt x="1" y="95"/>
                          <a:pt x="19" y="114"/>
                        </a:cubicBezTo>
                        <a:cubicBezTo>
                          <a:pt x="36" y="133"/>
                          <a:pt x="61" y="137"/>
                          <a:pt x="61" y="137"/>
                        </a:cubicBezTo>
                        <a:cubicBezTo>
                          <a:pt x="87" y="138"/>
                          <a:pt x="127" y="116"/>
                          <a:pt x="127" y="73"/>
                        </a:cubicBezTo>
                        <a:cubicBezTo>
                          <a:pt x="126" y="31"/>
                          <a:pt x="106" y="6"/>
                          <a:pt x="73" y="3"/>
                        </a:cubicBezTo>
                        <a:close/>
                        <a:moveTo>
                          <a:pt x="25" y="74"/>
                        </a:moveTo>
                        <a:cubicBezTo>
                          <a:pt x="23" y="72"/>
                          <a:pt x="25" y="57"/>
                          <a:pt x="26" y="49"/>
                        </a:cubicBezTo>
                        <a:cubicBezTo>
                          <a:pt x="26" y="49"/>
                          <a:pt x="26" y="46"/>
                          <a:pt x="29" y="41"/>
                        </a:cubicBezTo>
                        <a:cubicBezTo>
                          <a:pt x="31" y="36"/>
                          <a:pt x="34" y="32"/>
                          <a:pt x="36" y="32"/>
                        </a:cubicBezTo>
                        <a:cubicBezTo>
                          <a:pt x="37" y="32"/>
                          <a:pt x="43" y="39"/>
                          <a:pt x="47" y="45"/>
                        </a:cubicBezTo>
                        <a:cubicBezTo>
                          <a:pt x="52" y="52"/>
                          <a:pt x="53" y="53"/>
                          <a:pt x="55" y="57"/>
                        </a:cubicBezTo>
                        <a:cubicBezTo>
                          <a:pt x="56" y="60"/>
                          <a:pt x="57" y="63"/>
                          <a:pt x="56" y="64"/>
                        </a:cubicBezTo>
                        <a:cubicBezTo>
                          <a:pt x="56" y="65"/>
                          <a:pt x="53" y="67"/>
                          <a:pt x="49" y="69"/>
                        </a:cubicBezTo>
                        <a:cubicBezTo>
                          <a:pt x="45" y="71"/>
                          <a:pt x="43" y="72"/>
                          <a:pt x="37" y="74"/>
                        </a:cubicBezTo>
                        <a:cubicBezTo>
                          <a:pt x="30" y="75"/>
                          <a:pt x="28" y="76"/>
                          <a:pt x="25" y="74"/>
                        </a:cubicBezTo>
                        <a:close/>
                        <a:moveTo>
                          <a:pt x="62" y="114"/>
                        </a:moveTo>
                        <a:cubicBezTo>
                          <a:pt x="60" y="116"/>
                          <a:pt x="52" y="115"/>
                          <a:pt x="40" y="105"/>
                        </a:cubicBezTo>
                        <a:cubicBezTo>
                          <a:pt x="28" y="95"/>
                          <a:pt x="29" y="90"/>
                          <a:pt x="31" y="87"/>
                        </a:cubicBezTo>
                        <a:cubicBezTo>
                          <a:pt x="33" y="84"/>
                          <a:pt x="42" y="82"/>
                          <a:pt x="49" y="79"/>
                        </a:cubicBezTo>
                        <a:cubicBezTo>
                          <a:pt x="54" y="76"/>
                          <a:pt x="60" y="73"/>
                          <a:pt x="61" y="75"/>
                        </a:cubicBezTo>
                        <a:cubicBezTo>
                          <a:pt x="62" y="76"/>
                          <a:pt x="63" y="87"/>
                          <a:pt x="63" y="97"/>
                        </a:cubicBezTo>
                        <a:cubicBezTo>
                          <a:pt x="63" y="106"/>
                          <a:pt x="63" y="113"/>
                          <a:pt x="62" y="114"/>
                        </a:cubicBezTo>
                        <a:close/>
                        <a:moveTo>
                          <a:pt x="64" y="56"/>
                        </a:moveTo>
                        <a:cubicBezTo>
                          <a:pt x="62" y="56"/>
                          <a:pt x="57" y="47"/>
                          <a:pt x="53" y="39"/>
                        </a:cubicBezTo>
                        <a:cubicBezTo>
                          <a:pt x="48" y="32"/>
                          <a:pt x="47" y="27"/>
                          <a:pt x="48" y="25"/>
                        </a:cubicBezTo>
                        <a:cubicBezTo>
                          <a:pt x="49" y="23"/>
                          <a:pt x="57" y="20"/>
                          <a:pt x="67" y="21"/>
                        </a:cubicBezTo>
                        <a:cubicBezTo>
                          <a:pt x="78" y="21"/>
                          <a:pt x="84" y="26"/>
                          <a:pt x="84" y="29"/>
                        </a:cubicBezTo>
                        <a:cubicBezTo>
                          <a:pt x="85" y="31"/>
                          <a:pt x="81" y="38"/>
                          <a:pt x="76" y="44"/>
                        </a:cubicBezTo>
                        <a:cubicBezTo>
                          <a:pt x="72" y="51"/>
                          <a:pt x="66" y="57"/>
                          <a:pt x="64" y="56"/>
                        </a:cubicBezTo>
                        <a:close/>
                        <a:moveTo>
                          <a:pt x="102" y="98"/>
                        </a:moveTo>
                        <a:cubicBezTo>
                          <a:pt x="99" y="103"/>
                          <a:pt x="89" y="110"/>
                          <a:pt x="84" y="112"/>
                        </a:cubicBezTo>
                        <a:cubicBezTo>
                          <a:pt x="80" y="114"/>
                          <a:pt x="75" y="115"/>
                          <a:pt x="74" y="115"/>
                        </a:cubicBezTo>
                        <a:cubicBezTo>
                          <a:pt x="73" y="114"/>
                          <a:pt x="72" y="113"/>
                          <a:pt x="71" y="110"/>
                        </a:cubicBezTo>
                        <a:cubicBezTo>
                          <a:pt x="70" y="108"/>
                          <a:pt x="70" y="92"/>
                          <a:pt x="69" y="86"/>
                        </a:cubicBezTo>
                        <a:cubicBezTo>
                          <a:pt x="69" y="79"/>
                          <a:pt x="69" y="76"/>
                          <a:pt x="70" y="75"/>
                        </a:cubicBezTo>
                        <a:cubicBezTo>
                          <a:pt x="73" y="73"/>
                          <a:pt x="80" y="77"/>
                          <a:pt x="89" y="80"/>
                        </a:cubicBezTo>
                        <a:cubicBezTo>
                          <a:pt x="98" y="84"/>
                          <a:pt x="103" y="87"/>
                          <a:pt x="104" y="90"/>
                        </a:cubicBezTo>
                        <a:cubicBezTo>
                          <a:pt x="105" y="92"/>
                          <a:pt x="104" y="94"/>
                          <a:pt x="102" y="98"/>
                        </a:cubicBezTo>
                        <a:close/>
                        <a:moveTo>
                          <a:pt x="106" y="78"/>
                        </a:moveTo>
                        <a:cubicBezTo>
                          <a:pt x="105" y="79"/>
                          <a:pt x="102" y="78"/>
                          <a:pt x="98" y="76"/>
                        </a:cubicBezTo>
                        <a:cubicBezTo>
                          <a:pt x="93" y="75"/>
                          <a:pt x="84" y="71"/>
                          <a:pt x="79" y="69"/>
                        </a:cubicBezTo>
                        <a:cubicBezTo>
                          <a:pt x="74" y="67"/>
                          <a:pt x="74" y="66"/>
                          <a:pt x="74" y="65"/>
                        </a:cubicBezTo>
                        <a:cubicBezTo>
                          <a:pt x="74" y="64"/>
                          <a:pt x="79" y="57"/>
                          <a:pt x="83" y="50"/>
                        </a:cubicBezTo>
                        <a:cubicBezTo>
                          <a:pt x="87" y="43"/>
                          <a:pt x="92" y="34"/>
                          <a:pt x="94" y="34"/>
                        </a:cubicBezTo>
                        <a:cubicBezTo>
                          <a:pt x="96" y="34"/>
                          <a:pt x="97" y="35"/>
                          <a:pt x="99" y="38"/>
                        </a:cubicBezTo>
                        <a:cubicBezTo>
                          <a:pt x="102" y="41"/>
                          <a:pt x="106" y="50"/>
                          <a:pt x="108" y="59"/>
                        </a:cubicBezTo>
                        <a:cubicBezTo>
                          <a:pt x="110" y="69"/>
                          <a:pt x="108" y="76"/>
                          <a:pt x="106" y="7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1" name="Freeform 126"/>
                  <p:cNvSpPr>
                    <a:spLocks/>
                  </p:cNvSpPr>
                  <p:nvPr/>
                </p:nvSpPr>
                <p:spPr bwMode="auto">
                  <a:xfrm>
                    <a:off x="4275138" y="4298950"/>
                    <a:ext cx="22225" cy="17463"/>
                  </a:xfrm>
                  <a:custGeom>
                    <a:avLst/>
                    <a:gdLst>
                      <a:gd name="T0" fmla="*/ 2 w 56"/>
                      <a:gd name="T1" fmla="*/ 6 h 42"/>
                      <a:gd name="T2" fmla="*/ 5 w 56"/>
                      <a:gd name="T3" fmla="*/ 19 h 42"/>
                      <a:gd name="T4" fmla="*/ 22 w 56"/>
                      <a:gd name="T5" fmla="*/ 28 h 42"/>
                      <a:gd name="T6" fmla="*/ 46 w 56"/>
                      <a:gd name="T7" fmla="*/ 41 h 42"/>
                      <a:gd name="T8" fmla="*/ 54 w 56"/>
                      <a:gd name="T9" fmla="*/ 38 h 42"/>
                      <a:gd name="T10" fmla="*/ 51 w 56"/>
                      <a:gd name="T11" fmla="*/ 29 h 42"/>
                      <a:gd name="T12" fmla="*/ 37 w 56"/>
                      <a:gd name="T13" fmla="*/ 21 h 42"/>
                      <a:gd name="T14" fmla="*/ 16 w 56"/>
                      <a:gd name="T15" fmla="*/ 4 h 42"/>
                      <a:gd name="T16" fmla="*/ 2 w 56"/>
                      <a:gd name="T17" fmla="*/ 6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6" h="42">
                        <a:moveTo>
                          <a:pt x="2" y="6"/>
                        </a:moveTo>
                        <a:cubicBezTo>
                          <a:pt x="0" y="10"/>
                          <a:pt x="2" y="17"/>
                          <a:pt x="5" y="19"/>
                        </a:cubicBezTo>
                        <a:cubicBezTo>
                          <a:pt x="7" y="20"/>
                          <a:pt x="12" y="23"/>
                          <a:pt x="22" y="28"/>
                        </a:cubicBezTo>
                        <a:cubicBezTo>
                          <a:pt x="33" y="34"/>
                          <a:pt x="44" y="40"/>
                          <a:pt x="46" y="41"/>
                        </a:cubicBezTo>
                        <a:cubicBezTo>
                          <a:pt x="48" y="42"/>
                          <a:pt x="53" y="42"/>
                          <a:pt x="54" y="38"/>
                        </a:cubicBezTo>
                        <a:cubicBezTo>
                          <a:pt x="56" y="34"/>
                          <a:pt x="54" y="31"/>
                          <a:pt x="51" y="29"/>
                        </a:cubicBezTo>
                        <a:cubicBezTo>
                          <a:pt x="48" y="27"/>
                          <a:pt x="43" y="25"/>
                          <a:pt x="37" y="21"/>
                        </a:cubicBezTo>
                        <a:cubicBezTo>
                          <a:pt x="32" y="18"/>
                          <a:pt x="21" y="8"/>
                          <a:pt x="16" y="4"/>
                        </a:cubicBezTo>
                        <a:cubicBezTo>
                          <a:pt x="10" y="1"/>
                          <a:pt x="5" y="0"/>
                          <a:pt x="2" y="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2" name="Freeform 127"/>
                  <p:cNvSpPr>
                    <a:spLocks noEditPoints="1"/>
                  </p:cNvSpPr>
                  <p:nvPr/>
                </p:nvSpPr>
                <p:spPr bwMode="auto">
                  <a:xfrm>
                    <a:off x="4316413" y="4268788"/>
                    <a:ext cx="66675" cy="69850"/>
                  </a:xfrm>
                  <a:custGeom>
                    <a:avLst/>
                    <a:gdLst>
                      <a:gd name="T0" fmla="*/ 119 w 171"/>
                      <a:gd name="T1" fmla="*/ 15 h 174"/>
                      <a:gd name="T2" fmla="*/ 36 w 171"/>
                      <a:gd name="T3" fmla="*/ 33 h 174"/>
                      <a:gd name="T4" fmla="*/ 50 w 171"/>
                      <a:gd name="T5" fmla="*/ 155 h 174"/>
                      <a:gd name="T6" fmla="*/ 156 w 171"/>
                      <a:gd name="T7" fmla="*/ 119 h 174"/>
                      <a:gd name="T8" fmla="*/ 119 w 171"/>
                      <a:gd name="T9" fmla="*/ 15 h 174"/>
                      <a:gd name="T10" fmla="*/ 81 w 171"/>
                      <a:gd name="T11" fmla="*/ 150 h 174"/>
                      <a:gd name="T12" fmla="*/ 34 w 171"/>
                      <a:gd name="T13" fmla="*/ 74 h 174"/>
                      <a:gd name="T14" fmla="*/ 83 w 171"/>
                      <a:gd name="T15" fmla="*/ 27 h 174"/>
                      <a:gd name="T16" fmla="*/ 140 w 171"/>
                      <a:gd name="T17" fmla="*/ 95 h 174"/>
                      <a:gd name="T18" fmla="*/ 81 w 171"/>
                      <a:gd name="T19" fmla="*/ 150 h 1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71" h="174">
                        <a:moveTo>
                          <a:pt x="119" y="15"/>
                        </a:moveTo>
                        <a:cubicBezTo>
                          <a:pt x="88" y="0"/>
                          <a:pt x="51" y="13"/>
                          <a:pt x="36" y="33"/>
                        </a:cubicBezTo>
                        <a:cubicBezTo>
                          <a:pt x="0" y="82"/>
                          <a:pt x="23" y="134"/>
                          <a:pt x="50" y="155"/>
                        </a:cubicBezTo>
                        <a:cubicBezTo>
                          <a:pt x="72" y="174"/>
                          <a:pt x="137" y="168"/>
                          <a:pt x="156" y="119"/>
                        </a:cubicBezTo>
                        <a:cubicBezTo>
                          <a:pt x="171" y="78"/>
                          <a:pt x="152" y="31"/>
                          <a:pt x="119" y="15"/>
                        </a:cubicBezTo>
                        <a:close/>
                        <a:moveTo>
                          <a:pt x="81" y="150"/>
                        </a:moveTo>
                        <a:cubicBezTo>
                          <a:pt x="42" y="146"/>
                          <a:pt x="30" y="106"/>
                          <a:pt x="34" y="74"/>
                        </a:cubicBezTo>
                        <a:cubicBezTo>
                          <a:pt x="38" y="43"/>
                          <a:pt x="59" y="26"/>
                          <a:pt x="83" y="27"/>
                        </a:cubicBezTo>
                        <a:cubicBezTo>
                          <a:pt x="132" y="28"/>
                          <a:pt x="141" y="71"/>
                          <a:pt x="140" y="95"/>
                        </a:cubicBezTo>
                        <a:cubicBezTo>
                          <a:pt x="140" y="119"/>
                          <a:pt x="120" y="154"/>
                          <a:pt x="81" y="15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3" name="Freeform 128"/>
                  <p:cNvSpPr>
                    <a:spLocks noEditPoints="1"/>
                  </p:cNvSpPr>
                  <p:nvPr/>
                </p:nvSpPr>
                <p:spPr bwMode="auto">
                  <a:xfrm>
                    <a:off x="4386263" y="4268788"/>
                    <a:ext cx="49213" cy="46038"/>
                  </a:xfrm>
                  <a:custGeom>
                    <a:avLst/>
                    <a:gdLst>
                      <a:gd name="T0" fmla="*/ 117 w 125"/>
                      <a:gd name="T1" fmla="*/ 75 h 116"/>
                      <a:gd name="T2" fmla="*/ 99 w 125"/>
                      <a:gd name="T3" fmla="*/ 16 h 116"/>
                      <a:gd name="T4" fmla="*/ 31 w 125"/>
                      <a:gd name="T5" fmla="*/ 12 h 116"/>
                      <a:gd name="T6" fmla="*/ 5 w 125"/>
                      <a:gd name="T7" fmla="*/ 44 h 116"/>
                      <a:gd name="T8" fmla="*/ 49 w 125"/>
                      <a:gd name="T9" fmla="*/ 110 h 116"/>
                      <a:gd name="T10" fmla="*/ 117 w 125"/>
                      <a:gd name="T11" fmla="*/ 75 h 116"/>
                      <a:gd name="T12" fmla="*/ 64 w 125"/>
                      <a:gd name="T13" fmla="*/ 23 h 116"/>
                      <a:gd name="T14" fmla="*/ 85 w 125"/>
                      <a:gd name="T15" fmla="*/ 28 h 116"/>
                      <a:gd name="T16" fmla="*/ 92 w 125"/>
                      <a:gd name="T17" fmla="*/ 31 h 116"/>
                      <a:gd name="T18" fmla="*/ 98 w 125"/>
                      <a:gd name="T19" fmla="*/ 39 h 116"/>
                      <a:gd name="T20" fmla="*/ 85 w 125"/>
                      <a:gd name="T21" fmla="*/ 46 h 116"/>
                      <a:gd name="T22" fmla="*/ 75 w 125"/>
                      <a:gd name="T23" fmla="*/ 51 h 116"/>
                      <a:gd name="T24" fmla="*/ 68 w 125"/>
                      <a:gd name="T25" fmla="*/ 51 h 116"/>
                      <a:gd name="T26" fmla="*/ 65 w 125"/>
                      <a:gd name="T27" fmla="*/ 44 h 116"/>
                      <a:gd name="T28" fmla="*/ 63 w 125"/>
                      <a:gd name="T29" fmla="*/ 33 h 116"/>
                      <a:gd name="T30" fmla="*/ 64 w 125"/>
                      <a:gd name="T31" fmla="*/ 23 h 116"/>
                      <a:gd name="T32" fmla="*/ 24 w 125"/>
                      <a:gd name="T33" fmla="*/ 48 h 116"/>
                      <a:gd name="T34" fmla="*/ 36 w 125"/>
                      <a:gd name="T35" fmla="*/ 31 h 116"/>
                      <a:gd name="T36" fmla="*/ 54 w 125"/>
                      <a:gd name="T37" fmla="*/ 27 h 116"/>
                      <a:gd name="T38" fmla="*/ 57 w 125"/>
                      <a:gd name="T39" fmla="*/ 43 h 116"/>
                      <a:gd name="T40" fmla="*/ 60 w 125"/>
                      <a:gd name="T41" fmla="*/ 53 h 116"/>
                      <a:gd name="T42" fmla="*/ 39 w 125"/>
                      <a:gd name="T43" fmla="*/ 52 h 116"/>
                      <a:gd name="T44" fmla="*/ 24 w 125"/>
                      <a:gd name="T45" fmla="*/ 48 h 116"/>
                      <a:gd name="T46" fmla="*/ 73 w 125"/>
                      <a:gd name="T47" fmla="*/ 59 h 116"/>
                      <a:gd name="T48" fmla="*/ 89 w 125"/>
                      <a:gd name="T49" fmla="*/ 52 h 116"/>
                      <a:gd name="T50" fmla="*/ 102 w 125"/>
                      <a:gd name="T51" fmla="*/ 50 h 116"/>
                      <a:gd name="T52" fmla="*/ 103 w 125"/>
                      <a:gd name="T53" fmla="*/ 67 h 116"/>
                      <a:gd name="T54" fmla="*/ 94 w 125"/>
                      <a:gd name="T55" fmla="*/ 80 h 116"/>
                      <a:gd name="T56" fmla="*/ 82 w 125"/>
                      <a:gd name="T57" fmla="*/ 71 h 116"/>
                      <a:gd name="T58" fmla="*/ 73 w 125"/>
                      <a:gd name="T59" fmla="*/ 59 h 116"/>
                      <a:gd name="T60" fmla="*/ 32 w 125"/>
                      <a:gd name="T61" fmla="*/ 85 h 116"/>
                      <a:gd name="T62" fmla="*/ 23 w 125"/>
                      <a:gd name="T63" fmla="*/ 68 h 116"/>
                      <a:gd name="T64" fmla="*/ 22 w 125"/>
                      <a:gd name="T65" fmla="*/ 59 h 116"/>
                      <a:gd name="T66" fmla="*/ 26 w 125"/>
                      <a:gd name="T67" fmla="*/ 57 h 116"/>
                      <a:gd name="T68" fmla="*/ 48 w 125"/>
                      <a:gd name="T69" fmla="*/ 59 h 116"/>
                      <a:gd name="T70" fmla="*/ 57 w 125"/>
                      <a:gd name="T71" fmla="*/ 62 h 116"/>
                      <a:gd name="T72" fmla="*/ 49 w 125"/>
                      <a:gd name="T73" fmla="*/ 77 h 116"/>
                      <a:gd name="T74" fmla="*/ 39 w 125"/>
                      <a:gd name="T75" fmla="*/ 88 h 116"/>
                      <a:gd name="T76" fmla="*/ 32 w 125"/>
                      <a:gd name="T77" fmla="*/ 85 h 116"/>
                      <a:gd name="T78" fmla="*/ 49 w 125"/>
                      <a:gd name="T79" fmla="*/ 92 h 116"/>
                      <a:gd name="T80" fmla="*/ 51 w 125"/>
                      <a:gd name="T81" fmla="*/ 85 h 116"/>
                      <a:gd name="T82" fmla="*/ 60 w 125"/>
                      <a:gd name="T83" fmla="*/ 70 h 116"/>
                      <a:gd name="T84" fmla="*/ 65 w 125"/>
                      <a:gd name="T85" fmla="*/ 66 h 116"/>
                      <a:gd name="T86" fmla="*/ 76 w 125"/>
                      <a:gd name="T87" fmla="*/ 76 h 116"/>
                      <a:gd name="T88" fmla="*/ 88 w 125"/>
                      <a:gd name="T89" fmla="*/ 88 h 116"/>
                      <a:gd name="T90" fmla="*/ 83 w 125"/>
                      <a:gd name="T91" fmla="*/ 92 h 116"/>
                      <a:gd name="T92" fmla="*/ 64 w 125"/>
                      <a:gd name="T93" fmla="*/ 96 h 116"/>
                      <a:gd name="T94" fmla="*/ 49 w 125"/>
                      <a:gd name="T95" fmla="*/ 92 h 1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25" h="116">
                        <a:moveTo>
                          <a:pt x="117" y="75"/>
                        </a:moveTo>
                        <a:cubicBezTo>
                          <a:pt x="125" y="46"/>
                          <a:pt x="120" y="29"/>
                          <a:pt x="99" y="16"/>
                        </a:cubicBezTo>
                        <a:cubicBezTo>
                          <a:pt x="77" y="3"/>
                          <a:pt x="50" y="0"/>
                          <a:pt x="31" y="12"/>
                        </a:cubicBezTo>
                        <a:cubicBezTo>
                          <a:pt x="12" y="24"/>
                          <a:pt x="5" y="44"/>
                          <a:pt x="5" y="44"/>
                        </a:cubicBezTo>
                        <a:cubicBezTo>
                          <a:pt x="0" y="66"/>
                          <a:pt x="13" y="104"/>
                          <a:pt x="49" y="110"/>
                        </a:cubicBezTo>
                        <a:cubicBezTo>
                          <a:pt x="86" y="116"/>
                          <a:pt x="110" y="103"/>
                          <a:pt x="117" y="75"/>
                        </a:cubicBezTo>
                        <a:close/>
                        <a:moveTo>
                          <a:pt x="64" y="23"/>
                        </a:moveTo>
                        <a:cubicBezTo>
                          <a:pt x="66" y="22"/>
                          <a:pt x="79" y="25"/>
                          <a:pt x="85" y="28"/>
                        </a:cubicBezTo>
                        <a:cubicBezTo>
                          <a:pt x="85" y="28"/>
                          <a:pt x="88" y="28"/>
                          <a:pt x="92" y="31"/>
                        </a:cubicBezTo>
                        <a:cubicBezTo>
                          <a:pt x="96" y="34"/>
                          <a:pt x="99" y="37"/>
                          <a:pt x="98" y="39"/>
                        </a:cubicBezTo>
                        <a:cubicBezTo>
                          <a:pt x="98" y="40"/>
                          <a:pt x="91" y="44"/>
                          <a:pt x="85" y="46"/>
                        </a:cubicBezTo>
                        <a:cubicBezTo>
                          <a:pt x="79" y="49"/>
                          <a:pt x="78" y="50"/>
                          <a:pt x="75" y="51"/>
                        </a:cubicBezTo>
                        <a:cubicBezTo>
                          <a:pt x="71" y="52"/>
                          <a:pt x="69" y="52"/>
                          <a:pt x="68" y="51"/>
                        </a:cubicBezTo>
                        <a:cubicBezTo>
                          <a:pt x="67" y="51"/>
                          <a:pt x="66" y="48"/>
                          <a:pt x="65" y="44"/>
                        </a:cubicBezTo>
                        <a:cubicBezTo>
                          <a:pt x="64" y="41"/>
                          <a:pt x="63" y="39"/>
                          <a:pt x="63" y="33"/>
                        </a:cubicBezTo>
                        <a:cubicBezTo>
                          <a:pt x="62" y="28"/>
                          <a:pt x="62" y="25"/>
                          <a:pt x="64" y="23"/>
                        </a:cubicBezTo>
                        <a:close/>
                        <a:moveTo>
                          <a:pt x="24" y="48"/>
                        </a:moveTo>
                        <a:cubicBezTo>
                          <a:pt x="23" y="47"/>
                          <a:pt x="25" y="40"/>
                          <a:pt x="36" y="31"/>
                        </a:cubicBezTo>
                        <a:cubicBezTo>
                          <a:pt x="46" y="22"/>
                          <a:pt x="52" y="24"/>
                          <a:pt x="54" y="27"/>
                        </a:cubicBezTo>
                        <a:cubicBezTo>
                          <a:pt x="56" y="29"/>
                          <a:pt x="56" y="38"/>
                          <a:pt x="57" y="43"/>
                        </a:cubicBezTo>
                        <a:cubicBezTo>
                          <a:pt x="59" y="47"/>
                          <a:pt x="61" y="52"/>
                          <a:pt x="60" y="53"/>
                        </a:cubicBezTo>
                        <a:cubicBezTo>
                          <a:pt x="58" y="54"/>
                          <a:pt x="47" y="53"/>
                          <a:pt x="39" y="52"/>
                        </a:cubicBezTo>
                        <a:cubicBezTo>
                          <a:pt x="31" y="50"/>
                          <a:pt x="25" y="50"/>
                          <a:pt x="24" y="48"/>
                        </a:cubicBezTo>
                        <a:close/>
                        <a:moveTo>
                          <a:pt x="73" y="59"/>
                        </a:moveTo>
                        <a:cubicBezTo>
                          <a:pt x="74" y="57"/>
                          <a:pt x="82" y="55"/>
                          <a:pt x="89" y="52"/>
                        </a:cubicBezTo>
                        <a:cubicBezTo>
                          <a:pt x="96" y="49"/>
                          <a:pt x="101" y="49"/>
                          <a:pt x="102" y="50"/>
                        </a:cubicBezTo>
                        <a:cubicBezTo>
                          <a:pt x="103" y="51"/>
                          <a:pt x="105" y="58"/>
                          <a:pt x="103" y="67"/>
                        </a:cubicBezTo>
                        <a:cubicBezTo>
                          <a:pt x="101" y="76"/>
                          <a:pt x="96" y="80"/>
                          <a:pt x="94" y="80"/>
                        </a:cubicBezTo>
                        <a:cubicBezTo>
                          <a:pt x="92" y="80"/>
                          <a:pt x="86" y="76"/>
                          <a:pt x="82" y="71"/>
                        </a:cubicBezTo>
                        <a:cubicBezTo>
                          <a:pt x="77" y="67"/>
                          <a:pt x="72" y="60"/>
                          <a:pt x="73" y="59"/>
                        </a:cubicBezTo>
                        <a:close/>
                        <a:moveTo>
                          <a:pt x="32" y="85"/>
                        </a:moveTo>
                        <a:cubicBezTo>
                          <a:pt x="29" y="82"/>
                          <a:pt x="24" y="72"/>
                          <a:pt x="23" y="68"/>
                        </a:cubicBezTo>
                        <a:cubicBezTo>
                          <a:pt x="22" y="64"/>
                          <a:pt x="21" y="60"/>
                          <a:pt x="22" y="59"/>
                        </a:cubicBezTo>
                        <a:cubicBezTo>
                          <a:pt x="23" y="58"/>
                          <a:pt x="24" y="57"/>
                          <a:pt x="26" y="57"/>
                        </a:cubicBezTo>
                        <a:cubicBezTo>
                          <a:pt x="29" y="56"/>
                          <a:pt x="42" y="58"/>
                          <a:pt x="48" y="59"/>
                        </a:cubicBezTo>
                        <a:cubicBezTo>
                          <a:pt x="53" y="60"/>
                          <a:pt x="56" y="60"/>
                          <a:pt x="57" y="62"/>
                        </a:cubicBezTo>
                        <a:cubicBezTo>
                          <a:pt x="58" y="64"/>
                          <a:pt x="53" y="70"/>
                          <a:pt x="49" y="77"/>
                        </a:cubicBezTo>
                        <a:cubicBezTo>
                          <a:pt x="45" y="84"/>
                          <a:pt x="42" y="88"/>
                          <a:pt x="39" y="88"/>
                        </a:cubicBezTo>
                        <a:cubicBezTo>
                          <a:pt x="37" y="89"/>
                          <a:pt x="35" y="88"/>
                          <a:pt x="32" y="85"/>
                        </a:cubicBezTo>
                        <a:close/>
                        <a:moveTo>
                          <a:pt x="49" y="92"/>
                        </a:moveTo>
                        <a:cubicBezTo>
                          <a:pt x="48" y="90"/>
                          <a:pt x="49" y="88"/>
                          <a:pt x="51" y="85"/>
                        </a:cubicBezTo>
                        <a:cubicBezTo>
                          <a:pt x="53" y="81"/>
                          <a:pt x="57" y="74"/>
                          <a:pt x="60" y="70"/>
                        </a:cubicBezTo>
                        <a:cubicBezTo>
                          <a:pt x="63" y="66"/>
                          <a:pt x="64" y="66"/>
                          <a:pt x="65" y="66"/>
                        </a:cubicBezTo>
                        <a:cubicBezTo>
                          <a:pt x="66" y="66"/>
                          <a:pt x="70" y="71"/>
                          <a:pt x="76" y="76"/>
                        </a:cubicBezTo>
                        <a:cubicBezTo>
                          <a:pt x="81" y="80"/>
                          <a:pt x="88" y="86"/>
                          <a:pt x="88" y="88"/>
                        </a:cubicBezTo>
                        <a:cubicBezTo>
                          <a:pt x="88" y="89"/>
                          <a:pt x="86" y="90"/>
                          <a:pt x="83" y="92"/>
                        </a:cubicBezTo>
                        <a:cubicBezTo>
                          <a:pt x="81" y="93"/>
                          <a:pt x="73" y="96"/>
                          <a:pt x="64" y="96"/>
                        </a:cubicBezTo>
                        <a:cubicBezTo>
                          <a:pt x="56" y="96"/>
                          <a:pt x="50" y="93"/>
                          <a:pt x="49" y="9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4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4379913" y="4262438"/>
                    <a:ext cx="57150" cy="58738"/>
                  </a:xfrm>
                  <a:custGeom>
                    <a:avLst/>
                    <a:gdLst>
                      <a:gd name="T0" fmla="*/ 130 w 145"/>
                      <a:gd name="T1" fmla="*/ 111 h 148"/>
                      <a:gd name="T2" fmla="*/ 130 w 145"/>
                      <a:gd name="T3" fmla="*/ 39 h 148"/>
                      <a:gd name="T4" fmla="*/ 27 w 145"/>
                      <a:gd name="T5" fmla="*/ 30 h 148"/>
                      <a:gd name="T6" fmla="*/ 38 w 145"/>
                      <a:gd name="T7" fmla="*/ 129 h 148"/>
                      <a:gd name="T8" fmla="*/ 130 w 145"/>
                      <a:gd name="T9" fmla="*/ 111 h 148"/>
                      <a:gd name="T10" fmla="*/ 26 w 145"/>
                      <a:gd name="T11" fmla="*/ 59 h 148"/>
                      <a:gd name="T12" fmla="*/ 95 w 145"/>
                      <a:gd name="T13" fmla="*/ 27 h 148"/>
                      <a:gd name="T14" fmla="*/ 129 w 145"/>
                      <a:gd name="T15" fmla="*/ 77 h 148"/>
                      <a:gd name="T16" fmla="*/ 62 w 145"/>
                      <a:gd name="T17" fmla="*/ 117 h 148"/>
                      <a:gd name="T18" fmla="*/ 26 w 145"/>
                      <a:gd name="T19" fmla="*/ 59 h 1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45" h="148">
                        <a:moveTo>
                          <a:pt x="130" y="111"/>
                        </a:moveTo>
                        <a:cubicBezTo>
                          <a:pt x="145" y="90"/>
                          <a:pt x="142" y="52"/>
                          <a:pt x="130" y="39"/>
                        </a:cubicBezTo>
                        <a:cubicBezTo>
                          <a:pt x="94" y="0"/>
                          <a:pt x="54" y="9"/>
                          <a:pt x="27" y="30"/>
                        </a:cubicBezTo>
                        <a:cubicBezTo>
                          <a:pt x="0" y="52"/>
                          <a:pt x="6" y="110"/>
                          <a:pt x="38" y="129"/>
                        </a:cubicBezTo>
                        <a:cubicBezTo>
                          <a:pt x="70" y="148"/>
                          <a:pt x="110" y="136"/>
                          <a:pt x="130" y="111"/>
                        </a:cubicBezTo>
                        <a:close/>
                        <a:moveTo>
                          <a:pt x="26" y="59"/>
                        </a:moveTo>
                        <a:cubicBezTo>
                          <a:pt x="35" y="27"/>
                          <a:pt x="69" y="19"/>
                          <a:pt x="95" y="27"/>
                        </a:cubicBezTo>
                        <a:cubicBezTo>
                          <a:pt x="121" y="35"/>
                          <a:pt x="133" y="57"/>
                          <a:pt x="129" y="77"/>
                        </a:cubicBezTo>
                        <a:cubicBezTo>
                          <a:pt x="121" y="118"/>
                          <a:pt x="82" y="121"/>
                          <a:pt x="62" y="117"/>
                        </a:cubicBezTo>
                        <a:cubicBezTo>
                          <a:pt x="41" y="114"/>
                          <a:pt x="16" y="91"/>
                          <a:pt x="26" y="59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5" name="Freeform 130"/>
                  <p:cNvSpPr>
                    <a:spLocks/>
                  </p:cNvSpPr>
                  <p:nvPr/>
                </p:nvSpPr>
                <p:spPr bwMode="auto">
                  <a:xfrm>
                    <a:off x="4351338" y="4289425"/>
                    <a:ext cx="58738" cy="15875"/>
                  </a:xfrm>
                  <a:custGeom>
                    <a:avLst/>
                    <a:gdLst>
                      <a:gd name="T0" fmla="*/ 6 w 152"/>
                      <a:gd name="T1" fmla="*/ 38 h 38"/>
                      <a:gd name="T2" fmla="*/ 48 w 152"/>
                      <a:gd name="T3" fmla="*/ 32 h 38"/>
                      <a:gd name="T4" fmla="*/ 101 w 152"/>
                      <a:gd name="T5" fmla="*/ 21 h 38"/>
                      <a:gd name="T6" fmla="*/ 136 w 152"/>
                      <a:gd name="T7" fmla="*/ 13 h 38"/>
                      <a:gd name="T8" fmla="*/ 152 w 152"/>
                      <a:gd name="T9" fmla="*/ 7 h 38"/>
                      <a:gd name="T10" fmla="*/ 149 w 152"/>
                      <a:gd name="T11" fmla="*/ 1 h 38"/>
                      <a:gd name="T12" fmla="*/ 112 w 152"/>
                      <a:gd name="T13" fmla="*/ 7 h 38"/>
                      <a:gd name="T14" fmla="*/ 67 w 152"/>
                      <a:gd name="T15" fmla="*/ 15 h 38"/>
                      <a:gd name="T16" fmla="*/ 10 w 152"/>
                      <a:gd name="T17" fmla="*/ 26 h 38"/>
                      <a:gd name="T18" fmla="*/ 6 w 152"/>
                      <a:gd name="T19" fmla="*/ 38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52" h="38">
                        <a:moveTo>
                          <a:pt x="6" y="38"/>
                        </a:moveTo>
                        <a:cubicBezTo>
                          <a:pt x="13" y="38"/>
                          <a:pt x="30" y="34"/>
                          <a:pt x="48" y="32"/>
                        </a:cubicBezTo>
                        <a:cubicBezTo>
                          <a:pt x="65" y="29"/>
                          <a:pt x="84" y="24"/>
                          <a:pt x="101" y="21"/>
                        </a:cubicBezTo>
                        <a:cubicBezTo>
                          <a:pt x="119" y="17"/>
                          <a:pt x="129" y="15"/>
                          <a:pt x="136" y="13"/>
                        </a:cubicBezTo>
                        <a:cubicBezTo>
                          <a:pt x="142" y="11"/>
                          <a:pt x="152" y="10"/>
                          <a:pt x="152" y="7"/>
                        </a:cubicBezTo>
                        <a:cubicBezTo>
                          <a:pt x="152" y="5"/>
                          <a:pt x="151" y="1"/>
                          <a:pt x="149" y="1"/>
                        </a:cubicBezTo>
                        <a:cubicBezTo>
                          <a:pt x="147" y="0"/>
                          <a:pt x="130" y="3"/>
                          <a:pt x="112" y="7"/>
                        </a:cubicBezTo>
                        <a:cubicBezTo>
                          <a:pt x="94" y="10"/>
                          <a:pt x="79" y="12"/>
                          <a:pt x="67" y="15"/>
                        </a:cubicBezTo>
                        <a:cubicBezTo>
                          <a:pt x="54" y="17"/>
                          <a:pt x="19" y="24"/>
                          <a:pt x="10" y="26"/>
                        </a:cubicBezTo>
                        <a:cubicBezTo>
                          <a:pt x="1" y="28"/>
                          <a:pt x="0" y="37"/>
                          <a:pt x="6" y="3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6" name="Freeform 131"/>
                  <p:cNvSpPr>
                    <a:spLocks/>
                  </p:cNvSpPr>
                  <p:nvPr/>
                </p:nvSpPr>
                <p:spPr bwMode="auto">
                  <a:xfrm>
                    <a:off x="4244975" y="4291013"/>
                    <a:ext cx="17463" cy="22225"/>
                  </a:xfrm>
                  <a:custGeom>
                    <a:avLst/>
                    <a:gdLst>
                      <a:gd name="T0" fmla="*/ 11 w 47"/>
                      <a:gd name="T1" fmla="*/ 1 h 58"/>
                      <a:gd name="T2" fmla="*/ 7 w 47"/>
                      <a:gd name="T3" fmla="*/ 7 h 58"/>
                      <a:gd name="T4" fmla="*/ 1 w 47"/>
                      <a:gd name="T5" fmla="*/ 14 h 58"/>
                      <a:gd name="T6" fmla="*/ 0 w 47"/>
                      <a:gd name="T7" fmla="*/ 35 h 58"/>
                      <a:gd name="T8" fmla="*/ 0 w 47"/>
                      <a:gd name="T9" fmla="*/ 52 h 58"/>
                      <a:gd name="T10" fmla="*/ 12 w 47"/>
                      <a:gd name="T11" fmla="*/ 57 h 58"/>
                      <a:gd name="T12" fmla="*/ 18 w 47"/>
                      <a:gd name="T13" fmla="*/ 45 h 58"/>
                      <a:gd name="T14" fmla="*/ 20 w 47"/>
                      <a:gd name="T15" fmla="*/ 27 h 58"/>
                      <a:gd name="T16" fmla="*/ 26 w 47"/>
                      <a:gd name="T17" fmla="*/ 19 h 58"/>
                      <a:gd name="T18" fmla="*/ 42 w 47"/>
                      <a:gd name="T19" fmla="*/ 17 h 58"/>
                      <a:gd name="T20" fmla="*/ 47 w 47"/>
                      <a:gd name="T21" fmla="*/ 12 h 58"/>
                      <a:gd name="T22" fmla="*/ 40 w 47"/>
                      <a:gd name="T23" fmla="*/ 8 h 58"/>
                      <a:gd name="T24" fmla="*/ 27 w 47"/>
                      <a:gd name="T25" fmla="*/ 6 h 58"/>
                      <a:gd name="T26" fmla="*/ 27 w 47"/>
                      <a:gd name="T27" fmla="*/ 0 h 58"/>
                      <a:gd name="T28" fmla="*/ 11 w 47"/>
                      <a:gd name="T29" fmla="*/ 1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47" h="58">
                        <a:moveTo>
                          <a:pt x="11" y="1"/>
                        </a:moveTo>
                        <a:cubicBezTo>
                          <a:pt x="10" y="4"/>
                          <a:pt x="10" y="6"/>
                          <a:pt x="7" y="7"/>
                        </a:cubicBezTo>
                        <a:cubicBezTo>
                          <a:pt x="4" y="7"/>
                          <a:pt x="1" y="7"/>
                          <a:pt x="1" y="14"/>
                        </a:cubicBezTo>
                        <a:cubicBezTo>
                          <a:pt x="0" y="20"/>
                          <a:pt x="1" y="28"/>
                          <a:pt x="0" y="35"/>
                        </a:cubicBezTo>
                        <a:cubicBezTo>
                          <a:pt x="0" y="42"/>
                          <a:pt x="0" y="52"/>
                          <a:pt x="0" y="52"/>
                        </a:cubicBezTo>
                        <a:cubicBezTo>
                          <a:pt x="0" y="52"/>
                          <a:pt x="7" y="58"/>
                          <a:pt x="12" y="57"/>
                        </a:cubicBezTo>
                        <a:cubicBezTo>
                          <a:pt x="17" y="55"/>
                          <a:pt x="18" y="49"/>
                          <a:pt x="18" y="45"/>
                        </a:cubicBezTo>
                        <a:cubicBezTo>
                          <a:pt x="18" y="41"/>
                          <a:pt x="19" y="32"/>
                          <a:pt x="20" y="27"/>
                        </a:cubicBezTo>
                        <a:cubicBezTo>
                          <a:pt x="20" y="22"/>
                          <a:pt x="22" y="19"/>
                          <a:pt x="26" y="19"/>
                        </a:cubicBezTo>
                        <a:cubicBezTo>
                          <a:pt x="31" y="18"/>
                          <a:pt x="39" y="17"/>
                          <a:pt x="42" y="17"/>
                        </a:cubicBezTo>
                        <a:cubicBezTo>
                          <a:pt x="45" y="17"/>
                          <a:pt x="47" y="15"/>
                          <a:pt x="47" y="12"/>
                        </a:cubicBezTo>
                        <a:cubicBezTo>
                          <a:pt x="46" y="10"/>
                          <a:pt x="45" y="8"/>
                          <a:pt x="40" y="8"/>
                        </a:cubicBezTo>
                        <a:cubicBezTo>
                          <a:pt x="34" y="8"/>
                          <a:pt x="27" y="8"/>
                          <a:pt x="27" y="6"/>
                        </a:cubicBezTo>
                        <a:cubicBezTo>
                          <a:pt x="27" y="4"/>
                          <a:pt x="27" y="0"/>
                          <a:pt x="27" y="0"/>
                        </a:cubicBezTo>
                        <a:lnTo>
                          <a:pt x="11" y="1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7" name="Freeform 132"/>
                  <p:cNvSpPr>
                    <a:spLocks/>
                  </p:cNvSpPr>
                  <p:nvPr/>
                </p:nvSpPr>
                <p:spPr bwMode="auto">
                  <a:xfrm>
                    <a:off x="4240213" y="4305300"/>
                    <a:ext cx="25400" cy="14288"/>
                  </a:xfrm>
                  <a:custGeom>
                    <a:avLst/>
                    <a:gdLst>
                      <a:gd name="T0" fmla="*/ 0 w 67"/>
                      <a:gd name="T1" fmla="*/ 11 h 39"/>
                      <a:gd name="T2" fmla="*/ 3 w 67"/>
                      <a:gd name="T3" fmla="*/ 5 h 39"/>
                      <a:gd name="T4" fmla="*/ 14 w 67"/>
                      <a:gd name="T5" fmla="*/ 2 h 39"/>
                      <a:gd name="T6" fmla="*/ 26 w 67"/>
                      <a:gd name="T7" fmla="*/ 2 h 39"/>
                      <a:gd name="T8" fmla="*/ 47 w 67"/>
                      <a:gd name="T9" fmla="*/ 17 h 39"/>
                      <a:gd name="T10" fmla="*/ 67 w 67"/>
                      <a:gd name="T11" fmla="*/ 32 h 39"/>
                      <a:gd name="T12" fmla="*/ 49 w 67"/>
                      <a:gd name="T13" fmla="*/ 37 h 39"/>
                      <a:gd name="T14" fmla="*/ 25 w 67"/>
                      <a:gd name="T15" fmla="*/ 23 h 39"/>
                      <a:gd name="T16" fmla="*/ 0 w 67"/>
                      <a:gd name="T17" fmla="*/ 11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67" h="39">
                        <a:moveTo>
                          <a:pt x="0" y="11"/>
                        </a:moveTo>
                        <a:cubicBezTo>
                          <a:pt x="0" y="11"/>
                          <a:pt x="1" y="7"/>
                          <a:pt x="3" y="5"/>
                        </a:cubicBezTo>
                        <a:cubicBezTo>
                          <a:pt x="5" y="4"/>
                          <a:pt x="10" y="3"/>
                          <a:pt x="14" y="2"/>
                        </a:cubicBezTo>
                        <a:cubicBezTo>
                          <a:pt x="18" y="2"/>
                          <a:pt x="19" y="0"/>
                          <a:pt x="26" y="2"/>
                        </a:cubicBezTo>
                        <a:cubicBezTo>
                          <a:pt x="33" y="4"/>
                          <a:pt x="40" y="12"/>
                          <a:pt x="47" y="17"/>
                        </a:cubicBezTo>
                        <a:cubicBezTo>
                          <a:pt x="55" y="23"/>
                          <a:pt x="66" y="29"/>
                          <a:pt x="67" y="32"/>
                        </a:cubicBezTo>
                        <a:cubicBezTo>
                          <a:pt x="67" y="35"/>
                          <a:pt x="56" y="39"/>
                          <a:pt x="49" y="37"/>
                        </a:cubicBezTo>
                        <a:cubicBezTo>
                          <a:pt x="43" y="35"/>
                          <a:pt x="38" y="30"/>
                          <a:pt x="25" y="23"/>
                        </a:cubicBezTo>
                        <a:cubicBezTo>
                          <a:pt x="12" y="16"/>
                          <a:pt x="0" y="11"/>
                          <a:pt x="0" y="1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8" name="Freeform 133"/>
                  <p:cNvSpPr>
                    <a:spLocks noEditPoints="1"/>
                  </p:cNvSpPr>
                  <p:nvPr/>
                </p:nvSpPr>
                <p:spPr bwMode="auto">
                  <a:xfrm>
                    <a:off x="4246563" y="4303713"/>
                    <a:ext cx="30163" cy="31750"/>
                  </a:xfrm>
                  <a:custGeom>
                    <a:avLst/>
                    <a:gdLst>
                      <a:gd name="T0" fmla="*/ 37 w 75"/>
                      <a:gd name="T1" fmla="*/ 1 h 83"/>
                      <a:gd name="T2" fmla="*/ 0 w 75"/>
                      <a:gd name="T3" fmla="*/ 36 h 83"/>
                      <a:gd name="T4" fmla="*/ 38 w 75"/>
                      <a:gd name="T5" fmla="*/ 82 h 83"/>
                      <a:gd name="T6" fmla="*/ 74 w 75"/>
                      <a:gd name="T7" fmla="*/ 38 h 83"/>
                      <a:gd name="T8" fmla="*/ 37 w 75"/>
                      <a:gd name="T9" fmla="*/ 1 h 83"/>
                      <a:gd name="T10" fmla="*/ 33 w 75"/>
                      <a:gd name="T11" fmla="*/ 65 h 83"/>
                      <a:gd name="T12" fmla="*/ 22 w 75"/>
                      <a:gd name="T13" fmla="*/ 60 h 83"/>
                      <a:gd name="T14" fmla="*/ 18 w 75"/>
                      <a:gd name="T15" fmla="*/ 51 h 83"/>
                      <a:gd name="T16" fmla="*/ 26 w 75"/>
                      <a:gd name="T17" fmla="*/ 46 h 83"/>
                      <a:gd name="T18" fmla="*/ 34 w 75"/>
                      <a:gd name="T19" fmla="*/ 46 h 83"/>
                      <a:gd name="T20" fmla="*/ 34 w 75"/>
                      <a:gd name="T21" fmla="*/ 56 h 83"/>
                      <a:gd name="T22" fmla="*/ 33 w 75"/>
                      <a:gd name="T23" fmla="*/ 65 h 83"/>
                      <a:gd name="T24" fmla="*/ 37 w 75"/>
                      <a:gd name="T25" fmla="*/ 32 h 83"/>
                      <a:gd name="T26" fmla="*/ 33 w 75"/>
                      <a:gd name="T27" fmla="*/ 26 h 83"/>
                      <a:gd name="T28" fmla="*/ 29 w 75"/>
                      <a:gd name="T29" fmla="*/ 18 h 83"/>
                      <a:gd name="T30" fmla="*/ 37 w 75"/>
                      <a:gd name="T31" fmla="*/ 15 h 83"/>
                      <a:gd name="T32" fmla="*/ 42 w 75"/>
                      <a:gd name="T33" fmla="*/ 16 h 83"/>
                      <a:gd name="T34" fmla="*/ 47 w 75"/>
                      <a:gd name="T35" fmla="*/ 20 h 83"/>
                      <a:gd name="T36" fmla="*/ 44 w 75"/>
                      <a:gd name="T37" fmla="*/ 27 h 83"/>
                      <a:gd name="T38" fmla="*/ 37 w 75"/>
                      <a:gd name="T39" fmla="*/ 32 h 83"/>
                      <a:gd name="T40" fmla="*/ 51 w 75"/>
                      <a:gd name="T41" fmla="*/ 62 h 83"/>
                      <a:gd name="T42" fmla="*/ 41 w 75"/>
                      <a:gd name="T43" fmla="*/ 66 h 83"/>
                      <a:gd name="T44" fmla="*/ 41 w 75"/>
                      <a:gd name="T45" fmla="*/ 57 h 83"/>
                      <a:gd name="T46" fmla="*/ 43 w 75"/>
                      <a:gd name="T47" fmla="*/ 48 h 83"/>
                      <a:gd name="T48" fmla="*/ 51 w 75"/>
                      <a:gd name="T49" fmla="*/ 50 h 83"/>
                      <a:gd name="T50" fmla="*/ 57 w 75"/>
                      <a:gd name="T51" fmla="*/ 55 h 83"/>
                      <a:gd name="T52" fmla="*/ 51 w 75"/>
                      <a:gd name="T53" fmla="*/ 62 h 83"/>
                      <a:gd name="T54" fmla="*/ 60 w 75"/>
                      <a:gd name="T55" fmla="*/ 45 h 83"/>
                      <a:gd name="T56" fmla="*/ 53 w 75"/>
                      <a:gd name="T57" fmla="*/ 45 h 83"/>
                      <a:gd name="T58" fmla="*/ 43 w 75"/>
                      <a:gd name="T59" fmla="*/ 37 h 83"/>
                      <a:gd name="T60" fmla="*/ 54 w 75"/>
                      <a:gd name="T61" fmla="*/ 25 h 83"/>
                      <a:gd name="T62" fmla="*/ 59 w 75"/>
                      <a:gd name="T63" fmla="*/ 35 h 83"/>
                      <a:gd name="T64" fmla="*/ 60 w 75"/>
                      <a:gd name="T65" fmla="*/ 45 h 8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75" h="83">
                        <a:moveTo>
                          <a:pt x="37" y="1"/>
                        </a:moveTo>
                        <a:cubicBezTo>
                          <a:pt x="19" y="0"/>
                          <a:pt x="0" y="17"/>
                          <a:pt x="0" y="36"/>
                        </a:cubicBezTo>
                        <a:cubicBezTo>
                          <a:pt x="0" y="66"/>
                          <a:pt x="16" y="81"/>
                          <a:pt x="38" y="82"/>
                        </a:cubicBezTo>
                        <a:cubicBezTo>
                          <a:pt x="61" y="83"/>
                          <a:pt x="75" y="59"/>
                          <a:pt x="74" y="38"/>
                        </a:cubicBezTo>
                        <a:cubicBezTo>
                          <a:pt x="74" y="17"/>
                          <a:pt x="55" y="1"/>
                          <a:pt x="37" y="1"/>
                        </a:cubicBezTo>
                        <a:close/>
                        <a:moveTo>
                          <a:pt x="33" y="65"/>
                        </a:moveTo>
                        <a:cubicBezTo>
                          <a:pt x="32" y="66"/>
                          <a:pt x="26" y="63"/>
                          <a:pt x="22" y="60"/>
                        </a:cubicBezTo>
                        <a:cubicBezTo>
                          <a:pt x="19" y="58"/>
                          <a:pt x="18" y="54"/>
                          <a:pt x="18" y="51"/>
                        </a:cubicBezTo>
                        <a:cubicBezTo>
                          <a:pt x="19" y="49"/>
                          <a:pt x="26" y="46"/>
                          <a:pt x="26" y="46"/>
                        </a:cubicBezTo>
                        <a:cubicBezTo>
                          <a:pt x="34" y="46"/>
                          <a:pt x="34" y="46"/>
                          <a:pt x="34" y="46"/>
                        </a:cubicBezTo>
                        <a:cubicBezTo>
                          <a:pt x="34" y="46"/>
                          <a:pt x="34" y="51"/>
                          <a:pt x="34" y="56"/>
                        </a:cubicBezTo>
                        <a:cubicBezTo>
                          <a:pt x="35" y="61"/>
                          <a:pt x="34" y="64"/>
                          <a:pt x="33" y="65"/>
                        </a:cubicBezTo>
                        <a:close/>
                        <a:moveTo>
                          <a:pt x="37" y="32"/>
                        </a:moveTo>
                        <a:cubicBezTo>
                          <a:pt x="36" y="32"/>
                          <a:pt x="35" y="29"/>
                          <a:pt x="33" y="26"/>
                        </a:cubicBezTo>
                        <a:cubicBezTo>
                          <a:pt x="31" y="23"/>
                          <a:pt x="29" y="19"/>
                          <a:pt x="29" y="18"/>
                        </a:cubicBezTo>
                        <a:cubicBezTo>
                          <a:pt x="29" y="17"/>
                          <a:pt x="33" y="15"/>
                          <a:pt x="37" y="15"/>
                        </a:cubicBezTo>
                        <a:cubicBezTo>
                          <a:pt x="38" y="15"/>
                          <a:pt x="40" y="16"/>
                          <a:pt x="42" y="16"/>
                        </a:cubicBezTo>
                        <a:cubicBezTo>
                          <a:pt x="45" y="17"/>
                          <a:pt x="47" y="19"/>
                          <a:pt x="47" y="20"/>
                        </a:cubicBezTo>
                        <a:cubicBezTo>
                          <a:pt x="48" y="21"/>
                          <a:pt x="45" y="25"/>
                          <a:pt x="44" y="27"/>
                        </a:cubicBezTo>
                        <a:cubicBezTo>
                          <a:pt x="42" y="30"/>
                          <a:pt x="39" y="32"/>
                          <a:pt x="37" y="32"/>
                        </a:cubicBezTo>
                        <a:close/>
                        <a:moveTo>
                          <a:pt x="51" y="62"/>
                        </a:moveTo>
                        <a:cubicBezTo>
                          <a:pt x="48" y="65"/>
                          <a:pt x="43" y="67"/>
                          <a:pt x="41" y="66"/>
                        </a:cubicBezTo>
                        <a:cubicBezTo>
                          <a:pt x="40" y="65"/>
                          <a:pt x="40" y="62"/>
                          <a:pt x="41" y="57"/>
                        </a:cubicBezTo>
                        <a:cubicBezTo>
                          <a:pt x="41" y="52"/>
                          <a:pt x="41" y="49"/>
                          <a:pt x="43" y="48"/>
                        </a:cubicBezTo>
                        <a:cubicBezTo>
                          <a:pt x="45" y="47"/>
                          <a:pt x="47" y="48"/>
                          <a:pt x="51" y="50"/>
                        </a:cubicBezTo>
                        <a:cubicBezTo>
                          <a:pt x="55" y="51"/>
                          <a:pt x="56" y="53"/>
                          <a:pt x="57" y="55"/>
                        </a:cubicBezTo>
                        <a:cubicBezTo>
                          <a:pt x="57" y="56"/>
                          <a:pt x="55" y="59"/>
                          <a:pt x="51" y="62"/>
                        </a:cubicBezTo>
                        <a:close/>
                        <a:moveTo>
                          <a:pt x="60" y="45"/>
                        </a:moveTo>
                        <a:cubicBezTo>
                          <a:pt x="59" y="46"/>
                          <a:pt x="56" y="46"/>
                          <a:pt x="53" y="45"/>
                        </a:cubicBezTo>
                        <a:cubicBezTo>
                          <a:pt x="50" y="44"/>
                          <a:pt x="43" y="40"/>
                          <a:pt x="43" y="37"/>
                        </a:cubicBezTo>
                        <a:cubicBezTo>
                          <a:pt x="43" y="35"/>
                          <a:pt x="52" y="25"/>
                          <a:pt x="54" y="25"/>
                        </a:cubicBezTo>
                        <a:cubicBezTo>
                          <a:pt x="55" y="25"/>
                          <a:pt x="58" y="31"/>
                          <a:pt x="59" y="35"/>
                        </a:cubicBezTo>
                        <a:cubicBezTo>
                          <a:pt x="60" y="39"/>
                          <a:pt x="60" y="43"/>
                          <a:pt x="60" y="4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9" name="Freeform 134"/>
                  <p:cNvSpPr>
                    <a:spLocks/>
                  </p:cNvSpPr>
                  <p:nvPr/>
                </p:nvSpPr>
                <p:spPr bwMode="auto">
                  <a:xfrm>
                    <a:off x="4241800" y="4125913"/>
                    <a:ext cx="138113" cy="146050"/>
                  </a:xfrm>
                  <a:custGeom>
                    <a:avLst/>
                    <a:gdLst>
                      <a:gd name="T0" fmla="*/ 138 w 349"/>
                      <a:gd name="T1" fmla="*/ 163 h 370"/>
                      <a:gd name="T2" fmla="*/ 89 w 349"/>
                      <a:gd name="T3" fmla="*/ 230 h 370"/>
                      <a:gd name="T4" fmla="*/ 2 w 349"/>
                      <a:gd name="T5" fmla="*/ 356 h 370"/>
                      <a:gd name="T6" fmla="*/ 5 w 349"/>
                      <a:gd name="T7" fmla="*/ 366 h 370"/>
                      <a:gd name="T8" fmla="*/ 16 w 349"/>
                      <a:gd name="T9" fmla="*/ 367 h 370"/>
                      <a:gd name="T10" fmla="*/ 38 w 349"/>
                      <a:gd name="T11" fmla="*/ 343 h 370"/>
                      <a:gd name="T12" fmla="*/ 150 w 349"/>
                      <a:gd name="T13" fmla="*/ 192 h 370"/>
                      <a:gd name="T14" fmla="*/ 207 w 349"/>
                      <a:gd name="T15" fmla="*/ 120 h 370"/>
                      <a:gd name="T16" fmla="*/ 276 w 349"/>
                      <a:gd name="T17" fmla="*/ 57 h 370"/>
                      <a:gd name="T18" fmla="*/ 326 w 349"/>
                      <a:gd name="T19" fmla="*/ 33 h 370"/>
                      <a:gd name="T20" fmla="*/ 335 w 349"/>
                      <a:gd name="T21" fmla="*/ 0 h 370"/>
                      <a:gd name="T22" fmla="*/ 298 w 349"/>
                      <a:gd name="T23" fmla="*/ 10 h 370"/>
                      <a:gd name="T24" fmla="*/ 193 w 349"/>
                      <a:gd name="T25" fmla="*/ 95 h 370"/>
                      <a:gd name="T26" fmla="*/ 138 w 349"/>
                      <a:gd name="T27" fmla="*/ 163 h 3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349" h="370">
                        <a:moveTo>
                          <a:pt x="138" y="163"/>
                        </a:moveTo>
                        <a:cubicBezTo>
                          <a:pt x="133" y="171"/>
                          <a:pt x="114" y="194"/>
                          <a:pt x="89" y="230"/>
                        </a:cubicBezTo>
                        <a:cubicBezTo>
                          <a:pt x="64" y="265"/>
                          <a:pt x="3" y="353"/>
                          <a:pt x="2" y="356"/>
                        </a:cubicBezTo>
                        <a:cubicBezTo>
                          <a:pt x="0" y="358"/>
                          <a:pt x="2" y="362"/>
                          <a:pt x="5" y="366"/>
                        </a:cubicBezTo>
                        <a:cubicBezTo>
                          <a:pt x="9" y="370"/>
                          <a:pt x="12" y="369"/>
                          <a:pt x="16" y="367"/>
                        </a:cubicBezTo>
                        <a:cubicBezTo>
                          <a:pt x="19" y="365"/>
                          <a:pt x="31" y="351"/>
                          <a:pt x="38" y="343"/>
                        </a:cubicBezTo>
                        <a:cubicBezTo>
                          <a:pt x="46" y="334"/>
                          <a:pt x="125" y="224"/>
                          <a:pt x="150" y="192"/>
                        </a:cubicBezTo>
                        <a:cubicBezTo>
                          <a:pt x="175" y="161"/>
                          <a:pt x="186" y="143"/>
                          <a:pt x="207" y="120"/>
                        </a:cubicBezTo>
                        <a:cubicBezTo>
                          <a:pt x="227" y="97"/>
                          <a:pt x="262" y="64"/>
                          <a:pt x="276" y="57"/>
                        </a:cubicBezTo>
                        <a:cubicBezTo>
                          <a:pt x="294" y="46"/>
                          <a:pt x="307" y="37"/>
                          <a:pt x="326" y="33"/>
                        </a:cubicBezTo>
                        <a:cubicBezTo>
                          <a:pt x="349" y="27"/>
                          <a:pt x="335" y="0"/>
                          <a:pt x="335" y="0"/>
                        </a:cubicBezTo>
                        <a:cubicBezTo>
                          <a:pt x="335" y="0"/>
                          <a:pt x="313" y="4"/>
                          <a:pt x="298" y="10"/>
                        </a:cubicBezTo>
                        <a:cubicBezTo>
                          <a:pt x="281" y="17"/>
                          <a:pt x="224" y="59"/>
                          <a:pt x="193" y="95"/>
                        </a:cubicBezTo>
                        <a:cubicBezTo>
                          <a:pt x="160" y="132"/>
                          <a:pt x="138" y="163"/>
                          <a:pt x="138" y="163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0" name="Freeform 135"/>
                  <p:cNvSpPr>
                    <a:spLocks/>
                  </p:cNvSpPr>
                  <p:nvPr/>
                </p:nvSpPr>
                <p:spPr bwMode="auto">
                  <a:xfrm>
                    <a:off x="4262438" y="4316413"/>
                    <a:ext cx="4763" cy="4763"/>
                  </a:xfrm>
                  <a:custGeom>
                    <a:avLst/>
                    <a:gdLst>
                      <a:gd name="T0" fmla="*/ 2 w 12"/>
                      <a:gd name="T1" fmla="*/ 7 h 11"/>
                      <a:gd name="T2" fmla="*/ 9 w 12"/>
                      <a:gd name="T3" fmla="*/ 11 h 11"/>
                      <a:gd name="T4" fmla="*/ 12 w 12"/>
                      <a:gd name="T5" fmla="*/ 5 h 11"/>
                      <a:gd name="T6" fmla="*/ 9 w 12"/>
                      <a:gd name="T7" fmla="*/ 0 h 11"/>
                      <a:gd name="T8" fmla="*/ 1 w 12"/>
                      <a:gd name="T9" fmla="*/ 1 h 11"/>
                      <a:gd name="T10" fmla="*/ 2 w 12"/>
                      <a:gd name="T11" fmla="*/ 7 h 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2" h="11">
                        <a:moveTo>
                          <a:pt x="2" y="7"/>
                        </a:moveTo>
                        <a:cubicBezTo>
                          <a:pt x="5" y="11"/>
                          <a:pt x="9" y="11"/>
                          <a:pt x="9" y="11"/>
                        </a:cubicBezTo>
                        <a:cubicBezTo>
                          <a:pt x="11" y="11"/>
                          <a:pt x="12" y="8"/>
                          <a:pt x="12" y="5"/>
                        </a:cubicBezTo>
                        <a:cubicBezTo>
                          <a:pt x="12" y="2"/>
                          <a:pt x="11" y="0"/>
                          <a:pt x="9" y="0"/>
                        </a:cubicBezTo>
                        <a:cubicBezTo>
                          <a:pt x="8" y="0"/>
                          <a:pt x="1" y="1"/>
                          <a:pt x="1" y="1"/>
                        </a:cubicBezTo>
                        <a:cubicBezTo>
                          <a:pt x="1" y="1"/>
                          <a:pt x="0" y="3"/>
                          <a:pt x="2" y="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1" name="Freeform 136"/>
                  <p:cNvSpPr>
                    <a:spLocks/>
                  </p:cNvSpPr>
                  <p:nvPr/>
                </p:nvSpPr>
                <p:spPr bwMode="auto">
                  <a:xfrm>
                    <a:off x="4254500" y="4294188"/>
                    <a:ext cx="4763" cy="25400"/>
                  </a:xfrm>
                  <a:custGeom>
                    <a:avLst/>
                    <a:gdLst>
                      <a:gd name="T0" fmla="*/ 4 w 12"/>
                      <a:gd name="T1" fmla="*/ 1 h 64"/>
                      <a:gd name="T2" fmla="*/ 0 w 12"/>
                      <a:gd name="T3" fmla="*/ 7 h 64"/>
                      <a:gd name="T4" fmla="*/ 3 w 12"/>
                      <a:gd name="T5" fmla="*/ 26 h 64"/>
                      <a:gd name="T6" fmla="*/ 6 w 12"/>
                      <a:gd name="T7" fmla="*/ 53 h 64"/>
                      <a:gd name="T8" fmla="*/ 10 w 12"/>
                      <a:gd name="T9" fmla="*/ 62 h 64"/>
                      <a:gd name="T10" fmla="*/ 12 w 12"/>
                      <a:gd name="T11" fmla="*/ 50 h 64"/>
                      <a:gd name="T12" fmla="*/ 10 w 12"/>
                      <a:gd name="T13" fmla="*/ 34 h 64"/>
                      <a:gd name="T14" fmla="*/ 8 w 12"/>
                      <a:gd name="T15" fmla="*/ 14 h 64"/>
                      <a:gd name="T16" fmla="*/ 4 w 12"/>
                      <a:gd name="T17" fmla="*/ 1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" h="64">
                        <a:moveTo>
                          <a:pt x="4" y="1"/>
                        </a:moveTo>
                        <a:cubicBezTo>
                          <a:pt x="2" y="0"/>
                          <a:pt x="0" y="2"/>
                          <a:pt x="0" y="7"/>
                        </a:cubicBezTo>
                        <a:cubicBezTo>
                          <a:pt x="1" y="12"/>
                          <a:pt x="2" y="17"/>
                          <a:pt x="3" y="26"/>
                        </a:cubicBezTo>
                        <a:cubicBezTo>
                          <a:pt x="4" y="35"/>
                          <a:pt x="6" y="50"/>
                          <a:pt x="6" y="53"/>
                        </a:cubicBezTo>
                        <a:cubicBezTo>
                          <a:pt x="7" y="64"/>
                          <a:pt x="8" y="62"/>
                          <a:pt x="10" y="62"/>
                        </a:cubicBezTo>
                        <a:cubicBezTo>
                          <a:pt x="11" y="62"/>
                          <a:pt x="12" y="63"/>
                          <a:pt x="12" y="50"/>
                        </a:cubicBezTo>
                        <a:cubicBezTo>
                          <a:pt x="12" y="47"/>
                          <a:pt x="11" y="42"/>
                          <a:pt x="10" y="34"/>
                        </a:cubicBezTo>
                        <a:cubicBezTo>
                          <a:pt x="9" y="26"/>
                          <a:pt x="9" y="20"/>
                          <a:pt x="8" y="14"/>
                        </a:cubicBezTo>
                        <a:cubicBezTo>
                          <a:pt x="8" y="8"/>
                          <a:pt x="7" y="1"/>
                          <a:pt x="4" y="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2" name="Freeform 137"/>
                  <p:cNvSpPr>
                    <a:spLocks/>
                  </p:cNvSpPr>
                  <p:nvPr/>
                </p:nvSpPr>
                <p:spPr bwMode="auto">
                  <a:xfrm>
                    <a:off x="4306888" y="4129088"/>
                    <a:ext cx="69850" cy="111125"/>
                  </a:xfrm>
                  <a:custGeom>
                    <a:avLst/>
                    <a:gdLst>
                      <a:gd name="T0" fmla="*/ 74 w 179"/>
                      <a:gd name="T1" fmla="*/ 150 h 281"/>
                      <a:gd name="T2" fmla="*/ 14 w 179"/>
                      <a:gd name="T3" fmla="*/ 246 h 281"/>
                      <a:gd name="T4" fmla="*/ 0 w 179"/>
                      <a:gd name="T5" fmla="*/ 269 h 281"/>
                      <a:gd name="T6" fmla="*/ 6 w 179"/>
                      <a:gd name="T7" fmla="*/ 276 h 281"/>
                      <a:gd name="T8" fmla="*/ 15 w 179"/>
                      <a:gd name="T9" fmla="*/ 281 h 281"/>
                      <a:gd name="T10" fmla="*/ 46 w 179"/>
                      <a:gd name="T11" fmla="*/ 236 h 281"/>
                      <a:gd name="T12" fmla="*/ 122 w 179"/>
                      <a:gd name="T13" fmla="*/ 110 h 281"/>
                      <a:gd name="T14" fmla="*/ 168 w 179"/>
                      <a:gd name="T15" fmla="*/ 39 h 281"/>
                      <a:gd name="T16" fmla="*/ 171 w 179"/>
                      <a:gd name="T17" fmla="*/ 0 h 281"/>
                      <a:gd name="T18" fmla="*/ 127 w 179"/>
                      <a:gd name="T19" fmla="*/ 64 h 281"/>
                      <a:gd name="T20" fmla="*/ 74 w 179"/>
                      <a:gd name="T21" fmla="*/ 150 h 2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79" h="281">
                        <a:moveTo>
                          <a:pt x="74" y="150"/>
                        </a:moveTo>
                        <a:cubicBezTo>
                          <a:pt x="52" y="185"/>
                          <a:pt x="23" y="231"/>
                          <a:pt x="14" y="246"/>
                        </a:cubicBezTo>
                        <a:cubicBezTo>
                          <a:pt x="4" y="261"/>
                          <a:pt x="0" y="267"/>
                          <a:pt x="0" y="269"/>
                        </a:cubicBezTo>
                        <a:cubicBezTo>
                          <a:pt x="0" y="272"/>
                          <a:pt x="3" y="274"/>
                          <a:pt x="6" y="276"/>
                        </a:cubicBezTo>
                        <a:cubicBezTo>
                          <a:pt x="9" y="279"/>
                          <a:pt x="13" y="281"/>
                          <a:pt x="15" y="281"/>
                        </a:cubicBezTo>
                        <a:cubicBezTo>
                          <a:pt x="17" y="280"/>
                          <a:pt x="29" y="262"/>
                          <a:pt x="46" y="236"/>
                        </a:cubicBezTo>
                        <a:cubicBezTo>
                          <a:pt x="62" y="209"/>
                          <a:pt x="107" y="133"/>
                          <a:pt x="122" y="110"/>
                        </a:cubicBezTo>
                        <a:cubicBezTo>
                          <a:pt x="137" y="87"/>
                          <a:pt x="157" y="55"/>
                          <a:pt x="168" y="39"/>
                        </a:cubicBezTo>
                        <a:cubicBezTo>
                          <a:pt x="179" y="23"/>
                          <a:pt x="171" y="0"/>
                          <a:pt x="171" y="0"/>
                        </a:cubicBezTo>
                        <a:cubicBezTo>
                          <a:pt x="171" y="0"/>
                          <a:pt x="151" y="26"/>
                          <a:pt x="127" y="64"/>
                        </a:cubicBezTo>
                        <a:cubicBezTo>
                          <a:pt x="104" y="102"/>
                          <a:pt x="88" y="127"/>
                          <a:pt x="74" y="15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3" name="Freeform 138"/>
                  <p:cNvSpPr>
                    <a:spLocks/>
                  </p:cNvSpPr>
                  <p:nvPr/>
                </p:nvSpPr>
                <p:spPr bwMode="auto">
                  <a:xfrm>
                    <a:off x="4305300" y="4233863"/>
                    <a:ext cx="47625" cy="17463"/>
                  </a:xfrm>
                  <a:custGeom>
                    <a:avLst/>
                    <a:gdLst>
                      <a:gd name="T0" fmla="*/ 3 w 122"/>
                      <a:gd name="T1" fmla="*/ 44 h 44"/>
                      <a:gd name="T2" fmla="*/ 71 w 122"/>
                      <a:gd name="T3" fmla="*/ 27 h 44"/>
                      <a:gd name="T4" fmla="*/ 122 w 122"/>
                      <a:gd name="T5" fmla="*/ 9 h 44"/>
                      <a:gd name="T6" fmla="*/ 119 w 122"/>
                      <a:gd name="T7" fmla="*/ 1 h 44"/>
                      <a:gd name="T8" fmla="*/ 69 w 122"/>
                      <a:gd name="T9" fmla="*/ 17 h 44"/>
                      <a:gd name="T10" fmla="*/ 6 w 122"/>
                      <a:gd name="T11" fmla="*/ 32 h 44"/>
                      <a:gd name="T12" fmla="*/ 3 w 122"/>
                      <a:gd name="T13" fmla="*/ 44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22" h="44">
                        <a:moveTo>
                          <a:pt x="3" y="44"/>
                        </a:moveTo>
                        <a:cubicBezTo>
                          <a:pt x="10" y="44"/>
                          <a:pt x="46" y="34"/>
                          <a:pt x="71" y="27"/>
                        </a:cubicBezTo>
                        <a:cubicBezTo>
                          <a:pt x="95" y="21"/>
                          <a:pt x="122" y="11"/>
                          <a:pt x="122" y="9"/>
                        </a:cubicBezTo>
                        <a:cubicBezTo>
                          <a:pt x="122" y="6"/>
                          <a:pt x="121" y="1"/>
                          <a:pt x="119" y="1"/>
                        </a:cubicBezTo>
                        <a:cubicBezTo>
                          <a:pt x="118" y="0"/>
                          <a:pt x="81" y="13"/>
                          <a:pt x="69" y="17"/>
                        </a:cubicBezTo>
                        <a:cubicBezTo>
                          <a:pt x="58" y="21"/>
                          <a:pt x="6" y="32"/>
                          <a:pt x="6" y="32"/>
                        </a:cubicBezTo>
                        <a:cubicBezTo>
                          <a:pt x="6" y="32"/>
                          <a:pt x="0" y="44"/>
                          <a:pt x="3" y="44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4" name="Freeform 139"/>
                  <p:cNvSpPr>
                    <a:spLocks/>
                  </p:cNvSpPr>
                  <p:nvPr/>
                </p:nvSpPr>
                <p:spPr bwMode="auto">
                  <a:xfrm>
                    <a:off x="4357688" y="4168775"/>
                    <a:ext cx="33338" cy="58738"/>
                  </a:xfrm>
                  <a:custGeom>
                    <a:avLst/>
                    <a:gdLst>
                      <a:gd name="T0" fmla="*/ 82 w 86"/>
                      <a:gd name="T1" fmla="*/ 44 h 151"/>
                      <a:gd name="T2" fmla="*/ 48 w 86"/>
                      <a:gd name="T3" fmla="*/ 96 h 151"/>
                      <a:gd name="T4" fmla="*/ 13 w 86"/>
                      <a:gd name="T5" fmla="*/ 150 h 151"/>
                      <a:gd name="T6" fmla="*/ 0 w 86"/>
                      <a:gd name="T7" fmla="*/ 142 h 151"/>
                      <a:gd name="T8" fmla="*/ 9 w 86"/>
                      <a:gd name="T9" fmla="*/ 122 h 151"/>
                      <a:gd name="T10" fmla="*/ 79 w 86"/>
                      <a:gd name="T11" fmla="*/ 9 h 151"/>
                      <a:gd name="T12" fmla="*/ 82 w 86"/>
                      <a:gd name="T13" fmla="*/ 44 h 1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6" h="151">
                        <a:moveTo>
                          <a:pt x="82" y="44"/>
                        </a:moveTo>
                        <a:cubicBezTo>
                          <a:pt x="76" y="54"/>
                          <a:pt x="62" y="73"/>
                          <a:pt x="48" y="96"/>
                        </a:cubicBezTo>
                        <a:cubicBezTo>
                          <a:pt x="34" y="119"/>
                          <a:pt x="15" y="149"/>
                          <a:pt x="13" y="150"/>
                        </a:cubicBezTo>
                        <a:cubicBezTo>
                          <a:pt x="12" y="151"/>
                          <a:pt x="1" y="144"/>
                          <a:pt x="0" y="142"/>
                        </a:cubicBezTo>
                        <a:cubicBezTo>
                          <a:pt x="0" y="140"/>
                          <a:pt x="5" y="131"/>
                          <a:pt x="9" y="122"/>
                        </a:cubicBezTo>
                        <a:cubicBezTo>
                          <a:pt x="14" y="113"/>
                          <a:pt x="72" y="18"/>
                          <a:pt x="79" y="9"/>
                        </a:cubicBezTo>
                        <a:cubicBezTo>
                          <a:pt x="86" y="0"/>
                          <a:pt x="82" y="44"/>
                          <a:pt x="82" y="44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5" name="Freeform 140"/>
                  <p:cNvSpPr>
                    <a:spLocks/>
                  </p:cNvSpPr>
                  <p:nvPr/>
                </p:nvSpPr>
                <p:spPr bwMode="auto">
                  <a:xfrm>
                    <a:off x="4294188" y="4240213"/>
                    <a:ext cx="17463" cy="20638"/>
                  </a:xfrm>
                  <a:custGeom>
                    <a:avLst/>
                    <a:gdLst>
                      <a:gd name="T0" fmla="*/ 9 w 44"/>
                      <a:gd name="T1" fmla="*/ 7 h 50"/>
                      <a:gd name="T2" fmla="*/ 5 w 44"/>
                      <a:gd name="T3" fmla="*/ 36 h 50"/>
                      <a:gd name="T4" fmla="*/ 35 w 44"/>
                      <a:gd name="T5" fmla="*/ 39 h 50"/>
                      <a:gd name="T6" fmla="*/ 33 w 44"/>
                      <a:gd name="T7" fmla="*/ 6 h 50"/>
                      <a:gd name="T8" fmla="*/ 9 w 44"/>
                      <a:gd name="T9" fmla="*/ 7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4" h="50">
                        <a:moveTo>
                          <a:pt x="9" y="7"/>
                        </a:moveTo>
                        <a:cubicBezTo>
                          <a:pt x="1" y="14"/>
                          <a:pt x="0" y="29"/>
                          <a:pt x="5" y="36"/>
                        </a:cubicBezTo>
                        <a:cubicBezTo>
                          <a:pt x="10" y="44"/>
                          <a:pt x="27" y="50"/>
                          <a:pt x="35" y="39"/>
                        </a:cubicBezTo>
                        <a:cubicBezTo>
                          <a:pt x="44" y="27"/>
                          <a:pt x="41" y="12"/>
                          <a:pt x="33" y="6"/>
                        </a:cubicBezTo>
                        <a:cubicBezTo>
                          <a:pt x="25" y="0"/>
                          <a:pt x="15" y="2"/>
                          <a:pt x="9" y="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6" name="Freeform 141"/>
                  <p:cNvSpPr>
                    <a:spLocks/>
                  </p:cNvSpPr>
                  <p:nvPr/>
                </p:nvSpPr>
                <p:spPr bwMode="auto">
                  <a:xfrm>
                    <a:off x="4300538" y="4235450"/>
                    <a:ext cx="11113" cy="12700"/>
                  </a:xfrm>
                  <a:custGeom>
                    <a:avLst/>
                    <a:gdLst>
                      <a:gd name="T0" fmla="*/ 20 w 28"/>
                      <a:gd name="T1" fmla="*/ 29 h 29"/>
                      <a:gd name="T2" fmla="*/ 23 w 28"/>
                      <a:gd name="T3" fmla="*/ 15 h 29"/>
                      <a:gd name="T4" fmla="*/ 28 w 28"/>
                      <a:gd name="T5" fmla="*/ 4 h 29"/>
                      <a:gd name="T6" fmla="*/ 18 w 28"/>
                      <a:gd name="T7" fmla="*/ 0 h 29"/>
                      <a:gd name="T8" fmla="*/ 9 w 28"/>
                      <a:gd name="T9" fmla="*/ 10 h 29"/>
                      <a:gd name="T10" fmla="*/ 0 w 28"/>
                      <a:gd name="T11" fmla="*/ 18 h 29"/>
                      <a:gd name="T12" fmla="*/ 20 w 28"/>
                      <a:gd name="T13" fmla="*/ 2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" h="29">
                        <a:moveTo>
                          <a:pt x="20" y="29"/>
                        </a:moveTo>
                        <a:cubicBezTo>
                          <a:pt x="20" y="29"/>
                          <a:pt x="22" y="20"/>
                          <a:pt x="23" y="15"/>
                        </a:cubicBezTo>
                        <a:cubicBezTo>
                          <a:pt x="25" y="10"/>
                          <a:pt x="28" y="4"/>
                          <a:pt x="28" y="4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8" y="0"/>
                          <a:pt x="11" y="8"/>
                          <a:pt x="9" y="10"/>
                        </a:cubicBezTo>
                        <a:cubicBezTo>
                          <a:pt x="6" y="13"/>
                          <a:pt x="0" y="18"/>
                          <a:pt x="0" y="18"/>
                        </a:cubicBezTo>
                        <a:lnTo>
                          <a:pt x="20" y="29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7" name="Freeform 142"/>
                  <p:cNvSpPr>
                    <a:spLocks/>
                  </p:cNvSpPr>
                  <p:nvPr/>
                </p:nvSpPr>
                <p:spPr bwMode="auto">
                  <a:xfrm>
                    <a:off x="4305300" y="4249738"/>
                    <a:ext cx="11113" cy="15875"/>
                  </a:xfrm>
                  <a:custGeom>
                    <a:avLst/>
                    <a:gdLst>
                      <a:gd name="T0" fmla="*/ 0 w 29"/>
                      <a:gd name="T1" fmla="*/ 17 h 37"/>
                      <a:gd name="T2" fmla="*/ 9 w 29"/>
                      <a:gd name="T3" fmla="*/ 27 h 37"/>
                      <a:gd name="T4" fmla="*/ 19 w 29"/>
                      <a:gd name="T5" fmla="*/ 37 h 37"/>
                      <a:gd name="T6" fmla="*/ 29 w 29"/>
                      <a:gd name="T7" fmla="*/ 26 h 37"/>
                      <a:gd name="T8" fmla="*/ 22 w 29"/>
                      <a:gd name="T9" fmla="*/ 16 h 37"/>
                      <a:gd name="T10" fmla="*/ 13 w 29"/>
                      <a:gd name="T11" fmla="*/ 3 h 37"/>
                      <a:gd name="T12" fmla="*/ 0 w 29"/>
                      <a:gd name="T13" fmla="*/ 1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9" h="37">
                        <a:moveTo>
                          <a:pt x="0" y="17"/>
                        </a:moveTo>
                        <a:cubicBezTo>
                          <a:pt x="3" y="21"/>
                          <a:pt x="5" y="23"/>
                          <a:pt x="9" y="27"/>
                        </a:cubicBezTo>
                        <a:cubicBezTo>
                          <a:pt x="14" y="31"/>
                          <a:pt x="19" y="37"/>
                          <a:pt x="19" y="37"/>
                        </a:cubicBezTo>
                        <a:cubicBezTo>
                          <a:pt x="29" y="26"/>
                          <a:pt x="29" y="26"/>
                          <a:pt x="29" y="26"/>
                        </a:cubicBezTo>
                        <a:cubicBezTo>
                          <a:pt x="29" y="26"/>
                          <a:pt x="25" y="21"/>
                          <a:pt x="22" y="16"/>
                        </a:cubicBezTo>
                        <a:cubicBezTo>
                          <a:pt x="18" y="11"/>
                          <a:pt x="15" y="7"/>
                          <a:pt x="13" y="3"/>
                        </a:cubicBezTo>
                        <a:cubicBezTo>
                          <a:pt x="10" y="0"/>
                          <a:pt x="0" y="17"/>
                          <a:pt x="0" y="1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8" name="Freeform 143"/>
                  <p:cNvSpPr>
                    <a:spLocks/>
                  </p:cNvSpPr>
                  <p:nvPr/>
                </p:nvSpPr>
                <p:spPr bwMode="auto">
                  <a:xfrm>
                    <a:off x="4294188" y="4254500"/>
                    <a:ext cx="7938" cy="7938"/>
                  </a:xfrm>
                  <a:custGeom>
                    <a:avLst/>
                    <a:gdLst>
                      <a:gd name="T0" fmla="*/ 7 w 19"/>
                      <a:gd name="T1" fmla="*/ 2 h 20"/>
                      <a:gd name="T2" fmla="*/ 2 w 19"/>
                      <a:gd name="T3" fmla="*/ 9 h 20"/>
                      <a:gd name="T4" fmla="*/ 9 w 19"/>
                      <a:gd name="T5" fmla="*/ 20 h 20"/>
                      <a:gd name="T6" fmla="*/ 16 w 19"/>
                      <a:gd name="T7" fmla="*/ 8 h 20"/>
                      <a:gd name="T8" fmla="*/ 7 w 19"/>
                      <a:gd name="T9" fmla="*/ 2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9" h="20">
                        <a:moveTo>
                          <a:pt x="7" y="2"/>
                        </a:moveTo>
                        <a:cubicBezTo>
                          <a:pt x="6" y="5"/>
                          <a:pt x="3" y="6"/>
                          <a:pt x="2" y="9"/>
                        </a:cubicBezTo>
                        <a:cubicBezTo>
                          <a:pt x="0" y="11"/>
                          <a:pt x="9" y="20"/>
                          <a:pt x="9" y="20"/>
                        </a:cubicBezTo>
                        <a:cubicBezTo>
                          <a:pt x="9" y="20"/>
                          <a:pt x="13" y="12"/>
                          <a:pt x="16" y="8"/>
                        </a:cubicBezTo>
                        <a:cubicBezTo>
                          <a:pt x="19" y="5"/>
                          <a:pt x="9" y="0"/>
                          <a:pt x="7" y="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9" name="Freeform 144"/>
                  <p:cNvSpPr>
                    <a:spLocks/>
                  </p:cNvSpPr>
                  <p:nvPr/>
                </p:nvSpPr>
                <p:spPr bwMode="auto">
                  <a:xfrm>
                    <a:off x="4251325" y="4256088"/>
                    <a:ext cx="47625" cy="36513"/>
                  </a:xfrm>
                  <a:custGeom>
                    <a:avLst/>
                    <a:gdLst>
                      <a:gd name="T0" fmla="*/ 114 w 119"/>
                      <a:gd name="T1" fmla="*/ 5 h 92"/>
                      <a:gd name="T2" fmla="*/ 107 w 119"/>
                      <a:gd name="T3" fmla="*/ 1 h 92"/>
                      <a:gd name="T4" fmla="*/ 75 w 119"/>
                      <a:gd name="T5" fmla="*/ 30 h 92"/>
                      <a:gd name="T6" fmla="*/ 41 w 119"/>
                      <a:gd name="T7" fmla="*/ 60 h 92"/>
                      <a:gd name="T8" fmla="*/ 26 w 119"/>
                      <a:gd name="T9" fmla="*/ 68 h 92"/>
                      <a:gd name="T10" fmla="*/ 8 w 119"/>
                      <a:gd name="T11" fmla="*/ 69 h 92"/>
                      <a:gd name="T12" fmla="*/ 2 w 119"/>
                      <a:gd name="T13" fmla="*/ 79 h 92"/>
                      <a:gd name="T14" fmla="*/ 2 w 119"/>
                      <a:gd name="T15" fmla="*/ 89 h 92"/>
                      <a:gd name="T16" fmla="*/ 29 w 119"/>
                      <a:gd name="T17" fmla="*/ 90 h 92"/>
                      <a:gd name="T18" fmla="*/ 55 w 119"/>
                      <a:gd name="T19" fmla="*/ 72 h 92"/>
                      <a:gd name="T20" fmla="*/ 95 w 119"/>
                      <a:gd name="T21" fmla="*/ 37 h 92"/>
                      <a:gd name="T22" fmla="*/ 119 w 119"/>
                      <a:gd name="T23" fmla="*/ 13 h 92"/>
                      <a:gd name="T24" fmla="*/ 114 w 119"/>
                      <a:gd name="T25" fmla="*/ 5 h 9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9" h="92">
                        <a:moveTo>
                          <a:pt x="114" y="5"/>
                        </a:moveTo>
                        <a:cubicBezTo>
                          <a:pt x="109" y="1"/>
                          <a:pt x="108" y="0"/>
                          <a:pt x="107" y="1"/>
                        </a:cubicBezTo>
                        <a:cubicBezTo>
                          <a:pt x="105" y="2"/>
                          <a:pt x="93" y="14"/>
                          <a:pt x="75" y="30"/>
                        </a:cubicBezTo>
                        <a:cubicBezTo>
                          <a:pt x="57" y="47"/>
                          <a:pt x="47" y="56"/>
                          <a:pt x="41" y="60"/>
                        </a:cubicBezTo>
                        <a:cubicBezTo>
                          <a:pt x="36" y="65"/>
                          <a:pt x="37" y="67"/>
                          <a:pt x="26" y="68"/>
                        </a:cubicBezTo>
                        <a:cubicBezTo>
                          <a:pt x="15" y="68"/>
                          <a:pt x="10" y="68"/>
                          <a:pt x="8" y="69"/>
                        </a:cubicBezTo>
                        <a:cubicBezTo>
                          <a:pt x="7" y="70"/>
                          <a:pt x="3" y="75"/>
                          <a:pt x="2" y="79"/>
                        </a:cubicBezTo>
                        <a:cubicBezTo>
                          <a:pt x="0" y="83"/>
                          <a:pt x="0" y="88"/>
                          <a:pt x="2" y="89"/>
                        </a:cubicBezTo>
                        <a:cubicBezTo>
                          <a:pt x="3" y="89"/>
                          <a:pt x="18" y="92"/>
                          <a:pt x="29" y="90"/>
                        </a:cubicBezTo>
                        <a:cubicBezTo>
                          <a:pt x="40" y="87"/>
                          <a:pt x="47" y="80"/>
                          <a:pt x="55" y="72"/>
                        </a:cubicBezTo>
                        <a:cubicBezTo>
                          <a:pt x="64" y="65"/>
                          <a:pt x="81" y="49"/>
                          <a:pt x="95" y="37"/>
                        </a:cubicBezTo>
                        <a:cubicBezTo>
                          <a:pt x="109" y="25"/>
                          <a:pt x="119" y="15"/>
                          <a:pt x="119" y="13"/>
                        </a:cubicBezTo>
                        <a:cubicBezTo>
                          <a:pt x="119" y="11"/>
                          <a:pt x="117" y="8"/>
                          <a:pt x="114" y="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0" name="Freeform 145"/>
                  <p:cNvSpPr>
                    <a:spLocks/>
                  </p:cNvSpPr>
                  <p:nvPr/>
                </p:nvSpPr>
                <p:spPr bwMode="auto">
                  <a:xfrm>
                    <a:off x="4344988" y="4225925"/>
                    <a:ext cx="17463" cy="20638"/>
                  </a:xfrm>
                  <a:custGeom>
                    <a:avLst/>
                    <a:gdLst>
                      <a:gd name="T0" fmla="*/ 10 w 45"/>
                      <a:gd name="T1" fmla="*/ 7 h 50"/>
                      <a:gd name="T2" fmla="*/ 5 w 45"/>
                      <a:gd name="T3" fmla="*/ 37 h 50"/>
                      <a:gd name="T4" fmla="*/ 36 w 45"/>
                      <a:gd name="T5" fmla="*/ 39 h 50"/>
                      <a:gd name="T6" fmla="*/ 33 w 45"/>
                      <a:gd name="T7" fmla="*/ 6 h 50"/>
                      <a:gd name="T8" fmla="*/ 10 w 45"/>
                      <a:gd name="T9" fmla="*/ 7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" h="50">
                        <a:moveTo>
                          <a:pt x="10" y="7"/>
                        </a:moveTo>
                        <a:cubicBezTo>
                          <a:pt x="2" y="14"/>
                          <a:pt x="0" y="29"/>
                          <a:pt x="5" y="37"/>
                        </a:cubicBezTo>
                        <a:cubicBezTo>
                          <a:pt x="10" y="44"/>
                          <a:pt x="27" y="50"/>
                          <a:pt x="36" y="39"/>
                        </a:cubicBezTo>
                        <a:cubicBezTo>
                          <a:pt x="45" y="27"/>
                          <a:pt x="42" y="12"/>
                          <a:pt x="33" y="6"/>
                        </a:cubicBezTo>
                        <a:cubicBezTo>
                          <a:pt x="25" y="0"/>
                          <a:pt x="16" y="3"/>
                          <a:pt x="10" y="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1" name="Freeform 146"/>
                  <p:cNvSpPr>
                    <a:spLocks/>
                  </p:cNvSpPr>
                  <p:nvPr/>
                </p:nvSpPr>
                <p:spPr bwMode="auto">
                  <a:xfrm>
                    <a:off x="4356100" y="4237038"/>
                    <a:ext cx="11113" cy="14288"/>
                  </a:xfrm>
                  <a:custGeom>
                    <a:avLst/>
                    <a:gdLst>
                      <a:gd name="T0" fmla="*/ 0 w 28"/>
                      <a:gd name="T1" fmla="*/ 17 h 37"/>
                      <a:gd name="T2" fmla="*/ 9 w 28"/>
                      <a:gd name="T3" fmla="*/ 27 h 37"/>
                      <a:gd name="T4" fmla="*/ 19 w 28"/>
                      <a:gd name="T5" fmla="*/ 37 h 37"/>
                      <a:gd name="T6" fmla="*/ 28 w 28"/>
                      <a:gd name="T7" fmla="*/ 26 h 37"/>
                      <a:gd name="T8" fmla="*/ 21 w 28"/>
                      <a:gd name="T9" fmla="*/ 16 h 37"/>
                      <a:gd name="T10" fmla="*/ 12 w 28"/>
                      <a:gd name="T11" fmla="*/ 4 h 37"/>
                      <a:gd name="T12" fmla="*/ 0 w 28"/>
                      <a:gd name="T13" fmla="*/ 17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" h="37">
                        <a:moveTo>
                          <a:pt x="0" y="17"/>
                        </a:moveTo>
                        <a:cubicBezTo>
                          <a:pt x="2" y="21"/>
                          <a:pt x="4" y="23"/>
                          <a:pt x="9" y="27"/>
                        </a:cubicBezTo>
                        <a:cubicBezTo>
                          <a:pt x="13" y="31"/>
                          <a:pt x="19" y="37"/>
                          <a:pt x="19" y="37"/>
                        </a:cubicBezTo>
                        <a:cubicBezTo>
                          <a:pt x="28" y="26"/>
                          <a:pt x="28" y="26"/>
                          <a:pt x="28" y="26"/>
                        </a:cubicBezTo>
                        <a:cubicBezTo>
                          <a:pt x="28" y="26"/>
                          <a:pt x="25" y="21"/>
                          <a:pt x="21" y="16"/>
                        </a:cubicBezTo>
                        <a:cubicBezTo>
                          <a:pt x="18" y="11"/>
                          <a:pt x="15" y="7"/>
                          <a:pt x="12" y="4"/>
                        </a:cubicBezTo>
                        <a:cubicBezTo>
                          <a:pt x="9" y="0"/>
                          <a:pt x="0" y="17"/>
                          <a:pt x="0" y="1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2" name="Freeform 147"/>
                  <p:cNvSpPr>
                    <a:spLocks/>
                  </p:cNvSpPr>
                  <p:nvPr/>
                </p:nvSpPr>
                <p:spPr bwMode="auto">
                  <a:xfrm>
                    <a:off x="4238625" y="4305300"/>
                    <a:ext cx="22225" cy="17463"/>
                  </a:xfrm>
                  <a:custGeom>
                    <a:avLst/>
                    <a:gdLst>
                      <a:gd name="T0" fmla="*/ 3 w 58"/>
                      <a:gd name="T1" fmla="*/ 9 h 45"/>
                      <a:gd name="T2" fmla="*/ 11 w 58"/>
                      <a:gd name="T3" fmla="*/ 24 h 45"/>
                      <a:gd name="T4" fmla="*/ 46 w 58"/>
                      <a:gd name="T5" fmla="*/ 41 h 45"/>
                      <a:gd name="T6" fmla="*/ 56 w 58"/>
                      <a:gd name="T7" fmla="*/ 41 h 45"/>
                      <a:gd name="T8" fmla="*/ 47 w 58"/>
                      <a:gd name="T9" fmla="*/ 28 h 45"/>
                      <a:gd name="T10" fmla="*/ 19 w 58"/>
                      <a:gd name="T11" fmla="*/ 7 h 45"/>
                      <a:gd name="T12" fmla="*/ 3 w 58"/>
                      <a:gd name="T13" fmla="*/ 9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8" h="45">
                        <a:moveTo>
                          <a:pt x="3" y="9"/>
                        </a:moveTo>
                        <a:cubicBezTo>
                          <a:pt x="0" y="15"/>
                          <a:pt x="5" y="20"/>
                          <a:pt x="11" y="24"/>
                        </a:cubicBezTo>
                        <a:cubicBezTo>
                          <a:pt x="18" y="27"/>
                          <a:pt x="41" y="39"/>
                          <a:pt x="46" y="41"/>
                        </a:cubicBezTo>
                        <a:cubicBezTo>
                          <a:pt x="50" y="44"/>
                          <a:pt x="55" y="45"/>
                          <a:pt x="56" y="41"/>
                        </a:cubicBezTo>
                        <a:cubicBezTo>
                          <a:pt x="58" y="38"/>
                          <a:pt x="58" y="34"/>
                          <a:pt x="47" y="28"/>
                        </a:cubicBezTo>
                        <a:cubicBezTo>
                          <a:pt x="36" y="21"/>
                          <a:pt x="25" y="9"/>
                          <a:pt x="19" y="7"/>
                        </a:cubicBezTo>
                        <a:cubicBezTo>
                          <a:pt x="14" y="4"/>
                          <a:pt x="6" y="0"/>
                          <a:pt x="3" y="9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3" name="Freeform 148"/>
                  <p:cNvSpPr>
                    <a:spLocks/>
                  </p:cNvSpPr>
                  <p:nvPr/>
                </p:nvSpPr>
                <p:spPr bwMode="auto">
                  <a:xfrm>
                    <a:off x="4360863" y="4246563"/>
                    <a:ext cx="50800" cy="46038"/>
                  </a:xfrm>
                  <a:custGeom>
                    <a:avLst/>
                    <a:gdLst>
                      <a:gd name="T0" fmla="*/ 0 w 129"/>
                      <a:gd name="T1" fmla="*/ 12 h 118"/>
                      <a:gd name="T2" fmla="*/ 35 w 129"/>
                      <a:gd name="T3" fmla="*/ 46 h 118"/>
                      <a:gd name="T4" fmla="*/ 123 w 129"/>
                      <a:gd name="T5" fmla="*/ 117 h 118"/>
                      <a:gd name="T6" fmla="*/ 127 w 129"/>
                      <a:gd name="T7" fmla="*/ 112 h 118"/>
                      <a:gd name="T8" fmla="*/ 37 w 129"/>
                      <a:gd name="T9" fmla="*/ 26 h 118"/>
                      <a:gd name="T10" fmla="*/ 14 w 129"/>
                      <a:gd name="T11" fmla="*/ 0 h 118"/>
                      <a:gd name="T12" fmla="*/ 6 w 129"/>
                      <a:gd name="T13" fmla="*/ 4 h 118"/>
                      <a:gd name="T14" fmla="*/ 0 w 129"/>
                      <a:gd name="T15" fmla="*/ 12 h 1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29" h="118">
                        <a:moveTo>
                          <a:pt x="0" y="12"/>
                        </a:moveTo>
                        <a:cubicBezTo>
                          <a:pt x="0" y="14"/>
                          <a:pt x="23" y="34"/>
                          <a:pt x="35" y="46"/>
                        </a:cubicBezTo>
                        <a:cubicBezTo>
                          <a:pt x="47" y="57"/>
                          <a:pt x="121" y="115"/>
                          <a:pt x="123" y="117"/>
                        </a:cubicBezTo>
                        <a:cubicBezTo>
                          <a:pt x="125" y="118"/>
                          <a:pt x="129" y="115"/>
                          <a:pt x="127" y="112"/>
                        </a:cubicBezTo>
                        <a:cubicBezTo>
                          <a:pt x="125" y="109"/>
                          <a:pt x="47" y="36"/>
                          <a:pt x="37" y="26"/>
                        </a:cubicBezTo>
                        <a:cubicBezTo>
                          <a:pt x="28" y="16"/>
                          <a:pt x="16" y="0"/>
                          <a:pt x="14" y="0"/>
                        </a:cubicBezTo>
                        <a:cubicBezTo>
                          <a:pt x="12" y="0"/>
                          <a:pt x="10" y="1"/>
                          <a:pt x="6" y="4"/>
                        </a:cubicBezTo>
                        <a:cubicBezTo>
                          <a:pt x="3" y="7"/>
                          <a:pt x="0" y="10"/>
                          <a:pt x="0" y="1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4" name="Freeform 149"/>
                  <p:cNvSpPr>
                    <a:spLocks/>
                  </p:cNvSpPr>
                  <p:nvPr/>
                </p:nvSpPr>
                <p:spPr bwMode="auto">
                  <a:xfrm>
                    <a:off x="4351338" y="4224338"/>
                    <a:ext cx="11113" cy="11113"/>
                  </a:xfrm>
                  <a:custGeom>
                    <a:avLst/>
                    <a:gdLst>
                      <a:gd name="T0" fmla="*/ 19 w 28"/>
                      <a:gd name="T1" fmla="*/ 29 h 29"/>
                      <a:gd name="T2" fmla="*/ 23 w 28"/>
                      <a:gd name="T3" fmla="*/ 15 h 29"/>
                      <a:gd name="T4" fmla="*/ 28 w 28"/>
                      <a:gd name="T5" fmla="*/ 4 h 29"/>
                      <a:gd name="T6" fmla="*/ 18 w 28"/>
                      <a:gd name="T7" fmla="*/ 0 h 29"/>
                      <a:gd name="T8" fmla="*/ 10 w 28"/>
                      <a:gd name="T9" fmla="*/ 9 h 29"/>
                      <a:gd name="T10" fmla="*/ 0 w 28"/>
                      <a:gd name="T11" fmla="*/ 17 h 29"/>
                      <a:gd name="T12" fmla="*/ 19 w 28"/>
                      <a:gd name="T13" fmla="*/ 2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8" h="29">
                        <a:moveTo>
                          <a:pt x="19" y="29"/>
                        </a:moveTo>
                        <a:cubicBezTo>
                          <a:pt x="19" y="29"/>
                          <a:pt x="21" y="20"/>
                          <a:pt x="23" y="15"/>
                        </a:cubicBezTo>
                        <a:cubicBezTo>
                          <a:pt x="25" y="10"/>
                          <a:pt x="28" y="4"/>
                          <a:pt x="28" y="4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18" y="0"/>
                          <a:pt x="13" y="7"/>
                          <a:pt x="10" y="9"/>
                        </a:cubicBezTo>
                        <a:cubicBezTo>
                          <a:pt x="7" y="12"/>
                          <a:pt x="0" y="17"/>
                          <a:pt x="0" y="17"/>
                        </a:cubicBezTo>
                        <a:lnTo>
                          <a:pt x="19" y="29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5" name="Freeform 150"/>
                  <p:cNvSpPr>
                    <a:spLocks/>
                  </p:cNvSpPr>
                  <p:nvPr/>
                </p:nvSpPr>
                <p:spPr bwMode="auto">
                  <a:xfrm>
                    <a:off x="4344988" y="4240213"/>
                    <a:ext cx="7938" cy="7938"/>
                  </a:xfrm>
                  <a:custGeom>
                    <a:avLst/>
                    <a:gdLst>
                      <a:gd name="T0" fmla="*/ 7 w 18"/>
                      <a:gd name="T1" fmla="*/ 2 h 20"/>
                      <a:gd name="T2" fmla="*/ 1 w 18"/>
                      <a:gd name="T3" fmla="*/ 9 h 20"/>
                      <a:gd name="T4" fmla="*/ 8 w 18"/>
                      <a:gd name="T5" fmla="*/ 20 h 20"/>
                      <a:gd name="T6" fmla="*/ 15 w 18"/>
                      <a:gd name="T7" fmla="*/ 8 h 20"/>
                      <a:gd name="T8" fmla="*/ 7 w 18"/>
                      <a:gd name="T9" fmla="*/ 2 h 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" h="20">
                        <a:moveTo>
                          <a:pt x="7" y="2"/>
                        </a:moveTo>
                        <a:cubicBezTo>
                          <a:pt x="6" y="4"/>
                          <a:pt x="2" y="6"/>
                          <a:pt x="1" y="9"/>
                        </a:cubicBezTo>
                        <a:cubicBezTo>
                          <a:pt x="0" y="11"/>
                          <a:pt x="8" y="20"/>
                          <a:pt x="8" y="20"/>
                        </a:cubicBezTo>
                        <a:cubicBezTo>
                          <a:pt x="8" y="20"/>
                          <a:pt x="13" y="11"/>
                          <a:pt x="15" y="8"/>
                        </a:cubicBezTo>
                        <a:cubicBezTo>
                          <a:pt x="18" y="5"/>
                          <a:pt x="8" y="0"/>
                          <a:pt x="7" y="2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6" name="Freeform 151"/>
                  <p:cNvSpPr>
                    <a:spLocks/>
                  </p:cNvSpPr>
                  <p:nvPr/>
                </p:nvSpPr>
                <p:spPr bwMode="auto">
                  <a:xfrm>
                    <a:off x="4459288" y="4048125"/>
                    <a:ext cx="34925" cy="41275"/>
                  </a:xfrm>
                  <a:custGeom>
                    <a:avLst/>
                    <a:gdLst>
                      <a:gd name="T0" fmla="*/ 7 w 88"/>
                      <a:gd name="T1" fmla="*/ 31 h 105"/>
                      <a:gd name="T2" fmla="*/ 12 w 88"/>
                      <a:gd name="T3" fmla="*/ 36 h 105"/>
                      <a:gd name="T4" fmla="*/ 15 w 88"/>
                      <a:gd name="T5" fmla="*/ 39 h 105"/>
                      <a:gd name="T6" fmla="*/ 10 w 88"/>
                      <a:gd name="T7" fmla="*/ 46 h 105"/>
                      <a:gd name="T8" fmla="*/ 3 w 88"/>
                      <a:gd name="T9" fmla="*/ 51 h 105"/>
                      <a:gd name="T10" fmla="*/ 0 w 88"/>
                      <a:gd name="T11" fmla="*/ 105 h 105"/>
                      <a:gd name="T12" fmla="*/ 19 w 88"/>
                      <a:gd name="T13" fmla="*/ 99 h 105"/>
                      <a:gd name="T14" fmla="*/ 60 w 88"/>
                      <a:gd name="T15" fmla="*/ 75 h 105"/>
                      <a:gd name="T16" fmla="*/ 87 w 88"/>
                      <a:gd name="T17" fmla="*/ 55 h 105"/>
                      <a:gd name="T18" fmla="*/ 79 w 88"/>
                      <a:gd name="T19" fmla="*/ 25 h 105"/>
                      <a:gd name="T20" fmla="*/ 65 w 88"/>
                      <a:gd name="T21" fmla="*/ 0 h 105"/>
                      <a:gd name="T22" fmla="*/ 7 w 88"/>
                      <a:gd name="T23" fmla="*/ 31 h 1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88" h="105">
                        <a:moveTo>
                          <a:pt x="7" y="31"/>
                        </a:moveTo>
                        <a:cubicBezTo>
                          <a:pt x="7" y="31"/>
                          <a:pt x="10" y="34"/>
                          <a:pt x="12" y="36"/>
                        </a:cubicBezTo>
                        <a:cubicBezTo>
                          <a:pt x="14" y="37"/>
                          <a:pt x="15" y="38"/>
                          <a:pt x="15" y="39"/>
                        </a:cubicBezTo>
                        <a:cubicBezTo>
                          <a:pt x="15" y="41"/>
                          <a:pt x="13" y="42"/>
                          <a:pt x="10" y="46"/>
                        </a:cubicBezTo>
                        <a:cubicBezTo>
                          <a:pt x="6" y="49"/>
                          <a:pt x="3" y="51"/>
                          <a:pt x="3" y="51"/>
                        </a:cubicBezTo>
                        <a:cubicBezTo>
                          <a:pt x="0" y="105"/>
                          <a:pt x="0" y="105"/>
                          <a:pt x="0" y="105"/>
                        </a:cubicBezTo>
                        <a:cubicBezTo>
                          <a:pt x="0" y="105"/>
                          <a:pt x="9" y="103"/>
                          <a:pt x="19" y="99"/>
                        </a:cubicBezTo>
                        <a:cubicBezTo>
                          <a:pt x="30" y="96"/>
                          <a:pt x="49" y="83"/>
                          <a:pt x="60" y="75"/>
                        </a:cubicBezTo>
                        <a:cubicBezTo>
                          <a:pt x="71" y="67"/>
                          <a:pt x="85" y="60"/>
                          <a:pt x="87" y="55"/>
                        </a:cubicBezTo>
                        <a:cubicBezTo>
                          <a:pt x="88" y="49"/>
                          <a:pt x="86" y="38"/>
                          <a:pt x="79" y="25"/>
                        </a:cubicBezTo>
                        <a:cubicBezTo>
                          <a:pt x="73" y="11"/>
                          <a:pt x="65" y="0"/>
                          <a:pt x="65" y="0"/>
                        </a:cubicBezTo>
                        <a:lnTo>
                          <a:pt x="7" y="31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7" name="Freeform 152"/>
                  <p:cNvSpPr>
                    <a:spLocks noEditPoints="1"/>
                  </p:cNvSpPr>
                  <p:nvPr/>
                </p:nvSpPr>
                <p:spPr bwMode="auto">
                  <a:xfrm>
                    <a:off x="4370388" y="3930650"/>
                    <a:ext cx="115888" cy="411163"/>
                  </a:xfrm>
                  <a:custGeom>
                    <a:avLst/>
                    <a:gdLst>
                      <a:gd name="T0" fmla="*/ 261 w 294"/>
                      <a:gd name="T1" fmla="*/ 320 h 1038"/>
                      <a:gd name="T2" fmla="*/ 269 w 294"/>
                      <a:gd name="T3" fmla="*/ 258 h 1038"/>
                      <a:gd name="T4" fmla="*/ 219 w 294"/>
                      <a:gd name="T5" fmla="*/ 191 h 1038"/>
                      <a:gd name="T6" fmla="*/ 147 w 294"/>
                      <a:gd name="T7" fmla="*/ 149 h 1038"/>
                      <a:gd name="T8" fmla="*/ 129 w 294"/>
                      <a:gd name="T9" fmla="*/ 131 h 1038"/>
                      <a:gd name="T10" fmla="*/ 135 w 294"/>
                      <a:gd name="T11" fmla="*/ 115 h 1038"/>
                      <a:gd name="T12" fmla="*/ 137 w 294"/>
                      <a:gd name="T13" fmla="*/ 31 h 1038"/>
                      <a:gd name="T14" fmla="*/ 71 w 294"/>
                      <a:gd name="T15" fmla="*/ 2 h 1038"/>
                      <a:gd name="T16" fmla="*/ 32 w 294"/>
                      <a:gd name="T17" fmla="*/ 19 h 1038"/>
                      <a:gd name="T18" fmla="*/ 23 w 294"/>
                      <a:gd name="T19" fmla="*/ 52 h 1038"/>
                      <a:gd name="T20" fmla="*/ 20 w 294"/>
                      <a:gd name="T21" fmla="*/ 90 h 1038"/>
                      <a:gd name="T22" fmla="*/ 20 w 294"/>
                      <a:gd name="T23" fmla="*/ 121 h 1038"/>
                      <a:gd name="T24" fmla="*/ 32 w 294"/>
                      <a:gd name="T25" fmla="*/ 150 h 1038"/>
                      <a:gd name="T26" fmla="*/ 57 w 294"/>
                      <a:gd name="T27" fmla="*/ 163 h 1038"/>
                      <a:gd name="T28" fmla="*/ 39 w 294"/>
                      <a:gd name="T29" fmla="*/ 188 h 1038"/>
                      <a:gd name="T30" fmla="*/ 13 w 294"/>
                      <a:gd name="T31" fmla="*/ 245 h 1038"/>
                      <a:gd name="T32" fmla="*/ 26 w 294"/>
                      <a:gd name="T33" fmla="*/ 345 h 1038"/>
                      <a:gd name="T34" fmla="*/ 45 w 294"/>
                      <a:gd name="T35" fmla="*/ 435 h 1038"/>
                      <a:gd name="T36" fmla="*/ 47 w 294"/>
                      <a:gd name="T37" fmla="*/ 502 h 1038"/>
                      <a:gd name="T38" fmla="*/ 56 w 294"/>
                      <a:gd name="T39" fmla="*/ 724 h 1038"/>
                      <a:gd name="T40" fmla="*/ 91 w 294"/>
                      <a:gd name="T41" fmla="*/ 786 h 1038"/>
                      <a:gd name="T42" fmla="*/ 119 w 294"/>
                      <a:gd name="T43" fmla="*/ 841 h 1038"/>
                      <a:gd name="T44" fmla="*/ 137 w 294"/>
                      <a:gd name="T45" fmla="*/ 973 h 1038"/>
                      <a:gd name="T46" fmla="*/ 62 w 294"/>
                      <a:gd name="T47" fmla="*/ 1014 h 1038"/>
                      <a:gd name="T48" fmla="*/ 56 w 294"/>
                      <a:gd name="T49" fmla="*/ 1029 h 1038"/>
                      <a:gd name="T50" fmla="*/ 153 w 294"/>
                      <a:gd name="T51" fmla="*/ 1037 h 1038"/>
                      <a:gd name="T52" fmla="*/ 209 w 294"/>
                      <a:gd name="T53" fmla="*/ 1022 h 1038"/>
                      <a:gd name="T54" fmla="*/ 268 w 294"/>
                      <a:gd name="T55" fmla="*/ 1018 h 1038"/>
                      <a:gd name="T56" fmla="*/ 270 w 294"/>
                      <a:gd name="T57" fmla="*/ 1006 h 1038"/>
                      <a:gd name="T58" fmla="*/ 254 w 294"/>
                      <a:gd name="T59" fmla="*/ 979 h 1038"/>
                      <a:gd name="T60" fmla="*/ 248 w 294"/>
                      <a:gd name="T61" fmla="*/ 888 h 1038"/>
                      <a:gd name="T62" fmla="*/ 239 w 294"/>
                      <a:gd name="T63" fmla="*/ 784 h 1038"/>
                      <a:gd name="T64" fmla="*/ 228 w 294"/>
                      <a:gd name="T65" fmla="*/ 752 h 1038"/>
                      <a:gd name="T66" fmla="*/ 218 w 294"/>
                      <a:gd name="T67" fmla="*/ 654 h 1038"/>
                      <a:gd name="T68" fmla="*/ 235 w 294"/>
                      <a:gd name="T69" fmla="*/ 558 h 1038"/>
                      <a:gd name="T70" fmla="*/ 243 w 294"/>
                      <a:gd name="T71" fmla="*/ 515 h 1038"/>
                      <a:gd name="T72" fmla="*/ 231 w 294"/>
                      <a:gd name="T73" fmla="*/ 363 h 1038"/>
                      <a:gd name="T74" fmla="*/ 205 w 294"/>
                      <a:gd name="T75" fmla="*/ 958 h 1038"/>
                      <a:gd name="T76" fmla="*/ 197 w 294"/>
                      <a:gd name="T77" fmla="*/ 965 h 1038"/>
                      <a:gd name="T78" fmla="*/ 187 w 294"/>
                      <a:gd name="T79" fmla="*/ 938 h 1038"/>
                      <a:gd name="T80" fmla="*/ 189 w 294"/>
                      <a:gd name="T81" fmla="*/ 867 h 1038"/>
                      <a:gd name="T82" fmla="*/ 200 w 294"/>
                      <a:gd name="T83" fmla="*/ 897 h 1038"/>
                      <a:gd name="T84" fmla="*/ 205 w 294"/>
                      <a:gd name="T85" fmla="*/ 958 h 10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294" h="1038">
                        <a:moveTo>
                          <a:pt x="233" y="328"/>
                        </a:moveTo>
                        <a:cubicBezTo>
                          <a:pt x="233" y="328"/>
                          <a:pt x="248" y="326"/>
                          <a:pt x="261" y="320"/>
                        </a:cubicBezTo>
                        <a:cubicBezTo>
                          <a:pt x="273" y="314"/>
                          <a:pt x="294" y="299"/>
                          <a:pt x="293" y="296"/>
                        </a:cubicBezTo>
                        <a:cubicBezTo>
                          <a:pt x="293" y="293"/>
                          <a:pt x="279" y="270"/>
                          <a:pt x="269" y="258"/>
                        </a:cubicBezTo>
                        <a:cubicBezTo>
                          <a:pt x="260" y="246"/>
                          <a:pt x="245" y="228"/>
                          <a:pt x="242" y="219"/>
                        </a:cubicBezTo>
                        <a:cubicBezTo>
                          <a:pt x="239" y="211"/>
                          <a:pt x="229" y="201"/>
                          <a:pt x="219" y="191"/>
                        </a:cubicBezTo>
                        <a:cubicBezTo>
                          <a:pt x="209" y="181"/>
                          <a:pt x="170" y="158"/>
                          <a:pt x="161" y="154"/>
                        </a:cubicBezTo>
                        <a:cubicBezTo>
                          <a:pt x="152" y="149"/>
                          <a:pt x="147" y="149"/>
                          <a:pt x="147" y="149"/>
                        </a:cubicBezTo>
                        <a:cubicBezTo>
                          <a:pt x="147" y="149"/>
                          <a:pt x="140" y="146"/>
                          <a:pt x="135" y="142"/>
                        </a:cubicBezTo>
                        <a:cubicBezTo>
                          <a:pt x="131" y="139"/>
                          <a:pt x="130" y="136"/>
                          <a:pt x="129" y="131"/>
                        </a:cubicBezTo>
                        <a:cubicBezTo>
                          <a:pt x="128" y="127"/>
                          <a:pt x="129" y="123"/>
                          <a:pt x="129" y="123"/>
                        </a:cubicBezTo>
                        <a:cubicBezTo>
                          <a:pt x="129" y="123"/>
                          <a:pt x="133" y="122"/>
                          <a:pt x="135" y="115"/>
                        </a:cubicBezTo>
                        <a:cubicBezTo>
                          <a:pt x="137" y="108"/>
                          <a:pt x="145" y="85"/>
                          <a:pt x="145" y="72"/>
                        </a:cubicBezTo>
                        <a:cubicBezTo>
                          <a:pt x="146" y="60"/>
                          <a:pt x="142" y="38"/>
                          <a:pt x="137" y="31"/>
                        </a:cubicBezTo>
                        <a:cubicBezTo>
                          <a:pt x="132" y="24"/>
                          <a:pt x="128" y="15"/>
                          <a:pt x="118" y="9"/>
                        </a:cubicBezTo>
                        <a:cubicBezTo>
                          <a:pt x="107" y="3"/>
                          <a:pt x="83" y="1"/>
                          <a:pt x="71" y="2"/>
                        </a:cubicBezTo>
                        <a:cubicBezTo>
                          <a:pt x="59" y="3"/>
                          <a:pt x="50" y="0"/>
                          <a:pt x="45" y="2"/>
                        </a:cubicBezTo>
                        <a:cubicBezTo>
                          <a:pt x="41" y="4"/>
                          <a:pt x="32" y="11"/>
                          <a:pt x="32" y="19"/>
                        </a:cubicBezTo>
                        <a:cubicBezTo>
                          <a:pt x="31" y="28"/>
                          <a:pt x="33" y="34"/>
                          <a:pt x="33" y="34"/>
                        </a:cubicBezTo>
                        <a:cubicBezTo>
                          <a:pt x="33" y="34"/>
                          <a:pt x="26" y="43"/>
                          <a:pt x="23" y="52"/>
                        </a:cubicBezTo>
                        <a:cubicBezTo>
                          <a:pt x="20" y="60"/>
                          <a:pt x="20" y="68"/>
                          <a:pt x="21" y="72"/>
                        </a:cubicBezTo>
                        <a:cubicBezTo>
                          <a:pt x="21" y="76"/>
                          <a:pt x="21" y="82"/>
                          <a:pt x="20" y="90"/>
                        </a:cubicBezTo>
                        <a:cubicBezTo>
                          <a:pt x="19" y="97"/>
                          <a:pt x="19" y="105"/>
                          <a:pt x="19" y="107"/>
                        </a:cubicBezTo>
                        <a:cubicBezTo>
                          <a:pt x="19" y="109"/>
                          <a:pt x="19" y="114"/>
                          <a:pt x="20" y="121"/>
                        </a:cubicBezTo>
                        <a:cubicBezTo>
                          <a:pt x="20" y="127"/>
                          <a:pt x="19" y="132"/>
                          <a:pt x="20" y="137"/>
                        </a:cubicBezTo>
                        <a:cubicBezTo>
                          <a:pt x="21" y="142"/>
                          <a:pt x="25" y="147"/>
                          <a:pt x="32" y="150"/>
                        </a:cubicBezTo>
                        <a:cubicBezTo>
                          <a:pt x="32" y="150"/>
                          <a:pt x="40" y="154"/>
                          <a:pt x="45" y="155"/>
                        </a:cubicBezTo>
                        <a:cubicBezTo>
                          <a:pt x="51" y="156"/>
                          <a:pt x="52" y="157"/>
                          <a:pt x="57" y="163"/>
                        </a:cubicBezTo>
                        <a:cubicBezTo>
                          <a:pt x="62" y="169"/>
                          <a:pt x="64" y="172"/>
                          <a:pt x="64" y="172"/>
                        </a:cubicBezTo>
                        <a:cubicBezTo>
                          <a:pt x="64" y="172"/>
                          <a:pt x="50" y="181"/>
                          <a:pt x="39" y="188"/>
                        </a:cubicBezTo>
                        <a:cubicBezTo>
                          <a:pt x="29" y="195"/>
                          <a:pt x="21" y="207"/>
                          <a:pt x="19" y="216"/>
                        </a:cubicBezTo>
                        <a:cubicBezTo>
                          <a:pt x="17" y="226"/>
                          <a:pt x="13" y="245"/>
                          <a:pt x="13" y="245"/>
                        </a:cubicBezTo>
                        <a:cubicBezTo>
                          <a:pt x="9" y="278"/>
                          <a:pt x="0" y="326"/>
                          <a:pt x="1" y="331"/>
                        </a:cubicBezTo>
                        <a:cubicBezTo>
                          <a:pt x="2" y="335"/>
                          <a:pt x="11" y="339"/>
                          <a:pt x="26" y="345"/>
                        </a:cubicBezTo>
                        <a:cubicBezTo>
                          <a:pt x="40" y="351"/>
                          <a:pt x="54" y="359"/>
                          <a:pt x="54" y="359"/>
                        </a:cubicBezTo>
                        <a:cubicBezTo>
                          <a:pt x="54" y="359"/>
                          <a:pt x="51" y="391"/>
                          <a:pt x="45" y="435"/>
                        </a:cubicBezTo>
                        <a:cubicBezTo>
                          <a:pt x="40" y="479"/>
                          <a:pt x="41" y="495"/>
                          <a:pt x="43" y="498"/>
                        </a:cubicBezTo>
                        <a:cubicBezTo>
                          <a:pt x="45" y="501"/>
                          <a:pt x="47" y="502"/>
                          <a:pt x="47" y="502"/>
                        </a:cubicBezTo>
                        <a:cubicBezTo>
                          <a:pt x="47" y="502"/>
                          <a:pt x="44" y="536"/>
                          <a:pt x="45" y="580"/>
                        </a:cubicBezTo>
                        <a:cubicBezTo>
                          <a:pt x="46" y="623"/>
                          <a:pt x="50" y="685"/>
                          <a:pt x="56" y="724"/>
                        </a:cubicBezTo>
                        <a:cubicBezTo>
                          <a:pt x="61" y="763"/>
                          <a:pt x="65" y="787"/>
                          <a:pt x="67" y="788"/>
                        </a:cubicBezTo>
                        <a:cubicBezTo>
                          <a:pt x="69" y="788"/>
                          <a:pt x="80" y="787"/>
                          <a:pt x="91" y="786"/>
                        </a:cubicBezTo>
                        <a:cubicBezTo>
                          <a:pt x="103" y="785"/>
                          <a:pt x="113" y="783"/>
                          <a:pt x="113" y="783"/>
                        </a:cubicBezTo>
                        <a:cubicBezTo>
                          <a:pt x="113" y="783"/>
                          <a:pt x="115" y="815"/>
                          <a:pt x="119" y="841"/>
                        </a:cubicBezTo>
                        <a:cubicBezTo>
                          <a:pt x="122" y="867"/>
                          <a:pt x="132" y="894"/>
                          <a:pt x="136" y="924"/>
                        </a:cubicBezTo>
                        <a:cubicBezTo>
                          <a:pt x="140" y="954"/>
                          <a:pt x="137" y="973"/>
                          <a:pt x="137" y="973"/>
                        </a:cubicBezTo>
                        <a:cubicBezTo>
                          <a:pt x="137" y="973"/>
                          <a:pt x="128" y="977"/>
                          <a:pt x="109" y="988"/>
                        </a:cubicBezTo>
                        <a:cubicBezTo>
                          <a:pt x="89" y="999"/>
                          <a:pt x="68" y="1008"/>
                          <a:pt x="62" y="1014"/>
                        </a:cubicBezTo>
                        <a:cubicBezTo>
                          <a:pt x="56" y="1020"/>
                          <a:pt x="57" y="1025"/>
                          <a:pt x="57" y="1025"/>
                        </a:cubicBezTo>
                        <a:cubicBezTo>
                          <a:pt x="57" y="1025"/>
                          <a:pt x="56" y="1025"/>
                          <a:pt x="56" y="1029"/>
                        </a:cubicBezTo>
                        <a:cubicBezTo>
                          <a:pt x="56" y="1032"/>
                          <a:pt x="60" y="1035"/>
                          <a:pt x="71" y="1035"/>
                        </a:cubicBezTo>
                        <a:cubicBezTo>
                          <a:pt x="82" y="1036"/>
                          <a:pt x="123" y="1038"/>
                          <a:pt x="153" y="1037"/>
                        </a:cubicBezTo>
                        <a:cubicBezTo>
                          <a:pt x="183" y="1035"/>
                          <a:pt x="207" y="1033"/>
                          <a:pt x="209" y="1029"/>
                        </a:cubicBezTo>
                        <a:cubicBezTo>
                          <a:pt x="210" y="1025"/>
                          <a:pt x="209" y="1022"/>
                          <a:pt x="209" y="1022"/>
                        </a:cubicBezTo>
                        <a:cubicBezTo>
                          <a:pt x="209" y="1022"/>
                          <a:pt x="219" y="1024"/>
                          <a:pt x="231" y="1024"/>
                        </a:cubicBezTo>
                        <a:cubicBezTo>
                          <a:pt x="242" y="1023"/>
                          <a:pt x="264" y="1019"/>
                          <a:pt x="268" y="1018"/>
                        </a:cubicBezTo>
                        <a:cubicBezTo>
                          <a:pt x="272" y="1016"/>
                          <a:pt x="274" y="1016"/>
                          <a:pt x="273" y="1012"/>
                        </a:cubicBezTo>
                        <a:cubicBezTo>
                          <a:pt x="273" y="1009"/>
                          <a:pt x="273" y="1008"/>
                          <a:pt x="270" y="1006"/>
                        </a:cubicBezTo>
                        <a:cubicBezTo>
                          <a:pt x="267" y="1003"/>
                          <a:pt x="266" y="1001"/>
                          <a:pt x="263" y="993"/>
                        </a:cubicBezTo>
                        <a:cubicBezTo>
                          <a:pt x="260" y="984"/>
                          <a:pt x="254" y="979"/>
                          <a:pt x="254" y="979"/>
                        </a:cubicBezTo>
                        <a:cubicBezTo>
                          <a:pt x="254" y="979"/>
                          <a:pt x="252" y="970"/>
                          <a:pt x="251" y="953"/>
                        </a:cubicBezTo>
                        <a:cubicBezTo>
                          <a:pt x="250" y="936"/>
                          <a:pt x="248" y="924"/>
                          <a:pt x="248" y="888"/>
                        </a:cubicBezTo>
                        <a:cubicBezTo>
                          <a:pt x="248" y="888"/>
                          <a:pt x="248" y="858"/>
                          <a:pt x="249" y="840"/>
                        </a:cubicBezTo>
                        <a:cubicBezTo>
                          <a:pt x="249" y="821"/>
                          <a:pt x="246" y="801"/>
                          <a:pt x="239" y="784"/>
                        </a:cubicBezTo>
                        <a:cubicBezTo>
                          <a:pt x="232" y="767"/>
                          <a:pt x="228" y="760"/>
                          <a:pt x="228" y="760"/>
                        </a:cubicBezTo>
                        <a:cubicBezTo>
                          <a:pt x="228" y="760"/>
                          <a:pt x="230" y="757"/>
                          <a:pt x="228" y="752"/>
                        </a:cubicBezTo>
                        <a:cubicBezTo>
                          <a:pt x="227" y="747"/>
                          <a:pt x="226" y="733"/>
                          <a:pt x="224" y="712"/>
                        </a:cubicBezTo>
                        <a:cubicBezTo>
                          <a:pt x="221" y="692"/>
                          <a:pt x="219" y="680"/>
                          <a:pt x="218" y="654"/>
                        </a:cubicBezTo>
                        <a:cubicBezTo>
                          <a:pt x="218" y="628"/>
                          <a:pt x="218" y="607"/>
                          <a:pt x="226" y="585"/>
                        </a:cubicBezTo>
                        <a:cubicBezTo>
                          <a:pt x="234" y="564"/>
                          <a:pt x="235" y="558"/>
                          <a:pt x="235" y="558"/>
                        </a:cubicBezTo>
                        <a:cubicBezTo>
                          <a:pt x="235" y="558"/>
                          <a:pt x="240" y="560"/>
                          <a:pt x="240" y="556"/>
                        </a:cubicBezTo>
                        <a:cubicBezTo>
                          <a:pt x="241" y="552"/>
                          <a:pt x="243" y="537"/>
                          <a:pt x="243" y="515"/>
                        </a:cubicBezTo>
                        <a:cubicBezTo>
                          <a:pt x="243" y="494"/>
                          <a:pt x="239" y="451"/>
                          <a:pt x="236" y="433"/>
                        </a:cubicBezTo>
                        <a:cubicBezTo>
                          <a:pt x="233" y="415"/>
                          <a:pt x="229" y="389"/>
                          <a:pt x="231" y="363"/>
                        </a:cubicBezTo>
                        <a:cubicBezTo>
                          <a:pt x="232" y="336"/>
                          <a:pt x="233" y="328"/>
                          <a:pt x="233" y="328"/>
                        </a:cubicBezTo>
                        <a:close/>
                        <a:moveTo>
                          <a:pt x="205" y="958"/>
                        </a:moveTo>
                        <a:cubicBezTo>
                          <a:pt x="205" y="958"/>
                          <a:pt x="202" y="957"/>
                          <a:pt x="201" y="958"/>
                        </a:cubicBezTo>
                        <a:cubicBezTo>
                          <a:pt x="200" y="959"/>
                          <a:pt x="199" y="962"/>
                          <a:pt x="197" y="965"/>
                        </a:cubicBezTo>
                        <a:cubicBezTo>
                          <a:pt x="195" y="969"/>
                          <a:pt x="192" y="971"/>
                          <a:pt x="192" y="971"/>
                        </a:cubicBezTo>
                        <a:cubicBezTo>
                          <a:pt x="192" y="971"/>
                          <a:pt x="188" y="956"/>
                          <a:pt x="187" y="938"/>
                        </a:cubicBezTo>
                        <a:cubicBezTo>
                          <a:pt x="186" y="920"/>
                          <a:pt x="186" y="898"/>
                          <a:pt x="187" y="886"/>
                        </a:cubicBezTo>
                        <a:cubicBezTo>
                          <a:pt x="188" y="874"/>
                          <a:pt x="189" y="867"/>
                          <a:pt x="189" y="867"/>
                        </a:cubicBezTo>
                        <a:cubicBezTo>
                          <a:pt x="189" y="867"/>
                          <a:pt x="192" y="872"/>
                          <a:pt x="194" y="878"/>
                        </a:cubicBezTo>
                        <a:cubicBezTo>
                          <a:pt x="196" y="883"/>
                          <a:pt x="197" y="888"/>
                          <a:pt x="200" y="897"/>
                        </a:cubicBezTo>
                        <a:cubicBezTo>
                          <a:pt x="204" y="906"/>
                          <a:pt x="207" y="921"/>
                          <a:pt x="208" y="929"/>
                        </a:cubicBezTo>
                        <a:cubicBezTo>
                          <a:pt x="208" y="938"/>
                          <a:pt x="205" y="958"/>
                          <a:pt x="205" y="95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8" name="Freeform 153"/>
                  <p:cNvSpPr>
                    <a:spLocks/>
                  </p:cNvSpPr>
                  <p:nvPr/>
                </p:nvSpPr>
                <p:spPr bwMode="auto">
                  <a:xfrm>
                    <a:off x="4364038" y="4059238"/>
                    <a:ext cx="39688" cy="115888"/>
                  </a:xfrm>
                  <a:custGeom>
                    <a:avLst/>
                    <a:gdLst>
                      <a:gd name="T0" fmla="*/ 41 w 101"/>
                      <a:gd name="T1" fmla="*/ 0 h 293"/>
                      <a:gd name="T2" fmla="*/ 41 w 101"/>
                      <a:gd name="T3" fmla="*/ 25 h 293"/>
                      <a:gd name="T4" fmla="*/ 37 w 101"/>
                      <a:gd name="T5" fmla="*/ 53 h 293"/>
                      <a:gd name="T6" fmla="*/ 30 w 101"/>
                      <a:gd name="T7" fmla="*/ 100 h 293"/>
                      <a:gd name="T8" fmla="*/ 23 w 101"/>
                      <a:gd name="T9" fmla="*/ 163 h 293"/>
                      <a:gd name="T10" fmla="*/ 17 w 101"/>
                      <a:gd name="T11" fmla="*/ 193 h 293"/>
                      <a:gd name="T12" fmla="*/ 9 w 101"/>
                      <a:gd name="T13" fmla="*/ 216 h 293"/>
                      <a:gd name="T14" fmla="*/ 0 w 101"/>
                      <a:gd name="T15" fmla="*/ 239 h 293"/>
                      <a:gd name="T16" fmla="*/ 0 w 101"/>
                      <a:gd name="T17" fmla="*/ 256 h 293"/>
                      <a:gd name="T18" fmla="*/ 3 w 101"/>
                      <a:gd name="T19" fmla="*/ 271 h 293"/>
                      <a:gd name="T20" fmla="*/ 15 w 101"/>
                      <a:gd name="T21" fmla="*/ 286 h 293"/>
                      <a:gd name="T22" fmla="*/ 25 w 101"/>
                      <a:gd name="T23" fmla="*/ 291 h 293"/>
                      <a:gd name="T24" fmla="*/ 26 w 101"/>
                      <a:gd name="T25" fmla="*/ 284 h 293"/>
                      <a:gd name="T26" fmla="*/ 30 w 101"/>
                      <a:gd name="T27" fmla="*/ 285 h 293"/>
                      <a:gd name="T28" fmla="*/ 32 w 101"/>
                      <a:gd name="T29" fmla="*/ 281 h 293"/>
                      <a:gd name="T30" fmla="*/ 30 w 101"/>
                      <a:gd name="T31" fmla="*/ 278 h 293"/>
                      <a:gd name="T32" fmla="*/ 31 w 101"/>
                      <a:gd name="T33" fmla="*/ 273 h 293"/>
                      <a:gd name="T34" fmla="*/ 26 w 101"/>
                      <a:gd name="T35" fmla="*/ 264 h 293"/>
                      <a:gd name="T36" fmla="*/ 24 w 101"/>
                      <a:gd name="T37" fmla="*/ 250 h 293"/>
                      <a:gd name="T38" fmla="*/ 26 w 101"/>
                      <a:gd name="T39" fmla="*/ 241 h 293"/>
                      <a:gd name="T40" fmla="*/ 27 w 101"/>
                      <a:gd name="T41" fmla="*/ 254 h 293"/>
                      <a:gd name="T42" fmla="*/ 33 w 101"/>
                      <a:gd name="T43" fmla="*/ 264 h 293"/>
                      <a:gd name="T44" fmla="*/ 39 w 101"/>
                      <a:gd name="T45" fmla="*/ 253 h 293"/>
                      <a:gd name="T46" fmla="*/ 40 w 101"/>
                      <a:gd name="T47" fmla="*/ 241 h 293"/>
                      <a:gd name="T48" fmla="*/ 41 w 101"/>
                      <a:gd name="T49" fmla="*/ 234 h 293"/>
                      <a:gd name="T50" fmla="*/ 46 w 101"/>
                      <a:gd name="T51" fmla="*/ 221 h 293"/>
                      <a:gd name="T52" fmla="*/ 45 w 101"/>
                      <a:gd name="T53" fmla="*/ 203 h 293"/>
                      <a:gd name="T54" fmla="*/ 54 w 101"/>
                      <a:gd name="T55" fmla="*/ 175 h 293"/>
                      <a:gd name="T56" fmla="*/ 81 w 101"/>
                      <a:gd name="T57" fmla="*/ 118 h 293"/>
                      <a:gd name="T58" fmla="*/ 93 w 101"/>
                      <a:gd name="T59" fmla="*/ 62 h 293"/>
                      <a:gd name="T60" fmla="*/ 97 w 101"/>
                      <a:gd name="T61" fmla="*/ 38 h 293"/>
                      <a:gd name="T62" fmla="*/ 101 w 101"/>
                      <a:gd name="T63" fmla="*/ 21 h 293"/>
                      <a:gd name="T64" fmla="*/ 79 w 101"/>
                      <a:gd name="T65" fmla="*/ 9 h 293"/>
                      <a:gd name="T66" fmla="*/ 41 w 101"/>
                      <a:gd name="T67" fmla="*/ 0 h 2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101" h="293">
                        <a:moveTo>
                          <a:pt x="41" y="0"/>
                        </a:moveTo>
                        <a:cubicBezTo>
                          <a:pt x="41" y="0"/>
                          <a:pt x="41" y="15"/>
                          <a:pt x="41" y="25"/>
                        </a:cubicBezTo>
                        <a:cubicBezTo>
                          <a:pt x="41" y="35"/>
                          <a:pt x="39" y="46"/>
                          <a:pt x="37" y="53"/>
                        </a:cubicBezTo>
                        <a:cubicBezTo>
                          <a:pt x="35" y="61"/>
                          <a:pt x="31" y="81"/>
                          <a:pt x="30" y="100"/>
                        </a:cubicBezTo>
                        <a:cubicBezTo>
                          <a:pt x="29" y="120"/>
                          <a:pt x="27" y="149"/>
                          <a:pt x="23" y="163"/>
                        </a:cubicBezTo>
                        <a:cubicBezTo>
                          <a:pt x="20" y="178"/>
                          <a:pt x="19" y="186"/>
                          <a:pt x="17" y="193"/>
                        </a:cubicBezTo>
                        <a:cubicBezTo>
                          <a:pt x="16" y="201"/>
                          <a:pt x="15" y="205"/>
                          <a:pt x="9" y="216"/>
                        </a:cubicBezTo>
                        <a:cubicBezTo>
                          <a:pt x="4" y="228"/>
                          <a:pt x="0" y="233"/>
                          <a:pt x="0" y="239"/>
                        </a:cubicBezTo>
                        <a:cubicBezTo>
                          <a:pt x="0" y="245"/>
                          <a:pt x="0" y="250"/>
                          <a:pt x="0" y="256"/>
                        </a:cubicBezTo>
                        <a:cubicBezTo>
                          <a:pt x="0" y="262"/>
                          <a:pt x="1" y="265"/>
                          <a:pt x="3" y="271"/>
                        </a:cubicBezTo>
                        <a:cubicBezTo>
                          <a:pt x="6" y="276"/>
                          <a:pt x="11" y="283"/>
                          <a:pt x="15" y="286"/>
                        </a:cubicBezTo>
                        <a:cubicBezTo>
                          <a:pt x="18" y="289"/>
                          <a:pt x="23" y="293"/>
                          <a:pt x="25" y="291"/>
                        </a:cubicBezTo>
                        <a:cubicBezTo>
                          <a:pt x="27" y="288"/>
                          <a:pt x="26" y="284"/>
                          <a:pt x="26" y="284"/>
                        </a:cubicBezTo>
                        <a:cubicBezTo>
                          <a:pt x="26" y="284"/>
                          <a:pt x="28" y="287"/>
                          <a:pt x="30" y="285"/>
                        </a:cubicBezTo>
                        <a:cubicBezTo>
                          <a:pt x="32" y="284"/>
                          <a:pt x="32" y="283"/>
                          <a:pt x="32" y="281"/>
                        </a:cubicBezTo>
                        <a:cubicBezTo>
                          <a:pt x="31" y="280"/>
                          <a:pt x="30" y="278"/>
                          <a:pt x="30" y="278"/>
                        </a:cubicBezTo>
                        <a:cubicBezTo>
                          <a:pt x="30" y="278"/>
                          <a:pt x="32" y="276"/>
                          <a:pt x="31" y="273"/>
                        </a:cubicBezTo>
                        <a:cubicBezTo>
                          <a:pt x="30" y="270"/>
                          <a:pt x="28" y="268"/>
                          <a:pt x="26" y="264"/>
                        </a:cubicBezTo>
                        <a:cubicBezTo>
                          <a:pt x="24" y="261"/>
                          <a:pt x="23" y="255"/>
                          <a:pt x="24" y="250"/>
                        </a:cubicBezTo>
                        <a:cubicBezTo>
                          <a:pt x="24" y="244"/>
                          <a:pt x="26" y="241"/>
                          <a:pt x="26" y="241"/>
                        </a:cubicBezTo>
                        <a:cubicBezTo>
                          <a:pt x="26" y="241"/>
                          <a:pt x="26" y="247"/>
                          <a:pt x="27" y="254"/>
                        </a:cubicBezTo>
                        <a:cubicBezTo>
                          <a:pt x="28" y="261"/>
                          <a:pt x="29" y="264"/>
                          <a:pt x="33" y="264"/>
                        </a:cubicBezTo>
                        <a:cubicBezTo>
                          <a:pt x="36" y="264"/>
                          <a:pt x="38" y="259"/>
                          <a:pt x="39" y="253"/>
                        </a:cubicBezTo>
                        <a:cubicBezTo>
                          <a:pt x="39" y="247"/>
                          <a:pt x="39" y="244"/>
                          <a:pt x="40" y="241"/>
                        </a:cubicBezTo>
                        <a:cubicBezTo>
                          <a:pt x="40" y="238"/>
                          <a:pt x="40" y="235"/>
                          <a:pt x="41" y="234"/>
                        </a:cubicBezTo>
                        <a:cubicBezTo>
                          <a:pt x="42" y="233"/>
                          <a:pt x="45" y="227"/>
                          <a:pt x="46" y="221"/>
                        </a:cubicBezTo>
                        <a:cubicBezTo>
                          <a:pt x="46" y="216"/>
                          <a:pt x="45" y="208"/>
                          <a:pt x="45" y="203"/>
                        </a:cubicBezTo>
                        <a:cubicBezTo>
                          <a:pt x="45" y="198"/>
                          <a:pt x="50" y="183"/>
                          <a:pt x="54" y="175"/>
                        </a:cubicBezTo>
                        <a:cubicBezTo>
                          <a:pt x="59" y="167"/>
                          <a:pt x="75" y="139"/>
                          <a:pt x="81" y="118"/>
                        </a:cubicBezTo>
                        <a:cubicBezTo>
                          <a:pt x="87" y="98"/>
                          <a:pt x="92" y="75"/>
                          <a:pt x="93" y="62"/>
                        </a:cubicBezTo>
                        <a:cubicBezTo>
                          <a:pt x="94" y="50"/>
                          <a:pt x="95" y="45"/>
                          <a:pt x="97" y="38"/>
                        </a:cubicBezTo>
                        <a:cubicBezTo>
                          <a:pt x="99" y="30"/>
                          <a:pt x="101" y="21"/>
                          <a:pt x="101" y="21"/>
                        </a:cubicBezTo>
                        <a:cubicBezTo>
                          <a:pt x="101" y="21"/>
                          <a:pt x="97" y="15"/>
                          <a:pt x="79" y="9"/>
                        </a:cubicBezTo>
                        <a:cubicBezTo>
                          <a:pt x="61" y="3"/>
                          <a:pt x="41" y="0"/>
                          <a:pt x="41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89" name="Freeform 154"/>
                  <p:cNvSpPr>
                    <a:spLocks/>
                  </p:cNvSpPr>
                  <p:nvPr/>
                </p:nvSpPr>
                <p:spPr bwMode="auto">
                  <a:xfrm>
                    <a:off x="3900488" y="4143375"/>
                    <a:ext cx="34925" cy="182563"/>
                  </a:xfrm>
                  <a:custGeom>
                    <a:avLst/>
                    <a:gdLst>
                      <a:gd name="T0" fmla="*/ 89 w 89"/>
                      <a:gd name="T1" fmla="*/ 0 h 465"/>
                      <a:gd name="T2" fmla="*/ 80 w 89"/>
                      <a:gd name="T3" fmla="*/ 55 h 465"/>
                      <a:gd name="T4" fmla="*/ 64 w 89"/>
                      <a:gd name="T5" fmla="*/ 153 h 465"/>
                      <a:gd name="T6" fmla="*/ 54 w 89"/>
                      <a:gd name="T7" fmla="*/ 208 h 465"/>
                      <a:gd name="T8" fmla="*/ 45 w 89"/>
                      <a:gd name="T9" fmla="*/ 269 h 465"/>
                      <a:gd name="T10" fmla="*/ 33 w 89"/>
                      <a:gd name="T11" fmla="*/ 344 h 465"/>
                      <a:gd name="T12" fmla="*/ 23 w 89"/>
                      <a:gd name="T13" fmla="*/ 402 h 465"/>
                      <a:gd name="T14" fmla="*/ 16 w 89"/>
                      <a:gd name="T15" fmla="*/ 443 h 465"/>
                      <a:gd name="T16" fmla="*/ 11 w 89"/>
                      <a:gd name="T17" fmla="*/ 465 h 465"/>
                      <a:gd name="T18" fmla="*/ 0 w 89"/>
                      <a:gd name="T19" fmla="*/ 462 h 465"/>
                      <a:gd name="T20" fmla="*/ 6 w 89"/>
                      <a:gd name="T21" fmla="*/ 423 h 465"/>
                      <a:gd name="T22" fmla="*/ 11 w 89"/>
                      <a:gd name="T23" fmla="*/ 392 h 465"/>
                      <a:gd name="T24" fmla="*/ 21 w 89"/>
                      <a:gd name="T25" fmla="*/ 329 h 465"/>
                      <a:gd name="T26" fmla="*/ 37 w 89"/>
                      <a:gd name="T27" fmla="*/ 234 h 465"/>
                      <a:gd name="T28" fmla="*/ 50 w 89"/>
                      <a:gd name="T29" fmla="*/ 140 h 465"/>
                      <a:gd name="T30" fmla="*/ 61 w 89"/>
                      <a:gd name="T31" fmla="*/ 80 h 465"/>
                      <a:gd name="T32" fmla="*/ 69 w 89"/>
                      <a:gd name="T33" fmla="*/ 25 h 465"/>
                      <a:gd name="T34" fmla="*/ 74 w 89"/>
                      <a:gd name="T35" fmla="*/ 0 h 465"/>
                      <a:gd name="T36" fmla="*/ 89 w 89"/>
                      <a:gd name="T37" fmla="*/ 0 h 46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89" h="465">
                        <a:moveTo>
                          <a:pt x="89" y="0"/>
                        </a:moveTo>
                        <a:cubicBezTo>
                          <a:pt x="89" y="0"/>
                          <a:pt x="84" y="41"/>
                          <a:pt x="80" y="55"/>
                        </a:cubicBezTo>
                        <a:cubicBezTo>
                          <a:pt x="76" y="70"/>
                          <a:pt x="66" y="141"/>
                          <a:pt x="64" y="153"/>
                        </a:cubicBezTo>
                        <a:cubicBezTo>
                          <a:pt x="62" y="165"/>
                          <a:pt x="56" y="196"/>
                          <a:pt x="54" y="208"/>
                        </a:cubicBezTo>
                        <a:cubicBezTo>
                          <a:pt x="52" y="220"/>
                          <a:pt x="47" y="256"/>
                          <a:pt x="45" y="269"/>
                        </a:cubicBezTo>
                        <a:cubicBezTo>
                          <a:pt x="42" y="281"/>
                          <a:pt x="36" y="331"/>
                          <a:pt x="33" y="344"/>
                        </a:cubicBezTo>
                        <a:cubicBezTo>
                          <a:pt x="30" y="358"/>
                          <a:pt x="26" y="390"/>
                          <a:pt x="23" y="402"/>
                        </a:cubicBezTo>
                        <a:cubicBezTo>
                          <a:pt x="20" y="414"/>
                          <a:pt x="18" y="431"/>
                          <a:pt x="16" y="443"/>
                        </a:cubicBezTo>
                        <a:cubicBezTo>
                          <a:pt x="14" y="453"/>
                          <a:pt x="11" y="465"/>
                          <a:pt x="11" y="465"/>
                        </a:cubicBezTo>
                        <a:cubicBezTo>
                          <a:pt x="0" y="462"/>
                          <a:pt x="0" y="462"/>
                          <a:pt x="0" y="462"/>
                        </a:cubicBezTo>
                        <a:cubicBezTo>
                          <a:pt x="0" y="462"/>
                          <a:pt x="3" y="436"/>
                          <a:pt x="6" y="423"/>
                        </a:cubicBezTo>
                        <a:cubicBezTo>
                          <a:pt x="8" y="413"/>
                          <a:pt x="10" y="404"/>
                          <a:pt x="11" y="392"/>
                        </a:cubicBezTo>
                        <a:cubicBezTo>
                          <a:pt x="12" y="380"/>
                          <a:pt x="18" y="353"/>
                          <a:pt x="21" y="329"/>
                        </a:cubicBezTo>
                        <a:cubicBezTo>
                          <a:pt x="24" y="306"/>
                          <a:pt x="35" y="247"/>
                          <a:pt x="37" y="234"/>
                        </a:cubicBezTo>
                        <a:cubicBezTo>
                          <a:pt x="39" y="221"/>
                          <a:pt x="47" y="151"/>
                          <a:pt x="50" y="140"/>
                        </a:cubicBezTo>
                        <a:cubicBezTo>
                          <a:pt x="54" y="129"/>
                          <a:pt x="61" y="88"/>
                          <a:pt x="61" y="80"/>
                        </a:cubicBezTo>
                        <a:cubicBezTo>
                          <a:pt x="61" y="71"/>
                          <a:pt x="69" y="25"/>
                          <a:pt x="69" y="25"/>
                        </a:cubicBezTo>
                        <a:cubicBezTo>
                          <a:pt x="74" y="0"/>
                          <a:pt x="74" y="0"/>
                          <a:pt x="74" y="0"/>
                        </a:cubicBezTo>
                        <a:lnTo>
                          <a:pt x="89" y="0"/>
                        </a:lnTo>
                        <a:close/>
                      </a:path>
                    </a:pathLst>
                  </a:custGeom>
                  <a:solidFill>
                    <a:srgbClr val="5F606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0" name="Freeform 155"/>
                  <p:cNvSpPr>
                    <a:spLocks/>
                  </p:cNvSpPr>
                  <p:nvPr/>
                </p:nvSpPr>
                <p:spPr bwMode="auto">
                  <a:xfrm>
                    <a:off x="4032250" y="3951288"/>
                    <a:ext cx="139700" cy="390525"/>
                  </a:xfrm>
                  <a:custGeom>
                    <a:avLst/>
                    <a:gdLst>
                      <a:gd name="T0" fmla="*/ 225 w 351"/>
                      <a:gd name="T1" fmla="*/ 102 h 987"/>
                      <a:gd name="T2" fmla="*/ 226 w 351"/>
                      <a:gd name="T3" fmla="*/ 63 h 987"/>
                      <a:gd name="T4" fmla="*/ 188 w 351"/>
                      <a:gd name="T5" fmla="*/ 4 h 987"/>
                      <a:gd name="T6" fmla="*/ 118 w 351"/>
                      <a:gd name="T7" fmla="*/ 27 h 987"/>
                      <a:gd name="T8" fmla="*/ 106 w 351"/>
                      <a:gd name="T9" fmla="*/ 63 h 987"/>
                      <a:gd name="T10" fmla="*/ 109 w 351"/>
                      <a:gd name="T11" fmla="*/ 94 h 987"/>
                      <a:gd name="T12" fmla="*/ 111 w 351"/>
                      <a:gd name="T13" fmla="*/ 116 h 987"/>
                      <a:gd name="T14" fmla="*/ 121 w 351"/>
                      <a:gd name="T15" fmla="*/ 125 h 987"/>
                      <a:gd name="T16" fmla="*/ 125 w 351"/>
                      <a:gd name="T17" fmla="*/ 129 h 987"/>
                      <a:gd name="T18" fmla="*/ 137 w 351"/>
                      <a:gd name="T19" fmla="*/ 145 h 987"/>
                      <a:gd name="T20" fmla="*/ 146 w 351"/>
                      <a:gd name="T21" fmla="*/ 160 h 987"/>
                      <a:gd name="T22" fmla="*/ 153 w 351"/>
                      <a:gd name="T23" fmla="*/ 165 h 987"/>
                      <a:gd name="T24" fmla="*/ 118 w 351"/>
                      <a:gd name="T25" fmla="*/ 215 h 987"/>
                      <a:gd name="T26" fmla="*/ 111 w 351"/>
                      <a:gd name="T27" fmla="*/ 302 h 987"/>
                      <a:gd name="T28" fmla="*/ 102 w 351"/>
                      <a:gd name="T29" fmla="*/ 326 h 987"/>
                      <a:gd name="T30" fmla="*/ 75 w 351"/>
                      <a:gd name="T31" fmla="*/ 382 h 987"/>
                      <a:gd name="T32" fmla="*/ 79 w 351"/>
                      <a:gd name="T33" fmla="*/ 470 h 987"/>
                      <a:gd name="T34" fmla="*/ 62 w 351"/>
                      <a:gd name="T35" fmla="*/ 570 h 987"/>
                      <a:gd name="T36" fmla="*/ 55 w 351"/>
                      <a:gd name="T37" fmla="*/ 617 h 987"/>
                      <a:gd name="T38" fmla="*/ 53 w 351"/>
                      <a:gd name="T39" fmla="*/ 700 h 987"/>
                      <a:gd name="T40" fmla="*/ 51 w 351"/>
                      <a:gd name="T41" fmla="*/ 862 h 987"/>
                      <a:gd name="T42" fmla="*/ 56 w 351"/>
                      <a:gd name="T43" fmla="*/ 921 h 987"/>
                      <a:gd name="T44" fmla="*/ 43 w 351"/>
                      <a:gd name="T45" fmla="*/ 936 h 987"/>
                      <a:gd name="T46" fmla="*/ 5 w 351"/>
                      <a:gd name="T47" fmla="*/ 943 h 987"/>
                      <a:gd name="T48" fmla="*/ 2 w 351"/>
                      <a:gd name="T49" fmla="*/ 962 h 987"/>
                      <a:gd name="T50" fmla="*/ 72 w 351"/>
                      <a:gd name="T51" fmla="*/ 971 h 987"/>
                      <a:gd name="T52" fmla="*/ 128 w 351"/>
                      <a:gd name="T53" fmla="*/ 978 h 987"/>
                      <a:gd name="T54" fmla="*/ 135 w 351"/>
                      <a:gd name="T55" fmla="*/ 965 h 987"/>
                      <a:gd name="T56" fmla="*/ 132 w 351"/>
                      <a:gd name="T57" fmla="*/ 867 h 987"/>
                      <a:gd name="T58" fmla="*/ 144 w 351"/>
                      <a:gd name="T59" fmla="*/ 761 h 987"/>
                      <a:gd name="T60" fmla="*/ 148 w 351"/>
                      <a:gd name="T61" fmla="*/ 674 h 987"/>
                      <a:gd name="T62" fmla="*/ 176 w 351"/>
                      <a:gd name="T63" fmla="*/ 659 h 987"/>
                      <a:gd name="T64" fmla="*/ 208 w 351"/>
                      <a:gd name="T65" fmla="*/ 814 h 987"/>
                      <a:gd name="T66" fmla="*/ 217 w 351"/>
                      <a:gd name="T67" fmla="*/ 903 h 987"/>
                      <a:gd name="T68" fmla="*/ 220 w 351"/>
                      <a:gd name="T69" fmla="*/ 952 h 987"/>
                      <a:gd name="T70" fmla="*/ 215 w 351"/>
                      <a:gd name="T71" fmla="*/ 969 h 987"/>
                      <a:gd name="T72" fmla="*/ 256 w 351"/>
                      <a:gd name="T73" fmla="*/ 984 h 987"/>
                      <a:gd name="T74" fmla="*/ 299 w 351"/>
                      <a:gd name="T75" fmla="*/ 971 h 987"/>
                      <a:gd name="T76" fmla="*/ 303 w 351"/>
                      <a:gd name="T77" fmla="*/ 914 h 987"/>
                      <a:gd name="T78" fmla="*/ 305 w 351"/>
                      <a:gd name="T79" fmla="*/ 781 h 987"/>
                      <a:gd name="T80" fmla="*/ 285 w 351"/>
                      <a:gd name="T81" fmla="*/ 643 h 987"/>
                      <a:gd name="T82" fmla="*/ 287 w 351"/>
                      <a:gd name="T83" fmla="*/ 600 h 987"/>
                      <a:gd name="T84" fmla="*/ 299 w 351"/>
                      <a:gd name="T85" fmla="*/ 561 h 987"/>
                      <a:gd name="T86" fmla="*/ 350 w 351"/>
                      <a:gd name="T87" fmla="*/ 551 h 987"/>
                      <a:gd name="T88" fmla="*/ 336 w 351"/>
                      <a:gd name="T89" fmla="*/ 398 h 987"/>
                      <a:gd name="T90" fmla="*/ 345 w 351"/>
                      <a:gd name="T91" fmla="*/ 242 h 987"/>
                      <a:gd name="T92" fmla="*/ 308 w 351"/>
                      <a:gd name="T93" fmla="*/ 158 h 987"/>
                      <a:gd name="T94" fmla="*/ 247 w 351"/>
                      <a:gd name="T95" fmla="*/ 133 h 987"/>
                      <a:gd name="T96" fmla="*/ 238 w 351"/>
                      <a:gd name="T97" fmla="*/ 119 h 9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351" h="987">
                        <a:moveTo>
                          <a:pt x="230" y="115"/>
                        </a:moveTo>
                        <a:cubicBezTo>
                          <a:pt x="230" y="115"/>
                          <a:pt x="226" y="108"/>
                          <a:pt x="225" y="102"/>
                        </a:cubicBezTo>
                        <a:cubicBezTo>
                          <a:pt x="224" y="96"/>
                          <a:pt x="223" y="87"/>
                          <a:pt x="223" y="85"/>
                        </a:cubicBezTo>
                        <a:cubicBezTo>
                          <a:pt x="223" y="83"/>
                          <a:pt x="227" y="73"/>
                          <a:pt x="226" y="63"/>
                        </a:cubicBezTo>
                        <a:cubicBezTo>
                          <a:pt x="224" y="53"/>
                          <a:pt x="224" y="35"/>
                          <a:pt x="216" y="28"/>
                        </a:cubicBezTo>
                        <a:cubicBezTo>
                          <a:pt x="207" y="21"/>
                          <a:pt x="199" y="8"/>
                          <a:pt x="188" y="4"/>
                        </a:cubicBezTo>
                        <a:cubicBezTo>
                          <a:pt x="178" y="0"/>
                          <a:pt x="161" y="2"/>
                          <a:pt x="152" y="4"/>
                        </a:cubicBezTo>
                        <a:cubicBezTo>
                          <a:pt x="143" y="7"/>
                          <a:pt x="124" y="17"/>
                          <a:pt x="118" y="27"/>
                        </a:cubicBezTo>
                        <a:cubicBezTo>
                          <a:pt x="112" y="38"/>
                          <a:pt x="102" y="48"/>
                          <a:pt x="103" y="55"/>
                        </a:cubicBezTo>
                        <a:cubicBezTo>
                          <a:pt x="105" y="62"/>
                          <a:pt x="106" y="63"/>
                          <a:pt x="106" y="63"/>
                        </a:cubicBezTo>
                        <a:cubicBezTo>
                          <a:pt x="106" y="63"/>
                          <a:pt x="106" y="76"/>
                          <a:pt x="105" y="80"/>
                        </a:cubicBezTo>
                        <a:cubicBezTo>
                          <a:pt x="105" y="84"/>
                          <a:pt x="107" y="93"/>
                          <a:pt x="109" y="94"/>
                        </a:cubicBezTo>
                        <a:cubicBezTo>
                          <a:pt x="111" y="95"/>
                          <a:pt x="113" y="97"/>
                          <a:pt x="114" y="100"/>
                        </a:cubicBezTo>
                        <a:cubicBezTo>
                          <a:pt x="114" y="102"/>
                          <a:pt x="111" y="111"/>
                          <a:pt x="111" y="116"/>
                        </a:cubicBezTo>
                        <a:cubicBezTo>
                          <a:pt x="111" y="120"/>
                          <a:pt x="112" y="126"/>
                          <a:pt x="114" y="126"/>
                        </a:cubicBezTo>
                        <a:cubicBezTo>
                          <a:pt x="116" y="127"/>
                          <a:pt x="118" y="127"/>
                          <a:pt x="121" y="125"/>
                        </a:cubicBezTo>
                        <a:cubicBezTo>
                          <a:pt x="123" y="124"/>
                          <a:pt x="124" y="122"/>
                          <a:pt x="124" y="123"/>
                        </a:cubicBezTo>
                        <a:cubicBezTo>
                          <a:pt x="124" y="124"/>
                          <a:pt x="125" y="127"/>
                          <a:pt x="125" y="129"/>
                        </a:cubicBezTo>
                        <a:cubicBezTo>
                          <a:pt x="125" y="131"/>
                          <a:pt x="127" y="134"/>
                          <a:pt x="129" y="135"/>
                        </a:cubicBezTo>
                        <a:cubicBezTo>
                          <a:pt x="132" y="135"/>
                          <a:pt x="134" y="141"/>
                          <a:pt x="137" y="145"/>
                        </a:cubicBezTo>
                        <a:cubicBezTo>
                          <a:pt x="139" y="149"/>
                          <a:pt x="135" y="155"/>
                          <a:pt x="139" y="158"/>
                        </a:cubicBezTo>
                        <a:cubicBezTo>
                          <a:pt x="143" y="160"/>
                          <a:pt x="146" y="160"/>
                          <a:pt x="146" y="160"/>
                        </a:cubicBezTo>
                        <a:cubicBezTo>
                          <a:pt x="146" y="160"/>
                          <a:pt x="149" y="164"/>
                          <a:pt x="151" y="165"/>
                        </a:cubicBezTo>
                        <a:cubicBezTo>
                          <a:pt x="153" y="165"/>
                          <a:pt x="153" y="165"/>
                          <a:pt x="153" y="165"/>
                        </a:cubicBezTo>
                        <a:cubicBezTo>
                          <a:pt x="153" y="165"/>
                          <a:pt x="137" y="175"/>
                          <a:pt x="131" y="181"/>
                        </a:cubicBezTo>
                        <a:cubicBezTo>
                          <a:pt x="124" y="188"/>
                          <a:pt x="119" y="200"/>
                          <a:pt x="118" y="215"/>
                        </a:cubicBezTo>
                        <a:cubicBezTo>
                          <a:pt x="118" y="230"/>
                          <a:pt x="120" y="259"/>
                          <a:pt x="118" y="269"/>
                        </a:cubicBezTo>
                        <a:cubicBezTo>
                          <a:pt x="116" y="278"/>
                          <a:pt x="111" y="292"/>
                          <a:pt x="111" y="302"/>
                        </a:cubicBezTo>
                        <a:cubicBezTo>
                          <a:pt x="111" y="311"/>
                          <a:pt x="111" y="317"/>
                          <a:pt x="110" y="318"/>
                        </a:cubicBezTo>
                        <a:cubicBezTo>
                          <a:pt x="110" y="318"/>
                          <a:pt x="106" y="322"/>
                          <a:pt x="102" y="326"/>
                        </a:cubicBezTo>
                        <a:cubicBezTo>
                          <a:pt x="99" y="330"/>
                          <a:pt x="91" y="335"/>
                          <a:pt x="82" y="338"/>
                        </a:cubicBezTo>
                        <a:cubicBezTo>
                          <a:pt x="73" y="340"/>
                          <a:pt x="76" y="378"/>
                          <a:pt x="75" y="382"/>
                        </a:cubicBezTo>
                        <a:cubicBezTo>
                          <a:pt x="75" y="387"/>
                          <a:pt x="88" y="405"/>
                          <a:pt x="88" y="405"/>
                        </a:cubicBezTo>
                        <a:cubicBezTo>
                          <a:pt x="88" y="405"/>
                          <a:pt x="82" y="453"/>
                          <a:pt x="79" y="470"/>
                        </a:cubicBezTo>
                        <a:cubicBezTo>
                          <a:pt x="75" y="488"/>
                          <a:pt x="69" y="533"/>
                          <a:pt x="66" y="543"/>
                        </a:cubicBezTo>
                        <a:cubicBezTo>
                          <a:pt x="63" y="553"/>
                          <a:pt x="61" y="569"/>
                          <a:pt x="62" y="570"/>
                        </a:cubicBezTo>
                        <a:cubicBezTo>
                          <a:pt x="62" y="571"/>
                          <a:pt x="64" y="572"/>
                          <a:pt x="64" y="572"/>
                        </a:cubicBezTo>
                        <a:cubicBezTo>
                          <a:pt x="64" y="572"/>
                          <a:pt x="56" y="606"/>
                          <a:pt x="55" y="617"/>
                        </a:cubicBezTo>
                        <a:cubicBezTo>
                          <a:pt x="54" y="627"/>
                          <a:pt x="58" y="628"/>
                          <a:pt x="55" y="639"/>
                        </a:cubicBezTo>
                        <a:cubicBezTo>
                          <a:pt x="51" y="650"/>
                          <a:pt x="53" y="685"/>
                          <a:pt x="53" y="700"/>
                        </a:cubicBezTo>
                        <a:cubicBezTo>
                          <a:pt x="52" y="715"/>
                          <a:pt x="53" y="763"/>
                          <a:pt x="52" y="780"/>
                        </a:cubicBezTo>
                        <a:cubicBezTo>
                          <a:pt x="51" y="797"/>
                          <a:pt x="54" y="850"/>
                          <a:pt x="51" y="862"/>
                        </a:cubicBezTo>
                        <a:cubicBezTo>
                          <a:pt x="49" y="873"/>
                          <a:pt x="47" y="904"/>
                          <a:pt x="49" y="908"/>
                        </a:cubicBezTo>
                        <a:cubicBezTo>
                          <a:pt x="52" y="912"/>
                          <a:pt x="58" y="917"/>
                          <a:pt x="56" y="921"/>
                        </a:cubicBezTo>
                        <a:cubicBezTo>
                          <a:pt x="54" y="924"/>
                          <a:pt x="46" y="928"/>
                          <a:pt x="44" y="930"/>
                        </a:cubicBezTo>
                        <a:cubicBezTo>
                          <a:pt x="43" y="932"/>
                          <a:pt x="44" y="935"/>
                          <a:pt x="43" y="936"/>
                        </a:cubicBezTo>
                        <a:cubicBezTo>
                          <a:pt x="42" y="936"/>
                          <a:pt x="35" y="940"/>
                          <a:pt x="28" y="941"/>
                        </a:cubicBezTo>
                        <a:cubicBezTo>
                          <a:pt x="21" y="942"/>
                          <a:pt x="8" y="939"/>
                          <a:pt x="5" y="943"/>
                        </a:cubicBezTo>
                        <a:cubicBezTo>
                          <a:pt x="2" y="947"/>
                          <a:pt x="1" y="957"/>
                          <a:pt x="1" y="957"/>
                        </a:cubicBezTo>
                        <a:cubicBezTo>
                          <a:pt x="1" y="957"/>
                          <a:pt x="0" y="961"/>
                          <a:pt x="2" y="962"/>
                        </a:cubicBezTo>
                        <a:cubicBezTo>
                          <a:pt x="4" y="963"/>
                          <a:pt x="28" y="971"/>
                          <a:pt x="41" y="970"/>
                        </a:cubicBezTo>
                        <a:cubicBezTo>
                          <a:pt x="55" y="970"/>
                          <a:pt x="68" y="970"/>
                          <a:pt x="72" y="971"/>
                        </a:cubicBezTo>
                        <a:cubicBezTo>
                          <a:pt x="76" y="971"/>
                          <a:pt x="80" y="977"/>
                          <a:pt x="86" y="977"/>
                        </a:cubicBezTo>
                        <a:cubicBezTo>
                          <a:pt x="92" y="977"/>
                          <a:pt x="126" y="980"/>
                          <a:pt x="128" y="978"/>
                        </a:cubicBezTo>
                        <a:cubicBezTo>
                          <a:pt x="131" y="976"/>
                          <a:pt x="131" y="969"/>
                          <a:pt x="131" y="969"/>
                        </a:cubicBezTo>
                        <a:cubicBezTo>
                          <a:pt x="131" y="969"/>
                          <a:pt x="135" y="967"/>
                          <a:pt x="135" y="965"/>
                        </a:cubicBezTo>
                        <a:cubicBezTo>
                          <a:pt x="135" y="962"/>
                          <a:pt x="137" y="948"/>
                          <a:pt x="137" y="938"/>
                        </a:cubicBezTo>
                        <a:cubicBezTo>
                          <a:pt x="137" y="929"/>
                          <a:pt x="133" y="882"/>
                          <a:pt x="132" y="867"/>
                        </a:cubicBezTo>
                        <a:cubicBezTo>
                          <a:pt x="132" y="852"/>
                          <a:pt x="130" y="843"/>
                          <a:pt x="131" y="834"/>
                        </a:cubicBezTo>
                        <a:cubicBezTo>
                          <a:pt x="132" y="824"/>
                          <a:pt x="145" y="775"/>
                          <a:pt x="144" y="761"/>
                        </a:cubicBezTo>
                        <a:cubicBezTo>
                          <a:pt x="143" y="747"/>
                          <a:pt x="136" y="733"/>
                          <a:pt x="136" y="720"/>
                        </a:cubicBezTo>
                        <a:cubicBezTo>
                          <a:pt x="136" y="708"/>
                          <a:pt x="145" y="681"/>
                          <a:pt x="148" y="674"/>
                        </a:cubicBezTo>
                        <a:cubicBezTo>
                          <a:pt x="151" y="667"/>
                          <a:pt x="164" y="630"/>
                          <a:pt x="164" y="630"/>
                        </a:cubicBezTo>
                        <a:cubicBezTo>
                          <a:pt x="164" y="630"/>
                          <a:pt x="173" y="653"/>
                          <a:pt x="176" y="659"/>
                        </a:cubicBezTo>
                        <a:cubicBezTo>
                          <a:pt x="179" y="665"/>
                          <a:pt x="186" y="694"/>
                          <a:pt x="188" y="708"/>
                        </a:cubicBezTo>
                        <a:cubicBezTo>
                          <a:pt x="190" y="722"/>
                          <a:pt x="203" y="790"/>
                          <a:pt x="208" y="814"/>
                        </a:cubicBezTo>
                        <a:cubicBezTo>
                          <a:pt x="213" y="838"/>
                          <a:pt x="227" y="869"/>
                          <a:pt x="223" y="878"/>
                        </a:cubicBezTo>
                        <a:cubicBezTo>
                          <a:pt x="220" y="886"/>
                          <a:pt x="218" y="895"/>
                          <a:pt x="217" y="903"/>
                        </a:cubicBezTo>
                        <a:cubicBezTo>
                          <a:pt x="215" y="911"/>
                          <a:pt x="212" y="929"/>
                          <a:pt x="214" y="935"/>
                        </a:cubicBezTo>
                        <a:cubicBezTo>
                          <a:pt x="216" y="940"/>
                          <a:pt x="221" y="951"/>
                          <a:pt x="220" y="952"/>
                        </a:cubicBezTo>
                        <a:cubicBezTo>
                          <a:pt x="219" y="953"/>
                          <a:pt x="213" y="957"/>
                          <a:pt x="212" y="960"/>
                        </a:cubicBezTo>
                        <a:cubicBezTo>
                          <a:pt x="212" y="963"/>
                          <a:pt x="215" y="969"/>
                          <a:pt x="215" y="969"/>
                        </a:cubicBezTo>
                        <a:cubicBezTo>
                          <a:pt x="215" y="969"/>
                          <a:pt x="212" y="976"/>
                          <a:pt x="215" y="980"/>
                        </a:cubicBezTo>
                        <a:cubicBezTo>
                          <a:pt x="217" y="983"/>
                          <a:pt x="243" y="984"/>
                          <a:pt x="256" y="984"/>
                        </a:cubicBezTo>
                        <a:cubicBezTo>
                          <a:pt x="269" y="985"/>
                          <a:pt x="293" y="987"/>
                          <a:pt x="297" y="984"/>
                        </a:cubicBezTo>
                        <a:cubicBezTo>
                          <a:pt x="301" y="982"/>
                          <a:pt x="298" y="972"/>
                          <a:pt x="299" y="971"/>
                        </a:cubicBezTo>
                        <a:cubicBezTo>
                          <a:pt x="299" y="970"/>
                          <a:pt x="309" y="957"/>
                          <a:pt x="309" y="950"/>
                        </a:cubicBezTo>
                        <a:cubicBezTo>
                          <a:pt x="309" y="942"/>
                          <a:pt x="303" y="925"/>
                          <a:pt x="303" y="914"/>
                        </a:cubicBezTo>
                        <a:cubicBezTo>
                          <a:pt x="303" y="903"/>
                          <a:pt x="303" y="876"/>
                          <a:pt x="302" y="866"/>
                        </a:cubicBezTo>
                        <a:cubicBezTo>
                          <a:pt x="301" y="855"/>
                          <a:pt x="308" y="798"/>
                          <a:pt x="305" y="781"/>
                        </a:cubicBezTo>
                        <a:cubicBezTo>
                          <a:pt x="302" y="764"/>
                          <a:pt x="301" y="706"/>
                          <a:pt x="297" y="689"/>
                        </a:cubicBezTo>
                        <a:cubicBezTo>
                          <a:pt x="294" y="672"/>
                          <a:pt x="286" y="645"/>
                          <a:pt x="285" y="643"/>
                        </a:cubicBezTo>
                        <a:cubicBezTo>
                          <a:pt x="285" y="641"/>
                          <a:pt x="287" y="621"/>
                          <a:pt x="288" y="615"/>
                        </a:cubicBezTo>
                        <a:cubicBezTo>
                          <a:pt x="288" y="609"/>
                          <a:pt x="285" y="606"/>
                          <a:pt x="287" y="600"/>
                        </a:cubicBezTo>
                        <a:cubicBezTo>
                          <a:pt x="289" y="594"/>
                          <a:pt x="293" y="588"/>
                          <a:pt x="292" y="582"/>
                        </a:cubicBezTo>
                        <a:cubicBezTo>
                          <a:pt x="291" y="577"/>
                          <a:pt x="298" y="565"/>
                          <a:pt x="299" y="561"/>
                        </a:cubicBezTo>
                        <a:cubicBezTo>
                          <a:pt x="299" y="557"/>
                          <a:pt x="299" y="557"/>
                          <a:pt x="299" y="557"/>
                        </a:cubicBezTo>
                        <a:cubicBezTo>
                          <a:pt x="299" y="557"/>
                          <a:pt x="349" y="554"/>
                          <a:pt x="350" y="551"/>
                        </a:cubicBezTo>
                        <a:cubicBezTo>
                          <a:pt x="350" y="549"/>
                          <a:pt x="345" y="470"/>
                          <a:pt x="342" y="451"/>
                        </a:cubicBezTo>
                        <a:cubicBezTo>
                          <a:pt x="339" y="431"/>
                          <a:pt x="336" y="398"/>
                          <a:pt x="336" y="398"/>
                        </a:cubicBezTo>
                        <a:cubicBezTo>
                          <a:pt x="336" y="398"/>
                          <a:pt x="348" y="371"/>
                          <a:pt x="349" y="346"/>
                        </a:cubicBezTo>
                        <a:cubicBezTo>
                          <a:pt x="349" y="321"/>
                          <a:pt x="351" y="264"/>
                          <a:pt x="345" y="242"/>
                        </a:cubicBezTo>
                        <a:cubicBezTo>
                          <a:pt x="340" y="220"/>
                          <a:pt x="341" y="207"/>
                          <a:pt x="338" y="191"/>
                        </a:cubicBezTo>
                        <a:cubicBezTo>
                          <a:pt x="334" y="176"/>
                          <a:pt x="323" y="164"/>
                          <a:pt x="308" y="158"/>
                        </a:cubicBezTo>
                        <a:cubicBezTo>
                          <a:pt x="294" y="152"/>
                          <a:pt x="267" y="143"/>
                          <a:pt x="260" y="140"/>
                        </a:cubicBezTo>
                        <a:cubicBezTo>
                          <a:pt x="254" y="137"/>
                          <a:pt x="247" y="133"/>
                          <a:pt x="247" y="133"/>
                        </a:cubicBezTo>
                        <a:cubicBezTo>
                          <a:pt x="247" y="133"/>
                          <a:pt x="248" y="130"/>
                          <a:pt x="246" y="128"/>
                        </a:cubicBezTo>
                        <a:cubicBezTo>
                          <a:pt x="244" y="125"/>
                          <a:pt x="240" y="122"/>
                          <a:pt x="238" y="119"/>
                        </a:cubicBezTo>
                        <a:cubicBezTo>
                          <a:pt x="235" y="116"/>
                          <a:pt x="230" y="115"/>
                          <a:pt x="230" y="11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1" name="Freeform 156"/>
                  <p:cNvSpPr>
                    <a:spLocks/>
                  </p:cNvSpPr>
                  <p:nvPr/>
                </p:nvSpPr>
                <p:spPr bwMode="auto">
                  <a:xfrm>
                    <a:off x="3924300" y="4137025"/>
                    <a:ext cx="11113" cy="17463"/>
                  </a:xfrm>
                  <a:custGeom>
                    <a:avLst/>
                    <a:gdLst>
                      <a:gd name="T0" fmla="*/ 27 w 27"/>
                      <a:gd name="T1" fmla="*/ 0 h 47"/>
                      <a:gd name="T2" fmla="*/ 17 w 27"/>
                      <a:gd name="T3" fmla="*/ 0 h 47"/>
                      <a:gd name="T4" fmla="*/ 8 w 27"/>
                      <a:gd name="T5" fmla="*/ 3 h 47"/>
                      <a:gd name="T6" fmla="*/ 1 w 27"/>
                      <a:gd name="T7" fmla="*/ 35 h 47"/>
                      <a:gd name="T8" fmla="*/ 5 w 27"/>
                      <a:gd name="T9" fmla="*/ 45 h 47"/>
                      <a:gd name="T10" fmla="*/ 17 w 27"/>
                      <a:gd name="T11" fmla="*/ 42 h 47"/>
                      <a:gd name="T12" fmla="*/ 23 w 27"/>
                      <a:gd name="T13" fmla="*/ 14 h 47"/>
                      <a:gd name="T14" fmla="*/ 27 w 27"/>
                      <a:gd name="T15" fmla="*/ 0 h 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7" h="47">
                        <a:moveTo>
                          <a:pt x="27" y="0"/>
                        </a:moveTo>
                        <a:cubicBezTo>
                          <a:pt x="27" y="0"/>
                          <a:pt x="20" y="0"/>
                          <a:pt x="17" y="0"/>
                        </a:cubicBezTo>
                        <a:cubicBezTo>
                          <a:pt x="14" y="0"/>
                          <a:pt x="10" y="0"/>
                          <a:pt x="8" y="3"/>
                        </a:cubicBezTo>
                        <a:cubicBezTo>
                          <a:pt x="6" y="7"/>
                          <a:pt x="1" y="30"/>
                          <a:pt x="1" y="35"/>
                        </a:cubicBezTo>
                        <a:cubicBezTo>
                          <a:pt x="0" y="40"/>
                          <a:pt x="2" y="43"/>
                          <a:pt x="5" y="45"/>
                        </a:cubicBezTo>
                        <a:cubicBezTo>
                          <a:pt x="8" y="47"/>
                          <a:pt x="16" y="47"/>
                          <a:pt x="17" y="42"/>
                        </a:cubicBezTo>
                        <a:cubicBezTo>
                          <a:pt x="18" y="38"/>
                          <a:pt x="21" y="20"/>
                          <a:pt x="23" y="14"/>
                        </a:cubicBezTo>
                        <a:cubicBezTo>
                          <a:pt x="25" y="9"/>
                          <a:pt x="27" y="0"/>
                          <a:pt x="27" y="0"/>
                        </a:cubicBezTo>
                        <a:close/>
                      </a:path>
                    </a:pathLst>
                  </a:custGeom>
                  <a:solidFill>
                    <a:srgbClr val="73747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2" name="Freeform 157"/>
                  <p:cNvSpPr>
                    <a:spLocks/>
                  </p:cNvSpPr>
                  <p:nvPr/>
                </p:nvSpPr>
                <p:spPr bwMode="auto">
                  <a:xfrm>
                    <a:off x="3922713" y="4125913"/>
                    <a:ext cx="20638" cy="20638"/>
                  </a:xfrm>
                  <a:custGeom>
                    <a:avLst/>
                    <a:gdLst>
                      <a:gd name="T0" fmla="*/ 28 w 55"/>
                      <a:gd name="T1" fmla="*/ 0 h 53"/>
                      <a:gd name="T2" fmla="*/ 40 w 55"/>
                      <a:gd name="T3" fmla="*/ 13 h 53"/>
                      <a:gd name="T4" fmla="*/ 51 w 55"/>
                      <a:gd name="T5" fmla="*/ 16 h 53"/>
                      <a:gd name="T6" fmla="*/ 54 w 55"/>
                      <a:gd name="T7" fmla="*/ 15 h 53"/>
                      <a:gd name="T8" fmla="*/ 53 w 55"/>
                      <a:gd name="T9" fmla="*/ 27 h 53"/>
                      <a:gd name="T10" fmla="*/ 42 w 55"/>
                      <a:gd name="T11" fmla="*/ 42 h 53"/>
                      <a:gd name="T12" fmla="*/ 30 w 55"/>
                      <a:gd name="T13" fmla="*/ 51 h 53"/>
                      <a:gd name="T14" fmla="*/ 26 w 55"/>
                      <a:gd name="T15" fmla="*/ 53 h 53"/>
                      <a:gd name="T16" fmla="*/ 29 w 55"/>
                      <a:gd name="T17" fmla="*/ 40 h 53"/>
                      <a:gd name="T18" fmla="*/ 29 w 55"/>
                      <a:gd name="T19" fmla="*/ 29 h 53"/>
                      <a:gd name="T20" fmla="*/ 16 w 55"/>
                      <a:gd name="T21" fmla="*/ 26 h 53"/>
                      <a:gd name="T22" fmla="*/ 9 w 55"/>
                      <a:gd name="T23" fmla="*/ 42 h 53"/>
                      <a:gd name="T24" fmla="*/ 5 w 55"/>
                      <a:gd name="T25" fmla="*/ 37 h 53"/>
                      <a:gd name="T26" fmla="*/ 5 w 55"/>
                      <a:gd name="T27" fmla="*/ 29 h 53"/>
                      <a:gd name="T28" fmla="*/ 1 w 55"/>
                      <a:gd name="T29" fmla="*/ 24 h 53"/>
                      <a:gd name="T30" fmla="*/ 3 w 55"/>
                      <a:gd name="T31" fmla="*/ 13 h 53"/>
                      <a:gd name="T32" fmla="*/ 19 w 55"/>
                      <a:gd name="T33" fmla="*/ 6 h 53"/>
                      <a:gd name="T34" fmla="*/ 28 w 55"/>
                      <a:gd name="T35" fmla="*/ 0 h 5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55" h="53">
                        <a:moveTo>
                          <a:pt x="28" y="0"/>
                        </a:moveTo>
                        <a:cubicBezTo>
                          <a:pt x="28" y="0"/>
                          <a:pt x="35" y="10"/>
                          <a:pt x="40" y="13"/>
                        </a:cubicBezTo>
                        <a:cubicBezTo>
                          <a:pt x="44" y="17"/>
                          <a:pt x="47" y="17"/>
                          <a:pt x="51" y="16"/>
                        </a:cubicBezTo>
                        <a:cubicBezTo>
                          <a:pt x="54" y="15"/>
                          <a:pt x="54" y="15"/>
                          <a:pt x="54" y="15"/>
                        </a:cubicBezTo>
                        <a:cubicBezTo>
                          <a:pt x="54" y="15"/>
                          <a:pt x="55" y="24"/>
                          <a:pt x="53" y="27"/>
                        </a:cubicBezTo>
                        <a:cubicBezTo>
                          <a:pt x="51" y="31"/>
                          <a:pt x="46" y="40"/>
                          <a:pt x="42" y="42"/>
                        </a:cubicBezTo>
                        <a:cubicBezTo>
                          <a:pt x="38" y="44"/>
                          <a:pt x="34" y="49"/>
                          <a:pt x="30" y="51"/>
                        </a:cubicBezTo>
                        <a:cubicBezTo>
                          <a:pt x="26" y="53"/>
                          <a:pt x="26" y="53"/>
                          <a:pt x="26" y="53"/>
                        </a:cubicBezTo>
                        <a:cubicBezTo>
                          <a:pt x="29" y="40"/>
                          <a:pt x="29" y="40"/>
                          <a:pt x="29" y="40"/>
                        </a:cubicBezTo>
                        <a:cubicBezTo>
                          <a:pt x="29" y="40"/>
                          <a:pt x="31" y="31"/>
                          <a:pt x="29" y="29"/>
                        </a:cubicBezTo>
                        <a:cubicBezTo>
                          <a:pt x="27" y="26"/>
                          <a:pt x="20" y="24"/>
                          <a:pt x="16" y="26"/>
                        </a:cubicBezTo>
                        <a:cubicBezTo>
                          <a:pt x="13" y="29"/>
                          <a:pt x="9" y="42"/>
                          <a:pt x="9" y="42"/>
                        </a:cubicBezTo>
                        <a:cubicBezTo>
                          <a:pt x="9" y="42"/>
                          <a:pt x="7" y="40"/>
                          <a:pt x="5" y="37"/>
                        </a:cubicBezTo>
                        <a:cubicBezTo>
                          <a:pt x="4" y="33"/>
                          <a:pt x="5" y="29"/>
                          <a:pt x="5" y="29"/>
                        </a:cubicBezTo>
                        <a:cubicBezTo>
                          <a:pt x="5" y="29"/>
                          <a:pt x="2" y="28"/>
                          <a:pt x="1" y="24"/>
                        </a:cubicBezTo>
                        <a:cubicBezTo>
                          <a:pt x="0" y="19"/>
                          <a:pt x="0" y="13"/>
                          <a:pt x="3" y="13"/>
                        </a:cubicBezTo>
                        <a:cubicBezTo>
                          <a:pt x="5" y="12"/>
                          <a:pt x="14" y="7"/>
                          <a:pt x="19" y="6"/>
                        </a:cubicBezTo>
                        <a:cubicBezTo>
                          <a:pt x="23" y="4"/>
                          <a:pt x="28" y="0"/>
                          <a:pt x="28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3" name="Freeform 158"/>
                  <p:cNvSpPr>
                    <a:spLocks/>
                  </p:cNvSpPr>
                  <p:nvPr/>
                </p:nvSpPr>
                <p:spPr bwMode="auto">
                  <a:xfrm>
                    <a:off x="3897313" y="4321175"/>
                    <a:ext cx="9525" cy="12700"/>
                  </a:xfrm>
                  <a:custGeom>
                    <a:avLst/>
                    <a:gdLst>
                      <a:gd name="T0" fmla="*/ 21 w 23"/>
                      <a:gd name="T1" fmla="*/ 6 h 30"/>
                      <a:gd name="T2" fmla="*/ 22 w 23"/>
                      <a:gd name="T3" fmla="*/ 10 h 30"/>
                      <a:gd name="T4" fmla="*/ 20 w 23"/>
                      <a:gd name="T5" fmla="*/ 20 h 30"/>
                      <a:gd name="T6" fmla="*/ 19 w 23"/>
                      <a:gd name="T7" fmla="*/ 29 h 30"/>
                      <a:gd name="T8" fmla="*/ 1 w 23"/>
                      <a:gd name="T9" fmla="*/ 24 h 30"/>
                      <a:gd name="T10" fmla="*/ 2 w 23"/>
                      <a:gd name="T11" fmla="*/ 17 h 30"/>
                      <a:gd name="T12" fmla="*/ 7 w 23"/>
                      <a:gd name="T13" fmla="*/ 3 h 30"/>
                      <a:gd name="T14" fmla="*/ 21 w 23"/>
                      <a:gd name="T15" fmla="*/ 6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23" h="30">
                        <a:moveTo>
                          <a:pt x="21" y="6"/>
                        </a:moveTo>
                        <a:cubicBezTo>
                          <a:pt x="22" y="6"/>
                          <a:pt x="23" y="7"/>
                          <a:pt x="22" y="10"/>
                        </a:cubicBezTo>
                        <a:cubicBezTo>
                          <a:pt x="21" y="12"/>
                          <a:pt x="20" y="20"/>
                          <a:pt x="20" y="20"/>
                        </a:cubicBezTo>
                        <a:cubicBezTo>
                          <a:pt x="20" y="20"/>
                          <a:pt x="21" y="28"/>
                          <a:pt x="19" y="29"/>
                        </a:cubicBezTo>
                        <a:cubicBezTo>
                          <a:pt x="16" y="30"/>
                          <a:pt x="2" y="28"/>
                          <a:pt x="1" y="24"/>
                        </a:cubicBezTo>
                        <a:cubicBezTo>
                          <a:pt x="0" y="22"/>
                          <a:pt x="2" y="17"/>
                          <a:pt x="2" y="17"/>
                        </a:cubicBezTo>
                        <a:cubicBezTo>
                          <a:pt x="2" y="17"/>
                          <a:pt x="5" y="8"/>
                          <a:pt x="7" y="3"/>
                        </a:cubicBezTo>
                        <a:cubicBezTo>
                          <a:pt x="9" y="0"/>
                          <a:pt x="19" y="5"/>
                          <a:pt x="21" y="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4" name="Freeform 159"/>
                  <p:cNvSpPr>
                    <a:spLocks noEditPoints="1"/>
                  </p:cNvSpPr>
                  <p:nvPr/>
                </p:nvSpPr>
                <p:spPr bwMode="auto">
                  <a:xfrm>
                    <a:off x="3932238" y="3986213"/>
                    <a:ext cx="150813" cy="360363"/>
                  </a:xfrm>
                  <a:custGeom>
                    <a:avLst/>
                    <a:gdLst>
                      <a:gd name="T0" fmla="*/ 30 w 379"/>
                      <a:gd name="T1" fmla="*/ 371 h 910"/>
                      <a:gd name="T2" fmla="*/ 40 w 379"/>
                      <a:gd name="T3" fmla="*/ 356 h 910"/>
                      <a:gd name="T4" fmla="*/ 69 w 379"/>
                      <a:gd name="T5" fmla="*/ 330 h 910"/>
                      <a:gd name="T6" fmla="*/ 76 w 379"/>
                      <a:gd name="T7" fmla="*/ 304 h 910"/>
                      <a:gd name="T8" fmla="*/ 100 w 379"/>
                      <a:gd name="T9" fmla="*/ 263 h 910"/>
                      <a:gd name="T10" fmla="*/ 108 w 379"/>
                      <a:gd name="T11" fmla="*/ 317 h 910"/>
                      <a:gd name="T12" fmla="*/ 100 w 379"/>
                      <a:gd name="T13" fmla="*/ 369 h 910"/>
                      <a:gd name="T14" fmla="*/ 96 w 379"/>
                      <a:gd name="T15" fmla="*/ 426 h 910"/>
                      <a:gd name="T16" fmla="*/ 98 w 379"/>
                      <a:gd name="T17" fmla="*/ 455 h 910"/>
                      <a:gd name="T18" fmla="*/ 90 w 379"/>
                      <a:gd name="T19" fmla="*/ 567 h 910"/>
                      <a:gd name="T20" fmla="*/ 97 w 379"/>
                      <a:gd name="T21" fmla="*/ 659 h 910"/>
                      <a:gd name="T22" fmla="*/ 119 w 379"/>
                      <a:gd name="T23" fmla="*/ 764 h 910"/>
                      <a:gd name="T24" fmla="*/ 153 w 379"/>
                      <a:gd name="T25" fmla="*/ 862 h 910"/>
                      <a:gd name="T26" fmla="*/ 161 w 379"/>
                      <a:gd name="T27" fmla="*/ 910 h 910"/>
                      <a:gd name="T28" fmla="*/ 206 w 379"/>
                      <a:gd name="T29" fmla="*/ 884 h 910"/>
                      <a:gd name="T30" fmla="*/ 248 w 379"/>
                      <a:gd name="T31" fmla="*/ 897 h 910"/>
                      <a:gd name="T32" fmla="*/ 258 w 379"/>
                      <a:gd name="T33" fmla="*/ 885 h 910"/>
                      <a:gd name="T34" fmla="*/ 257 w 379"/>
                      <a:gd name="T35" fmla="*/ 859 h 910"/>
                      <a:gd name="T36" fmla="*/ 276 w 379"/>
                      <a:gd name="T37" fmla="*/ 728 h 910"/>
                      <a:gd name="T38" fmla="*/ 304 w 379"/>
                      <a:gd name="T39" fmla="*/ 508 h 910"/>
                      <a:gd name="T40" fmla="*/ 316 w 379"/>
                      <a:gd name="T41" fmla="*/ 446 h 910"/>
                      <a:gd name="T42" fmla="*/ 323 w 379"/>
                      <a:gd name="T43" fmla="*/ 416 h 910"/>
                      <a:gd name="T44" fmla="*/ 304 w 379"/>
                      <a:gd name="T45" fmla="*/ 344 h 910"/>
                      <a:gd name="T46" fmla="*/ 300 w 379"/>
                      <a:gd name="T47" fmla="*/ 267 h 910"/>
                      <a:gd name="T48" fmla="*/ 315 w 379"/>
                      <a:gd name="T49" fmla="*/ 323 h 910"/>
                      <a:gd name="T50" fmla="*/ 327 w 379"/>
                      <a:gd name="T51" fmla="*/ 358 h 910"/>
                      <a:gd name="T52" fmla="*/ 364 w 379"/>
                      <a:gd name="T53" fmla="*/ 338 h 910"/>
                      <a:gd name="T54" fmla="*/ 376 w 379"/>
                      <a:gd name="T55" fmla="*/ 304 h 910"/>
                      <a:gd name="T56" fmla="*/ 362 w 379"/>
                      <a:gd name="T57" fmla="*/ 264 h 910"/>
                      <a:gd name="T58" fmla="*/ 347 w 379"/>
                      <a:gd name="T59" fmla="*/ 244 h 910"/>
                      <a:gd name="T60" fmla="*/ 316 w 379"/>
                      <a:gd name="T61" fmla="*/ 181 h 910"/>
                      <a:gd name="T62" fmla="*/ 290 w 379"/>
                      <a:gd name="T63" fmla="*/ 134 h 910"/>
                      <a:gd name="T64" fmla="*/ 244 w 379"/>
                      <a:gd name="T65" fmla="*/ 117 h 910"/>
                      <a:gd name="T66" fmla="*/ 226 w 379"/>
                      <a:gd name="T67" fmla="*/ 100 h 910"/>
                      <a:gd name="T68" fmla="*/ 230 w 379"/>
                      <a:gd name="T69" fmla="*/ 63 h 910"/>
                      <a:gd name="T70" fmla="*/ 220 w 379"/>
                      <a:gd name="T71" fmla="*/ 29 h 910"/>
                      <a:gd name="T72" fmla="*/ 205 w 379"/>
                      <a:gd name="T73" fmla="*/ 13 h 910"/>
                      <a:gd name="T74" fmla="*/ 182 w 379"/>
                      <a:gd name="T75" fmla="*/ 4 h 910"/>
                      <a:gd name="T76" fmla="*/ 156 w 379"/>
                      <a:gd name="T77" fmla="*/ 0 h 910"/>
                      <a:gd name="T78" fmla="*/ 139 w 379"/>
                      <a:gd name="T79" fmla="*/ 3 h 910"/>
                      <a:gd name="T80" fmla="*/ 127 w 379"/>
                      <a:gd name="T81" fmla="*/ 14 h 910"/>
                      <a:gd name="T82" fmla="*/ 114 w 379"/>
                      <a:gd name="T83" fmla="*/ 26 h 910"/>
                      <a:gd name="T84" fmla="*/ 100 w 379"/>
                      <a:gd name="T85" fmla="*/ 42 h 910"/>
                      <a:gd name="T86" fmla="*/ 94 w 379"/>
                      <a:gd name="T87" fmla="*/ 77 h 910"/>
                      <a:gd name="T88" fmla="*/ 101 w 379"/>
                      <a:gd name="T89" fmla="*/ 95 h 910"/>
                      <a:gd name="T90" fmla="*/ 111 w 379"/>
                      <a:gd name="T91" fmla="*/ 107 h 910"/>
                      <a:gd name="T92" fmla="*/ 122 w 379"/>
                      <a:gd name="T93" fmla="*/ 123 h 910"/>
                      <a:gd name="T94" fmla="*/ 102 w 379"/>
                      <a:gd name="T95" fmla="*/ 138 h 910"/>
                      <a:gd name="T96" fmla="*/ 67 w 379"/>
                      <a:gd name="T97" fmla="*/ 206 h 910"/>
                      <a:gd name="T98" fmla="*/ 37 w 379"/>
                      <a:gd name="T99" fmla="*/ 261 h 910"/>
                      <a:gd name="T100" fmla="*/ 16 w 379"/>
                      <a:gd name="T101" fmla="*/ 300 h 910"/>
                      <a:gd name="T102" fmla="*/ 5 w 379"/>
                      <a:gd name="T103" fmla="*/ 338 h 910"/>
                      <a:gd name="T104" fmla="*/ 13 w 379"/>
                      <a:gd name="T105" fmla="*/ 371 h 910"/>
                      <a:gd name="T106" fmla="*/ 194 w 379"/>
                      <a:gd name="T107" fmla="*/ 564 h 910"/>
                      <a:gd name="T108" fmla="*/ 192 w 379"/>
                      <a:gd name="T109" fmla="*/ 638 h 910"/>
                      <a:gd name="T110" fmla="*/ 186 w 379"/>
                      <a:gd name="T111" fmla="*/ 638 h 910"/>
                      <a:gd name="T112" fmla="*/ 181 w 379"/>
                      <a:gd name="T113" fmla="*/ 585 h 9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379" h="910">
                        <a:moveTo>
                          <a:pt x="13" y="371"/>
                        </a:moveTo>
                        <a:cubicBezTo>
                          <a:pt x="20" y="375"/>
                          <a:pt x="28" y="374"/>
                          <a:pt x="30" y="371"/>
                        </a:cubicBezTo>
                        <a:cubicBezTo>
                          <a:pt x="32" y="367"/>
                          <a:pt x="33" y="366"/>
                          <a:pt x="37" y="361"/>
                        </a:cubicBezTo>
                        <a:cubicBezTo>
                          <a:pt x="40" y="356"/>
                          <a:pt x="38" y="360"/>
                          <a:pt x="40" y="356"/>
                        </a:cubicBezTo>
                        <a:cubicBezTo>
                          <a:pt x="42" y="353"/>
                          <a:pt x="54" y="351"/>
                          <a:pt x="56" y="346"/>
                        </a:cubicBezTo>
                        <a:cubicBezTo>
                          <a:pt x="58" y="340"/>
                          <a:pt x="61" y="336"/>
                          <a:pt x="69" y="330"/>
                        </a:cubicBezTo>
                        <a:cubicBezTo>
                          <a:pt x="77" y="325"/>
                          <a:pt x="79" y="321"/>
                          <a:pt x="79" y="316"/>
                        </a:cubicBezTo>
                        <a:cubicBezTo>
                          <a:pt x="79" y="311"/>
                          <a:pt x="75" y="307"/>
                          <a:pt x="76" y="304"/>
                        </a:cubicBezTo>
                        <a:cubicBezTo>
                          <a:pt x="77" y="301"/>
                          <a:pt x="81" y="294"/>
                          <a:pt x="88" y="284"/>
                        </a:cubicBezTo>
                        <a:cubicBezTo>
                          <a:pt x="95" y="275"/>
                          <a:pt x="100" y="263"/>
                          <a:pt x="100" y="263"/>
                        </a:cubicBezTo>
                        <a:cubicBezTo>
                          <a:pt x="100" y="263"/>
                          <a:pt x="103" y="277"/>
                          <a:pt x="104" y="284"/>
                        </a:cubicBezTo>
                        <a:cubicBezTo>
                          <a:pt x="104" y="290"/>
                          <a:pt x="105" y="307"/>
                          <a:pt x="108" y="317"/>
                        </a:cubicBezTo>
                        <a:cubicBezTo>
                          <a:pt x="112" y="327"/>
                          <a:pt x="115" y="333"/>
                          <a:pt x="115" y="338"/>
                        </a:cubicBezTo>
                        <a:cubicBezTo>
                          <a:pt x="114" y="343"/>
                          <a:pt x="102" y="362"/>
                          <a:pt x="100" y="369"/>
                        </a:cubicBezTo>
                        <a:cubicBezTo>
                          <a:pt x="98" y="376"/>
                          <a:pt x="97" y="387"/>
                          <a:pt x="97" y="398"/>
                        </a:cubicBezTo>
                        <a:cubicBezTo>
                          <a:pt x="98" y="409"/>
                          <a:pt x="96" y="416"/>
                          <a:pt x="96" y="426"/>
                        </a:cubicBezTo>
                        <a:cubicBezTo>
                          <a:pt x="96" y="436"/>
                          <a:pt x="94" y="449"/>
                          <a:pt x="94" y="453"/>
                        </a:cubicBezTo>
                        <a:cubicBezTo>
                          <a:pt x="95" y="457"/>
                          <a:pt x="98" y="455"/>
                          <a:pt x="98" y="455"/>
                        </a:cubicBezTo>
                        <a:cubicBezTo>
                          <a:pt x="98" y="455"/>
                          <a:pt x="100" y="495"/>
                          <a:pt x="96" y="509"/>
                        </a:cubicBezTo>
                        <a:cubicBezTo>
                          <a:pt x="92" y="523"/>
                          <a:pt x="87" y="555"/>
                          <a:pt x="90" y="567"/>
                        </a:cubicBezTo>
                        <a:cubicBezTo>
                          <a:pt x="92" y="580"/>
                          <a:pt x="98" y="599"/>
                          <a:pt x="97" y="614"/>
                        </a:cubicBezTo>
                        <a:cubicBezTo>
                          <a:pt x="95" y="628"/>
                          <a:pt x="90" y="641"/>
                          <a:pt x="97" y="659"/>
                        </a:cubicBezTo>
                        <a:cubicBezTo>
                          <a:pt x="104" y="677"/>
                          <a:pt x="107" y="688"/>
                          <a:pt x="107" y="704"/>
                        </a:cubicBezTo>
                        <a:cubicBezTo>
                          <a:pt x="107" y="720"/>
                          <a:pt x="111" y="743"/>
                          <a:pt x="119" y="764"/>
                        </a:cubicBezTo>
                        <a:cubicBezTo>
                          <a:pt x="127" y="785"/>
                          <a:pt x="133" y="817"/>
                          <a:pt x="140" y="831"/>
                        </a:cubicBezTo>
                        <a:cubicBezTo>
                          <a:pt x="147" y="844"/>
                          <a:pt x="153" y="862"/>
                          <a:pt x="153" y="862"/>
                        </a:cubicBezTo>
                        <a:cubicBezTo>
                          <a:pt x="153" y="862"/>
                          <a:pt x="146" y="882"/>
                          <a:pt x="145" y="891"/>
                        </a:cubicBezTo>
                        <a:cubicBezTo>
                          <a:pt x="144" y="900"/>
                          <a:pt x="148" y="909"/>
                          <a:pt x="161" y="910"/>
                        </a:cubicBezTo>
                        <a:cubicBezTo>
                          <a:pt x="174" y="910"/>
                          <a:pt x="191" y="900"/>
                          <a:pt x="197" y="894"/>
                        </a:cubicBezTo>
                        <a:cubicBezTo>
                          <a:pt x="202" y="888"/>
                          <a:pt x="206" y="884"/>
                          <a:pt x="206" y="884"/>
                        </a:cubicBezTo>
                        <a:cubicBezTo>
                          <a:pt x="206" y="884"/>
                          <a:pt x="205" y="892"/>
                          <a:pt x="211" y="895"/>
                        </a:cubicBezTo>
                        <a:cubicBezTo>
                          <a:pt x="216" y="898"/>
                          <a:pt x="244" y="897"/>
                          <a:pt x="248" y="897"/>
                        </a:cubicBezTo>
                        <a:cubicBezTo>
                          <a:pt x="252" y="897"/>
                          <a:pt x="255" y="895"/>
                          <a:pt x="257" y="890"/>
                        </a:cubicBezTo>
                        <a:cubicBezTo>
                          <a:pt x="258" y="885"/>
                          <a:pt x="258" y="885"/>
                          <a:pt x="258" y="885"/>
                        </a:cubicBezTo>
                        <a:cubicBezTo>
                          <a:pt x="255" y="878"/>
                          <a:pt x="255" y="878"/>
                          <a:pt x="255" y="878"/>
                        </a:cubicBezTo>
                        <a:cubicBezTo>
                          <a:pt x="255" y="878"/>
                          <a:pt x="259" y="871"/>
                          <a:pt x="257" y="859"/>
                        </a:cubicBezTo>
                        <a:cubicBezTo>
                          <a:pt x="255" y="847"/>
                          <a:pt x="259" y="834"/>
                          <a:pt x="260" y="828"/>
                        </a:cubicBezTo>
                        <a:cubicBezTo>
                          <a:pt x="261" y="821"/>
                          <a:pt x="277" y="759"/>
                          <a:pt x="276" y="728"/>
                        </a:cubicBezTo>
                        <a:cubicBezTo>
                          <a:pt x="275" y="698"/>
                          <a:pt x="285" y="638"/>
                          <a:pt x="285" y="618"/>
                        </a:cubicBezTo>
                        <a:cubicBezTo>
                          <a:pt x="285" y="598"/>
                          <a:pt x="299" y="538"/>
                          <a:pt x="304" y="508"/>
                        </a:cubicBezTo>
                        <a:cubicBezTo>
                          <a:pt x="308" y="478"/>
                          <a:pt x="310" y="445"/>
                          <a:pt x="309" y="443"/>
                        </a:cubicBezTo>
                        <a:cubicBezTo>
                          <a:pt x="308" y="441"/>
                          <a:pt x="312" y="446"/>
                          <a:pt x="316" y="446"/>
                        </a:cubicBezTo>
                        <a:cubicBezTo>
                          <a:pt x="320" y="447"/>
                          <a:pt x="323" y="449"/>
                          <a:pt x="321" y="444"/>
                        </a:cubicBezTo>
                        <a:cubicBezTo>
                          <a:pt x="318" y="440"/>
                          <a:pt x="324" y="428"/>
                          <a:pt x="323" y="416"/>
                        </a:cubicBezTo>
                        <a:cubicBezTo>
                          <a:pt x="322" y="403"/>
                          <a:pt x="319" y="395"/>
                          <a:pt x="315" y="385"/>
                        </a:cubicBezTo>
                        <a:cubicBezTo>
                          <a:pt x="311" y="375"/>
                          <a:pt x="309" y="358"/>
                          <a:pt x="304" y="344"/>
                        </a:cubicBezTo>
                        <a:cubicBezTo>
                          <a:pt x="300" y="330"/>
                          <a:pt x="300" y="320"/>
                          <a:pt x="300" y="302"/>
                        </a:cubicBezTo>
                        <a:cubicBezTo>
                          <a:pt x="300" y="284"/>
                          <a:pt x="300" y="267"/>
                          <a:pt x="300" y="267"/>
                        </a:cubicBezTo>
                        <a:cubicBezTo>
                          <a:pt x="300" y="267"/>
                          <a:pt x="307" y="286"/>
                          <a:pt x="305" y="296"/>
                        </a:cubicBezTo>
                        <a:cubicBezTo>
                          <a:pt x="304" y="307"/>
                          <a:pt x="314" y="319"/>
                          <a:pt x="315" y="323"/>
                        </a:cubicBezTo>
                        <a:cubicBezTo>
                          <a:pt x="317" y="326"/>
                          <a:pt x="314" y="332"/>
                          <a:pt x="313" y="334"/>
                        </a:cubicBezTo>
                        <a:cubicBezTo>
                          <a:pt x="312" y="337"/>
                          <a:pt x="314" y="354"/>
                          <a:pt x="327" y="358"/>
                        </a:cubicBezTo>
                        <a:cubicBezTo>
                          <a:pt x="341" y="363"/>
                          <a:pt x="350" y="357"/>
                          <a:pt x="351" y="355"/>
                        </a:cubicBezTo>
                        <a:cubicBezTo>
                          <a:pt x="353" y="353"/>
                          <a:pt x="362" y="343"/>
                          <a:pt x="364" y="338"/>
                        </a:cubicBezTo>
                        <a:cubicBezTo>
                          <a:pt x="367" y="334"/>
                          <a:pt x="373" y="331"/>
                          <a:pt x="372" y="326"/>
                        </a:cubicBezTo>
                        <a:cubicBezTo>
                          <a:pt x="372" y="321"/>
                          <a:pt x="373" y="311"/>
                          <a:pt x="376" y="304"/>
                        </a:cubicBezTo>
                        <a:cubicBezTo>
                          <a:pt x="379" y="296"/>
                          <a:pt x="378" y="293"/>
                          <a:pt x="372" y="286"/>
                        </a:cubicBezTo>
                        <a:cubicBezTo>
                          <a:pt x="366" y="280"/>
                          <a:pt x="364" y="274"/>
                          <a:pt x="362" y="264"/>
                        </a:cubicBezTo>
                        <a:cubicBezTo>
                          <a:pt x="360" y="253"/>
                          <a:pt x="354" y="248"/>
                          <a:pt x="351" y="247"/>
                        </a:cubicBezTo>
                        <a:cubicBezTo>
                          <a:pt x="348" y="245"/>
                          <a:pt x="347" y="244"/>
                          <a:pt x="347" y="244"/>
                        </a:cubicBezTo>
                        <a:cubicBezTo>
                          <a:pt x="344" y="238"/>
                          <a:pt x="331" y="214"/>
                          <a:pt x="325" y="205"/>
                        </a:cubicBezTo>
                        <a:cubicBezTo>
                          <a:pt x="320" y="196"/>
                          <a:pt x="318" y="187"/>
                          <a:pt x="316" y="181"/>
                        </a:cubicBezTo>
                        <a:cubicBezTo>
                          <a:pt x="314" y="176"/>
                          <a:pt x="307" y="156"/>
                          <a:pt x="305" y="151"/>
                        </a:cubicBezTo>
                        <a:cubicBezTo>
                          <a:pt x="302" y="146"/>
                          <a:pt x="294" y="138"/>
                          <a:pt x="290" y="134"/>
                        </a:cubicBezTo>
                        <a:cubicBezTo>
                          <a:pt x="285" y="129"/>
                          <a:pt x="271" y="120"/>
                          <a:pt x="264" y="119"/>
                        </a:cubicBezTo>
                        <a:cubicBezTo>
                          <a:pt x="256" y="118"/>
                          <a:pt x="244" y="117"/>
                          <a:pt x="244" y="117"/>
                        </a:cubicBezTo>
                        <a:cubicBezTo>
                          <a:pt x="244" y="117"/>
                          <a:pt x="243" y="113"/>
                          <a:pt x="238" y="110"/>
                        </a:cubicBezTo>
                        <a:cubicBezTo>
                          <a:pt x="232" y="106"/>
                          <a:pt x="226" y="100"/>
                          <a:pt x="226" y="100"/>
                        </a:cubicBezTo>
                        <a:cubicBezTo>
                          <a:pt x="226" y="100"/>
                          <a:pt x="232" y="90"/>
                          <a:pt x="231" y="81"/>
                        </a:cubicBezTo>
                        <a:cubicBezTo>
                          <a:pt x="229" y="73"/>
                          <a:pt x="228" y="71"/>
                          <a:pt x="230" y="63"/>
                        </a:cubicBezTo>
                        <a:cubicBezTo>
                          <a:pt x="231" y="56"/>
                          <a:pt x="229" y="47"/>
                          <a:pt x="226" y="40"/>
                        </a:cubicBezTo>
                        <a:cubicBezTo>
                          <a:pt x="223" y="33"/>
                          <a:pt x="225" y="33"/>
                          <a:pt x="220" y="29"/>
                        </a:cubicBezTo>
                        <a:cubicBezTo>
                          <a:pt x="214" y="24"/>
                          <a:pt x="212" y="26"/>
                          <a:pt x="211" y="21"/>
                        </a:cubicBezTo>
                        <a:cubicBezTo>
                          <a:pt x="209" y="17"/>
                          <a:pt x="210" y="16"/>
                          <a:pt x="205" y="13"/>
                        </a:cubicBezTo>
                        <a:cubicBezTo>
                          <a:pt x="201" y="10"/>
                          <a:pt x="198" y="9"/>
                          <a:pt x="198" y="9"/>
                        </a:cubicBezTo>
                        <a:cubicBezTo>
                          <a:pt x="198" y="9"/>
                          <a:pt x="188" y="4"/>
                          <a:pt x="182" y="4"/>
                        </a:cubicBezTo>
                        <a:cubicBezTo>
                          <a:pt x="177" y="3"/>
                          <a:pt x="174" y="4"/>
                          <a:pt x="170" y="3"/>
                        </a:cubicBezTo>
                        <a:cubicBezTo>
                          <a:pt x="165" y="2"/>
                          <a:pt x="158" y="0"/>
                          <a:pt x="156" y="0"/>
                        </a:cubicBezTo>
                        <a:cubicBezTo>
                          <a:pt x="154" y="1"/>
                          <a:pt x="154" y="1"/>
                          <a:pt x="154" y="1"/>
                        </a:cubicBezTo>
                        <a:cubicBezTo>
                          <a:pt x="154" y="1"/>
                          <a:pt x="142" y="0"/>
                          <a:pt x="139" y="3"/>
                        </a:cubicBezTo>
                        <a:cubicBezTo>
                          <a:pt x="135" y="6"/>
                          <a:pt x="135" y="6"/>
                          <a:pt x="135" y="6"/>
                        </a:cubicBezTo>
                        <a:cubicBezTo>
                          <a:pt x="135" y="6"/>
                          <a:pt x="130" y="10"/>
                          <a:pt x="127" y="14"/>
                        </a:cubicBezTo>
                        <a:cubicBezTo>
                          <a:pt x="124" y="17"/>
                          <a:pt x="124" y="20"/>
                          <a:pt x="124" y="20"/>
                        </a:cubicBezTo>
                        <a:cubicBezTo>
                          <a:pt x="124" y="20"/>
                          <a:pt x="117" y="23"/>
                          <a:pt x="114" y="26"/>
                        </a:cubicBezTo>
                        <a:cubicBezTo>
                          <a:pt x="112" y="29"/>
                          <a:pt x="111" y="32"/>
                          <a:pt x="111" y="32"/>
                        </a:cubicBezTo>
                        <a:cubicBezTo>
                          <a:pt x="111" y="32"/>
                          <a:pt x="103" y="36"/>
                          <a:pt x="100" y="42"/>
                        </a:cubicBezTo>
                        <a:cubicBezTo>
                          <a:pt x="97" y="48"/>
                          <a:pt x="94" y="57"/>
                          <a:pt x="92" y="60"/>
                        </a:cubicBezTo>
                        <a:cubicBezTo>
                          <a:pt x="90" y="63"/>
                          <a:pt x="93" y="71"/>
                          <a:pt x="94" y="77"/>
                        </a:cubicBezTo>
                        <a:cubicBezTo>
                          <a:pt x="94" y="82"/>
                          <a:pt x="97" y="87"/>
                          <a:pt x="97" y="87"/>
                        </a:cubicBezTo>
                        <a:cubicBezTo>
                          <a:pt x="97" y="87"/>
                          <a:pt x="100" y="93"/>
                          <a:pt x="101" y="95"/>
                        </a:cubicBezTo>
                        <a:cubicBezTo>
                          <a:pt x="103" y="97"/>
                          <a:pt x="108" y="97"/>
                          <a:pt x="108" y="97"/>
                        </a:cubicBezTo>
                        <a:cubicBezTo>
                          <a:pt x="108" y="97"/>
                          <a:pt x="111" y="104"/>
                          <a:pt x="111" y="107"/>
                        </a:cubicBezTo>
                        <a:cubicBezTo>
                          <a:pt x="112" y="111"/>
                          <a:pt x="115" y="111"/>
                          <a:pt x="118" y="113"/>
                        </a:cubicBezTo>
                        <a:cubicBezTo>
                          <a:pt x="120" y="115"/>
                          <a:pt x="119" y="119"/>
                          <a:pt x="122" y="123"/>
                        </a:cubicBezTo>
                        <a:cubicBezTo>
                          <a:pt x="125" y="126"/>
                          <a:pt x="125" y="126"/>
                          <a:pt x="125" y="126"/>
                        </a:cubicBezTo>
                        <a:cubicBezTo>
                          <a:pt x="125" y="126"/>
                          <a:pt x="107" y="131"/>
                          <a:pt x="102" y="138"/>
                        </a:cubicBezTo>
                        <a:cubicBezTo>
                          <a:pt x="97" y="144"/>
                          <a:pt x="87" y="161"/>
                          <a:pt x="85" y="169"/>
                        </a:cubicBezTo>
                        <a:cubicBezTo>
                          <a:pt x="82" y="177"/>
                          <a:pt x="72" y="197"/>
                          <a:pt x="67" y="206"/>
                        </a:cubicBezTo>
                        <a:cubicBezTo>
                          <a:pt x="62" y="214"/>
                          <a:pt x="50" y="236"/>
                          <a:pt x="48" y="243"/>
                        </a:cubicBezTo>
                        <a:cubicBezTo>
                          <a:pt x="45" y="250"/>
                          <a:pt x="41" y="260"/>
                          <a:pt x="37" y="261"/>
                        </a:cubicBezTo>
                        <a:cubicBezTo>
                          <a:pt x="33" y="263"/>
                          <a:pt x="25" y="264"/>
                          <a:pt x="23" y="273"/>
                        </a:cubicBezTo>
                        <a:cubicBezTo>
                          <a:pt x="20" y="282"/>
                          <a:pt x="20" y="292"/>
                          <a:pt x="16" y="300"/>
                        </a:cubicBezTo>
                        <a:cubicBezTo>
                          <a:pt x="12" y="307"/>
                          <a:pt x="7" y="323"/>
                          <a:pt x="7" y="328"/>
                        </a:cubicBezTo>
                        <a:cubicBezTo>
                          <a:pt x="6" y="334"/>
                          <a:pt x="5" y="338"/>
                          <a:pt x="5" y="338"/>
                        </a:cubicBezTo>
                        <a:cubicBezTo>
                          <a:pt x="5" y="338"/>
                          <a:pt x="2" y="350"/>
                          <a:pt x="1" y="354"/>
                        </a:cubicBezTo>
                        <a:cubicBezTo>
                          <a:pt x="0" y="359"/>
                          <a:pt x="6" y="368"/>
                          <a:pt x="13" y="371"/>
                        </a:cubicBezTo>
                        <a:close/>
                        <a:moveTo>
                          <a:pt x="181" y="585"/>
                        </a:moveTo>
                        <a:cubicBezTo>
                          <a:pt x="182" y="575"/>
                          <a:pt x="194" y="564"/>
                          <a:pt x="194" y="564"/>
                        </a:cubicBezTo>
                        <a:cubicBezTo>
                          <a:pt x="194" y="564"/>
                          <a:pt x="196" y="599"/>
                          <a:pt x="194" y="610"/>
                        </a:cubicBezTo>
                        <a:cubicBezTo>
                          <a:pt x="191" y="621"/>
                          <a:pt x="192" y="631"/>
                          <a:pt x="192" y="638"/>
                        </a:cubicBezTo>
                        <a:cubicBezTo>
                          <a:pt x="192" y="645"/>
                          <a:pt x="192" y="655"/>
                          <a:pt x="192" y="655"/>
                        </a:cubicBezTo>
                        <a:cubicBezTo>
                          <a:pt x="192" y="655"/>
                          <a:pt x="189" y="641"/>
                          <a:pt x="186" y="638"/>
                        </a:cubicBezTo>
                        <a:cubicBezTo>
                          <a:pt x="183" y="636"/>
                          <a:pt x="181" y="634"/>
                          <a:pt x="182" y="623"/>
                        </a:cubicBezTo>
                        <a:cubicBezTo>
                          <a:pt x="183" y="613"/>
                          <a:pt x="181" y="595"/>
                          <a:pt x="181" y="585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5" name="Freeform 160"/>
                  <p:cNvSpPr>
                    <a:spLocks/>
                  </p:cNvSpPr>
                  <p:nvPr/>
                </p:nvSpPr>
                <p:spPr bwMode="auto">
                  <a:xfrm>
                    <a:off x="4054475" y="4119563"/>
                    <a:ext cx="15875" cy="12700"/>
                  </a:xfrm>
                  <a:custGeom>
                    <a:avLst/>
                    <a:gdLst>
                      <a:gd name="T0" fmla="*/ 8 w 41"/>
                      <a:gd name="T1" fmla="*/ 0 h 32"/>
                      <a:gd name="T2" fmla="*/ 2 w 41"/>
                      <a:gd name="T3" fmla="*/ 13 h 32"/>
                      <a:gd name="T4" fmla="*/ 3 w 41"/>
                      <a:gd name="T5" fmla="*/ 26 h 32"/>
                      <a:gd name="T6" fmla="*/ 10 w 41"/>
                      <a:gd name="T7" fmla="*/ 29 h 32"/>
                      <a:gd name="T8" fmla="*/ 18 w 41"/>
                      <a:gd name="T9" fmla="*/ 31 h 32"/>
                      <a:gd name="T10" fmla="*/ 28 w 41"/>
                      <a:gd name="T11" fmla="*/ 29 h 32"/>
                      <a:gd name="T12" fmla="*/ 41 w 41"/>
                      <a:gd name="T13" fmla="*/ 12 h 32"/>
                      <a:gd name="T14" fmla="*/ 8 w 41"/>
                      <a:gd name="T15" fmla="*/ 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1" h="32">
                        <a:moveTo>
                          <a:pt x="8" y="0"/>
                        </a:moveTo>
                        <a:cubicBezTo>
                          <a:pt x="8" y="0"/>
                          <a:pt x="4" y="9"/>
                          <a:pt x="2" y="13"/>
                        </a:cubicBezTo>
                        <a:cubicBezTo>
                          <a:pt x="0" y="17"/>
                          <a:pt x="3" y="24"/>
                          <a:pt x="3" y="26"/>
                        </a:cubicBezTo>
                        <a:cubicBezTo>
                          <a:pt x="3" y="28"/>
                          <a:pt x="8" y="28"/>
                          <a:pt x="10" y="29"/>
                        </a:cubicBezTo>
                        <a:cubicBezTo>
                          <a:pt x="13" y="29"/>
                          <a:pt x="14" y="30"/>
                          <a:pt x="18" y="31"/>
                        </a:cubicBezTo>
                        <a:cubicBezTo>
                          <a:pt x="22" y="31"/>
                          <a:pt x="24" y="32"/>
                          <a:pt x="28" y="29"/>
                        </a:cubicBezTo>
                        <a:cubicBezTo>
                          <a:pt x="31" y="25"/>
                          <a:pt x="41" y="12"/>
                          <a:pt x="41" y="12"/>
                        </a:cubicBez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6" name="Freeform 161"/>
                  <p:cNvSpPr>
                    <a:spLocks/>
                  </p:cNvSpPr>
                  <p:nvPr/>
                </p:nvSpPr>
                <p:spPr bwMode="auto">
                  <a:xfrm>
                    <a:off x="3973513" y="4024313"/>
                    <a:ext cx="9525" cy="11113"/>
                  </a:xfrm>
                  <a:custGeom>
                    <a:avLst/>
                    <a:gdLst>
                      <a:gd name="T0" fmla="*/ 7 w 24"/>
                      <a:gd name="T1" fmla="*/ 0 h 28"/>
                      <a:gd name="T2" fmla="*/ 3 w 24"/>
                      <a:gd name="T3" fmla="*/ 13 h 28"/>
                      <a:gd name="T4" fmla="*/ 6 w 24"/>
                      <a:gd name="T5" fmla="*/ 24 h 28"/>
                      <a:gd name="T6" fmla="*/ 18 w 24"/>
                      <a:gd name="T7" fmla="*/ 27 h 28"/>
                      <a:gd name="T8" fmla="*/ 24 w 24"/>
                      <a:gd name="T9" fmla="*/ 14 h 28"/>
                      <a:gd name="T10" fmla="*/ 7 w 24"/>
                      <a:gd name="T11" fmla="*/ 0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4" h="28">
                        <a:moveTo>
                          <a:pt x="7" y="0"/>
                        </a:moveTo>
                        <a:cubicBezTo>
                          <a:pt x="3" y="13"/>
                          <a:pt x="3" y="13"/>
                          <a:pt x="3" y="13"/>
                        </a:cubicBezTo>
                        <a:cubicBezTo>
                          <a:pt x="3" y="13"/>
                          <a:pt x="0" y="20"/>
                          <a:pt x="6" y="24"/>
                        </a:cubicBezTo>
                        <a:cubicBezTo>
                          <a:pt x="13" y="28"/>
                          <a:pt x="18" y="28"/>
                          <a:pt x="18" y="27"/>
                        </a:cubicBezTo>
                        <a:cubicBezTo>
                          <a:pt x="18" y="25"/>
                          <a:pt x="24" y="14"/>
                          <a:pt x="24" y="14"/>
                        </a:cubicBezTo>
                        <a:lnTo>
                          <a:pt x="7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7" name="Freeform 162"/>
                  <p:cNvSpPr>
                    <a:spLocks/>
                  </p:cNvSpPr>
                  <p:nvPr/>
                </p:nvSpPr>
                <p:spPr bwMode="auto">
                  <a:xfrm>
                    <a:off x="4097338" y="3994150"/>
                    <a:ext cx="28575" cy="19050"/>
                  </a:xfrm>
                  <a:custGeom>
                    <a:avLst/>
                    <a:gdLst>
                      <a:gd name="T0" fmla="*/ 70 w 70"/>
                      <a:gd name="T1" fmla="*/ 7 h 45"/>
                      <a:gd name="T2" fmla="*/ 65 w 70"/>
                      <a:gd name="T3" fmla="*/ 1 h 45"/>
                      <a:gd name="T4" fmla="*/ 15 w 70"/>
                      <a:gd name="T5" fmla="*/ 18 h 45"/>
                      <a:gd name="T6" fmla="*/ 0 w 70"/>
                      <a:gd name="T7" fmla="*/ 45 h 45"/>
                      <a:gd name="T8" fmla="*/ 10 w 70"/>
                      <a:gd name="T9" fmla="*/ 41 h 45"/>
                      <a:gd name="T10" fmla="*/ 37 w 70"/>
                      <a:gd name="T11" fmla="*/ 14 h 45"/>
                      <a:gd name="T12" fmla="*/ 62 w 70"/>
                      <a:gd name="T13" fmla="*/ 7 h 45"/>
                      <a:gd name="T14" fmla="*/ 70 w 70"/>
                      <a:gd name="T15" fmla="*/ 7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70" h="45">
                        <a:moveTo>
                          <a:pt x="70" y="7"/>
                        </a:moveTo>
                        <a:cubicBezTo>
                          <a:pt x="70" y="7"/>
                          <a:pt x="70" y="2"/>
                          <a:pt x="65" y="1"/>
                        </a:cubicBezTo>
                        <a:cubicBezTo>
                          <a:pt x="60" y="0"/>
                          <a:pt x="28" y="5"/>
                          <a:pt x="15" y="18"/>
                        </a:cubicBezTo>
                        <a:cubicBezTo>
                          <a:pt x="3" y="32"/>
                          <a:pt x="0" y="45"/>
                          <a:pt x="0" y="45"/>
                        </a:cubicBezTo>
                        <a:cubicBezTo>
                          <a:pt x="10" y="41"/>
                          <a:pt x="10" y="41"/>
                          <a:pt x="10" y="41"/>
                        </a:cubicBezTo>
                        <a:cubicBezTo>
                          <a:pt x="10" y="41"/>
                          <a:pt x="25" y="20"/>
                          <a:pt x="37" y="14"/>
                        </a:cubicBezTo>
                        <a:cubicBezTo>
                          <a:pt x="48" y="8"/>
                          <a:pt x="57" y="7"/>
                          <a:pt x="62" y="7"/>
                        </a:cubicBezTo>
                        <a:cubicBezTo>
                          <a:pt x="68" y="7"/>
                          <a:pt x="70" y="7"/>
                          <a:pt x="70" y="7"/>
                        </a:cubicBezTo>
                        <a:close/>
                      </a:path>
                    </a:pathLst>
                  </a:custGeom>
                  <a:solidFill>
                    <a:srgbClr val="F5F5F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8" name="Freeform 163"/>
                  <p:cNvSpPr>
                    <a:spLocks/>
                  </p:cNvSpPr>
                  <p:nvPr/>
                </p:nvSpPr>
                <p:spPr bwMode="auto">
                  <a:xfrm>
                    <a:off x="4071938" y="3986213"/>
                    <a:ext cx="7938" cy="11113"/>
                  </a:xfrm>
                  <a:custGeom>
                    <a:avLst/>
                    <a:gdLst>
                      <a:gd name="T0" fmla="*/ 15 w 21"/>
                      <a:gd name="T1" fmla="*/ 0 h 25"/>
                      <a:gd name="T2" fmla="*/ 2 w 21"/>
                      <a:gd name="T3" fmla="*/ 8 h 25"/>
                      <a:gd name="T4" fmla="*/ 1 w 21"/>
                      <a:gd name="T5" fmla="*/ 11 h 25"/>
                      <a:gd name="T6" fmla="*/ 10 w 21"/>
                      <a:gd name="T7" fmla="*/ 20 h 25"/>
                      <a:gd name="T8" fmla="*/ 20 w 21"/>
                      <a:gd name="T9" fmla="*/ 22 h 25"/>
                      <a:gd name="T10" fmla="*/ 15 w 21"/>
                      <a:gd name="T11" fmla="*/ 0 h 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1" h="25">
                        <a:moveTo>
                          <a:pt x="15" y="0"/>
                        </a:moveTo>
                        <a:cubicBezTo>
                          <a:pt x="2" y="8"/>
                          <a:pt x="2" y="8"/>
                          <a:pt x="2" y="8"/>
                        </a:cubicBezTo>
                        <a:cubicBezTo>
                          <a:pt x="2" y="8"/>
                          <a:pt x="0" y="10"/>
                          <a:pt x="1" y="11"/>
                        </a:cubicBezTo>
                        <a:cubicBezTo>
                          <a:pt x="1" y="12"/>
                          <a:pt x="7" y="18"/>
                          <a:pt x="10" y="20"/>
                        </a:cubicBezTo>
                        <a:cubicBezTo>
                          <a:pt x="12" y="21"/>
                          <a:pt x="18" y="25"/>
                          <a:pt x="20" y="22"/>
                        </a:cubicBezTo>
                        <a:cubicBezTo>
                          <a:pt x="21" y="18"/>
                          <a:pt x="15" y="0"/>
                          <a:pt x="15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99" name="Freeform 164"/>
                  <p:cNvSpPr>
                    <a:spLocks/>
                  </p:cNvSpPr>
                  <p:nvPr/>
                </p:nvSpPr>
                <p:spPr bwMode="auto">
                  <a:xfrm>
                    <a:off x="3043238" y="4156075"/>
                    <a:ext cx="74613" cy="185738"/>
                  </a:xfrm>
                  <a:custGeom>
                    <a:avLst/>
                    <a:gdLst>
                      <a:gd name="T0" fmla="*/ 181 w 190"/>
                      <a:gd name="T1" fmla="*/ 76 h 467"/>
                      <a:gd name="T2" fmla="*/ 190 w 190"/>
                      <a:gd name="T3" fmla="*/ 14 h 467"/>
                      <a:gd name="T4" fmla="*/ 0 w 190"/>
                      <a:gd name="T5" fmla="*/ 18 h 467"/>
                      <a:gd name="T6" fmla="*/ 5 w 190"/>
                      <a:gd name="T7" fmla="*/ 45 h 467"/>
                      <a:gd name="T8" fmla="*/ 33 w 190"/>
                      <a:gd name="T9" fmla="*/ 133 h 467"/>
                      <a:gd name="T10" fmla="*/ 64 w 190"/>
                      <a:gd name="T11" fmla="*/ 275 h 467"/>
                      <a:gd name="T12" fmla="*/ 80 w 190"/>
                      <a:gd name="T13" fmla="*/ 380 h 467"/>
                      <a:gd name="T14" fmla="*/ 93 w 190"/>
                      <a:gd name="T15" fmla="*/ 441 h 467"/>
                      <a:gd name="T16" fmla="*/ 84 w 190"/>
                      <a:gd name="T17" fmla="*/ 446 h 467"/>
                      <a:gd name="T18" fmla="*/ 78 w 190"/>
                      <a:gd name="T19" fmla="*/ 456 h 467"/>
                      <a:gd name="T20" fmla="*/ 80 w 190"/>
                      <a:gd name="T21" fmla="*/ 464 h 467"/>
                      <a:gd name="T22" fmla="*/ 104 w 190"/>
                      <a:gd name="T23" fmla="*/ 467 h 467"/>
                      <a:gd name="T24" fmla="*/ 162 w 190"/>
                      <a:gd name="T25" fmla="*/ 464 h 467"/>
                      <a:gd name="T26" fmla="*/ 173 w 190"/>
                      <a:gd name="T27" fmla="*/ 460 h 467"/>
                      <a:gd name="T28" fmla="*/ 173 w 190"/>
                      <a:gd name="T29" fmla="*/ 453 h 467"/>
                      <a:gd name="T30" fmla="*/ 174 w 190"/>
                      <a:gd name="T31" fmla="*/ 449 h 467"/>
                      <a:gd name="T32" fmla="*/ 167 w 190"/>
                      <a:gd name="T33" fmla="*/ 420 h 467"/>
                      <a:gd name="T34" fmla="*/ 162 w 190"/>
                      <a:gd name="T35" fmla="*/ 403 h 467"/>
                      <a:gd name="T36" fmla="*/ 163 w 190"/>
                      <a:gd name="T37" fmla="*/ 331 h 467"/>
                      <a:gd name="T38" fmla="*/ 158 w 190"/>
                      <a:gd name="T39" fmla="*/ 244 h 467"/>
                      <a:gd name="T40" fmla="*/ 157 w 190"/>
                      <a:gd name="T41" fmla="*/ 170 h 467"/>
                      <a:gd name="T42" fmla="*/ 181 w 190"/>
                      <a:gd name="T43" fmla="*/ 76 h 4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190" h="467">
                        <a:moveTo>
                          <a:pt x="181" y="76"/>
                        </a:moveTo>
                        <a:cubicBezTo>
                          <a:pt x="186" y="62"/>
                          <a:pt x="189" y="36"/>
                          <a:pt x="190" y="14"/>
                        </a:cubicBezTo>
                        <a:cubicBezTo>
                          <a:pt x="128" y="0"/>
                          <a:pt x="58" y="0"/>
                          <a:pt x="0" y="18"/>
                        </a:cubicBezTo>
                        <a:cubicBezTo>
                          <a:pt x="1" y="26"/>
                          <a:pt x="3" y="37"/>
                          <a:pt x="5" y="45"/>
                        </a:cubicBezTo>
                        <a:cubicBezTo>
                          <a:pt x="8" y="62"/>
                          <a:pt x="21" y="93"/>
                          <a:pt x="33" y="133"/>
                        </a:cubicBezTo>
                        <a:cubicBezTo>
                          <a:pt x="45" y="173"/>
                          <a:pt x="59" y="244"/>
                          <a:pt x="64" y="275"/>
                        </a:cubicBezTo>
                        <a:cubicBezTo>
                          <a:pt x="70" y="307"/>
                          <a:pt x="75" y="347"/>
                          <a:pt x="80" y="380"/>
                        </a:cubicBezTo>
                        <a:cubicBezTo>
                          <a:pt x="85" y="413"/>
                          <a:pt x="93" y="441"/>
                          <a:pt x="93" y="441"/>
                        </a:cubicBezTo>
                        <a:cubicBezTo>
                          <a:pt x="93" y="441"/>
                          <a:pt x="88" y="443"/>
                          <a:pt x="84" y="446"/>
                        </a:cubicBezTo>
                        <a:cubicBezTo>
                          <a:pt x="80" y="449"/>
                          <a:pt x="78" y="456"/>
                          <a:pt x="78" y="456"/>
                        </a:cubicBezTo>
                        <a:cubicBezTo>
                          <a:pt x="78" y="456"/>
                          <a:pt x="76" y="463"/>
                          <a:pt x="80" y="464"/>
                        </a:cubicBezTo>
                        <a:cubicBezTo>
                          <a:pt x="85" y="465"/>
                          <a:pt x="93" y="466"/>
                          <a:pt x="104" y="467"/>
                        </a:cubicBezTo>
                        <a:cubicBezTo>
                          <a:pt x="116" y="467"/>
                          <a:pt x="152" y="465"/>
                          <a:pt x="162" y="464"/>
                        </a:cubicBezTo>
                        <a:cubicBezTo>
                          <a:pt x="171" y="463"/>
                          <a:pt x="173" y="462"/>
                          <a:pt x="173" y="460"/>
                        </a:cubicBezTo>
                        <a:cubicBezTo>
                          <a:pt x="174" y="458"/>
                          <a:pt x="173" y="453"/>
                          <a:pt x="173" y="453"/>
                        </a:cubicBezTo>
                        <a:cubicBezTo>
                          <a:pt x="173" y="453"/>
                          <a:pt x="175" y="452"/>
                          <a:pt x="174" y="449"/>
                        </a:cubicBezTo>
                        <a:cubicBezTo>
                          <a:pt x="174" y="446"/>
                          <a:pt x="169" y="427"/>
                          <a:pt x="167" y="420"/>
                        </a:cubicBezTo>
                        <a:cubicBezTo>
                          <a:pt x="165" y="412"/>
                          <a:pt x="163" y="408"/>
                          <a:pt x="162" y="403"/>
                        </a:cubicBezTo>
                        <a:cubicBezTo>
                          <a:pt x="162" y="397"/>
                          <a:pt x="164" y="356"/>
                          <a:pt x="163" y="331"/>
                        </a:cubicBezTo>
                        <a:cubicBezTo>
                          <a:pt x="163" y="306"/>
                          <a:pt x="161" y="267"/>
                          <a:pt x="158" y="244"/>
                        </a:cubicBezTo>
                        <a:cubicBezTo>
                          <a:pt x="156" y="221"/>
                          <a:pt x="156" y="183"/>
                          <a:pt x="157" y="170"/>
                        </a:cubicBezTo>
                        <a:cubicBezTo>
                          <a:pt x="158" y="154"/>
                          <a:pt x="175" y="95"/>
                          <a:pt x="181" y="7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0" name="Freeform 165"/>
                  <p:cNvSpPr>
                    <a:spLocks/>
                  </p:cNvSpPr>
                  <p:nvPr/>
                </p:nvSpPr>
                <p:spPr bwMode="auto">
                  <a:xfrm>
                    <a:off x="3100388" y="4052888"/>
                    <a:ext cx="71438" cy="112713"/>
                  </a:xfrm>
                  <a:custGeom>
                    <a:avLst/>
                    <a:gdLst>
                      <a:gd name="T0" fmla="*/ 0 w 180"/>
                      <a:gd name="T1" fmla="*/ 33 h 286"/>
                      <a:gd name="T2" fmla="*/ 17 w 180"/>
                      <a:gd name="T3" fmla="*/ 77 h 286"/>
                      <a:gd name="T4" fmla="*/ 49 w 180"/>
                      <a:gd name="T5" fmla="*/ 132 h 286"/>
                      <a:gd name="T6" fmla="*/ 105 w 180"/>
                      <a:gd name="T7" fmla="*/ 202 h 286"/>
                      <a:gd name="T8" fmla="*/ 128 w 180"/>
                      <a:gd name="T9" fmla="*/ 239 h 286"/>
                      <a:gd name="T10" fmla="*/ 131 w 180"/>
                      <a:gd name="T11" fmla="*/ 263 h 286"/>
                      <a:gd name="T12" fmla="*/ 138 w 180"/>
                      <a:gd name="T13" fmla="*/ 275 h 286"/>
                      <a:gd name="T14" fmla="*/ 147 w 180"/>
                      <a:gd name="T15" fmla="*/ 276 h 286"/>
                      <a:gd name="T16" fmla="*/ 156 w 180"/>
                      <a:gd name="T17" fmla="*/ 281 h 286"/>
                      <a:gd name="T18" fmla="*/ 168 w 180"/>
                      <a:gd name="T19" fmla="*/ 285 h 286"/>
                      <a:gd name="T20" fmla="*/ 173 w 180"/>
                      <a:gd name="T21" fmla="*/ 282 h 286"/>
                      <a:gd name="T22" fmla="*/ 178 w 180"/>
                      <a:gd name="T23" fmla="*/ 279 h 286"/>
                      <a:gd name="T24" fmla="*/ 180 w 180"/>
                      <a:gd name="T25" fmla="*/ 270 h 286"/>
                      <a:gd name="T26" fmla="*/ 178 w 180"/>
                      <a:gd name="T27" fmla="*/ 256 h 286"/>
                      <a:gd name="T28" fmla="*/ 166 w 180"/>
                      <a:gd name="T29" fmla="*/ 234 h 286"/>
                      <a:gd name="T30" fmla="*/ 149 w 180"/>
                      <a:gd name="T31" fmla="*/ 217 h 286"/>
                      <a:gd name="T32" fmla="*/ 119 w 180"/>
                      <a:gd name="T33" fmla="*/ 161 h 286"/>
                      <a:gd name="T34" fmla="*/ 90 w 180"/>
                      <a:gd name="T35" fmla="*/ 107 h 286"/>
                      <a:gd name="T36" fmla="*/ 65 w 180"/>
                      <a:gd name="T37" fmla="*/ 69 h 286"/>
                      <a:gd name="T38" fmla="*/ 36 w 180"/>
                      <a:gd name="T39" fmla="*/ 0 h 286"/>
                      <a:gd name="T40" fmla="*/ 0 w 180"/>
                      <a:gd name="T41" fmla="*/ 33 h 2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80" h="286">
                        <a:moveTo>
                          <a:pt x="0" y="33"/>
                        </a:moveTo>
                        <a:cubicBezTo>
                          <a:pt x="0" y="33"/>
                          <a:pt x="5" y="54"/>
                          <a:pt x="17" y="77"/>
                        </a:cubicBezTo>
                        <a:cubicBezTo>
                          <a:pt x="30" y="102"/>
                          <a:pt x="42" y="119"/>
                          <a:pt x="49" y="132"/>
                        </a:cubicBezTo>
                        <a:cubicBezTo>
                          <a:pt x="56" y="144"/>
                          <a:pt x="90" y="185"/>
                          <a:pt x="105" y="202"/>
                        </a:cubicBezTo>
                        <a:cubicBezTo>
                          <a:pt x="119" y="219"/>
                          <a:pt x="126" y="232"/>
                          <a:pt x="128" y="239"/>
                        </a:cubicBezTo>
                        <a:cubicBezTo>
                          <a:pt x="129" y="246"/>
                          <a:pt x="129" y="255"/>
                          <a:pt x="131" y="263"/>
                        </a:cubicBezTo>
                        <a:cubicBezTo>
                          <a:pt x="133" y="271"/>
                          <a:pt x="134" y="274"/>
                          <a:pt x="138" y="275"/>
                        </a:cubicBezTo>
                        <a:cubicBezTo>
                          <a:pt x="141" y="276"/>
                          <a:pt x="147" y="276"/>
                          <a:pt x="147" y="276"/>
                        </a:cubicBezTo>
                        <a:cubicBezTo>
                          <a:pt x="147" y="276"/>
                          <a:pt x="151" y="278"/>
                          <a:pt x="156" y="281"/>
                        </a:cubicBezTo>
                        <a:cubicBezTo>
                          <a:pt x="161" y="284"/>
                          <a:pt x="165" y="286"/>
                          <a:pt x="168" y="285"/>
                        </a:cubicBezTo>
                        <a:cubicBezTo>
                          <a:pt x="171" y="284"/>
                          <a:pt x="173" y="282"/>
                          <a:pt x="173" y="282"/>
                        </a:cubicBezTo>
                        <a:cubicBezTo>
                          <a:pt x="173" y="282"/>
                          <a:pt x="176" y="281"/>
                          <a:pt x="178" y="279"/>
                        </a:cubicBezTo>
                        <a:cubicBezTo>
                          <a:pt x="179" y="277"/>
                          <a:pt x="180" y="273"/>
                          <a:pt x="180" y="270"/>
                        </a:cubicBezTo>
                        <a:cubicBezTo>
                          <a:pt x="179" y="266"/>
                          <a:pt x="179" y="262"/>
                          <a:pt x="178" y="256"/>
                        </a:cubicBezTo>
                        <a:cubicBezTo>
                          <a:pt x="177" y="250"/>
                          <a:pt x="173" y="241"/>
                          <a:pt x="166" y="234"/>
                        </a:cubicBezTo>
                        <a:cubicBezTo>
                          <a:pt x="158" y="228"/>
                          <a:pt x="151" y="221"/>
                          <a:pt x="149" y="217"/>
                        </a:cubicBezTo>
                        <a:cubicBezTo>
                          <a:pt x="146" y="212"/>
                          <a:pt x="128" y="180"/>
                          <a:pt x="119" y="161"/>
                        </a:cubicBezTo>
                        <a:cubicBezTo>
                          <a:pt x="110" y="143"/>
                          <a:pt x="98" y="116"/>
                          <a:pt x="90" y="107"/>
                        </a:cubicBezTo>
                        <a:cubicBezTo>
                          <a:pt x="82" y="97"/>
                          <a:pt x="70" y="80"/>
                          <a:pt x="65" y="69"/>
                        </a:cubicBezTo>
                        <a:cubicBezTo>
                          <a:pt x="60" y="59"/>
                          <a:pt x="36" y="0"/>
                          <a:pt x="36" y="0"/>
                        </a:cubicBezTo>
                        <a:lnTo>
                          <a:pt x="0" y="33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1" name="Freeform 166"/>
                  <p:cNvSpPr>
                    <a:spLocks/>
                  </p:cNvSpPr>
                  <p:nvPr/>
                </p:nvSpPr>
                <p:spPr bwMode="auto">
                  <a:xfrm>
                    <a:off x="3021013" y="3978275"/>
                    <a:ext cx="96838" cy="190500"/>
                  </a:xfrm>
                  <a:custGeom>
                    <a:avLst/>
                    <a:gdLst>
                      <a:gd name="T0" fmla="*/ 245 w 246"/>
                      <a:gd name="T1" fmla="*/ 447 h 481"/>
                      <a:gd name="T2" fmla="*/ 217 w 246"/>
                      <a:gd name="T3" fmla="*/ 314 h 481"/>
                      <a:gd name="T4" fmla="*/ 200 w 246"/>
                      <a:gd name="T5" fmla="*/ 223 h 481"/>
                      <a:gd name="T6" fmla="*/ 223 w 246"/>
                      <a:gd name="T7" fmla="*/ 209 h 481"/>
                      <a:gd name="T8" fmla="*/ 240 w 246"/>
                      <a:gd name="T9" fmla="*/ 187 h 481"/>
                      <a:gd name="T10" fmla="*/ 221 w 246"/>
                      <a:gd name="T11" fmla="*/ 164 h 481"/>
                      <a:gd name="T12" fmla="*/ 197 w 246"/>
                      <a:gd name="T13" fmla="*/ 151 h 481"/>
                      <a:gd name="T14" fmla="*/ 171 w 246"/>
                      <a:gd name="T15" fmla="*/ 148 h 481"/>
                      <a:gd name="T16" fmla="*/ 170 w 246"/>
                      <a:gd name="T17" fmla="*/ 138 h 481"/>
                      <a:gd name="T18" fmla="*/ 171 w 246"/>
                      <a:gd name="T19" fmla="*/ 119 h 481"/>
                      <a:gd name="T20" fmla="*/ 172 w 246"/>
                      <a:gd name="T21" fmla="*/ 76 h 481"/>
                      <a:gd name="T22" fmla="*/ 150 w 246"/>
                      <a:gd name="T23" fmla="*/ 24 h 481"/>
                      <a:gd name="T24" fmla="*/ 107 w 246"/>
                      <a:gd name="T25" fmla="*/ 0 h 481"/>
                      <a:gd name="T26" fmla="*/ 61 w 246"/>
                      <a:gd name="T27" fmla="*/ 27 h 481"/>
                      <a:gd name="T28" fmla="*/ 46 w 246"/>
                      <a:gd name="T29" fmla="*/ 73 h 481"/>
                      <a:gd name="T30" fmla="*/ 45 w 246"/>
                      <a:gd name="T31" fmla="*/ 110 h 481"/>
                      <a:gd name="T32" fmla="*/ 42 w 246"/>
                      <a:gd name="T33" fmla="*/ 130 h 481"/>
                      <a:gd name="T34" fmla="*/ 42 w 246"/>
                      <a:gd name="T35" fmla="*/ 148 h 481"/>
                      <a:gd name="T36" fmla="*/ 50 w 246"/>
                      <a:gd name="T37" fmla="*/ 160 h 481"/>
                      <a:gd name="T38" fmla="*/ 36 w 246"/>
                      <a:gd name="T39" fmla="*/ 168 h 481"/>
                      <a:gd name="T40" fmla="*/ 11 w 246"/>
                      <a:gd name="T41" fmla="*/ 188 h 481"/>
                      <a:gd name="T42" fmla="*/ 1 w 246"/>
                      <a:gd name="T43" fmla="*/ 230 h 481"/>
                      <a:gd name="T44" fmla="*/ 2 w 246"/>
                      <a:gd name="T45" fmla="*/ 248 h 481"/>
                      <a:gd name="T46" fmla="*/ 16 w 246"/>
                      <a:gd name="T47" fmla="*/ 255 h 481"/>
                      <a:gd name="T48" fmla="*/ 30 w 246"/>
                      <a:gd name="T49" fmla="*/ 258 h 481"/>
                      <a:gd name="T50" fmla="*/ 48 w 246"/>
                      <a:gd name="T51" fmla="*/ 316 h 481"/>
                      <a:gd name="T52" fmla="*/ 58 w 246"/>
                      <a:gd name="T53" fmla="*/ 378 h 481"/>
                      <a:gd name="T54" fmla="*/ 53 w 246"/>
                      <a:gd name="T55" fmla="*/ 417 h 481"/>
                      <a:gd name="T56" fmla="*/ 50 w 246"/>
                      <a:gd name="T57" fmla="*/ 451 h 481"/>
                      <a:gd name="T58" fmla="*/ 54 w 246"/>
                      <a:gd name="T59" fmla="*/ 458 h 481"/>
                      <a:gd name="T60" fmla="*/ 56 w 246"/>
                      <a:gd name="T61" fmla="*/ 468 h 481"/>
                      <a:gd name="T62" fmla="*/ 246 w 246"/>
                      <a:gd name="T63" fmla="*/ 464 h 481"/>
                      <a:gd name="T64" fmla="*/ 245 w 246"/>
                      <a:gd name="T65" fmla="*/ 447 h 4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246" h="481">
                        <a:moveTo>
                          <a:pt x="245" y="447"/>
                        </a:moveTo>
                        <a:cubicBezTo>
                          <a:pt x="244" y="423"/>
                          <a:pt x="228" y="360"/>
                          <a:pt x="217" y="314"/>
                        </a:cubicBezTo>
                        <a:cubicBezTo>
                          <a:pt x="206" y="268"/>
                          <a:pt x="200" y="223"/>
                          <a:pt x="200" y="223"/>
                        </a:cubicBezTo>
                        <a:cubicBezTo>
                          <a:pt x="200" y="223"/>
                          <a:pt x="215" y="215"/>
                          <a:pt x="223" y="209"/>
                        </a:cubicBezTo>
                        <a:cubicBezTo>
                          <a:pt x="232" y="201"/>
                          <a:pt x="240" y="190"/>
                          <a:pt x="240" y="187"/>
                        </a:cubicBezTo>
                        <a:cubicBezTo>
                          <a:pt x="239" y="184"/>
                          <a:pt x="230" y="174"/>
                          <a:pt x="221" y="164"/>
                        </a:cubicBezTo>
                        <a:cubicBezTo>
                          <a:pt x="214" y="156"/>
                          <a:pt x="205" y="152"/>
                          <a:pt x="197" y="151"/>
                        </a:cubicBezTo>
                        <a:cubicBezTo>
                          <a:pt x="191" y="150"/>
                          <a:pt x="171" y="148"/>
                          <a:pt x="171" y="148"/>
                        </a:cubicBezTo>
                        <a:cubicBezTo>
                          <a:pt x="171" y="148"/>
                          <a:pt x="171" y="144"/>
                          <a:pt x="170" y="138"/>
                        </a:cubicBezTo>
                        <a:cubicBezTo>
                          <a:pt x="169" y="133"/>
                          <a:pt x="170" y="127"/>
                          <a:pt x="171" y="119"/>
                        </a:cubicBezTo>
                        <a:cubicBezTo>
                          <a:pt x="172" y="111"/>
                          <a:pt x="173" y="88"/>
                          <a:pt x="172" y="76"/>
                        </a:cubicBezTo>
                        <a:cubicBezTo>
                          <a:pt x="170" y="65"/>
                          <a:pt x="160" y="37"/>
                          <a:pt x="150" y="24"/>
                        </a:cubicBezTo>
                        <a:cubicBezTo>
                          <a:pt x="140" y="10"/>
                          <a:pt x="125" y="0"/>
                          <a:pt x="107" y="0"/>
                        </a:cubicBezTo>
                        <a:cubicBezTo>
                          <a:pt x="89" y="0"/>
                          <a:pt x="69" y="4"/>
                          <a:pt x="61" y="27"/>
                        </a:cubicBezTo>
                        <a:cubicBezTo>
                          <a:pt x="53" y="50"/>
                          <a:pt x="49" y="55"/>
                          <a:pt x="46" y="73"/>
                        </a:cubicBezTo>
                        <a:cubicBezTo>
                          <a:pt x="43" y="92"/>
                          <a:pt x="44" y="102"/>
                          <a:pt x="45" y="110"/>
                        </a:cubicBezTo>
                        <a:cubicBezTo>
                          <a:pt x="45" y="118"/>
                          <a:pt x="43" y="124"/>
                          <a:pt x="42" y="130"/>
                        </a:cubicBezTo>
                        <a:cubicBezTo>
                          <a:pt x="40" y="137"/>
                          <a:pt x="40" y="142"/>
                          <a:pt x="42" y="148"/>
                        </a:cubicBezTo>
                        <a:cubicBezTo>
                          <a:pt x="44" y="154"/>
                          <a:pt x="50" y="160"/>
                          <a:pt x="50" y="160"/>
                        </a:cubicBezTo>
                        <a:cubicBezTo>
                          <a:pt x="50" y="160"/>
                          <a:pt x="44" y="163"/>
                          <a:pt x="36" y="168"/>
                        </a:cubicBezTo>
                        <a:cubicBezTo>
                          <a:pt x="28" y="174"/>
                          <a:pt x="18" y="178"/>
                          <a:pt x="11" y="188"/>
                        </a:cubicBezTo>
                        <a:cubicBezTo>
                          <a:pt x="4" y="198"/>
                          <a:pt x="1" y="218"/>
                          <a:pt x="1" y="230"/>
                        </a:cubicBezTo>
                        <a:cubicBezTo>
                          <a:pt x="1" y="242"/>
                          <a:pt x="0" y="246"/>
                          <a:pt x="2" y="248"/>
                        </a:cubicBezTo>
                        <a:cubicBezTo>
                          <a:pt x="5" y="250"/>
                          <a:pt x="8" y="253"/>
                          <a:pt x="16" y="255"/>
                        </a:cubicBezTo>
                        <a:cubicBezTo>
                          <a:pt x="23" y="257"/>
                          <a:pt x="30" y="258"/>
                          <a:pt x="30" y="258"/>
                        </a:cubicBezTo>
                        <a:cubicBezTo>
                          <a:pt x="30" y="258"/>
                          <a:pt x="42" y="295"/>
                          <a:pt x="48" y="316"/>
                        </a:cubicBezTo>
                        <a:cubicBezTo>
                          <a:pt x="56" y="344"/>
                          <a:pt x="58" y="362"/>
                          <a:pt x="58" y="378"/>
                        </a:cubicBezTo>
                        <a:cubicBezTo>
                          <a:pt x="57" y="393"/>
                          <a:pt x="55" y="406"/>
                          <a:pt x="53" y="417"/>
                        </a:cubicBezTo>
                        <a:cubicBezTo>
                          <a:pt x="52" y="427"/>
                          <a:pt x="49" y="445"/>
                          <a:pt x="50" y="451"/>
                        </a:cubicBezTo>
                        <a:cubicBezTo>
                          <a:pt x="52" y="458"/>
                          <a:pt x="54" y="458"/>
                          <a:pt x="54" y="458"/>
                        </a:cubicBezTo>
                        <a:cubicBezTo>
                          <a:pt x="54" y="458"/>
                          <a:pt x="55" y="462"/>
                          <a:pt x="56" y="468"/>
                        </a:cubicBezTo>
                        <a:cubicBezTo>
                          <a:pt x="117" y="481"/>
                          <a:pt x="180" y="481"/>
                          <a:pt x="246" y="464"/>
                        </a:cubicBezTo>
                        <a:cubicBezTo>
                          <a:pt x="246" y="458"/>
                          <a:pt x="246" y="452"/>
                          <a:pt x="245" y="44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4" name="Freeform 167"/>
                  <p:cNvSpPr>
                    <a:spLocks/>
                  </p:cNvSpPr>
                  <p:nvPr/>
                </p:nvSpPr>
                <p:spPr bwMode="auto">
                  <a:xfrm>
                    <a:off x="3019425" y="4076700"/>
                    <a:ext cx="22225" cy="85725"/>
                  </a:xfrm>
                  <a:custGeom>
                    <a:avLst/>
                    <a:gdLst>
                      <a:gd name="T0" fmla="*/ 8 w 54"/>
                      <a:gd name="T1" fmla="*/ 0 h 220"/>
                      <a:gd name="T2" fmla="*/ 5 w 54"/>
                      <a:gd name="T3" fmla="*/ 45 h 220"/>
                      <a:gd name="T4" fmla="*/ 0 w 54"/>
                      <a:gd name="T5" fmla="*/ 101 h 220"/>
                      <a:gd name="T6" fmla="*/ 4 w 54"/>
                      <a:gd name="T7" fmla="*/ 145 h 220"/>
                      <a:gd name="T8" fmla="*/ 5 w 54"/>
                      <a:gd name="T9" fmla="*/ 188 h 220"/>
                      <a:gd name="T10" fmla="*/ 12 w 54"/>
                      <a:gd name="T11" fmla="*/ 207 h 220"/>
                      <a:gd name="T12" fmla="*/ 32 w 54"/>
                      <a:gd name="T13" fmla="*/ 219 h 220"/>
                      <a:gd name="T14" fmla="*/ 35 w 54"/>
                      <a:gd name="T15" fmla="*/ 216 h 220"/>
                      <a:gd name="T16" fmla="*/ 39 w 54"/>
                      <a:gd name="T17" fmla="*/ 217 h 220"/>
                      <a:gd name="T18" fmla="*/ 45 w 54"/>
                      <a:gd name="T19" fmla="*/ 217 h 220"/>
                      <a:gd name="T20" fmla="*/ 47 w 54"/>
                      <a:gd name="T21" fmla="*/ 214 h 220"/>
                      <a:gd name="T22" fmla="*/ 50 w 54"/>
                      <a:gd name="T23" fmla="*/ 214 h 220"/>
                      <a:gd name="T24" fmla="*/ 48 w 54"/>
                      <a:gd name="T25" fmla="*/ 208 h 220"/>
                      <a:gd name="T26" fmla="*/ 40 w 54"/>
                      <a:gd name="T27" fmla="*/ 196 h 220"/>
                      <a:gd name="T28" fmla="*/ 33 w 54"/>
                      <a:gd name="T29" fmla="*/ 181 h 220"/>
                      <a:gd name="T30" fmla="*/ 41 w 54"/>
                      <a:gd name="T31" fmla="*/ 182 h 220"/>
                      <a:gd name="T32" fmla="*/ 51 w 54"/>
                      <a:gd name="T33" fmla="*/ 187 h 220"/>
                      <a:gd name="T34" fmla="*/ 46 w 54"/>
                      <a:gd name="T35" fmla="*/ 169 h 220"/>
                      <a:gd name="T36" fmla="*/ 34 w 54"/>
                      <a:gd name="T37" fmla="*/ 150 h 220"/>
                      <a:gd name="T38" fmla="*/ 43 w 54"/>
                      <a:gd name="T39" fmla="*/ 108 h 220"/>
                      <a:gd name="T40" fmla="*/ 48 w 54"/>
                      <a:gd name="T41" fmla="*/ 49 h 220"/>
                      <a:gd name="T42" fmla="*/ 37 w 54"/>
                      <a:gd name="T43" fmla="*/ 7 h 220"/>
                      <a:gd name="T44" fmla="*/ 8 w 54"/>
                      <a:gd name="T45" fmla="*/ 0 h 2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4" h="220">
                        <a:moveTo>
                          <a:pt x="8" y="0"/>
                        </a:moveTo>
                        <a:cubicBezTo>
                          <a:pt x="8" y="0"/>
                          <a:pt x="7" y="27"/>
                          <a:pt x="5" y="45"/>
                        </a:cubicBezTo>
                        <a:cubicBezTo>
                          <a:pt x="4" y="63"/>
                          <a:pt x="0" y="84"/>
                          <a:pt x="0" y="101"/>
                        </a:cubicBezTo>
                        <a:cubicBezTo>
                          <a:pt x="0" y="118"/>
                          <a:pt x="1" y="126"/>
                          <a:pt x="4" y="145"/>
                        </a:cubicBezTo>
                        <a:cubicBezTo>
                          <a:pt x="6" y="164"/>
                          <a:pt x="4" y="180"/>
                          <a:pt x="5" y="188"/>
                        </a:cubicBezTo>
                        <a:cubicBezTo>
                          <a:pt x="7" y="196"/>
                          <a:pt x="9" y="203"/>
                          <a:pt x="12" y="207"/>
                        </a:cubicBezTo>
                        <a:cubicBezTo>
                          <a:pt x="16" y="211"/>
                          <a:pt x="30" y="220"/>
                          <a:pt x="32" y="219"/>
                        </a:cubicBezTo>
                        <a:cubicBezTo>
                          <a:pt x="35" y="218"/>
                          <a:pt x="35" y="216"/>
                          <a:pt x="35" y="216"/>
                        </a:cubicBezTo>
                        <a:cubicBezTo>
                          <a:pt x="35" y="216"/>
                          <a:pt x="36" y="216"/>
                          <a:pt x="39" y="217"/>
                        </a:cubicBezTo>
                        <a:cubicBezTo>
                          <a:pt x="41" y="217"/>
                          <a:pt x="44" y="218"/>
                          <a:pt x="45" y="217"/>
                        </a:cubicBezTo>
                        <a:cubicBezTo>
                          <a:pt x="47" y="215"/>
                          <a:pt x="47" y="214"/>
                          <a:pt x="47" y="214"/>
                        </a:cubicBezTo>
                        <a:cubicBezTo>
                          <a:pt x="47" y="214"/>
                          <a:pt x="48" y="216"/>
                          <a:pt x="50" y="214"/>
                        </a:cubicBezTo>
                        <a:cubicBezTo>
                          <a:pt x="52" y="213"/>
                          <a:pt x="51" y="211"/>
                          <a:pt x="48" y="208"/>
                        </a:cubicBezTo>
                        <a:cubicBezTo>
                          <a:pt x="46" y="206"/>
                          <a:pt x="44" y="203"/>
                          <a:pt x="40" y="196"/>
                        </a:cubicBezTo>
                        <a:cubicBezTo>
                          <a:pt x="36" y="190"/>
                          <a:pt x="31" y="184"/>
                          <a:pt x="33" y="181"/>
                        </a:cubicBezTo>
                        <a:cubicBezTo>
                          <a:pt x="34" y="177"/>
                          <a:pt x="38" y="179"/>
                          <a:pt x="41" y="182"/>
                        </a:cubicBezTo>
                        <a:cubicBezTo>
                          <a:pt x="44" y="184"/>
                          <a:pt x="48" y="189"/>
                          <a:pt x="51" y="187"/>
                        </a:cubicBezTo>
                        <a:cubicBezTo>
                          <a:pt x="54" y="184"/>
                          <a:pt x="51" y="177"/>
                          <a:pt x="46" y="169"/>
                        </a:cubicBezTo>
                        <a:cubicBezTo>
                          <a:pt x="42" y="161"/>
                          <a:pt x="35" y="153"/>
                          <a:pt x="34" y="150"/>
                        </a:cubicBezTo>
                        <a:cubicBezTo>
                          <a:pt x="32" y="147"/>
                          <a:pt x="39" y="122"/>
                          <a:pt x="43" y="108"/>
                        </a:cubicBezTo>
                        <a:cubicBezTo>
                          <a:pt x="46" y="93"/>
                          <a:pt x="49" y="60"/>
                          <a:pt x="48" y="49"/>
                        </a:cubicBezTo>
                        <a:cubicBezTo>
                          <a:pt x="48" y="37"/>
                          <a:pt x="44" y="14"/>
                          <a:pt x="37" y="7"/>
                        </a:cubicBezTo>
                        <a:cubicBezTo>
                          <a:pt x="30" y="1"/>
                          <a:pt x="8" y="0"/>
                          <a:pt x="8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7" name="Freeform 168"/>
                  <p:cNvSpPr>
                    <a:spLocks/>
                  </p:cNvSpPr>
                  <p:nvPr/>
                </p:nvSpPr>
                <p:spPr bwMode="auto">
                  <a:xfrm>
                    <a:off x="3094038" y="4037013"/>
                    <a:ext cx="7938" cy="38100"/>
                  </a:xfrm>
                  <a:custGeom>
                    <a:avLst/>
                    <a:gdLst>
                      <a:gd name="T0" fmla="*/ 2 w 17"/>
                      <a:gd name="T1" fmla="*/ 1 h 96"/>
                      <a:gd name="T2" fmla="*/ 3 w 17"/>
                      <a:gd name="T3" fmla="*/ 41 h 96"/>
                      <a:gd name="T4" fmla="*/ 9 w 17"/>
                      <a:gd name="T5" fmla="*/ 96 h 96"/>
                      <a:gd name="T6" fmla="*/ 17 w 17"/>
                      <a:gd name="T7" fmla="*/ 93 h 96"/>
                      <a:gd name="T8" fmla="*/ 13 w 17"/>
                      <a:gd name="T9" fmla="*/ 47 h 96"/>
                      <a:gd name="T10" fmla="*/ 11 w 17"/>
                      <a:gd name="T11" fmla="*/ 2 h 96"/>
                      <a:gd name="T12" fmla="*/ 2 w 17"/>
                      <a:gd name="T13" fmla="*/ 1 h 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7" h="96">
                        <a:moveTo>
                          <a:pt x="2" y="1"/>
                        </a:moveTo>
                        <a:cubicBezTo>
                          <a:pt x="0" y="1"/>
                          <a:pt x="2" y="16"/>
                          <a:pt x="3" y="41"/>
                        </a:cubicBezTo>
                        <a:cubicBezTo>
                          <a:pt x="5" y="66"/>
                          <a:pt x="9" y="96"/>
                          <a:pt x="9" y="96"/>
                        </a:cubicBezTo>
                        <a:cubicBezTo>
                          <a:pt x="17" y="93"/>
                          <a:pt x="17" y="93"/>
                          <a:pt x="17" y="93"/>
                        </a:cubicBezTo>
                        <a:cubicBezTo>
                          <a:pt x="17" y="93"/>
                          <a:pt x="14" y="67"/>
                          <a:pt x="13" y="47"/>
                        </a:cubicBezTo>
                        <a:cubicBezTo>
                          <a:pt x="12" y="27"/>
                          <a:pt x="13" y="3"/>
                          <a:pt x="11" y="2"/>
                        </a:cubicBezTo>
                        <a:cubicBezTo>
                          <a:pt x="9" y="1"/>
                          <a:pt x="3" y="0"/>
                          <a:pt x="2" y="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8" name="Freeform 169"/>
                  <p:cNvSpPr>
                    <a:spLocks/>
                  </p:cNvSpPr>
                  <p:nvPr/>
                </p:nvSpPr>
                <p:spPr bwMode="auto">
                  <a:xfrm>
                    <a:off x="3097213" y="4068763"/>
                    <a:ext cx="53975" cy="119063"/>
                  </a:xfrm>
                  <a:custGeom>
                    <a:avLst/>
                    <a:gdLst>
                      <a:gd name="T0" fmla="*/ 6 w 139"/>
                      <a:gd name="T1" fmla="*/ 4 h 303"/>
                      <a:gd name="T2" fmla="*/ 1 w 139"/>
                      <a:gd name="T3" fmla="*/ 12 h 303"/>
                      <a:gd name="T4" fmla="*/ 1 w 139"/>
                      <a:gd name="T5" fmla="*/ 103 h 303"/>
                      <a:gd name="T6" fmla="*/ 9 w 139"/>
                      <a:gd name="T7" fmla="*/ 220 h 303"/>
                      <a:gd name="T8" fmla="*/ 20 w 139"/>
                      <a:gd name="T9" fmla="*/ 285 h 303"/>
                      <a:gd name="T10" fmla="*/ 66 w 139"/>
                      <a:gd name="T11" fmla="*/ 297 h 303"/>
                      <a:gd name="T12" fmla="*/ 92 w 139"/>
                      <a:gd name="T13" fmla="*/ 302 h 303"/>
                      <a:gd name="T14" fmla="*/ 128 w 139"/>
                      <a:gd name="T15" fmla="*/ 286 h 303"/>
                      <a:gd name="T16" fmla="*/ 139 w 139"/>
                      <a:gd name="T17" fmla="*/ 278 h 303"/>
                      <a:gd name="T18" fmla="*/ 131 w 139"/>
                      <a:gd name="T19" fmla="*/ 244 h 303"/>
                      <a:gd name="T20" fmla="*/ 120 w 139"/>
                      <a:gd name="T21" fmla="*/ 183 h 303"/>
                      <a:gd name="T22" fmla="*/ 107 w 139"/>
                      <a:gd name="T23" fmla="*/ 144 h 303"/>
                      <a:gd name="T24" fmla="*/ 37 w 139"/>
                      <a:gd name="T25" fmla="*/ 21 h 303"/>
                      <a:gd name="T26" fmla="*/ 6 w 139"/>
                      <a:gd name="T27" fmla="*/ 4 h 3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39" h="303">
                        <a:moveTo>
                          <a:pt x="6" y="4"/>
                        </a:moveTo>
                        <a:cubicBezTo>
                          <a:pt x="3" y="5"/>
                          <a:pt x="1" y="8"/>
                          <a:pt x="1" y="12"/>
                        </a:cubicBezTo>
                        <a:cubicBezTo>
                          <a:pt x="1" y="16"/>
                          <a:pt x="0" y="68"/>
                          <a:pt x="1" y="103"/>
                        </a:cubicBezTo>
                        <a:cubicBezTo>
                          <a:pt x="1" y="137"/>
                          <a:pt x="7" y="194"/>
                          <a:pt x="9" y="220"/>
                        </a:cubicBezTo>
                        <a:cubicBezTo>
                          <a:pt x="11" y="245"/>
                          <a:pt x="16" y="282"/>
                          <a:pt x="20" y="285"/>
                        </a:cubicBezTo>
                        <a:cubicBezTo>
                          <a:pt x="24" y="290"/>
                          <a:pt x="53" y="294"/>
                          <a:pt x="66" y="297"/>
                        </a:cubicBezTo>
                        <a:cubicBezTo>
                          <a:pt x="78" y="300"/>
                          <a:pt x="88" y="303"/>
                          <a:pt x="92" y="302"/>
                        </a:cubicBezTo>
                        <a:cubicBezTo>
                          <a:pt x="96" y="301"/>
                          <a:pt x="119" y="290"/>
                          <a:pt x="128" y="286"/>
                        </a:cubicBezTo>
                        <a:cubicBezTo>
                          <a:pt x="136" y="282"/>
                          <a:pt x="139" y="280"/>
                          <a:pt x="139" y="278"/>
                        </a:cubicBezTo>
                        <a:cubicBezTo>
                          <a:pt x="138" y="275"/>
                          <a:pt x="135" y="260"/>
                          <a:pt x="131" y="244"/>
                        </a:cubicBezTo>
                        <a:cubicBezTo>
                          <a:pt x="127" y="228"/>
                          <a:pt x="125" y="201"/>
                          <a:pt x="120" y="183"/>
                        </a:cubicBezTo>
                        <a:cubicBezTo>
                          <a:pt x="114" y="164"/>
                          <a:pt x="107" y="144"/>
                          <a:pt x="107" y="144"/>
                        </a:cubicBezTo>
                        <a:cubicBezTo>
                          <a:pt x="107" y="144"/>
                          <a:pt x="52" y="38"/>
                          <a:pt x="37" y="21"/>
                        </a:cubicBezTo>
                        <a:cubicBezTo>
                          <a:pt x="22" y="4"/>
                          <a:pt x="17" y="0"/>
                          <a:pt x="6" y="4"/>
                        </a:cubicBezTo>
                        <a:close/>
                      </a:path>
                    </a:pathLst>
                  </a:custGeom>
                  <a:solidFill>
                    <a:srgbClr val="1E1E1E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09" name="Freeform 170"/>
                  <p:cNvSpPr>
                    <a:spLocks/>
                  </p:cNvSpPr>
                  <p:nvPr/>
                </p:nvSpPr>
                <p:spPr bwMode="auto">
                  <a:xfrm>
                    <a:off x="3154363" y="4141788"/>
                    <a:ext cx="46038" cy="19050"/>
                  </a:xfrm>
                  <a:custGeom>
                    <a:avLst/>
                    <a:gdLst>
                      <a:gd name="T0" fmla="*/ 62 w 117"/>
                      <a:gd name="T1" fmla="*/ 10 h 49"/>
                      <a:gd name="T2" fmla="*/ 29 w 117"/>
                      <a:gd name="T3" fmla="*/ 23 h 49"/>
                      <a:gd name="T4" fmla="*/ 11 w 117"/>
                      <a:gd name="T5" fmla="*/ 22 h 49"/>
                      <a:gd name="T6" fmla="*/ 4 w 117"/>
                      <a:gd name="T7" fmla="*/ 22 h 49"/>
                      <a:gd name="T8" fmla="*/ 1 w 117"/>
                      <a:gd name="T9" fmla="*/ 26 h 49"/>
                      <a:gd name="T10" fmla="*/ 1 w 117"/>
                      <a:gd name="T11" fmla="*/ 31 h 49"/>
                      <a:gd name="T12" fmla="*/ 1 w 117"/>
                      <a:gd name="T13" fmla="*/ 36 h 49"/>
                      <a:gd name="T14" fmla="*/ 4 w 117"/>
                      <a:gd name="T15" fmla="*/ 43 h 49"/>
                      <a:gd name="T16" fmla="*/ 9 w 117"/>
                      <a:gd name="T17" fmla="*/ 48 h 49"/>
                      <a:gd name="T18" fmla="*/ 24 w 117"/>
                      <a:gd name="T19" fmla="*/ 48 h 49"/>
                      <a:gd name="T20" fmla="*/ 66 w 117"/>
                      <a:gd name="T21" fmla="*/ 41 h 49"/>
                      <a:gd name="T22" fmla="*/ 104 w 117"/>
                      <a:gd name="T23" fmla="*/ 30 h 49"/>
                      <a:gd name="T24" fmla="*/ 117 w 117"/>
                      <a:gd name="T25" fmla="*/ 20 h 49"/>
                      <a:gd name="T26" fmla="*/ 96 w 117"/>
                      <a:gd name="T27" fmla="*/ 0 h 49"/>
                      <a:gd name="T28" fmla="*/ 80 w 117"/>
                      <a:gd name="T29" fmla="*/ 4 h 49"/>
                      <a:gd name="T30" fmla="*/ 62 w 117"/>
                      <a:gd name="T31" fmla="*/ 10 h 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17" h="49">
                        <a:moveTo>
                          <a:pt x="62" y="10"/>
                        </a:moveTo>
                        <a:cubicBezTo>
                          <a:pt x="49" y="16"/>
                          <a:pt x="34" y="22"/>
                          <a:pt x="29" y="23"/>
                        </a:cubicBezTo>
                        <a:cubicBezTo>
                          <a:pt x="24" y="24"/>
                          <a:pt x="15" y="22"/>
                          <a:pt x="11" y="22"/>
                        </a:cubicBezTo>
                        <a:cubicBezTo>
                          <a:pt x="10" y="21"/>
                          <a:pt x="7" y="21"/>
                          <a:pt x="4" y="22"/>
                        </a:cubicBezTo>
                        <a:cubicBezTo>
                          <a:pt x="3" y="22"/>
                          <a:pt x="1" y="24"/>
                          <a:pt x="1" y="26"/>
                        </a:cubicBezTo>
                        <a:cubicBezTo>
                          <a:pt x="0" y="28"/>
                          <a:pt x="1" y="30"/>
                          <a:pt x="1" y="31"/>
                        </a:cubicBezTo>
                        <a:cubicBezTo>
                          <a:pt x="1" y="31"/>
                          <a:pt x="1" y="34"/>
                          <a:pt x="1" y="36"/>
                        </a:cubicBezTo>
                        <a:cubicBezTo>
                          <a:pt x="2" y="39"/>
                          <a:pt x="4" y="41"/>
                          <a:pt x="4" y="43"/>
                        </a:cubicBezTo>
                        <a:cubicBezTo>
                          <a:pt x="5" y="45"/>
                          <a:pt x="7" y="47"/>
                          <a:pt x="9" y="48"/>
                        </a:cubicBezTo>
                        <a:cubicBezTo>
                          <a:pt x="11" y="48"/>
                          <a:pt x="19" y="49"/>
                          <a:pt x="24" y="48"/>
                        </a:cubicBezTo>
                        <a:cubicBezTo>
                          <a:pt x="28" y="47"/>
                          <a:pt x="49" y="45"/>
                          <a:pt x="66" y="41"/>
                        </a:cubicBezTo>
                        <a:cubicBezTo>
                          <a:pt x="82" y="38"/>
                          <a:pt x="97" y="33"/>
                          <a:pt x="104" y="30"/>
                        </a:cubicBezTo>
                        <a:cubicBezTo>
                          <a:pt x="111" y="26"/>
                          <a:pt x="117" y="20"/>
                          <a:pt x="117" y="20"/>
                        </a:cubicBezTo>
                        <a:cubicBezTo>
                          <a:pt x="96" y="0"/>
                          <a:pt x="96" y="0"/>
                          <a:pt x="96" y="0"/>
                        </a:cubicBezTo>
                        <a:cubicBezTo>
                          <a:pt x="96" y="0"/>
                          <a:pt x="88" y="1"/>
                          <a:pt x="80" y="4"/>
                        </a:cubicBezTo>
                        <a:cubicBezTo>
                          <a:pt x="71" y="7"/>
                          <a:pt x="62" y="10"/>
                          <a:pt x="62" y="1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0" name="Freeform 171"/>
                  <p:cNvSpPr>
                    <a:spLocks/>
                  </p:cNvSpPr>
                  <p:nvPr/>
                </p:nvSpPr>
                <p:spPr bwMode="auto">
                  <a:xfrm>
                    <a:off x="3190875" y="4057650"/>
                    <a:ext cx="98425" cy="274638"/>
                  </a:xfrm>
                  <a:custGeom>
                    <a:avLst/>
                    <a:gdLst>
                      <a:gd name="T0" fmla="*/ 31 w 248"/>
                      <a:gd name="T1" fmla="*/ 179 h 698"/>
                      <a:gd name="T2" fmla="*/ 11 w 248"/>
                      <a:gd name="T3" fmla="*/ 230 h 698"/>
                      <a:gd name="T4" fmla="*/ 44 w 248"/>
                      <a:gd name="T5" fmla="*/ 255 h 698"/>
                      <a:gd name="T6" fmla="*/ 76 w 248"/>
                      <a:gd name="T7" fmla="*/ 237 h 698"/>
                      <a:gd name="T8" fmla="*/ 82 w 248"/>
                      <a:gd name="T9" fmla="*/ 358 h 698"/>
                      <a:gd name="T10" fmla="*/ 87 w 248"/>
                      <a:gd name="T11" fmla="*/ 395 h 698"/>
                      <a:gd name="T12" fmla="*/ 75 w 248"/>
                      <a:gd name="T13" fmla="*/ 531 h 698"/>
                      <a:gd name="T14" fmla="*/ 82 w 248"/>
                      <a:gd name="T15" fmla="*/ 626 h 698"/>
                      <a:gd name="T16" fmla="*/ 86 w 248"/>
                      <a:gd name="T17" fmla="*/ 656 h 698"/>
                      <a:gd name="T18" fmla="*/ 64 w 248"/>
                      <a:gd name="T19" fmla="*/ 677 h 698"/>
                      <a:gd name="T20" fmla="*/ 62 w 248"/>
                      <a:gd name="T21" fmla="*/ 686 h 698"/>
                      <a:gd name="T22" fmla="*/ 88 w 248"/>
                      <a:gd name="T23" fmla="*/ 693 h 698"/>
                      <a:gd name="T24" fmla="*/ 130 w 248"/>
                      <a:gd name="T25" fmla="*/ 679 h 698"/>
                      <a:gd name="T26" fmla="*/ 136 w 248"/>
                      <a:gd name="T27" fmla="*/ 664 h 698"/>
                      <a:gd name="T28" fmla="*/ 132 w 248"/>
                      <a:gd name="T29" fmla="*/ 657 h 698"/>
                      <a:gd name="T30" fmla="*/ 137 w 248"/>
                      <a:gd name="T31" fmla="*/ 654 h 698"/>
                      <a:gd name="T32" fmla="*/ 138 w 248"/>
                      <a:gd name="T33" fmla="*/ 636 h 698"/>
                      <a:gd name="T34" fmla="*/ 133 w 248"/>
                      <a:gd name="T35" fmla="*/ 531 h 698"/>
                      <a:gd name="T36" fmla="*/ 159 w 248"/>
                      <a:gd name="T37" fmla="*/ 443 h 698"/>
                      <a:gd name="T38" fmla="*/ 176 w 248"/>
                      <a:gd name="T39" fmla="*/ 530 h 698"/>
                      <a:gd name="T40" fmla="*/ 180 w 248"/>
                      <a:gd name="T41" fmla="*/ 601 h 698"/>
                      <a:gd name="T42" fmla="*/ 181 w 248"/>
                      <a:gd name="T43" fmla="*/ 655 h 698"/>
                      <a:gd name="T44" fmla="*/ 172 w 248"/>
                      <a:gd name="T45" fmla="*/ 671 h 698"/>
                      <a:gd name="T46" fmla="*/ 154 w 248"/>
                      <a:gd name="T47" fmla="*/ 685 h 698"/>
                      <a:gd name="T48" fmla="*/ 174 w 248"/>
                      <a:gd name="T49" fmla="*/ 697 h 698"/>
                      <a:gd name="T50" fmla="*/ 238 w 248"/>
                      <a:gd name="T51" fmla="*/ 686 h 698"/>
                      <a:gd name="T52" fmla="*/ 237 w 248"/>
                      <a:gd name="T53" fmla="*/ 673 h 698"/>
                      <a:gd name="T54" fmla="*/ 235 w 248"/>
                      <a:gd name="T55" fmla="*/ 658 h 698"/>
                      <a:gd name="T56" fmla="*/ 234 w 248"/>
                      <a:gd name="T57" fmla="*/ 637 h 698"/>
                      <a:gd name="T58" fmla="*/ 229 w 248"/>
                      <a:gd name="T59" fmla="*/ 523 h 698"/>
                      <a:gd name="T60" fmla="*/ 233 w 248"/>
                      <a:gd name="T61" fmla="*/ 406 h 698"/>
                      <a:gd name="T62" fmla="*/ 236 w 248"/>
                      <a:gd name="T63" fmla="*/ 380 h 698"/>
                      <a:gd name="T64" fmla="*/ 244 w 248"/>
                      <a:gd name="T65" fmla="*/ 331 h 698"/>
                      <a:gd name="T66" fmla="*/ 241 w 248"/>
                      <a:gd name="T67" fmla="*/ 230 h 698"/>
                      <a:gd name="T68" fmla="*/ 244 w 248"/>
                      <a:gd name="T69" fmla="*/ 197 h 698"/>
                      <a:gd name="T70" fmla="*/ 219 w 248"/>
                      <a:gd name="T71" fmla="*/ 123 h 698"/>
                      <a:gd name="T72" fmla="*/ 186 w 248"/>
                      <a:gd name="T73" fmla="*/ 115 h 698"/>
                      <a:gd name="T74" fmla="*/ 199 w 248"/>
                      <a:gd name="T75" fmla="*/ 84 h 698"/>
                      <a:gd name="T76" fmla="*/ 202 w 248"/>
                      <a:gd name="T77" fmla="*/ 69 h 698"/>
                      <a:gd name="T78" fmla="*/ 206 w 248"/>
                      <a:gd name="T79" fmla="*/ 54 h 698"/>
                      <a:gd name="T80" fmla="*/ 175 w 248"/>
                      <a:gd name="T81" fmla="*/ 6 h 698"/>
                      <a:gd name="T82" fmla="*/ 109 w 248"/>
                      <a:gd name="T83" fmla="*/ 23 h 698"/>
                      <a:gd name="T84" fmla="*/ 110 w 248"/>
                      <a:gd name="T85" fmla="*/ 88 h 698"/>
                      <a:gd name="T86" fmla="*/ 117 w 248"/>
                      <a:gd name="T87" fmla="*/ 104 h 698"/>
                      <a:gd name="T88" fmla="*/ 100 w 248"/>
                      <a:gd name="T89" fmla="*/ 122 h 698"/>
                      <a:gd name="T90" fmla="*/ 65 w 248"/>
                      <a:gd name="T91" fmla="*/ 141 h 69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</a:cxnLst>
                    <a:rect l="0" t="0" r="r" b="b"/>
                    <a:pathLst>
                      <a:path w="248" h="698">
                        <a:moveTo>
                          <a:pt x="65" y="141"/>
                        </a:moveTo>
                        <a:cubicBezTo>
                          <a:pt x="53" y="148"/>
                          <a:pt x="42" y="165"/>
                          <a:pt x="31" y="179"/>
                        </a:cubicBezTo>
                        <a:cubicBezTo>
                          <a:pt x="19" y="193"/>
                          <a:pt x="0" y="210"/>
                          <a:pt x="0" y="212"/>
                        </a:cubicBezTo>
                        <a:cubicBezTo>
                          <a:pt x="0" y="214"/>
                          <a:pt x="1" y="219"/>
                          <a:pt x="11" y="230"/>
                        </a:cubicBezTo>
                        <a:cubicBezTo>
                          <a:pt x="22" y="242"/>
                          <a:pt x="28" y="249"/>
                          <a:pt x="33" y="252"/>
                        </a:cubicBezTo>
                        <a:cubicBezTo>
                          <a:pt x="38" y="256"/>
                          <a:pt x="43" y="257"/>
                          <a:pt x="44" y="255"/>
                        </a:cubicBezTo>
                        <a:cubicBezTo>
                          <a:pt x="45" y="253"/>
                          <a:pt x="49" y="250"/>
                          <a:pt x="58" y="245"/>
                        </a:cubicBezTo>
                        <a:cubicBezTo>
                          <a:pt x="66" y="239"/>
                          <a:pt x="76" y="237"/>
                          <a:pt x="76" y="237"/>
                        </a:cubicBezTo>
                        <a:cubicBezTo>
                          <a:pt x="76" y="237"/>
                          <a:pt x="80" y="266"/>
                          <a:pt x="83" y="287"/>
                        </a:cubicBezTo>
                        <a:cubicBezTo>
                          <a:pt x="85" y="309"/>
                          <a:pt x="81" y="339"/>
                          <a:pt x="82" y="358"/>
                        </a:cubicBezTo>
                        <a:cubicBezTo>
                          <a:pt x="82" y="378"/>
                          <a:pt x="82" y="392"/>
                          <a:pt x="84" y="393"/>
                        </a:cubicBezTo>
                        <a:cubicBezTo>
                          <a:pt x="85" y="395"/>
                          <a:pt x="87" y="395"/>
                          <a:pt x="87" y="395"/>
                        </a:cubicBezTo>
                        <a:cubicBezTo>
                          <a:pt x="87" y="395"/>
                          <a:pt x="80" y="420"/>
                          <a:pt x="77" y="445"/>
                        </a:cubicBezTo>
                        <a:cubicBezTo>
                          <a:pt x="74" y="470"/>
                          <a:pt x="72" y="511"/>
                          <a:pt x="75" y="531"/>
                        </a:cubicBezTo>
                        <a:cubicBezTo>
                          <a:pt x="78" y="551"/>
                          <a:pt x="78" y="568"/>
                          <a:pt x="81" y="587"/>
                        </a:cubicBezTo>
                        <a:cubicBezTo>
                          <a:pt x="84" y="606"/>
                          <a:pt x="83" y="616"/>
                          <a:pt x="82" y="626"/>
                        </a:cubicBezTo>
                        <a:cubicBezTo>
                          <a:pt x="81" y="635"/>
                          <a:pt x="82" y="654"/>
                          <a:pt x="83" y="655"/>
                        </a:cubicBezTo>
                        <a:cubicBezTo>
                          <a:pt x="84" y="656"/>
                          <a:pt x="86" y="656"/>
                          <a:pt x="86" y="656"/>
                        </a:cubicBezTo>
                        <a:cubicBezTo>
                          <a:pt x="86" y="656"/>
                          <a:pt x="83" y="661"/>
                          <a:pt x="78" y="666"/>
                        </a:cubicBezTo>
                        <a:cubicBezTo>
                          <a:pt x="75" y="671"/>
                          <a:pt x="66" y="675"/>
                          <a:pt x="64" y="677"/>
                        </a:cubicBezTo>
                        <a:cubicBezTo>
                          <a:pt x="61" y="679"/>
                          <a:pt x="62" y="682"/>
                          <a:pt x="62" y="682"/>
                        </a:cubicBezTo>
                        <a:cubicBezTo>
                          <a:pt x="62" y="682"/>
                          <a:pt x="61" y="684"/>
                          <a:pt x="62" y="686"/>
                        </a:cubicBezTo>
                        <a:cubicBezTo>
                          <a:pt x="63" y="687"/>
                          <a:pt x="65" y="688"/>
                          <a:pt x="67" y="689"/>
                        </a:cubicBezTo>
                        <a:cubicBezTo>
                          <a:pt x="71" y="690"/>
                          <a:pt x="82" y="693"/>
                          <a:pt x="88" y="693"/>
                        </a:cubicBezTo>
                        <a:cubicBezTo>
                          <a:pt x="94" y="693"/>
                          <a:pt x="101" y="692"/>
                          <a:pt x="110" y="688"/>
                        </a:cubicBezTo>
                        <a:cubicBezTo>
                          <a:pt x="120" y="685"/>
                          <a:pt x="124" y="682"/>
                          <a:pt x="130" y="679"/>
                        </a:cubicBezTo>
                        <a:cubicBezTo>
                          <a:pt x="135" y="675"/>
                          <a:pt x="137" y="674"/>
                          <a:pt x="137" y="671"/>
                        </a:cubicBezTo>
                        <a:cubicBezTo>
                          <a:pt x="137" y="669"/>
                          <a:pt x="137" y="666"/>
                          <a:pt x="136" y="664"/>
                        </a:cubicBezTo>
                        <a:cubicBezTo>
                          <a:pt x="135" y="661"/>
                          <a:pt x="133" y="659"/>
                          <a:pt x="133" y="659"/>
                        </a:cubicBezTo>
                        <a:cubicBezTo>
                          <a:pt x="133" y="659"/>
                          <a:pt x="133" y="658"/>
                          <a:pt x="132" y="657"/>
                        </a:cubicBezTo>
                        <a:cubicBezTo>
                          <a:pt x="132" y="656"/>
                          <a:pt x="132" y="655"/>
                          <a:pt x="132" y="655"/>
                        </a:cubicBezTo>
                        <a:cubicBezTo>
                          <a:pt x="132" y="655"/>
                          <a:pt x="136" y="654"/>
                          <a:pt x="137" y="654"/>
                        </a:cubicBezTo>
                        <a:cubicBezTo>
                          <a:pt x="139" y="654"/>
                          <a:pt x="139" y="653"/>
                          <a:pt x="139" y="650"/>
                        </a:cubicBezTo>
                        <a:cubicBezTo>
                          <a:pt x="139" y="647"/>
                          <a:pt x="139" y="639"/>
                          <a:pt x="138" y="636"/>
                        </a:cubicBezTo>
                        <a:cubicBezTo>
                          <a:pt x="138" y="632"/>
                          <a:pt x="137" y="609"/>
                          <a:pt x="135" y="597"/>
                        </a:cubicBezTo>
                        <a:cubicBezTo>
                          <a:pt x="134" y="585"/>
                          <a:pt x="132" y="548"/>
                          <a:pt x="133" y="531"/>
                        </a:cubicBezTo>
                        <a:cubicBezTo>
                          <a:pt x="134" y="513"/>
                          <a:pt x="140" y="488"/>
                          <a:pt x="147" y="470"/>
                        </a:cubicBezTo>
                        <a:cubicBezTo>
                          <a:pt x="154" y="453"/>
                          <a:pt x="159" y="443"/>
                          <a:pt x="159" y="443"/>
                        </a:cubicBezTo>
                        <a:cubicBezTo>
                          <a:pt x="159" y="443"/>
                          <a:pt x="161" y="457"/>
                          <a:pt x="165" y="477"/>
                        </a:cubicBezTo>
                        <a:cubicBezTo>
                          <a:pt x="170" y="498"/>
                          <a:pt x="173" y="516"/>
                          <a:pt x="176" y="530"/>
                        </a:cubicBezTo>
                        <a:cubicBezTo>
                          <a:pt x="178" y="545"/>
                          <a:pt x="179" y="565"/>
                          <a:pt x="180" y="571"/>
                        </a:cubicBezTo>
                        <a:cubicBezTo>
                          <a:pt x="180" y="577"/>
                          <a:pt x="180" y="591"/>
                          <a:pt x="180" y="601"/>
                        </a:cubicBezTo>
                        <a:cubicBezTo>
                          <a:pt x="180" y="610"/>
                          <a:pt x="180" y="631"/>
                          <a:pt x="180" y="637"/>
                        </a:cubicBezTo>
                        <a:cubicBezTo>
                          <a:pt x="181" y="644"/>
                          <a:pt x="181" y="652"/>
                          <a:pt x="181" y="655"/>
                        </a:cubicBezTo>
                        <a:cubicBezTo>
                          <a:pt x="182" y="658"/>
                          <a:pt x="183" y="663"/>
                          <a:pt x="183" y="663"/>
                        </a:cubicBezTo>
                        <a:cubicBezTo>
                          <a:pt x="183" y="663"/>
                          <a:pt x="178" y="668"/>
                          <a:pt x="172" y="671"/>
                        </a:cubicBezTo>
                        <a:cubicBezTo>
                          <a:pt x="167" y="675"/>
                          <a:pt x="157" y="676"/>
                          <a:pt x="155" y="678"/>
                        </a:cubicBezTo>
                        <a:cubicBezTo>
                          <a:pt x="153" y="681"/>
                          <a:pt x="154" y="685"/>
                          <a:pt x="154" y="685"/>
                        </a:cubicBezTo>
                        <a:cubicBezTo>
                          <a:pt x="154" y="685"/>
                          <a:pt x="153" y="688"/>
                          <a:pt x="154" y="691"/>
                        </a:cubicBezTo>
                        <a:cubicBezTo>
                          <a:pt x="156" y="694"/>
                          <a:pt x="163" y="698"/>
                          <a:pt x="174" y="697"/>
                        </a:cubicBezTo>
                        <a:cubicBezTo>
                          <a:pt x="186" y="696"/>
                          <a:pt x="199" y="694"/>
                          <a:pt x="213" y="692"/>
                        </a:cubicBezTo>
                        <a:cubicBezTo>
                          <a:pt x="227" y="690"/>
                          <a:pt x="238" y="687"/>
                          <a:pt x="238" y="686"/>
                        </a:cubicBezTo>
                        <a:cubicBezTo>
                          <a:pt x="239" y="684"/>
                          <a:pt x="238" y="682"/>
                          <a:pt x="238" y="679"/>
                        </a:cubicBezTo>
                        <a:cubicBezTo>
                          <a:pt x="238" y="676"/>
                          <a:pt x="237" y="673"/>
                          <a:pt x="237" y="673"/>
                        </a:cubicBezTo>
                        <a:cubicBezTo>
                          <a:pt x="237" y="673"/>
                          <a:pt x="237" y="669"/>
                          <a:pt x="237" y="666"/>
                        </a:cubicBezTo>
                        <a:cubicBezTo>
                          <a:pt x="236" y="662"/>
                          <a:pt x="235" y="658"/>
                          <a:pt x="235" y="658"/>
                        </a:cubicBezTo>
                        <a:cubicBezTo>
                          <a:pt x="235" y="658"/>
                          <a:pt x="237" y="656"/>
                          <a:pt x="236" y="654"/>
                        </a:cubicBezTo>
                        <a:cubicBezTo>
                          <a:pt x="236" y="651"/>
                          <a:pt x="235" y="642"/>
                          <a:pt x="234" y="637"/>
                        </a:cubicBezTo>
                        <a:cubicBezTo>
                          <a:pt x="233" y="632"/>
                          <a:pt x="232" y="611"/>
                          <a:pt x="231" y="597"/>
                        </a:cubicBezTo>
                        <a:cubicBezTo>
                          <a:pt x="230" y="583"/>
                          <a:pt x="229" y="539"/>
                          <a:pt x="229" y="523"/>
                        </a:cubicBezTo>
                        <a:cubicBezTo>
                          <a:pt x="229" y="507"/>
                          <a:pt x="231" y="471"/>
                          <a:pt x="232" y="454"/>
                        </a:cubicBezTo>
                        <a:cubicBezTo>
                          <a:pt x="232" y="437"/>
                          <a:pt x="232" y="419"/>
                          <a:pt x="233" y="406"/>
                        </a:cubicBezTo>
                        <a:cubicBezTo>
                          <a:pt x="233" y="392"/>
                          <a:pt x="234" y="384"/>
                          <a:pt x="234" y="384"/>
                        </a:cubicBezTo>
                        <a:cubicBezTo>
                          <a:pt x="234" y="384"/>
                          <a:pt x="236" y="383"/>
                          <a:pt x="236" y="380"/>
                        </a:cubicBezTo>
                        <a:cubicBezTo>
                          <a:pt x="236" y="376"/>
                          <a:pt x="238" y="356"/>
                          <a:pt x="238" y="356"/>
                        </a:cubicBezTo>
                        <a:cubicBezTo>
                          <a:pt x="238" y="356"/>
                          <a:pt x="240" y="340"/>
                          <a:pt x="244" y="331"/>
                        </a:cubicBezTo>
                        <a:cubicBezTo>
                          <a:pt x="247" y="321"/>
                          <a:pt x="246" y="303"/>
                          <a:pt x="244" y="283"/>
                        </a:cubicBezTo>
                        <a:cubicBezTo>
                          <a:pt x="242" y="264"/>
                          <a:pt x="241" y="230"/>
                          <a:pt x="241" y="230"/>
                        </a:cubicBezTo>
                        <a:cubicBezTo>
                          <a:pt x="241" y="230"/>
                          <a:pt x="248" y="227"/>
                          <a:pt x="248" y="225"/>
                        </a:cubicBezTo>
                        <a:cubicBezTo>
                          <a:pt x="248" y="223"/>
                          <a:pt x="245" y="211"/>
                          <a:pt x="244" y="197"/>
                        </a:cubicBezTo>
                        <a:cubicBezTo>
                          <a:pt x="242" y="183"/>
                          <a:pt x="240" y="172"/>
                          <a:pt x="237" y="156"/>
                        </a:cubicBezTo>
                        <a:cubicBezTo>
                          <a:pt x="233" y="140"/>
                          <a:pt x="225" y="129"/>
                          <a:pt x="219" y="123"/>
                        </a:cubicBezTo>
                        <a:cubicBezTo>
                          <a:pt x="213" y="118"/>
                          <a:pt x="207" y="118"/>
                          <a:pt x="199" y="117"/>
                        </a:cubicBezTo>
                        <a:cubicBezTo>
                          <a:pt x="192" y="116"/>
                          <a:pt x="186" y="115"/>
                          <a:pt x="186" y="115"/>
                        </a:cubicBezTo>
                        <a:cubicBezTo>
                          <a:pt x="186" y="115"/>
                          <a:pt x="192" y="111"/>
                          <a:pt x="195" y="103"/>
                        </a:cubicBezTo>
                        <a:cubicBezTo>
                          <a:pt x="197" y="96"/>
                          <a:pt x="199" y="89"/>
                          <a:pt x="199" y="84"/>
                        </a:cubicBezTo>
                        <a:cubicBezTo>
                          <a:pt x="199" y="79"/>
                          <a:pt x="199" y="76"/>
                          <a:pt x="199" y="74"/>
                        </a:cubicBezTo>
                        <a:cubicBezTo>
                          <a:pt x="200" y="72"/>
                          <a:pt x="201" y="70"/>
                          <a:pt x="202" y="69"/>
                        </a:cubicBezTo>
                        <a:cubicBezTo>
                          <a:pt x="203" y="67"/>
                          <a:pt x="203" y="60"/>
                          <a:pt x="203" y="60"/>
                        </a:cubicBezTo>
                        <a:cubicBezTo>
                          <a:pt x="203" y="60"/>
                          <a:pt x="205" y="58"/>
                          <a:pt x="206" y="54"/>
                        </a:cubicBezTo>
                        <a:cubicBezTo>
                          <a:pt x="207" y="50"/>
                          <a:pt x="207" y="38"/>
                          <a:pt x="203" y="30"/>
                        </a:cubicBezTo>
                        <a:cubicBezTo>
                          <a:pt x="199" y="22"/>
                          <a:pt x="185" y="12"/>
                          <a:pt x="175" y="6"/>
                        </a:cubicBezTo>
                        <a:cubicBezTo>
                          <a:pt x="165" y="0"/>
                          <a:pt x="152" y="1"/>
                          <a:pt x="141" y="3"/>
                        </a:cubicBezTo>
                        <a:cubicBezTo>
                          <a:pt x="131" y="5"/>
                          <a:pt x="116" y="11"/>
                          <a:pt x="109" y="23"/>
                        </a:cubicBezTo>
                        <a:cubicBezTo>
                          <a:pt x="102" y="35"/>
                          <a:pt x="101" y="53"/>
                          <a:pt x="103" y="64"/>
                        </a:cubicBezTo>
                        <a:cubicBezTo>
                          <a:pt x="104" y="76"/>
                          <a:pt x="106" y="82"/>
                          <a:pt x="110" y="88"/>
                        </a:cubicBezTo>
                        <a:cubicBezTo>
                          <a:pt x="113" y="92"/>
                          <a:pt x="117" y="93"/>
                          <a:pt x="117" y="93"/>
                        </a:cubicBezTo>
                        <a:cubicBezTo>
                          <a:pt x="117" y="93"/>
                          <a:pt x="117" y="96"/>
                          <a:pt x="117" y="104"/>
                        </a:cubicBezTo>
                        <a:cubicBezTo>
                          <a:pt x="116" y="113"/>
                          <a:pt x="115" y="118"/>
                          <a:pt x="115" y="118"/>
                        </a:cubicBezTo>
                        <a:cubicBezTo>
                          <a:pt x="115" y="118"/>
                          <a:pt x="107" y="119"/>
                          <a:pt x="100" y="122"/>
                        </a:cubicBezTo>
                        <a:cubicBezTo>
                          <a:pt x="94" y="125"/>
                          <a:pt x="89" y="127"/>
                          <a:pt x="80" y="132"/>
                        </a:cubicBezTo>
                        <a:cubicBezTo>
                          <a:pt x="71" y="137"/>
                          <a:pt x="65" y="141"/>
                          <a:pt x="65" y="141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1" name="Freeform 172"/>
                  <p:cNvSpPr>
                    <a:spLocks/>
                  </p:cNvSpPr>
                  <p:nvPr/>
                </p:nvSpPr>
                <p:spPr bwMode="auto">
                  <a:xfrm>
                    <a:off x="3276600" y="4146550"/>
                    <a:ext cx="20638" cy="60325"/>
                  </a:xfrm>
                  <a:custGeom>
                    <a:avLst/>
                    <a:gdLst>
                      <a:gd name="T0" fmla="*/ 49 w 52"/>
                      <a:gd name="T1" fmla="*/ 148 h 152"/>
                      <a:gd name="T2" fmla="*/ 51 w 52"/>
                      <a:gd name="T3" fmla="*/ 129 h 152"/>
                      <a:gd name="T4" fmla="*/ 47 w 52"/>
                      <a:gd name="T5" fmla="*/ 104 h 152"/>
                      <a:gd name="T6" fmla="*/ 44 w 52"/>
                      <a:gd name="T7" fmla="*/ 61 h 152"/>
                      <a:gd name="T8" fmla="*/ 36 w 52"/>
                      <a:gd name="T9" fmla="*/ 12 h 152"/>
                      <a:gd name="T10" fmla="*/ 31 w 52"/>
                      <a:gd name="T11" fmla="*/ 0 h 152"/>
                      <a:gd name="T12" fmla="*/ 14 w 52"/>
                      <a:gd name="T13" fmla="*/ 4 h 152"/>
                      <a:gd name="T14" fmla="*/ 0 w 52"/>
                      <a:gd name="T15" fmla="*/ 12 h 152"/>
                      <a:gd name="T16" fmla="*/ 9 w 52"/>
                      <a:gd name="T17" fmla="*/ 41 h 152"/>
                      <a:gd name="T18" fmla="*/ 21 w 52"/>
                      <a:gd name="T19" fmla="*/ 84 h 152"/>
                      <a:gd name="T20" fmla="*/ 21 w 52"/>
                      <a:gd name="T21" fmla="*/ 103 h 152"/>
                      <a:gd name="T22" fmla="*/ 20 w 52"/>
                      <a:gd name="T23" fmla="*/ 130 h 152"/>
                      <a:gd name="T24" fmla="*/ 23 w 52"/>
                      <a:gd name="T25" fmla="*/ 141 h 152"/>
                      <a:gd name="T26" fmla="*/ 29 w 52"/>
                      <a:gd name="T27" fmla="*/ 142 h 152"/>
                      <a:gd name="T28" fmla="*/ 24 w 52"/>
                      <a:gd name="T29" fmla="*/ 143 h 152"/>
                      <a:gd name="T30" fmla="*/ 24 w 52"/>
                      <a:gd name="T31" fmla="*/ 143 h 152"/>
                      <a:gd name="T32" fmla="*/ 46 w 52"/>
                      <a:gd name="T33" fmla="*/ 150 h 152"/>
                      <a:gd name="T34" fmla="*/ 49 w 52"/>
                      <a:gd name="T35" fmla="*/ 148 h 1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52" h="152">
                        <a:moveTo>
                          <a:pt x="49" y="148"/>
                        </a:moveTo>
                        <a:cubicBezTo>
                          <a:pt x="51" y="145"/>
                          <a:pt x="52" y="137"/>
                          <a:pt x="51" y="129"/>
                        </a:cubicBezTo>
                        <a:cubicBezTo>
                          <a:pt x="50" y="122"/>
                          <a:pt x="48" y="108"/>
                          <a:pt x="47" y="104"/>
                        </a:cubicBezTo>
                        <a:cubicBezTo>
                          <a:pt x="47" y="99"/>
                          <a:pt x="45" y="75"/>
                          <a:pt x="44" y="61"/>
                        </a:cubicBezTo>
                        <a:cubicBezTo>
                          <a:pt x="43" y="47"/>
                          <a:pt x="38" y="19"/>
                          <a:pt x="36" y="12"/>
                        </a:cubicBezTo>
                        <a:cubicBezTo>
                          <a:pt x="34" y="5"/>
                          <a:pt x="31" y="0"/>
                          <a:pt x="31" y="0"/>
                        </a:cubicBezTo>
                        <a:cubicBezTo>
                          <a:pt x="31" y="0"/>
                          <a:pt x="22" y="0"/>
                          <a:pt x="14" y="4"/>
                        </a:cubicBezTo>
                        <a:cubicBezTo>
                          <a:pt x="7" y="7"/>
                          <a:pt x="0" y="12"/>
                          <a:pt x="0" y="12"/>
                        </a:cubicBezTo>
                        <a:cubicBezTo>
                          <a:pt x="0" y="12"/>
                          <a:pt x="5" y="27"/>
                          <a:pt x="9" y="41"/>
                        </a:cubicBezTo>
                        <a:cubicBezTo>
                          <a:pt x="14" y="56"/>
                          <a:pt x="20" y="76"/>
                          <a:pt x="21" y="84"/>
                        </a:cubicBezTo>
                        <a:cubicBezTo>
                          <a:pt x="21" y="91"/>
                          <a:pt x="22" y="98"/>
                          <a:pt x="21" y="103"/>
                        </a:cubicBezTo>
                        <a:cubicBezTo>
                          <a:pt x="20" y="109"/>
                          <a:pt x="19" y="125"/>
                          <a:pt x="20" y="130"/>
                        </a:cubicBezTo>
                        <a:cubicBezTo>
                          <a:pt x="20" y="136"/>
                          <a:pt x="20" y="140"/>
                          <a:pt x="23" y="141"/>
                        </a:cubicBezTo>
                        <a:cubicBezTo>
                          <a:pt x="25" y="142"/>
                          <a:pt x="29" y="142"/>
                          <a:pt x="29" y="142"/>
                        </a:cubicBezTo>
                        <a:cubicBezTo>
                          <a:pt x="29" y="142"/>
                          <a:pt x="26" y="143"/>
                          <a:pt x="24" y="143"/>
                        </a:cubicBezTo>
                        <a:cubicBezTo>
                          <a:pt x="24" y="143"/>
                          <a:pt x="24" y="143"/>
                          <a:pt x="24" y="143"/>
                        </a:cubicBezTo>
                        <a:cubicBezTo>
                          <a:pt x="28" y="149"/>
                          <a:pt x="35" y="152"/>
                          <a:pt x="46" y="150"/>
                        </a:cubicBezTo>
                        <a:cubicBezTo>
                          <a:pt x="47" y="149"/>
                          <a:pt x="48" y="148"/>
                          <a:pt x="49" y="148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2" name="Freeform 173"/>
                  <p:cNvSpPr>
                    <a:spLocks/>
                  </p:cNvSpPr>
                  <p:nvPr/>
                </p:nvSpPr>
                <p:spPr bwMode="auto">
                  <a:xfrm>
                    <a:off x="2841625" y="4022725"/>
                    <a:ext cx="152400" cy="209550"/>
                  </a:xfrm>
                  <a:custGeom>
                    <a:avLst/>
                    <a:gdLst>
                      <a:gd name="T0" fmla="*/ 151 w 384"/>
                      <a:gd name="T1" fmla="*/ 139 h 529"/>
                      <a:gd name="T2" fmla="*/ 152 w 384"/>
                      <a:gd name="T3" fmla="*/ 125 h 529"/>
                      <a:gd name="T4" fmla="*/ 127 w 384"/>
                      <a:gd name="T5" fmla="*/ 41 h 529"/>
                      <a:gd name="T6" fmla="*/ 200 w 384"/>
                      <a:gd name="T7" fmla="*/ 0 h 529"/>
                      <a:gd name="T8" fmla="*/ 217 w 384"/>
                      <a:gd name="T9" fmla="*/ 12 h 529"/>
                      <a:gd name="T10" fmla="*/ 242 w 384"/>
                      <a:gd name="T11" fmla="*/ 51 h 529"/>
                      <a:gd name="T12" fmla="*/ 250 w 384"/>
                      <a:gd name="T13" fmla="*/ 80 h 529"/>
                      <a:gd name="T14" fmla="*/ 247 w 384"/>
                      <a:gd name="T15" fmla="*/ 92 h 529"/>
                      <a:gd name="T16" fmla="*/ 248 w 384"/>
                      <a:gd name="T17" fmla="*/ 120 h 529"/>
                      <a:gd name="T18" fmla="*/ 233 w 384"/>
                      <a:gd name="T19" fmla="*/ 138 h 529"/>
                      <a:gd name="T20" fmla="*/ 232 w 384"/>
                      <a:gd name="T21" fmla="*/ 149 h 529"/>
                      <a:gd name="T22" fmla="*/ 256 w 384"/>
                      <a:gd name="T23" fmla="*/ 160 h 529"/>
                      <a:gd name="T24" fmla="*/ 316 w 384"/>
                      <a:gd name="T25" fmla="*/ 193 h 529"/>
                      <a:gd name="T26" fmla="*/ 363 w 384"/>
                      <a:gd name="T27" fmla="*/ 258 h 529"/>
                      <a:gd name="T28" fmla="*/ 361 w 384"/>
                      <a:gd name="T29" fmla="*/ 306 h 529"/>
                      <a:gd name="T30" fmla="*/ 315 w 384"/>
                      <a:gd name="T31" fmla="*/ 316 h 529"/>
                      <a:gd name="T32" fmla="*/ 311 w 384"/>
                      <a:gd name="T33" fmla="*/ 323 h 529"/>
                      <a:gd name="T34" fmla="*/ 334 w 384"/>
                      <a:gd name="T35" fmla="*/ 343 h 529"/>
                      <a:gd name="T36" fmla="*/ 358 w 384"/>
                      <a:gd name="T37" fmla="*/ 355 h 529"/>
                      <a:gd name="T38" fmla="*/ 351 w 384"/>
                      <a:gd name="T39" fmla="*/ 383 h 529"/>
                      <a:gd name="T40" fmla="*/ 356 w 384"/>
                      <a:gd name="T41" fmla="*/ 413 h 529"/>
                      <a:gd name="T42" fmla="*/ 351 w 384"/>
                      <a:gd name="T43" fmla="*/ 435 h 529"/>
                      <a:gd name="T44" fmla="*/ 356 w 384"/>
                      <a:gd name="T45" fmla="*/ 462 h 529"/>
                      <a:gd name="T46" fmla="*/ 183 w 384"/>
                      <a:gd name="T47" fmla="*/ 519 h 529"/>
                      <a:gd name="T48" fmla="*/ 88 w 384"/>
                      <a:gd name="T49" fmla="*/ 446 h 529"/>
                      <a:gd name="T50" fmla="*/ 105 w 384"/>
                      <a:gd name="T51" fmla="*/ 422 h 529"/>
                      <a:gd name="T52" fmla="*/ 110 w 384"/>
                      <a:gd name="T53" fmla="*/ 390 h 529"/>
                      <a:gd name="T54" fmla="*/ 107 w 384"/>
                      <a:gd name="T55" fmla="*/ 361 h 529"/>
                      <a:gd name="T56" fmla="*/ 89 w 384"/>
                      <a:gd name="T57" fmla="*/ 319 h 529"/>
                      <a:gd name="T58" fmla="*/ 88 w 384"/>
                      <a:gd name="T59" fmla="*/ 277 h 529"/>
                      <a:gd name="T60" fmla="*/ 70 w 384"/>
                      <a:gd name="T61" fmla="*/ 300 h 529"/>
                      <a:gd name="T62" fmla="*/ 3 w 384"/>
                      <a:gd name="T63" fmla="*/ 275 h 529"/>
                      <a:gd name="T64" fmla="*/ 23 w 384"/>
                      <a:gd name="T65" fmla="*/ 238 h 529"/>
                      <a:gd name="T66" fmla="*/ 57 w 384"/>
                      <a:gd name="T67" fmla="*/ 188 h 529"/>
                      <a:gd name="T68" fmla="*/ 122 w 384"/>
                      <a:gd name="T69" fmla="*/ 156 h 5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</a:cxnLst>
                    <a:rect l="0" t="0" r="r" b="b"/>
                    <a:pathLst>
                      <a:path w="384" h="529">
                        <a:moveTo>
                          <a:pt x="147" y="147"/>
                        </a:moveTo>
                        <a:cubicBezTo>
                          <a:pt x="147" y="147"/>
                          <a:pt x="149" y="144"/>
                          <a:pt x="151" y="139"/>
                        </a:cubicBezTo>
                        <a:cubicBezTo>
                          <a:pt x="153" y="134"/>
                          <a:pt x="155" y="131"/>
                          <a:pt x="155" y="131"/>
                        </a:cubicBezTo>
                        <a:cubicBezTo>
                          <a:pt x="155" y="131"/>
                          <a:pt x="153" y="128"/>
                          <a:pt x="152" y="125"/>
                        </a:cubicBezTo>
                        <a:cubicBezTo>
                          <a:pt x="152" y="121"/>
                          <a:pt x="132" y="98"/>
                          <a:pt x="130" y="91"/>
                        </a:cubicBezTo>
                        <a:cubicBezTo>
                          <a:pt x="128" y="83"/>
                          <a:pt x="121" y="60"/>
                          <a:pt x="127" y="41"/>
                        </a:cubicBezTo>
                        <a:cubicBezTo>
                          <a:pt x="134" y="21"/>
                          <a:pt x="157" y="12"/>
                          <a:pt x="166" y="7"/>
                        </a:cubicBezTo>
                        <a:cubicBezTo>
                          <a:pt x="175" y="1"/>
                          <a:pt x="195" y="0"/>
                          <a:pt x="200" y="0"/>
                        </a:cubicBezTo>
                        <a:cubicBezTo>
                          <a:pt x="204" y="0"/>
                          <a:pt x="208" y="2"/>
                          <a:pt x="213" y="4"/>
                        </a:cubicBezTo>
                        <a:cubicBezTo>
                          <a:pt x="218" y="5"/>
                          <a:pt x="217" y="12"/>
                          <a:pt x="217" y="12"/>
                        </a:cubicBezTo>
                        <a:cubicBezTo>
                          <a:pt x="217" y="12"/>
                          <a:pt x="232" y="22"/>
                          <a:pt x="234" y="29"/>
                        </a:cubicBezTo>
                        <a:cubicBezTo>
                          <a:pt x="237" y="37"/>
                          <a:pt x="241" y="48"/>
                          <a:pt x="242" y="51"/>
                        </a:cubicBezTo>
                        <a:cubicBezTo>
                          <a:pt x="244" y="55"/>
                          <a:pt x="242" y="60"/>
                          <a:pt x="242" y="64"/>
                        </a:cubicBezTo>
                        <a:cubicBezTo>
                          <a:pt x="242" y="67"/>
                          <a:pt x="247" y="76"/>
                          <a:pt x="250" y="80"/>
                        </a:cubicBezTo>
                        <a:cubicBezTo>
                          <a:pt x="254" y="84"/>
                          <a:pt x="254" y="86"/>
                          <a:pt x="252" y="88"/>
                        </a:cubicBezTo>
                        <a:cubicBezTo>
                          <a:pt x="250" y="91"/>
                          <a:pt x="247" y="92"/>
                          <a:pt x="247" y="92"/>
                        </a:cubicBezTo>
                        <a:cubicBezTo>
                          <a:pt x="247" y="92"/>
                          <a:pt x="250" y="102"/>
                          <a:pt x="248" y="108"/>
                        </a:cubicBezTo>
                        <a:cubicBezTo>
                          <a:pt x="246" y="113"/>
                          <a:pt x="247" y="115"/>
                          <a:pt x="248" y="120"/>
                        </a:cubicBezTo>
                        <a:cubicBezTo>
                          <a:pt x="249" y="125"/>
                          <a:pt x="250" y="131"/>
                          <a:pt x="244" y="133"/>
                        </a:cubicBezTo>
                        <a:cubicBezTo>
                          <a:pt x="237" y="135"/>
                          <a:pt x="233" y="134"/>
                          <a:pt x="233" y="138"/>
                        </a:cubicBezTo>
                        <a:cubicBezTo>
                          <a:pt x="232" y="142"/>
                          <a:pt x="232" y="142"/>
                          <a:pt x="232" y="142"/>
                        </a:cubicBezTo>
                        <a:cubicBezTo>
                          <a:pt x="232" y="142"/>
                          <a:pt x="232" y="147"/>
                          <a:pt x="232" y="149"/>
                        </a:cubicBezTo>
                        <a:cubicBezTo>
                          <a:pt x="232" y="151"/>
                          <a:pt x="232" y="151"/>
                          <a:pt x="232" y="151"/>
                        </a:cubicBezTo>
                        <a:cubicBezTo>
                          <a:pt x="232" y="151"/>
                          <a:pt x="251" y="158"/>
                          <a:pt x="256" y="160"/>
                        </a:cubicBezTo>
                        <a:cubicBezTo>
                          <a:pt x="260" y="163"/>
                          <a:pt x="280" y="173"/>
                          <a:pt x="287" y="175"/>
                        </a:cubicBezTo>
                        <a:cubicBezTo>
                          <a:pt x="293" y="178"/>
                          <a:pt x="309" y="183"/>
                          <a:pt x="316" y="193"/>
                        </a:cubicBezTo>
                        <a:cubicBezTo>
                          <a:pt x="324" y="202"/>
                          <a:pt x="336" y="218"/>
                          <a:pt x="344" y="229"/>
                        </a:cubicBezTo>
                        <a:cubicBezTo>
                          <a:pt x="351" y="241"/>
                          <a:pt x="356" y="248"/>
                          <a:pt x="363" y="258"/>
                        </a:cubicBezTo>
                        <a:cubicBezTo>
                          <a:pt x="371" y="269"/>
                          <a:pt x="379" y="279"/>
                          <a:pt x="382" y="283"/>
                        </a:cubicBezTo>
                        <a:cubicBezTo>
                          <a:pt x="384" y="287"/>
                          <a:pt x="378" y="299"/>
                          <a:pt x="361" y="306"/>
                        </a:cubicBezTo>
                        <a:cubicBezTo>
                          <a:pt x="344" y="314"/>
                          <a:pt x="327" y="319"/>
                          <a:pt x="323" y="320"/>
                        </a:cubicBezTo>
                        <a:cubicBezTo>
                          <a:pt x="318" y="320"/>
                          <a:pt x="318" y="321"/>
                          <a:pt x="315" y="316"/>
                        </a:cubicBezTo>
                        <a:cubicBezTo>
                          <a:pt x="312" y="312"/>
                          <a:pt x="310" y="311"/>
                          <a:pt x="310" y="311"/>
                        </a:cubicBezTo>
                        <a:cubicBezTo>
                          <a:pt x="311" y="323"/>
                          <a:pt x="311" y="323"/>
                          <a:pt x="311" y="323"/>
                        </a:cubicBezTo>
                        <a:cubicBezTo>
                          <a:pt x="311" y="323"/>
                          <a:pt x="327" y="330"/>
                          <a:pt x="331" y="337"/>
                        </a:cubicBezTo>
                        <a:cubicBezTo>
                          <a:pt x="334" y="343"/>
                          <a:pt x="334" y="343"/>
                          <a:pt x="334" y="343"/>
                        </a:cubicBezTo>
                        <a:cubicBezTo>
                          <a:pt x="334" y="343"/>
                          <a:pt x="341" y="335"/>
                          <a:pt x="350" y="338"/>
                        </a:cubicBezTo>
                        <a:cubicBezTo>
                          <a:pt x="358" y="340"/>
                          <a:pt x="360" y="351"/>
                          <a:pt x="358" y="355"/>
                        </a:cubicBezTo>
                        <a:cubicBezTo>
                          <a:pt x="357" y="359"/>
                          <a:pt x="349" y="359"/>
                          <a:pt x="349" y="359"/>
                        </a:cubicBezTo>
                        <a:cubicBezTo>
                          <a:pt x="351" y="383"/>
                          <a:pt x="351" y="383"/>
                          <a:pt x="351" y="383"/>
                        </a:cubicBezTo>
                        <a:cubicBezTo>
                          <a:pt x="351" y="383"/>
                          <a:pt x="355" y="385"/>
                          <a:pt x="355" y="388"/>
                        </a:cubicBezTo>
                        <a:cubicBezTo>
                          <a:pt x="355" y="390"/>
                          <a:pt x="357" y="410"/>
                          <a:pt x="356" y="413"/>
                        </a:cubicBezTo>
                        <a:cubicBezTo>
                          <a:pt x="355" y="415"/>
                          <a:pt x="350" y="415"/>
                          <a:pt x="350" y="415"/>
                        </a:cubicBezTo>
                        <a:cubicBezTo>
                          <a:pt x="351" y="435"/>
                          <a:pt x="351" y="435"/>
                          <a:pt x="351" y="435"/>
                        </a:cubicBezTo>
                        <a:cubicBezTo>
                          <a:pt x="351" y="435"/>
                          <a:pt x="355" y="440"/>
                          <a:pt x="356" y="444"/>
                        </a:cubicBezTo>
                        <a:cubicBezTo>
                          <a:pt x="357" y="448"/>
                          <a:pt x="357" y="456"/>
                          <a:pt x="356" y="462"/>
                        </a:cubicBezTo>
                        <a:cubicBezTo>
                          <a:pt x="355" y="467"/>
                          <a:pt x="349" y="498"/>
                          <a:pt x="308" y="510"/>
                        </a:cubicBezTo>
                        <a:cubicBezTo>
                          <a:pt x="267" y="522"/>
                          <a:pt x="227" y="529"/>
                          <a:pt x="183" y="519"/>
                        </a:cubicBezTo>
                        <a:cubicBezTo>
                          <a:pt x="138" y="508"/>
                          <a:pt x="128" y="499"/>
                          <a:pt x="125" y="481"/>
                        </a:cubicBezTo>
                        <a:cubicBezTo>
                          <a:pt x="123" y="463"/>
                          <a:pt x="88" y="453"/>
                          <a:pt x="88" y="446"/>
                        </a:cubicBezTo>
                        <a:cubicBezTo>
                          <a:pt x="87" y="439"/>
                          <a:pt x="87" y="432"/>
                          <a:pt x="89" y="429"/>
                        </a:cubicBezTo>
                        <a:cubicBezTo>
                          <a:pt x="91" y="426"/>
                          <a:pt x="105" y="422"/>
                          <a:pt x="105" y="422"/>
                        </a:cubicBezTo>
                        <a:cubicBezTo>
                          <a:pt x="105" y="422"/>
                          <a:pt x="105" y="398"/>
                          <a:pt x="107" y="394"/>
                        </a:cubicBezTo>
                        <a:cubicBezTo>
                          <a:pt x="108" y="391"/>
                          <a:pt x="110" y="390"/>
                          <a:pt x="110" y="390"/>
                        </a:cubicBezTo>
                        <a:cubicBezTo>
                          <a:pt x="110" y="390"/>
                          <a:pt x="107" y="382"/>
                          <a:pt x="108" y="376"/>
                        </a:cubicBezTo>
                        <a:cubicBezTo>
                          <a:pt x="108" y="370"/>
                          <a:pt x="109" y="365"/>
                          <a:pt x="107" y="361"/>
                        </a:cubicBezTo>
                        <a:cubicBezTo>
                          <a:pt x="106" y="357"/>
                          <a:pt x="106" y="342"/>
                          <a:pt x="106" y="342"/>
                        </a:cubicBezTo>
                        <a:cubicBezTo>
                          <a:pt x="106" y="342"/>
                          <a:pt x="92" y="331"/>
                          <a:pt x="89" y="319"/>
                        </a:cubicBezTo>
                        <a:cubicBezTo>
                          <a:pt x="87" y="307"/>
                          <a:pt x="88" y="286"/>
                          <a:pt x="88" y="282"/>
                        </a:cubicBezTo>
                        <a:cubicBezTo>
                          <a:pt x="88" y="277"/>
                          <a:pt x="88" y="277"/>
                          <a:pt x="88" y="277"/>
                        </a:cubicBezTo>
                        <a:cubicBezTo>
                          <a:pt x="88" y="277"/>
                          <a:pt x="83" y="282"/>
                          <a:pt x="77" y="287"/>
                        </a:cubicBezTo>
                        <a:cubicBezTo>
                          <a:pt x="72" y="291"/>
                          <a:pt x="73" y="294"/>
                          <a:pt x="70" y="300"/>
                        </a:cubicBezTo>
                        <a:cubicBezTo>
                          <a:pt x="67" y="307"/>
                          <a:pt x="62" y="307"/>
                          <a:pt x="50" y="305"/>
                        </a:cubicBezTo>
                        <a:cubicBezTo>
                          <a:pt x="39" y="303"/>
                          <a:pt x="6" y="281"/>
                          <a:pt x="3" y="275"/>
                        </a:cubicBezTo>
                        <a:cubicBezTo>
                          <a:pt x="0" y="270"/>
                          <a:pt x="1" y="269"/>
                          <a:pt x="5" y="264"/>
                        </a:cubicBezTo>
                        <a:cubicBezTo>
                          <a:pt x="8" y="259"/>
                          <a:pt x="17" y="244"/>
                          <a:pt x="23" y="238"/>
                        </a:cubicBezTo>
                        <a:cubicBezTo>
                          <a:pt x="28" y="232"/>
                          <a:pt x="36" y="223"/>
                          <a:pt x="38" y="217"/>
                        </a:cubicBezTo>
                        <a:cubicBezTo>
                          <a:pt x="39" y="211"/>
                          <a:pt x="47" y="199"/>
                          <a:pt x="57" y="188"/>
                        </a:cubicBezTo>
                        <a:cubicBezTo>
                          <a:pt x="67" y="178"/>
                          <a:pt x="76" y="175"/>
                          <a:pt x="86" y="172"/>
                        </a:cubicBezTo>
                        <a:cubicBezTo>
                          <a:pt x="96" y="168"/>
                          <a:pt x="108" y="164"/>
                          <a:pt x="122" y="156"/>
                        </a:cubicBezTo>
                        <a:cubicBezTo>
                          <a:pt x="135" y="147"/>
                          <a:pt x="147" y="147"/>
                          <a:pt x="147" y="147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3" name="Freeform 174"/>
                  <p:cNvSpPr>
                    <a:spLocks/>
                  </p:cNvSpPr>
                  <p:nvPr/>
                </p:nvSpPr>
                <p:spPr bwMode="auto">
                  <a:xfrm>
                    <a:off x="2835275" y="4132263"/>
                    <a:ext cx="34925" cy="98425"/>
                  </a:xfrm>
                  <a:custGeom>
                    <a:avLst/>
                    <a:gdLst>
                      <a:gd name="T0" fmla="*/ 30 w 86"/>
                      <a:gd name="T1" fmla="*/ 0 h 247"/>
                      <a:gd name="T2" fmla="*/ 17 w 86"/>
                      <a:gd name="T3" fmla="*/ 20 h 247"/>
                      <a:gd name="T4" fmla="*/ 0 w 86"/>
                      <a:gd name="T5" fmla="*/ 58 h 247"/>
                      <a:gd name="T6" fmla="*/ 9 w 86"/>
                      <a:gd name="T7" fmla="*/ 129 h 247"/>
                      <a:gd name="T8" fmla="*/ 24 w 86"/>
                      <a:gd name="T9" fmla="*/ 174 h 247"/>
                      <a:gd name="T10" fmla="*/ 28 w 86"/>
                      <a:gd name="T11" fmla="*/ 195 h 247"/>
                      <a:gd name="T12" fmla="*/ 30 w 86"/>
                      <a:gd name="T13" fmla="*/ 213 h 247"/>
                      <a:gd name="T14" fmla="*/ 40 w 86"/>
                      <a:gd name="T15" fmla="*/ 238 h 247"/>
                      <a:gd name="T16" fmla="*/ 55 w 86"/>
                      <a:gd name="T17" fmla="*/ 246 h 247"/>
                      <a:gd name="T18" fmla="*/ 62 w 86"/>
                      <a:gd name="T19" fmla="*/ 241 h 247"/>
                      <a:gd name="T20" fmla="*/ 73 w 86"/>
                      <a:gd name="T21" fmla="*/ 242 h 247"/>
                      <a:gd name="T22" fmla="*/ 72 w 86"/>
                      <a:gd name="T23" fmla="*/ 232 h 247"/>
                      <a:gd name="T24" fmla="*/ 59 w 86"/>
                      <a:gd name="T25" fmla="*/ 229 h 247"/>
                      <a:gd name="T26" fmla="*/ 56 w 86"/>
                      <a:gd name="T27" fmla="*/ 225 h 247"/>
                      <a:gd name="T28" fmla="*/ 69 w 86"/>
                      <a:gd name="T29" fmla="*/ 228 h 247"/>
                      <a:gd name="T30" fmla="*/ 77 w 86"/>
                      <a:gd name="T31" fmla="*/ 224 h 247"/>
                      <a:gd name="T32" fmla="*/ 77 w 86"/>
                      <a:gd name="T33" fmla="*/ 212 h 247"/>
                      <a:gd name="T34" fmla="*/ 67 w 86"/>
                      <a:gd name="T35" fmla="*/ 204 h 247"/>
                      <a:gd name="T36" fmla="*/ 66 w 86"/>
                      <a:gd name="T37" fmla="*/ 196 h 247"/>
                      <a:gd name="T38" fmla="*/ 79 w 86"/>
                      <a:gd name="T39" fmla="*/ 194 h 247"/>
                      <a:gd name="T40" fmla="*/ 83 w 86"/>
                      <a:gd name="T41" fmla="*/ 182 h 247"/>
                      <a:gd name="T42" fmla="*/ 66 w 86"/>
                      <a:gd name="T43" fmla="*/ 170 h 247"/>
                      <a:gd name="T44" fmla="*/ 49 w 86"/>
                      <a:gd name="T45" fmla="*/ 125 h 247"/>
                      <a:gd name="T46" fmla="*/ 53 w 86"/>
                      <a:gd name="T47" fmla="*/ 61 h 247"/>
                      <a:gd name="T48" fmla="*/ 61 w 86"/>
                      <a:gd name="T49" fmla="*/ 40 h 247"/>
                      <a:gd name="T50" fmla="*/ 78 w 86"/>
                      <a:gd name="T51" fmla="*/ 21 h 247"/>
                      <a:gd name="T52" fmla="*/ 46 w 86"/>
                      <a:gd name="T53" fmla="*/ 6 h 247"/>
                      <a:gd name="T54" fmla="*/ 30 w 86"/>
                      <a:gd name="T55" fmla="*/ 0 h 2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86" h="247">
                        <a:moveTo>
                          <a:pt x="30" y="0"/>
                        </a:moveTo>
                        <a:cubicBezTo>
                          <a:pt x="30" y="0"/>
                          <a:pt x="25" y="11"/>
                          <a:pt x="17" y="20"/>
                        </a:cubicBezTo>
                        <a:cubicBezTo>
                          <a:pt x="9" y="30"/>
                          <a:pt x="0" y="48"/>
                          <a:pt x="0" y="58"/>
                        </a:cubicBezTo>
                        <a:cubicBezTo>
                          <a:pt x="1" y="69"/>
                          <a:pt x="3" y="108"/>
                          <a:pt x="9" y="129"/>
                        </a:cubicBezTo>
                        <a:cubicBezTo>
                          <a:pt x="16" y="149"/>
                          <a:pt x="23" y="165"/>
                          <a:pt x="24" y="174"/>
                        </a:cubicBezTo>
                        <a:cubicBezTo>
                          <a:pt x="25" y="184"/>
                          <a:pt x="26" y="190"/>
                          <a:pt x="28" y="195"/>
                        </a:cubicBezTo>
                        <a:cubicBezTo>
                          <a:pt x="31" y="199"/>
                          <a:pt x="29" y="204"/>
                          <a:pt x="30" y="213"/>
                        </a:cubicBezTo>
                        <a:cubicBezTo>
                          <a:pt x="31" y="222"/>
                          <a:pt x="34" y="232"/>
                          <a:pt x="40" y="238"/>
                        </a:cubicBezTo>
                        <a:cubicBezTo>
                          <a:pt x="46" y="243"/>
                          <a:pt x="50" y="247"/>
                          <a:pt x="55" y="246"/>
                        </a:cubicBezTo>
                        <a:cubicBezTo>
                          <a:pt x="61" y="246"/>
                          <a:pt x="62" y="241"/>
                          <a:pt x="62" y="241"/>
                        </a:cubicBezTo>
                        <a:cubicBezTo>
                          <a:pt x="62" y="241"/>
                          <a:pt x="69" y="244"/>
                          <a:pt x="73" y="242"/>
                        </a:cubicBezTo>
                        <a:cubicBezTo>
                          <a:pt x="76" y="239"/>
                          <a:pt x="77" y="234"/>
                          <a:pt x="72" y="232"/>
                        </a:cubicBezTo>
                        <a:cubicBezTo>
                          <a:pt x="67" y="230"/>
                          <a:pt x="62" y="232"/>
                          <a:pt x="59" y="229"/>
                        </a:cubicBezTo>
                        <a:cubicBezTo>
                          <a:pt x="56" y="225"/>
                          <a:pt x="56" y="225"/>
                          <a:pt x="56" y="225"/>
                        </a:cubicBezTo>
                        <a:cubicBezTo>
                          <a:pt x="56" y="225"/>
                          <a:pt x="66" y="228"/>
                          <a:pt x="69" y="228"/>
                        </a:cubicBezTo>
                        <a:cubicBezTo>
                          <a:pt x="72" y="228"/>
                          <a:pt x="77" y="226"/>
                          <a:pt x="77" y="224"/>
                        </a:cubicBezTo>
                        <a:cubicBezTo>
                          <a:pt x="77" y="222"/>
                          <a:pt x="80" y="215"/>
                          <a:pt x="77" y="212"/>
                        </a:cubicBezTo>
                        <a:cubicBezTo>
                          <a:pt x="74" y="209"/>
                          <a:pt x="67" y="206"/>
                          <a:pt x="67" y="204"/>
                        </a:cubicBezTo>
                        <a:cubicBezTo>
                          <a:pt x="66" y="201"/>
                          <a:pt x="64" y="195"/>
                          <a:pt x="66" y="196"/>
                        </a:cubicBezTo>
                        <a:cubicBezTo>
                          <a:pt x="69" y="196"/>
                          <a:pt x="75" y="196"/>
                          <a:pt x="79" y="194"/>
                        </a:cubicBezTo>
                        <a:cubicBezTo>
                          <a:pt x="83" y="192"/>
                          <a:pt x="86" y="184"/>
                          <a:pt x="83" y="182"/>
                        </a:cubicBezTo>
                        <a:cubicBezTo>
                          <a:pt x="80" y="181"/>
                          <a:pt x="70" y="178"/>
                          <a:pt x="66" y="170"/>
                        </a:cubicBezTo>
                        <a:cubicBezTo>
                          <a:pt x="61" y="162"/>
                          <a:pt x="50" y="154"/>
                          <a:pt x="49" y="125"/>
                        </a:cubicBezTo>
                        <a:cubicBezTo>
                          <a:pt x="48" y="97"/>
                          <a:pt x="53" y="72"/>
                          <a:pt x="53" y="61"/>
                        </a:cubicBezTo>
                        <a:cubicBezTo>
                          <a:pt x="53" y="51"/>
                          <a:pt x="54" y="46"/>
                          <a:pt x="61" y="40"/>
                        </a:cubicBezTo>
                        <a:cubicBezTo>
                          <a:pt x="68" y="34"/>
                          <a:pt x="78" y="21"/>
                          <a:pt x="78" y="21"/>
                        </a:cubicBezTo>
                        <a:cubicBezTo>
                          <a:pt x="78" y="21"/>
                          <a:pt x="62" y="11"/>
                          <a:pt x="46" y="6"/>
                        </a:cubicBezTo>
                        <a:cubicBezTo>
                          <a:pt x="30" y="1"/>
                          <a:pt x="30" y="0"/>
                          <a:pt x="30" y="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4" name="Freeform 175"/>
                  <p:cNvSpPr>
                    <a:spLocks/>
                  </p:cNvSpPr>
                  <p:nvPr/>
                </p:nvSpPr>
                <p:spPr bwMode="auto">
                  <a:xfrm>
                    <a:off x="2973388" y="4138613"/>
                    <a:ext cx="42863" cy="84138"/>
                  </a:xfrm>
                  <a:custGeom>
                    <a:avLst/>
                    <a:gdLst>
                      <a:gd name="T0" fmla="*/ 0 w 108"/>
                      <a:gd name="T1" fmla="*/ 26 h 216"/>
                      <a:gd name="T2" fmla="*/ 19 w 108"/>
                      <a:gd name="T3" fmla="*/ 49 h 216"/>
                      <a:gd name="T4" fmla="*/ 38 w 108"/>
                      <a:gd name="T5" fmla="*/ 78 h 216"/>
                      <a:gd name="T6" fmla="*/ 57 w 108"/>
                      <a:gd name="T7" fmla="*/ 107 h 216"/>
                      <a:gd name="T8" fmla="*/ 67 w 108"/>
                      <a:gd name="T9" fmla="*/ 126 h 216"/>
                      <a:gd name="T10" fmla="*/ 58 w 108"/>
                      <a:gd name="T11" fmla="*/ 149 h 216"/>
                      <a:gd name="T12" fmla="*/ 53 w 108"/>
                      <a:gd name="T13" fmla="*/ 166 h 216"/>
                      <a:gd name="T14" fmla="*/ 65 w 108"/>
                      <a:gd name="T15" fmla="*/ 162 h 216"/>
                      <a:gd name="T16" fmla="*/ 78 w 108"/>
                      <a:gd name="T17" fmla="*/ 160 h 216"/>
                      <a:gd name="T18" fmla="*/ 78 w 108"/>
                      <a:gd name="T19" fmla="*/ 174 h 216"/>
                      <a:gd name="T20" fmla="*/ 67 w 108"/>
                      <a:gd name="T21" fmla="*/ 184 h 216"/>
                      <a:gd name="T22" fmla="*/ 62 w 108"/>
                      <a:gd name="T23" fmla="*/ 189 h 216"/>
                      <a:gd name="T24" fmla="*/ 74 w 108"/>
                      <a:gd name="T25" fmla="*/ 190 h 216"/>
                      <a:gd name="T26" fmla="*/ 84 w 108"/>
                      <a:gd name="T27" fmla="*/ 183 h 216"/>
                      <a:gd name="T28" fmla="*/ 77 w 108"/>
                      <a:gd name="T29" fmla="*/ 192 h 216"/>
                      <a:gd name="T30" fmla="*/ 67 w 108"/>
                      <a:gd name="T31" fmla="*/ 204 h 216"/>
                      <a:gd name="T32" fmla="*/ 79 w 108"/>
                      <a:gd name="T33" fmla="*/ 202 h 216"/>
                      <a:gd name="T34" fmla="*/ 83 w 108"/>
                      <a:gd name="T35" fmla="*/ 200 h 216"/>
                      <a:gd name="T36" fmla="*/ 74 w 108"/>
                      <a:gd name="T37" fmla="*/ 208 h 216"/>
                      <a:gd name="T38" fmla="*/ 73 w 108"/>
                      <a:gd name="T39" fmla="*/ 215 h 216"/>
                      <a:gd name="T40" fmla="*/ 88 w 108"/>
                      <a:gd name="T41" fmla="*/ 212 h 216"/>
                      <a:gd name="T42" fmla="*/ 100 w 108"/>
                      <a:gd name="T43" fmla="*/ 204 h 216"/>
                      <a:gd name="T44" fmla="*/ 107 w 108"/>
                      <a:gd name="T45" fmla="*/ 191 h 216"/>
                      <a:gd name="T46" fmla="*/ 103 w 108"/>
                      <a:gd name="T47" fmla="*/ 162 h 216"/>
                      <a:gd name="T48" fmla="*/ 99 w 108"/>
                      <a:gd name="T49" fmla="*/ 129 h 216"/>
                      <a:gd name="T50" fmla="*/ 91 w 108"/>
                      <a:gd name="T51" fmla="*/ 83 h 216"/>
                      <a:gd name="T52" fmla="*/ 80 w 108"/>
                      <a:gd name="T53" fmla="*/ 47 h 216"/>
                      <a:gd name="T54" fmla="*/ 44 w 108"/>
                      <a:gd name="T55" fmla="*/ 5 h 216"/>
                      <a:gd name="T56" fmla="*/ 0 w 108"/>
                      <a:gd name="T57" fmla="*/ 26 h 2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108" h="216">
                        <a:moveTo>
                          <a:pt x="0" y="26"/>
                        </a:moveTo>
                        <a:cubicBezTo>
                          <a:pt x="0" y="26"/>
                          <a:pt x="10" y="41"/>
                          <a:pt x="19" y="49"/>
                        </a:cubicBezTo>
                        <a:cubicBezTo>
                          <a:pt x="27" y="58"/>
                          <a:pt x="36" y="72"/>
                          <a:pt x="38" y="78"/>
                        </a:cubicBezTo>
                        <a:cubicBezTo>
                          <a:pt x="41" y="84"/>
                          <a:pt x="54" y="102"/>
                          <a:pt x="57" y="107"/>
                        </a:cubicBezTo>
                        <a:cubicBezTo>
                          <a:pt x="60" y="113"/>
                          <a:pt x="69" y="120"/>
                          <a:pt x="67" y="126"/>
                        </a:cubicBezTo>
                        <a:cubicBezTo>
                          <a:pt x="65" y="132"/>
                          <a:pt x="59" y="142"/>
                          <a:pt x="58" y="149"/>
                        </a:cubicBezTo>
                        <a:cubicBezTo>
                          <a:pt x="57" y="156"/>
                          <a:pt x="52" y="162"/>
                          <a:pt x="53" y="166"/>
                        </a:cubicBezTo>
                        <a:cubicBezTo>
                          <a:pt x="55" y="171"/>
                          <a:pt x="62" y="168"/>
                          <a:pt x="65" y="162"/>
                        </a:cubicBezTo>
                        <a:cubicBezTo>
                          <a:pt x="69" y="156"/>
                          <a:pt x="76" y="158"/>
                          <a:pt x="78" y="160"/>
                        </a:cubicBezTo>
                        <a:cubicBezTo>
                          <a:pt x="80" y="162"/>
                          <a:pt x="82" y="168"/>
                          <a:pt x="78" y="174"/>
                        </a:cubicBezTo>
                        <a:cubicBezTo>
                          <a:pt x="74" y="179"/>
                          <a:pt x="70" y="183"/>
                          <a:pt x="67" y="184"/>
                        </a:cubicBezTo>
                        <a:cubicBezTo>
                          <a:pt x="63" y="184"/>
                          <a:pt x="62" y="185"/>
                          <a:pt x="62" y="189"/>
                        </a:cubicBezTo>
                        <a:cubicBezTo>
                          <a:pt x="63" y="192"/>
                          <a:pt x="69" y="193"/>
                          <a:pt x="74" y="190"/>
                        </a:cubicBezTo>
                        <a:cubicBezTo>
                          <a:pt x="79" y="188"/>
                          <a:pt x="84" y="183"/>
                          <a:pt x="84" y="183"/>
                        </a:cubicBezTo>
                        <a:cubicBezTo>
                          <a:pt x="84" y="183"/>
                          <a:pt x="82" y="189"/>
                          <a:pt x="77" y="192"/>
                        </a:cubicBezTo>
                        <a:cubicBezTo>
                          <a:pt x="72" y="196"/>
                          <a:pt x="65" y="200"/>
                          <a:pt x="67" y="204"/>
                        </a:cubicBezTo>
                        <a:cubicBezTo>
                          <a:pt x="68" y="208"/>
                          <a:pt x="76" y="204"/>
                          <a:pt x="79" y="202"/>
                        </a:cubicBezTo>
                        <a:cubicBezTo>
                          <a:pt x="83" y="200"/>
                          <a:pt x="83" y="200"/>
                          <a:pt x="83" y="200"/>
                        </a:cubicBezTo>
                        <a:cubicBezTo>
                          <a:pt x="83" y="200"/>
                          <a:pt x="78" y="206"/>
                          <a:pt x="74" y="208"/>
                        </a:cubicBezTo>
                        <a:cubicBezTo>
                          <a:pt x="71" y="210"/>
                          <a:pt x="70" y="214"/>
                          <a:pt x="73" y="215"/>
                        </a:cubicBezTo>
                        <a:cubicBezTo>
                          <a:pt x="76" y="216"/>
                          <a:pt x="82" y="216"/>
                          <a:pt x="88" y="212"/>
                        </a:cubicBezTo>
                        <a:cubicBezTo>
                          <a:pt x="93" y="208"/>
                          <a:pt x="97" y="207"/>
                          <a:pt x="100" y="204"/>
                        </a:cubicBezTo>
                        <a:cubicBezTo>
                          <a:pt x="102" y="202"/>
                          <a:pt x="108" y="195"/>
                          <a:pt x="107" y="191"/>
                        </a:cubicBezTo>
                        <a:cubicBezTo>
                          <a:pt x="106" y="187"/>
                          <a:pt x="107" y="172"/>
                          <a:pt x="103" y="162"/>
                        </a:cubicBezTo>
                        <a:cubicBezTo>
                          <a:pt x="100" y="151"/>
                          <a:pt x="104" y="139"/>
                          <a:pt x="99" y="129"/>
                        </a:cubicBezTo>
                        <a:cubicBezTo>
                          <a:pt x="95" y="120"/>
                          <a:pt x="92" y="95"/>
                          <a:pt x="91" y="83"/>
                        </a:cubicBezTo>
                        <a:cubicBezTo>
                          <a:pt x="90" y="72"/>
                          <a:pt x="89" y="56"/>
                          <a:pt x="80" y="47"/>
                        </a:cubicBezTo>
                        <a:cubicBezTo>
                          <a:pt x="72" y="38"/>
                          <a:pt x="48" y="10"/>
                          <a:pt x="44" y="5"/>
                        </a:cubicBezTo>
                        <a:cubicBezTo>
                          <a:pt x="40" y="0"/>
                          <a:pt x="0" y="26"/>
                          <a:pt x="0" y="26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5" name="Freeform 176"/>
                  <p:cNvSpPr>
                    <a:spLocks noEditPoints="1"/>
                  </p:cNvSpPr>
                  <p:nvPr/>
                </p:nvSpPr>
                <p:spPr bwMode="auto">
                  <a:xfrm>
                    <a:off x="2859088" y="4197350"/>
                    <a:ext cx="23813" cy="149225"/>
                  </a:xfrm>
                  <a:custGeom>
                    <a:avLst/>
                    <a:gdLst>
                      <a:gd name="T0" fmla="*/ 56 w 59"/>
                      <a:gd name="T1" fmla="*/ 35 h 377"/>
                      <a:gd name="T2" fmla="*/ 53 w 59"/>
                      <a:gd name="T3" fmla="*/ 2 h 377"/>
                      <a:gd name="T4" fmla="*/ 45 w 59"/>
                      <a:gd name="T5" fmla="*/ 0 h 377"/>
                      <a:gd name="T6" fmla="*/ 29 w 59"/>
                      <a:gd name="T7" fmla="*/ 13 h 377"/>
                      <a:gd name="T8" fmla="*/ 27 w 59"/>
                      <a:gd name="T9" fmla="*/ 23 h 377"/>
                      <a:gd name="T10" fmla="*/ 10 w 59"/>
                      <a:gd name="T11" fmla="*/ 38 h 377"/>
                      <a:gd name="T12" fmla="*/ 0 w 59"/>
                      <a:gd name="T13" fmla="*/ 210 h 377"/>
                      <a:gd name="T14" fmla="*/ 8 w 59"/>
                      <a:gd name="T15" fmla="*/ 352 h 377"/>
                      <a:gd name="T16" fmla="*/ 13 w 59"/>
                      <a:gd name="T17" fmla="*/ 357 h 377"/>
                      <a:gd name="T18" fmla="*/ 25 w 59"/>
                      <a:gd name="T19" fmla="*/ 376 h 377"/>
                      <a:gd name="T20" fmla="*/ 46 w 59"/>
                      <a:gd name="T21" fmla="*/ 348 h 377"/>
                      <a:gd name="T22" fmla="*/ 48 w 59"/>
                      <a:gd name="T23" fmla="*/ 330 h 377"/>
                      <a:gd name="T24" fmla="*/ 55 w 59"/>
                      <a:gd name="T25" fmla="*/ 229 h 377"/>
                      <a:gd name="T26" fmla="*/ 57 w 59"/>
                      <a:gd name="T27" fmla="*/ 187 h 377"/>
                      <a:gd name="T28" fmla="*/ 56 w 59"/>
                      <a:gd name="T29" fmla="*/ 35 h 377"/>
                      <a:gd name="T30" fmla="*/ 16 w 59"/>
                      <a:gd name="T31" fmla="*/ 252 h 377"/>
                      <a:gd name="T32" fmla="*/ 15 w 59"/>
                      <a:gd name="T33" fmla="*/ 290 h 377"/>
                      <a:gd name="T34" fmla="*/ 13 w 59"/>
                      <a:gd name="T35" fmla="*/ 273 h 377"/>
                      <a:gd name="T36" fmla="*/ 12 w 59"/>
                      <a:gd name="T37" fmla="*/ 238 h 377"/>
                      <a:gd name="T38" fmla="*/ 17 w 59"/>
                      <a:gd name="T39" fmla="*/ 238 h 377"/>
                      <a:gd name="T40" fmla="*/ 16 w 59"/>
                      <a:gd name="T41" fmla="*/ 252 h 377"/>
                      <a:gd name="T42" fmla="*/ 18 w 59"/>
                      <a:gd name="T43" fmla="*/ 221 h 377"/>
                      <a:gd name="T44" fmla="*/ 13 w 59"/>
                      <a:gd name="T45" fmla="*/ 221 h 377"/>
                      <a:gd name="T46" fmla="*/ 13 w 59"/>
                      <a:gd name="T47" fmla="*/ 202 h 377"/>
                      <a:gd name="T48" fmla="*/ 15 w 59"/>
                      <a:gd name="T49" fmla="*/ 149 h 377"/>
                      <a:gd name="T50" fmla="*/ 19 w 59"/>
                      <a:gd name="T51" fmla="*/ 149 h 377"/>
                      <a:gd name="T52" fmla="*/ 18 w 59"/>
                      <a:gd name="T53" fmla="*/ 221 h 377"/>
                      <a:gd name="T54" fmla="*/ 20 w 59"/>
                      <a:gd name="T55" fmla="*/ 140 h 377"/>
                      <a:gd name="T56" fmla="*/ 16 w 59"/>
                      <a:gd name="T57" fmla="*/ 140 h 377"/>
                      <a:gd name="T58" fmla="*/ 18 w 59"/>
                      <a:gd name="T59" fmla="*/ 104 h 377"/>
                      <a:gd name="T60" fmla="*/ 19 w 59"/>
                      <a:gd name="T61" fmla="*/ 88 h 377"/>
                      <a:gd name="T62" fmla="*/ 20 w 59"/>
                      <a:gd name="T63" fmla="*/ 119 h 377"/>
                      <a:gd name="T64" fmla="*/ 20 w 59"/>
                      <a:gd name="T65" fmla="*/ 140 h 3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59" h="377">
                        <a:moveTo>
                          <a:pt x="56" y="35"/>
                        </a:moveTo>
                        <a:cubicBezTo>
                          <a:pt x="53" y="8"/>
                          <a:pt x="53" y="2"/>
                          <a:pt x="53" y="2"/>
                        </a:cubicBezTo>
                        <a:cubicBezTo>
                          <a:pt x="45" y="0"/>
                          <a:pt x="45" y="0"/>
                          <a:pt x="45" y="0"/>
                        </a:cubicBezTo>
                        <a:cubicBezTo>
                          <a:pt x="34" y="1"/>
                          <a:pt x="31" y="4"/>
                          <a:pt x="29" y="13"/>
                        </a:cubicBezTo>
                        <a:cubicBezTo>
                          <a:pt x="27" y="21"/>
                          <a:pt x="27" y="23"/>
                          <a:pt x="27" y="23"/>
                        </a:cubicBezTo>
                        <a:cubicBezTo>
                          <a:pt x="27" y="23"/>
                          <a:pt x="14" y="22"/>
                          <a:pt x="10" y="38"/>
                        </a:cubicBezTo>
                        <a:cubicBezTo>
                          <a:pt x="7" y="54"/>
                          <a:pt x="0" y="162"/>
                          <a:pt x="0" y="210"/>
                        </a:cubicBezTo>
                        <a:cubicBezTo>
                          <a:pt x="0" y="257"/>
                          <a:pt x="2" y="347"/>
                          <a:pt x="8" y="352"/>
                        </a:cubicBezTo>
                        <a:cubicBezTo>
                          <a:pt x="13" y="357"/>
                          <a:pt x="13" y="357"/>
                          <a:pt x="13" y="357"/>
                        </a:cubicBezTo>
                        <a:cubicBezTo>
                          <a:pt x="13" y="357"/>
                          <a:pt x="13" y="374"/>
                          <a:pt x="25" y="376"/>
                        </a:cubicBezTo>
                        <a:cubicBezTo>
                          <a:pt x="38" y="377"/>
                          <a:pt x="44" y="365"/>
                          <a:pt x="46" y="348"/>
                        </a:cubicBezTo>
                        <a:cubicBezTo>
                          <a:pt x="49" y="331"/>
                          <a:pt x="48" y="330"/>
                          <a:pt x="48" y="330"/>
                        </a:cubicBezTo>
                        <a:cubicBezTo>
                          <a:pt x="48" y="330"/>
                          <a:pt x="54" y="253"/>
                          <a:pt x="55" y="229"/>
                        </a:cubicBezTo>
                        <a:cubicBezTo>
                          <a:pt x="56" y="205"/>
                          <a:pt x="57" y="187"/>
                          <a:pt x="57" y="187"/>
                        </a:cubicBezTo>
                        <a:cubicBezTo>
                          <a:pt x="57" y="187"/>
                          <a:pt x="59" y="63"/>
                          <a:pt x="56" y="35"/>
                        </a:cubicBezTo>
                        <a:close/>
                        <a:moveTo>
                          <a:pt x="16" y="252"/>
                        </a:moveTo>
                        <a:cubicBezTo>
                          <a:pt x="16" y="262"/>
                          <a:pt x="15" y="290"/>
                          <a:pt x="15" y="290"/>
                        </a:cubicBezTo>
                        <a:cubicBezTo>
                          <a:pt x="15" y="290"/>
                          <a:pt x="13" y="286"/>
                          <a:pt x="13" y="273"/>
                        </a:cubicBezTo>
                        <a:cubicBezTo>
                          <a:pt x="13" y="261"/>
                          <a:pt x="12" y="238"/>
                          <a:pt x="12" y="238"/>
                        </a:cubicBezTo>
                        <a:cubicBezTo>
                          <a:pt x="17" y="238"/>
                          <a:pt x="17" y="238"/>
                          <a:pt x="17" y="238"/>
                        </a:cubicBezTo>
                        <a:cubicBezTo>
                          <a:pt x="17" y="238"/>
                          <a:pt x="16" y="241"/>
                          <a:pt x="16" y="252"/>
                        </a:cubicBezTo>
                        <a:close/>
                        <a:moveTo>
                          <a:pt x="18" y="221"/>
                        </a:moveTo>
                        <a:cubicBezTo>
                          <a:pt x="13" y="221"/>
                          <a:pt x="13" y="221"/>
                          <a:pt x="13" y="221"/>
                        </a:cubicBezTo>
                        <a:cubicBezTo>
                          <a:pt x="13" y="221"/>
                          <a:pt x="13" y="215"/>
                          <a:pt x="13" y="202"/>
                        </a:cubicBezTo>
                        <a:cubicBezTo>
                          <a:pt x="13" y="190"/>
                          <a:pt x="15" y="149"/>
                          <a:pt x="15" y="149"/>
                        </a:cubicBezTo>
                        <a:cubicBezTo>
                          <a:pt x="19" y="149"/>
                          <a:pt x="19" y="149"/>
                          <a:pt x="19" y="149"/>
                        </a:cubicBezTo>
                        <a:lnTo>
                          <a:pt x="18" y="221"/>
                        </a:lnTo>
                        <a:close/>
                        <a:moveTo>
                          <a:pt x="20" y="140"/>
                        </a:moveTo>
                        <a:cubicBezTo>
                          <a:pt x="16" y="140"/>
                          <a:pt x="16" y="140"/>
                          <a:pt x="16" y="140"/>
                        </a:cubicBezTo>
                        <a:cubicBezTo>
                          <a:pt x="16" y="138"/>
                          <a:pt x="17" y="115"/>
                          <a:pt x="18" y="104"/>
                        </a:cubicBezTo>
                        <a:cubicBezTo>
                          <a:pt x="19" y="94"/>
                          <a:pt x="19" y="88"/>
                          <a:pt x="19" y="88"/>
                        </a:cubicBezTo>
                        <a:cubicBezTo>
                          <a:pt x="19" y="88"/>
                          <a:pt x="20" y="107"/>
                          <a:pt x="20" y="119"/>
                        </a:cubicBezTo>
                        <a:cubicBezTo>
                          <a:pt x="21" y="132"/>
                          <a:pt x="20" y="140"/>
                          <a:pt x="20" y="140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6" name="Freeform 177"/>
                  <p:cNvSpPr>
                    <a:spLocks noEditPoints="1"/>
                  </p:cNvSpPr>
                  <p:nvPr/>
                </p:nvSpPr>
                <p:spPr bwMode="auto">
                  <a:xfrm>
                    <a:off x="2876550" y="4200525"/>
                    <a:ext cx="95250" cy="134938"/>
                  </a:xfrm>
                  <a:custGeom>
                    <a:avLst/>
                    <a:gdLst>
                      <a:gd name="T0" fmla="*/ 221 w 242"/>
                      <a:gd name="T1" fmla="*/ 183 h 342"/>
                      <a:gd name="T2" fmla="*/ 226 w 242"/>
                      <a:gd name="T3" fmla="*/ 258 h 342"/>
                      <a:gd name="T4" fmla="*/ 217 w 242"/>
                      <a:gd name="T5" fmla="*/ 301 h 342"/>
                      <a:gd name="T6" fmla="*/ 211 w 242"/>
                      <a:gd name="T7" fmla="*/ 267 h 342"/>
                      <a:gd name="T8" fmla="*/ 210 w 242"/>
                      <a:gd name="T9" fmla="*/ 237 h 342"/>
                      <a:gd name="T10" fmla="*/ 210 w 242"/>
                      <a:gd name="T11" fmla="*/ 204 h 342"/>
                      <a:gd name="T12" fmla="*/ 63 w 242"/>
                      <a:gd name="T13" fmla="*/ 186 h 342"/>
                      <a:gd name="T14" fmla="*/ 69 w 242"/>
                      <a:gd name="T15" fmla="*/ 217 h 342"/>
                      <a:gd name="T16" fmla="*/ 64 w 242"/>
                      <a:gd name="T17" fmla="*/ 210 h 342"/>
                      <a:gd name="T18" fmla="*/ 60 w 242"/>
                      <a:gd name="T19" fmla="*/ 184 h 342"/>
                      <a:gd name="T20" fmla="*/ 37 w 242"/>
                      <a:gd name="T21" fmla="*/ 181 h 342"/>
                      <a:gd name="T22" fmla="*/ 41 w 242"/>
                      <a:gd name="T23" fmla="*/ 201 h 342"/>
                      <a:gd name="T24" fmla="*/ 40 w 242"/>
                      <a:gd name="T25" fmla="*/ 214 h 342"/>
                      <a:gd name="T26" fmla="*/ 35 w 242"/>
                      <a:gd name="T27" fmla="*/ 176 h 342"/>
                      <a:gd name="T28" fmla="*/ 22 w 242"/>
                      <a:gd name="T29" fmla="*/ 192 h 342"/>
                      <a:gd name="T30" fmla="*/ 16 w 242"/>
                      <a:gd name="T31" fmla="*/ 183 h 342"/>
                      <a:gd name="T32" fmla="*/ 22 w 242"/>
                      <a:gd name="T33" fmla="*/ 0 h 342"/>
                      <a:gd name="T34" fmla="*/ 9 w 242"/>
                      <a:gd name="T35" fmla="*/ 193 h 342"/>
                      <a:gd name="T36" fmla="*/ 16 w 242"/>
                      <a:gd name="T37" fmla="*/ 207 h 342"/>
                      <a:gd name="T38" fmla="*/ 12 w 242"/>
                      <a:gd name="T39" fmla="*/ 223 h 342"/>
                      <a:gd name="T40" fmla="*/ 18 w 242"/>
                      <a:gd name="T41" fmla="*/ 260 h 342"/>
                      <a:gd name="T42" fmla="*/ 23 w 242"/>
                      <a:gd name="T43" fmla="*/ 310 h 342"/>
                      <a:gd name="T44" fmla="*/ 46 w 242"/>
                      <a:gd name="T45" fmla="*/ 324 h 342"/>
                      <a:gd name="T46" fmla="*/ 60 w 242"/>
                      <a:gd name="T47" fmla="*/ 333 h 342"/>
                      <a:gd name="T48" fmla="*/ 67 w 242"/>
                      <a:gd name="T49" fmla="*/ 335 h 342"/>
                      <a:gd name="T50" fmla="*/ 80 w 242"/>
                      <a:gd name="T51" fmla="*/ 333 h 342"/>
                      <a:gd name="T52" fmla="*/ 87 w 242"/>
                      <a:gd name="T53" fmla="*/ 329 h 342"/>
                      <a:gd name="T54" fmla="*/ 99 w 242"/>
                      <a:gd name="T55" fmla="*/ 325 h 342"/>
                      <a:gd name="T56" fmla="*/ 169 w 242"/>
                      <a:gd name="T57" fmla="*/ 322 h 342"/>
                      <a:gd name="T58" fmla="*/ 236 w 242"/>
                      <a:gd name="T59" fmla="*/ 283 h 342"/>
                      <a:gd name="T60" fmla="*/ 239 w 242"/>
                      <a:gd name="T61" fmla="*/ 255 h 342"/>
                      <a:gd name="T62" fmla="*/ 239 w 242"/>
                      <a:gd name="T63" fmla="*/ 182 h 342"/>
                      <a:gd name="T64" fmla="*/ 97 w 242"/>
                      <a:gd name="T65" fmla="*/ 289 h 342"/>
                      <a:gd name="T66" fmla="*/ 96 w 242"/>
                      <a:gd name="T67" fmla="*/ 248 h 342"/>
                      <a:gd name="T68" fmla="*/ 153 w 242"/>
                      <a:gd name="T69" fmla="*/ 248 h 342"/>
                      <a:gd name="T70" fmla="*/ 155 w 242"/>
                      <a:gd name="T71" fmla="*/ 285 h 342"/>
                      <a:gd name="T72" fmla="*/ 97 w 242"/>
                      <a:gd name="T73" fmla="*/ 301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242" h="342">
                        <a:moveTo>
                          <a:pt x="239" y="182"/>
                        </a:moveTo>
                        <a:cubicBezTo>
                          <a:pt x="221" y="183"/>
                          <a:pt x="221" y="183"/>
                          <a:pt x="221" y="183"/>
                        </a:cubicBezTo>
                        <a:cubicBezTo>
                          <a:pt x="221" y="183"/>
                          <a:pt x="221" y="248"/>
                          <a:pt x="222" y="252"/>
                        </a:cubicBezTo>
                        <a:cubicBezTo>
                          <a:pt x="223" y="257"/>
                          <a:pt x="226" y="258"/>
                          <a:pt x="226" y="258"/>
                        </a:cubicBezTo>
                        <a:cubicBezTo>
                          <a:pt x="226" y="258"/>
                          <a:pt x="227" y="279"/>
                          <a:pt x="224" y="289"/>
                        </a:cubicBezTo>
                        <a:cubicBezTo>
                          <a:pt x="222" y="298"/>
                          <a:pt x="217" y="301"/>
                          <a:pt x="217" y="301"/>
                        </a:cubicBezTo>
                        <a:cubicBezTo>
                          <a:pt x="217" y="301"/>
                          <a:pt x="219" y="289"/>
                          <a:pt x="217" y="281"/>
                        </a:cubicBezTo>
                        <a:cubicBezTo>
                          <a:pt x="215" y="273"/>
                          <a:pt x="212" y="271"/>
                          <a:pt x="211" y="267"/>
                        </a:cubicBezTo>
                        <a:cubicBezTo>
                          <a:pt x="210" y="264"/>
                          <a:pt x="211" y="254"/>
                          <a:pt x="211" y="251"/>
                        </a:cubicBezTo>
                        <a:cubicBezTo>
                          <a:pt x="211" y="248"/>
                          <a:pt x="212" y="240"/>
                          <a:pt x="210" y="237"/>
                        </a:cubicBezTo>
                        <a:cubicBezTo>
                          <a:pt x="208" y="234"/>
                          <a:pt x="205" y="232"/>
                          <a:pt x="205" y="232"/>
                        </a:cubicBezTo>
                        <a:cubicBezTo>
                          <a:pt x="205" y="232"/>
                          <a:pt x="209" y="215"/>
                          <a:pt x="210" y="204"/>
                        </a:cubicBezTo>
                        <a:cubicBezTo>
                          <a:pt x="210" y="194"/>
                          <a:pt x="214" y="184"/>
                          <a:pt x="214" y="184"/>
                        </a:cubicBezTo>
                        <a:cubicBezTo>
                          <a:pt x="63" y="186"/>
                          <a:pt x="63" y="186"/>
                          <a:pt x="63" y="186"/>
                        </a:cubicBezTo>
                        <a:cubicBezTo>
                          <a:pt x="63" y="186"/>
                          <a:pt x="65" y="200"/>
                          <a:pt x="66" y="204"/>
                        </a:cubicBezTo>
                        <a:cubicBezTo>
                          <a:pt x="68" y="209"/>
                          <a:pt x="68" y="212"/>
                          <a:pt x="69" y="217"/>
                        </a:cubicBezTo>
                        <a:cubicBezTo>
                          <a:pt x="71" y="222"/>
                          <a:pt x="74" y="224"/>
                          <a:pt x="71" y="222"/>
                        </a:cubicBezTo>
                        <a:cubicBezTo>
                          <a:pt x="67" y="220"/>
                          <a:pt x="66" y="215"/>
                          <a:pt x="64" y="210"/>
                        </a:cubicBezTo>
                        <a:cubicBezTo>
                          <a:pt x="62" y="206"/>
                          <a:pt x="60" y="201"/>
                          <a:pt x="60" y="196"/>
                        </a:cubicBezTo>
                        <a:cubicBezTo>
                          <a:pt x="60" y="192"/>
                          <a:pt x="59" y="186"/>
                          <a:pt x="60" y="184"/>
                        </a:cubicBezTo>
                        <a:cubicBezTo>
                          <a:pt x="60" y="181"/>
                          <a:pt x="58" y="178"/>
                          <a:pt x="58" y="178"/>
                        </a:cubicBezTo>
                        <a:cubicBezTo>
                          <a:pt x="37" y="181"/>
                          <a:pt x="37" y="181"/>
                          <a:pt x="37" y="181"/>
                        </a:cubicBezTo>
                        <a:cubicBezTo>
                          <a:pt x="37" y="181"/>
                          <a:pt x="34" y="196"/>
                          <a:pt x="37" y="197"/>
                        </a:cubicBezTo>
                        <a:cubicBezTo>
                          <a:pt x="40" y="199"/>
                          <a:pt x="41" y="199"/>
                          <a:pt x="41" y="201"/>
                        </a:cubicBezTo>
                        <a:cubicBezTo>
                          <a:pt x="41" y="202"/>
                          <a:pt x="42" y="203"/>
                          <a:pt x="42" y="207"/>
                        </a:cubicBezTo>
                        <a:cubicBezTo>
                          <a:pt x="42" y="210"/>
                          <a:pt x="42" y="212"/>
                          <a:pt x="40" y="214"/>
                        </a:cubicBezTo>
                        <a:cubicBezTo>
                          <a:pt x="38" y="217"/>
                          <a:pt x="35" y="219"/>
                          <a:pt x="34" y="218"/>
                        </a:cubicBezTo>
                        <a:cubicBezTo>
                          <a:pt x="33" y="216"/>
                          <a:pt x="35" y="176"/>
                          <a:pt x="35" y="176"/>
                        </a:cubicBezTo>
                        <a:cubicBezTo>
                          <a:pt x="22" y="175"/>
                          <a:pt x="22" y="175"/>
                          <a:pt x="22" y="175"/>
                        </a:cubicBezTo>
                        <a:cubicBezTo>
                          <a:pt x="22" y="175"/>
                          <a:pt x="23" y="190"/>
                          <a:pt x="22" y="192"/>
                        </a:cubicBezTo>
                        <a:cubicBezTo>
                          <a:pt x="20" y="193"/>
                          <a:pt x="18" y="190"/>
                          <a:pt x="18" y="190"/>
                        </a:cubicBezTo>
                        <a:cubicBezTo>
                          <a:pt x="18" y="190"/>
                          <a:pt x="15" y="187"/>
                          <a:pt x="16" y="183"/>
                        </a:cubicBezTo>
                        <a:cubicBezTo>
                          <a:pt x="17" y="179"/>
                          <a:pt x="18" y="160"/>
                          <a:pt x="18" y="160"/>
                        </a:cubicBezTo>
                        <a:cubicBezTo>
                          <a:pt x="22" y="0"/>
                          <a:pt x="22" y="0"/>
                          <a:pt x="22" y="0"/>
                        </a:cubicBezTo>
                        <a:cubicBezTo>
                          <a:pt x="22" y="0"/>
                          <a:pt x="4" y="0"/>
                          <a:pt x="2" y="8"/>
                        </a:cubicBezTo>
                        <a:cubicBezTo>
                          <a:pt x="0" y="16"/>
                          <a:pt x="6" y="193"/>
                          <a:pt x="9" y="193"/>
                        </a:cubicBezTo>
                        <a:cubicBezTo>
                          <a:pt x="12" y="193"/>
                          <a:pt x="16" y="195"/>
                          <a:pt x="16" y="195"/>
                        </a:cubicBezTo>
                        <a:cubicBezTo>
                          <a:pt x="16" y="207"/>
                          <a:pt x="16" y="207"/>
                          <a:pt x="16" y="207"/>
                        </a:cubicBezTo>
                        <a:cubicBezTo>
                          <a:pt x="13" y="208"/>
                          <a:pt x="13" y="208"/>
                          <a:pt x="13" y="208"/>
                        </a:cubicBezTo>
                        <a:cubicBezTo>
                          <a:pt x="12" y="223"/>
                          <a:pt x="12" y="223"/>
                          <a:pt x="12" y="223"/>
                        </a:cubicBezTo>
                        <a:cubicBezTo>
                          <a:pt x="15" y="223"/>
                          <a:pt x="15" y="223"/>
                          <a:pt x="15" y="223"/>
                        </a:cubicBezTo>
                        <a:cubicBezTo>
                          <a:pt x="15" y="223"/>
                          <a:pt x="16" y="258"/>
                          <a:pt x="18" y="260"/>
                        </a:cubicBezTo>
                        <a:cubicBezTo>
                          <a:pt x="20" y="262"/>
                          <a:pt x="23" y="262"/>
                          <a:pt x="23" y="262"/>
                        </a:cubicBezTo>
                        <a:cubicBezTo>
                          <a:pt x="23" y="262"/>
                          <a:pt x="23" y="307"/>
                          <a:pt x="23" y="310"/>
                        </a:cubicBezTo>
                        <a:cubicBezTo>
                          <a:pt x="24" y="314"/>
                          <a:pt x="30" y="312"/>
                          <a:pt x="30" y="312"/>
                        </a:cubicBezTo>
                        <a:cubicBezTo>
                          <a:pt x="30" y="312"/>
                          <a:pt x="39" y="322"/>
                          <a:pt x="46" y="324"/>
                        </a:cubicBezTo>
                        <a:cubicBezTo>
                          <a:pt x="53" y="325"/>
                          <a:pt x="58" y="327"/>
                          <a:pt x="58" y="327"/>
                        </a:cubicBezTo>
                        <a:cubicBezTo>
                          <a:pt x="60" y="333"/>
                          <a:pt x="60" y="333"/>
                          <a:pt x="60" y="333"/>
                        </a:cubicBezTo>
                        <a:cubicBezTo>
                          <a:pt x="60" y="333"/>
                          <a:pt x="59" y="342"/>
                          <a:pt x="64" y="342"/>
                        </a:cubicBezTo>
                        <a:cubicBezTo>
                          <a:pt x="68" y="342"/>
                          <a:pt x="67" y="335"/>
                          <a:pt x="67" y="335"/>
                        </a:cubicBezTo>
                        <a:cubicBezTo>
                          <a:pt x="67" y="335"/>
                          <a:pt x="73" y="335"/>
                          <a:pt x="77" y="334"/>
                        </a:cubicBezTo>
                        <a:cubicBezTo>
                          <a:pt x="80" y="333"/>
                          <a:pt x="80" y="333"/>
                          <a:pt x="80" y="333"/>
                        </a:cubicBezTo>
                        <a:cubicBezTo>
                          <a:pt x="80" y="333"/>
                          <a:pt x="81" y="340"/>
                          <a:pt x="83" y="340"/>
                        </a:cubicBezTo>
                        <a:cubicBezTo>
                          <a:pt x="85" y="340"/>
                          <a:pt x="87" y="333"/>
                          <a:pt x="87" y="329"/>
                        </a:cubicBezTo>
                        <a:cubicBezTo>
                          <a:pt x="88" y="326"/>
                          <a:pt x="88" y="323"/>
                          <a:pt x="88" y="323"/>
                        </a:cubicBezTo>
                        <a:cubicBezTo>
                          <a:pt x="88" y="323"/>
                          <a:pt x="96" y="324"/>
                          <a:pt x="99" y="325"/>
                        </a:cubicBezTo>
                        <a:cubicBezTo>
                          <a:pt x="102" y="327"/>
                          <a:pt x="160" y="327"/>
                          <a:pt x="162" y="325"/>
                        </a:cubicBezTo>
                        <a:cubicBezTo>
                          <a:pt x="164" y="323"/>
                          <a:pt x="165" y="322"/>
                          <a:pt x="169" y="322"/>
                        </a:cubicBezTo>
                        <a:cubicBezTo>
                          <a:pt x="173" y="322"/>
                          <a:pt x="209" y="323"/>
                          <a:pt x="222" y="314"/>
                        </a:cubicBezTo>
                        <a:cubicBezTo>
                          <a:pt x="234" y="306"/>
                          <a:pt x="235" y="298"/>
                          <a:pt x="236" y="283"/>
                        </a:cubicBezTo>
                        <a:cubicBezTo>
                          <a:pt x="237" y="267"/>
                          <a:pt x="237" y="259"/>
                          <a:pt x="237" y="259"/>
                        </a:cubicBezTo>
                        <a:cubicBezTo>
                          <a:pt x="237" y="259"/>
                          <a:pt x="238" y="260"/>
                          <a:pt x="239" y="255"/>
                        </a:cubicBezTo>
                        <a:cubicBezTo>
                          <a:pt x="240" y="249"/>
                          <a:pt x="242" y="209"/>
                          <a:pt x="242" y="199"/>
                        </a:cubicBezTo>
                        <a:cubicBezTo>
                          <a:pt x="242" y="188"/>
                          <a:pt x="239" y="182"/>
                          <a:pt x="239" y="182"/>
                        </a:cubicBezTo>
                        <a:close/>
                        <a:moveTo>
                          <a:pt x="97" y="301"/>
                        </a:moveTo>
                        <a:cubicBezTo>
                          <a:pt x="97" y="301"/>
                          <a:pt x="98" y="293"/>
                          <a:pt x="97" y="289"/>
                        </a:cubicBezTo>
                        <a:cubicBezTo>
                          <a:pt x="97" y="284"/>
                          <a:pt x="97" y="276"/>
                          <a:pt x="96" y="272"/>
                        </a:cubicBezTo>
                        <a:cubicBezTo>
                          <a:pt x="94" y="268"/>
                          <a:pt x="96" y="250"/>
                          <a:pt x="96" y="248"/>
                        </a:cubicBezTo>
                        <a:cubicBezTo>
                          <a:pt x="96" y="248"/>
                          <a:pt x="97" y="249"/>
                          <a:pt x="119" y="250"/>
                        </a:cubicBezTo>
                        <a:cubicBezTo>
                          <a:pt x="141" y="251"/>
                          <a:pt x="153" y="248"/>
                          <a:pt x="153" y="248"/>
                        </a:cubicBezTo>
                        <a:cubicBezTo>
                          <a:pt x="153" y="248"/>
                          <a:pt x="155" y="261"/>
                          <a:pt x="155" y="267"/>
                        </a:cubicBezTo>
                        <a:cubicBezTo>
                          <a:pt x="155" y="274"/>
                          <a:pt x="157" y="281"/>
                          <a:pt x="155" y="285"/>
                        </a:cubicBezTo>
                        <a:cubicBezTo>
                          <a:pt x="154" y="290"/>
                          <a:pt x="156" y="301"/>
                          <a:pt x="156" y="301"/>
                        </a:cubicBezTo>
                        <a:lnTo>
                          <a:pt x="97" y="301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7" name="Freeform 178"/>
                  <p:cNvSpPr>
                    <a:spLocks/>
                  </p:cNvSpPr>
                  <p:nvPr/>
                </p:nvSpPr>
                <p:spPr bwMode="auto">
                  <a:xfrm>
                    <a:off x="2970213" y="4283075"/>
                    <a:ext cx="23813" cy="42863"/>
                  </a:xfrm>
                  <a:custGeom>
                    <a:avLst/>
                    <a:gdLst>
                      <a:gd name="T0" fmla="*/ 4 w 62"/>
                      <a:gd name="T1" fmla="*/ 0 h 112"/>
                      <a:gd name="T2" fmla="*/ 22 w 62"/>
                      <a:gd name="T3" fmla="*/ 5 h 112"/>
                      <a:gd name="T4" fmla="*/ 35 w 62"/>
                      <a:gd name="T5" fmla="*/ 17 h 112"/>
                      <a:gd name="T6" fmla="*/ 44 w 62"/>
                      <a:gd name="T7" fmla="*/ 21 h 112"/>
                      <a:gd name="T8" fmla="*/ 46 w 62"/>
                      <a:gd name="T9" fmla="*/ 50 h 112"/>
                      <a:gd name="T10" fmla="*/ 56 w 62"/>
                      <a:gd name="T11" fmla="*/ 62 h 112"/>
                      <a:gd name="T12" fmla="*/ 56 w 62"/>
                      <a:gd name="T13" fmla="*/ 104 h 112"/>
                      <a:gd name="T14" fmla="*/ 61 w 62"/>
                      <a:gd name="T15" fmla="*/ 105 h 112"/>
                      <a:gd name="T16" fmla="*/ 60 w 62"/>
                      <a:gd name="T17" fmla="*/ 109 h 112"/>
                      <a:gd name="T18" fmla="*/ 56 w 62"/>
                      <a:gd name="T19" fmla="*/ 109 h 112"/>
                      <a:gd name="T20" fmla="*/ 54 w 62"/>
                      <a:gd name="T21" fmla="*/ 111 h 112"/>
                      <a:gd name="T22" fmla="*/ 46 w 62"/>
                      <a:gd name="T23" fmla="*/ 110 h 112"/>
                      <a:gd name="T24" fmla="*/ 46 w 62"/>
                      <a:gd name="T25" fmla="*/ 105 h 112"/>
                      <a:gd name="T26" fmla="*/ 52 w 62"/>
                      <a:gd name="T27" fmla="*/ 103 h 112"/>
                      <a:gd name="T28" fmla="*/ 50 w 62"/>
                      <a:gd name="T29" fmla="*/ 63 h 112"/>
                      <a:gd name="T30" fmla="*/ 42 w 62"/>
                      <a:gd name="T31" fmla="*/ 56 h 112"/>
                      <a:gd name="T32" fmla="*/ 36 w 62"/>
                      <a:gd name="T33" fmla="*/ 59 h 112"/>
                      <a:gd name="T34" fmla="*/ 31 w 62"/>
                      <a:gd name="T35" fmla="*/ 55 h 112"/>
                      <a:gd name="T36" fmla="*/ 24 w 62"/>
                      <a:gd name="T37" fmla="*/ 70 h 112"/>
                      <a:gd name="T38" fmla="*/ 24 w 62"/>
                      <a:gd name="T39" fmla="*/ 101 h 112"/>
                      <a:gd name="T40" fmla="*/ 20 w 62"/>
                      <a:gd name="T41" fmla="*/ 101 h 112"/>
                      <a:gd name="T42" fmla="*/ 20 w 62"/>
                      <a:gd name="T43" fmla="*/ 63 h 112"/>
                      <a:gd name="T44" fmla="*/ 26 w 62"/>
                      <a:gd name="T45" fmla="*/ 52 h 112"/>
                      <a:gd name="T46" fmla="*/ 26 w 62"/>
                      <a:gd name="T47" fmla="*/ 42 h 112"/>
                      <a:gd name="T48" fmla="*/ 20 w 62"/>
                      <a:gd name="T49" fmla="*/ 38 h 112"/>
                      <a:gd name="T50" fmla="*/ 20 w 62"/>
                      <a:gd name="T51" fmla="*/ 19 h 112"/>
                      <a:gd name="T52" fmla="*/ 13 w 62"/>
                      <a:gd name="T53" fmla="*/ 17 h 112"/>
                      <a:gd name="T54" fmla="*/ 0 w 62"/>
                      <a:gd name="T55" fmla="*/ 6 h 112"/>
                      <a:gd name="T56" fmla="*/ 4 w 62"/>
                      <a:gd name="T57" fmla="*/ 0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</a:cxnLst>
                    <a:rect l="0" t="0" r="r" b="b"/>
                    <a:pathLst>
                      <a:path w="62" h="112">
                        <a:moveTo>
                          <a:pt x="4" y="0"/>
                        </a:moveTo>
                        <a:cubicBezTo>
                          <a:pt x="4" y="0"/>
                          <a:pt x="18" y="3"/>
                          <a:pt x="22" y="5"/>
                        </a:cubicBezTo>
                        <a:cubicBezTo>
                          <a:pt x="26" y="7"/>
                          <a:pt x="35" y="17"/>
                          <a:pt x="35" y="17"/>
                        </a:cubicBezTo>
                        <a:cubicBezTo>
                          <a:pt x="35" y="17"/>
                          <a:pt x="42" y="17"/>
                          <a:pt x="44" y="21"/>
                        </a:cubicBezTo>
                        <a:cubicBezTo>
                          <a:pt x="47" y="24"/>
                          <a:pt x="46" y="50"/>
                          <a:pt x="46" y="50"/>
                        </a:cubicBezTo>
                        <a:cubicBezTo>
                          <a:pt x="46" y="50"/>
                          <a:pt x="56" y="55"/>
                          <a:pt x="56" y="62"/>
                        </a:cubicBezTo>
                        <a:cubicBezTo>
                          <a:pt x="56" y="69"/>
                          <a:pt x="54" y="104"/>
                          <a:pt x="56" y="104"/>
                        </a:cubicBezTo>
                        <a:cubicBezTo>
                          <a:pt x="57" y="104"/>
                          <a:pt x="61" y="104"/>
                          <a:pt x="61" y="105"/>
                        </a:cubicBezTo>
                        <a:cubicBezTo>
                          <a:pt x="61" y="107"/>
                          <a:pt x="62" y="109"/>
                          <a:pt x="60" y="109"/>
                        </a:cubicBezTo>
                        <a:cubicBezTo>
                          <a:pt x="59" y="109"/>
                          <a:pt x="56" y="109"/>
                          <a:pt x="56" y="109"/>
                        </a:cubicBezTo>
                        <a:cubicBezTo>
                          <a:pt x="56" y="109"/>
                          <a:pt x="58" y="112"/>
                          <a:pt x="54" y="111"/>
                        </a:cubicBezTo>
                        <a:cubicBezTo>
                          <a:pt x="51" y="111"/>
                          <a:pt x="46" y="110"/>
                          <a:pt x="46" y="110"/>
                        </a:cubicBezTo>
                        <a:cubicBezTo>
                          <a:pt x="46" y="105"/>
                          <a:pt x="46" y="105"/>
                          <a:pt x="46" y="105"/>
                        </a:cubicBezTo>
                        <a:cubicBezTo>
                          <a:pt x="52" y="103"/>
                          <a:pt x="52" y="103"/>
                          <a:pt x="52" y="103"/>
                        </a:cubicBezTo>
                        <a:cubicBezTo>
                          <a:pt x="52" y="103"/>
                          <a:pt x="52" y="67"/>
                          <a:pt x="50" y="63"/>
                        </a:cubicBezTo>
                        <a:cubicBezTo>
                          <a:pt x="47" y="58"/>
                          <a:pt x="42" y="56"/>
                          <a:pt x="42" y="56"/>
                        </a:cubicBezTo>
                        <a:cubicBezTo>
                          <a:pt x="42" y="56"/>
                          <a:pt x="39" y="59"/>
                          <a:pt x="36" y="59"/>
                        </a:cubicBezTo>
                        <a:cubicBezTo>
                          <a:pt x="33" y="59"/>
                          <a:pt x="31" y="55"/>
                          <a:pt x="31" y="55"/>
                        </a:cubicBezTo>
                        <a:cubicBezTo>
                          <a:pt x="31" y="55"/>
                          <a:pt x="23" y="58"/>
                          <a:pt x="24" y="70"/>
                        </a:cubicBezTo>
                        <a:cubicBezTo>
                          <a:pt x="24" y="82"/>
                          <a:pt x="24" y="101"/>
                          <a:pt x="24" y="101"/>
                        </a:cubicBezTo>
                        <a:cubicBezTo>
                          <a:pt x="20" y="101"/>
                          <a:pt x="20" y="101"/>
                          <a:pt x="20" y="101"/>
                        </a:cubicBezTo>
                        <a:cubicBezTo>
                          <a:pt x="20" y="101"/>
                          <a:pt x="19" y="70"/>
                          <a:pt x="20" y="63"/>
                        </a:cubicBezTo>
                        <a:cubicBezTo>
                          <a:pt x="21" y="55"/>
                          <a:pt x="26" y="52"/>
                          <a:pt x="26" y="52"/>
                        </a:cubicBezTo>
                        <a:cubicBezTo>
                          <a:pt x="26" y="42"/>
                          <a:pt x="26" y="42"/>
                          <a:pt x="26" y="42"/>
                        </a:cubicBezTo>
                        <a:cubicBezTo>
                          <a:pt x="26" y="42"/>
                          <a:pt x="20" y="41"/>
                          <a:pt x="20" y="38"/>
                        </a:cubicBezTo>
                        <a:cubicBezTo>
                          <a:pt x="20" y="34"/>
                          <a:pt x="20" y="19"/>
                          <a:pt x="20" y="19"/>
                        </a:cubicBezTo>
                        <a:cubicBezTo>
                          <a:pt x="20" y="19"/>
                          <a:pt x="16" y="20"/>
                          <a:pt x="13" y="17"/>
                        </a:cubicBezTo>
                        <a:cubicBezTo>
                          <a:pt x="11" y="14"/>
                          <a:pt x="0" y="6"/>
                          <a:pt x="0" y="6"/>
                        </a:cubicBez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8" name="Freeform 179"/>
                  <p:cNvSpPr>
                    <a:spLocks/>
                  </p:cNvSpPr>
                  <p:nvPr/>
                </p:nvSpPr>
                <p:spPr bwMode="auto">
                  <a:xfrm>
                    <a:off x="2970213" y="4279900"/>
                    <a:ext cx="19050" cy="60325"/>
                  </a:xfrm>
                  <a:custGeom>
                    <a:avLst/>
                    <a:gdLst>
                      <a:gd name="T0" fmla="*/ 1 w 46"/>
                      <a:gd name="T1" fmla="*/ 0 h 154"/>
                      <a:gd name="T2" fmla="*/ 15 w 46"/>
                      <a:gd name="T3" fmla="*/ 45 h 154"/>
                      <a:gd name="T4" fmla="*/ 21 w 46"/>
                      <a:gd name="T5" fmla="*/ 103 h 154"/>
                      <a:gd name="T6" fmla="*/ 26 w 46"/>
                      <a:gd name="T7" fmla="*/ 105 h 154"/>
                      <a:gd name="T8" fmla="*/ 27 w 46"/>
                      <a:gd name="T9" fmla="*/ 108 h 154"/>
                      <a:gd name="T10" fmla="*/ 31 w 46"/>
                      <a:gd name="T11" fmla="*/ 81 h 154"/>
                      <a:gd name="T12" fmla="*/ 42 w 46"/>
                      <a:gd name="T13" fmla="*/ 82 h 154"/>
                      <a:gd name="T14" fmla="*/ 46 w 46"/>
                      <a:gd name="T15" fmla="*/ 126 h 154"/>
                      <a:gd name="T16" fmla="*/ 42 w 46"/>
                      <a:gd name="T17" fmla="*/ 152 h 154"/>
                      <a:gd name="T18" fmla="*/ 33 w 46"/>
                      <a:gd name="T19" fmla="*/ 152 h 154"/>
                      <a:gd name="T20" fmla="*/ 30 w 46"/>
                      <a:gd name="T21" fmla="*/ 131 h 154"/>
                      <a:gd name="T22" fmla="*/ 24 w 46"/>
                      <a:gd name="T23" fmla="*/ 129 h 154"/>
                      <a:gd name="T24" fmla="*/ 23 w 46"/>
                      <a:gd name="T25" fmla="*/ 127 h 154"/>
                      <a:gd name="T26" fmla="*/ 15 w 46"/>
                      <a:gd name="T27" fmla="*/ 126 h 154"/>
                      <a:gd name="T28" fmla="*/ 11 w 46"/>
                      <a:gd name="T29" fmla="*/ 126 h 154"/>
                      <a:gd name="T30" fmla="*/ 8 w 46"/>
                      <a:gd name="T31" fmla="*/ 132 h 154"/>
                      <a:gd name="T32" fmla="*/ 3 w 46"/>
                      <a:gd name="T33" fmla="*/ 132 h 154"/>
                      <a:gd name="T34" fmla="*/ 2 w 46"/>
                      <a:gd name="T35" fmla="*/ 122 h 154"/>
                      <a:gd name="T36" fmla="*/ 0 w 46"/>
                      <a:gd name="T37" fmla="*/ 117 h 154"/>
                      <a:gd name="T38" fmla="*/ 2 w 46"/>
                      <a:gd name="T39" fmla="*/ 114 h 154"/>
                      <a:gd name="T40" fmla="*/ 3 w 46"/>
                      <a:gd name="T41" fmla="*/ 107 h 154"/>
                      <a:gd name="T42" fmla="*/ 7 w 46"/>
                      <a:gd name="T43" fmla="*/ 105 h 154"/>
                      <a:gd name="T44" fmla="*/ 6 w 46"/>
                      <a:gd name="T45" fmla="*/ 73 h 154"/>
                      <a:gd name="T46" fmla="*/ 0 w 46"/>
                      <a:gd name="T47" fmla="*/ 33 h 154"/>
                      <a:gd name="T48" fmla="*/ 1 w 46"/>
                      <a:gd name="T49" fmla="*/ 0 h 1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46" h="154">
                        <a:moveTo>
                          <a:pt x="1" y="0"/>
                        </a:moveTo>
                        <a:cubicBezTo>
                          <a:pt x="1" y="0"/>
                          <a:pt x="11" y="21"/>
                          <a:pt x="15" y="45"/>
                        </a:cubicBezTo>
                        <a:cubicBezTo>
                          <a:pt x="19" y="69"/>
                          <a:pt x="19" y="103"/>
                          <a:pt x="21" y="103"/>
                        </a:cubicBezTo>
                        <a:cubicBezTo>
                          <a:pt x="22" y="103"/>
                          <a:pt x="26" y="105"/>
                          <a:pt x="26" y="105"/>
                        </a:cubicBezTo>
                        <a:cubicBezTo>
                          <a:pt x="27" y="108"/>
                          <a:pt x="27" y="108"/>
                          <a:pt x="27" y="108"/>
                        </a:cubicBezTo>
                        <a:cubicBezTo>
                          <a:pt x="27" y="108"/>
                          <a:pt x="27" y="85"/>
                          <a:pt x="31" y="81"/>
                        </a:cubicBezTo>
                        <a:cubicBezTo>
                          <a:pt x="34" y="76"/>
                          <a:pt x="41" y="79"/>
                          <a:pt x="42" y="82"/>
                        </a:cubicBezTo>
                        <a:cubicBezTo>
                          <a:pt x="43" y="85"/>
                          <a:pt x="46" y="109"/>
                          <a:pt x="46" y="126"/>
                        </a:cubicBezTo>
                        <a:cubicBezTo>
                          <a:pt x="46" y="144"/>
                          <a:pt x="44" y="149"/>
                          <a:pt x="42" y="152"/>
                        </a:cubicBezTo>
                        <a:cubicBezTo>
                          <a:pt x="39" y="154"/>
                          <a:pt x="34" y="154"/>
                          <a:pt x="33" y="152"/>
                        </a:cubicBezTo>
                        <a:cubicBezTo>
                          <a:pt x="32" y="149"/>
                          <a:pt x="30" y="131"/>
                          <a:pt x="30" y="131"/>
                        </a:cubicBezTo>
                        <a:cubicBezTo>
                          <a:pt x="30" y="131"/>
                          <a:pt x="25" y="132"/>
                          <a:pt x="24" y="129"/>
                        </a:cubicBezTo>
                        <a:cubicBezTo>
                          <a:pt x="23" y="127"/>
                          <a:pt x="23" y="127"/>
                          <a:pt x="23" y="127"/>
                        </a:cubicBezTo>
                        <a:cubicBezTo>
                          <a:pt x="23" y="127"/>
                          <a:pt x="19" y="126"/>
                          <a:pt x="15" y="126"/>
                        </a:cubicBezTo>
                        <a:cubicBezTo>
                          <a:pt x="11" y="126"/>
                          <a:pt x="11" y="126"/>
                          <a:pt x="11" y="126"/>
                        </a:cubicBezTo>
                        <a:cubicBezTo>
                          <a:pt x="11" y="126"/>
                          <a:pt x="10" y="132"/>
                          <a:pt x="8" y="132"/>
                        </a:cubicBezTo>
                        <a:cubicBezTo>
                          <a:pt x="6" y="133"/>
                          <a:pt x="4" y="134"/>
                          <a:pt x="3" y="132"/>
                        </a:cubicBezTo>
                        <a:cubicBezTo>
                          <a:pt x="2" y="130"/>
                          <a:pt x="2" y="122"/>
                          <a:pt x="2" y="122"/>
                        </a:cubicBezTo>
                        <a:cubicBezTo>
                          <a:pt x="2" y="122"/>
                          <a:pt x="0" y="119"/>
                          <a:pt x="0" y="117"/>
                        </a:cubicBezTo>
                        <a:cubicBezTo>
                          <a:pt x="0" y="115"/>
                          <a:pt x="2" y="114"/>
                          <a:pt x="2" y="114"/>
                        </a:cubicBezTo>
                        <a:cubicBezTo>
                          <a:pt x="2" y="114"/>
                          <a:pt x="2" y="108"/>
                          <a:pt x="3" y="107"/>
                        </a:cubicBezTo>
                        <a:cubicBezTo>
                          <a:pt x="4" y="105"/>
                          <a:pt x="7" y="105"/>
                          <a:pt x="7" y="105"/>
                        </a:cubicBezTo>
                        <a:cubicBezTo>
                          <a:pt x="7" y="105"/>
                          <a:pt x="6" y="84"/>
                          <a:pt x="6" y="73"/>
                        </a:cubicBezTo>
                        <a:cubicBezTo>
                          <a:pt x="6" y="61"/>
                          <a:pt x="0" y="33"/>
                          <a:pt x="0" y="33"/>
                        </a:cubicBez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9" name="Freeform 180"/>
                  <p:cNvSpPr>
                    <a:spLocks noEditPoints="1"/>
                  </p:cNvSpPr>
                  <p:nvPr/>
                </p:nvSpPr>
                <p:spPr bwMode="auto">
                  <a:xfrm>
                    <a:off x="2879725" y="4194175"/>
                    <a:ext cx="133350" cy="150813"/>
                  </a:xfrm>
                  <a:custGeom>
                    <a:avLst/>
                    <a:gdLst>
                      <a:gd name="T0" fmla="*/ 328 w 335"/>
                      <a:gd name="T1" fmla="*/ 196 h 382"/>
                      <a:gd name="T2" fmla="*/ 303 w 335"/>
                      <a:gd name="T3" fmla="*/ 26 h 382"/>
                      <a:gd name="T4" fmla="*/ 294 w 335"/>
                      <a:gd name="T5" fmla="*/ 23 h 382"/>
                      <a:gd name="T6" fmla="*/ 279 w 335"/>
                      <a:gd name="T7" fmla="*/ 2 h 382"/>
                      <a:gd name="T8" fmla="*/ 266 w 335"/>
                      <a:gd name="T9" fmla="*/ 15 h 382"/>
                      <a:gd name="T10" fmla="*/ 261 w 335"/>
                      <a:gd name="T11" fmla="*/ 16 h 382"/>
                      <a:gd name="T12" fmla="*/ 212 w 335"/>
                      <a:gd name="T13" fmla="*/ 32 h 382"/>
                      <a:gd name="T14" fmla="*/ 78 w 335"/>
                      <a:gd name="T15" fmla="*/ 32 h 382"/>
                      <a:gd name="T16" fmla="*/ 6 w 335"/>
                      <a:gd name="T17" fmla="*/ 18 h 382"/>
                      <a:gd name="T18" fmla="*/ 0 w 335"/>
                      <a:gd name="T19" fmla="*/ 188 h 382"/>
                      <a:gd name="T20" fmla="*/ 16 w 335"/>
                      <a:gd name="T21" fmla="*/ 192 h 382"/>
                      <a:gd name="T22" fmla="*/ 36 w 335"/>
                      <a:gd name="T23" fmla="*/ 202 h 382"/>
                      <a:gd name="T24" fmla="*/ 56 w 335"/>
                      <a:gd name="T25" fmla="*/ 204 h 382"/>
                      <a:gd name="T26" fmla="*/ 189 w 335"/>
                      <a:gd name="T27" fmla="*/ 202 h 382"/>
                      <a:gd name="T28" fmla="*/ 214 w 335"/>
                      <a:gd name="T29" fmla="*/ 203 h 382"/>
                      <a:gd name="T30" fmla="*/ 218 w 335"/>
                      <a:gd name="T31" fmla="*/ 208 h 382"/>
                      <a:gd name="T32" fmla="*/ 246 w 335"/>
                      <a:gd name="T33" fmla="*/ 206 h 382"/>
                      <a:gd name="T34" fmla="*/ 248 w 335"/>
                      <a:gd name="T35" fmla="*/ 201 h 382"/>
                      <a:gd name="T36" fmla="*/ 270 w 335"/>
                      <a:gd name="T37" fmla="*/ 201 h 382"/>
                      <a:gd name="T38" fmla="*/ 271 w 335"/>
                      <a:gd name="T39" fmla="*/ 216 h 382"/>
                      <a:gd name="T40" fmla="*/ 281 w 335"/>
                      <a:gd name="T41" fmla="*/ 312 h 382"/>
                      <a:gd name="T42" fmla="*/ 294 w 335"/>
                      <a:gd name="T43" fmla="*/ 374 h 382"/>
                      <a:gd name="T44" fmla="*/ 313 w 335"/>
                      <a:gd name="T45" fmla="*/ 377 h 382"/>
                      <a:gd name="T46" fmla="*/ 319 w 335"/>
                      <a:gd name="T47" fmla="*/ 351 h 382"/>
                      <a:gd name="T48" fmla="*/ 328 w 335"/>
                      <a:gd name="T49" fmla="*/ 349 h 382"/>
                      <a:gd name="T50" fmla="*/ 328 w 335"/>
                      <a:gd name="T51" fmla="*/ 196 h 382"/>
                      <a:gd name="T52" fmla="*/ 158 w 335"/>
                      <a:gd name="T53" fmla="*/ 166 h 382"/>
                      <a:gd name="T54" fmla="*/ 129 w 335"/>
                      <a:gd name="T55" fmla="*/ 175 h 382"/>
                      <a:gd name="T56" fmla="*/ 104 w 335"/>
                      <a:gd name="T57" fmla="*/ 177 h 382"/>
                      <a:gd name="T58" fmla="*/ 86 w 335"/>
                      <a:gd name="T59" fmla="*/ 172 h 382"/>
                      <a:gd name="T60" fmla="*/ 71 w 335"/>
                      <a:gd name="T61" fmla="*/ 157 h 382"/>
                      <a:gd name="T62" fmla="*/ 109 w 335"/>
                      <a:gd name="T63" fmla="*/ 159 h 382"/>
                      <a:gd name="T64" fmla="*/ 163 w 335"/>
                      <a:gd name="T65" fmla="*/ 159 h 382"/>
                      <a:gd name="T66" fmla="*/ 158 w 335"/>
                      <a:gd name="T67" fmla="*/ 166 h 382"/>
                      <a:gd name="T68" fmla="*/ 269 w 335"/>
                      <a:gd name="T69" fmla="*/ 182 h 382"/>
                      <a:gd name="T70" fmla="*/ 254 w 335"/>
                      <a:gd name="T71" fmla="*/ 181 h 382"/>
                      <a:gd name="T72" fmla="*/ 243 w 335"/>
                      <a:gd name="T73" fmla="*/ 181 h 382"/>
                      <a:gd name="T74" fmla="*/ 244 w 335"/>
                      <a:gd name="T75" fmla="*/ 165 h 382"/>
                      <a:gd name="T76" fmla="*/ 242 w 335"/>
                      <a:gd name="T77" fmla="*/ 161 h 382"/>
                      <a:gd name="T78" fmla="*/ 244 w 335"/>
                      <a:gd name="T79" fmla="*/ 156 h 382"/>
                      <a:gd name="T80" fmla="*/ 245 w 335"/>
                      <a:gd name="T81" fmla="*/ 156 h 382"/>
                      <a:gd name="T82" fmla="*/ 248 w 335"/>
                      <a:gd name="T83" fmla="*/ 161 h 382"/>
                      <a:gd name="T84" fmla="*/ 254 w 335"/>
                      <a:gd name="T85" fmla="*/ 164 h 382"/>
                      <a:gd name="T86" fmla="*/ 257 w 335"/>
                      <a:gd name="T87" fmla="*/ 163 h 382"/>
                      <a:gd name="T88" fmla="*/ 264 w 335"/>
                      <a:gd name="T89" fmla="*/ 163 h 382"/>
                      <a:gd name="T90" fmla="*/ 266 w 335"/>
                      <a:gd name="T91" fmla="*/ 169 h 382"/>
                      <a:gd name="T92" fmla="*/ 270 w 335"/>
                      <a:gd name="T93" fmla="*/ 173 h 382"/>
                      <a:gd name="T94" fmla="*/ 269 w 335"/>
                      <a:gd name="T95" fmla="*/ 182 h 382"/>
                      <a:gd name="T96" fmla="*/ 285 w 335"/>
                      <a:gd name="T97" fmla="*/ 136 h 382"/>
                      <a:gd name="T98" fmla="*/ 283 w 335"/>
                      <a:gd name="T99" fmla="*/ 109 h 382"/>
                      <a:gd name="T100" fmla="*/ 290 w 335"/>
                      <a:gd name="T101" fmla="*/ 156 h 382"/>
                      <a:gd name="T102" fmla="*/ 292 w 335"/>
                      <a:gd name="T103" fmla="*/ 178 h 382"/>
                      <a:gd name="T104" fmla="*/ 286 w 335"/>
                      <a:gd name="T105" fmla="*/ 176 h 382"/>
                      <a:gd name="T106" fmla="*/ 285 w 335"/>
                      <a:gd name="T107" fmla="*/ 136 h 382"/>
                      <a:gd name="T108" fmla="*/ 299 w 335"/>
                      <a:gd name="T109" fmla="*/ 313 h 382"/>
                      <a:gd name="T110" fmla="*/ 293 w 335"/>
                      <a:gd name="T111" fmla="*/ 294 h 382"/>
                      <a:gd name="T112" fmla="*/ 293 w 335"/>
                      <a:gd name="T113" fmla="*/ 277 h 382"/>
                      <a:gd name="T114" fmla="*/ 293 w 335"/>
                      <a:gd name="T115" fmla="*/ 253 h 382"/>
                      <a:gd name="T116" fmla="*/ 289 w 335"/>
                      <a:gd name="T117" fmla="*/ 200 h 382"/>
                      <a:gd name="T118" fmla="*/ 295 w 335"/>
                      <a:gd name="T119" fmla="*/ 200 h 382"/>
                      <a:gd name="T120" fmla="*/ 299 w 335"/>
                      <a:gd name="T121" fmla="*/ 229 h 382"/>
                      <a:gd name="T122" fmla="*/ 299 w 335"/>
                      <a:gd name="T123" fmla="*/ 313 h 3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335" h="382">
                        <a:moveTo>
                          <a:pt x="328" y="196"/>
                        </a:moveTo>
                        <a:cubicBezTo>
                          <a:pt x="322" y="112"/>
                          <a:pt x="307" y="29"/>
                          <a:pt x="303" y="26"/>
                        </a:cubicBezTo>
                        <a:cubicBezTo>
                          <a:pt x="300" y="23"/>
                          <a:pt x="294" y="23"/>
                          <a:pt x="294" y="23"/>
                        </a:cubicBezTo>
                        <a:cubicBezTo>
                          <a:pt x="294" y="23"/>
                          <a:pt x="290" y="4"/>
                          <a:pt x="279" y="2"/>
                        </a:cubicBezTo>
                        <a:cubicBezTo>
                          <a:pt x="269" y="0"/>
                          <a:pt x="266" y="15"/>
                          <a:pt x="266" y="15"/>
                        </a:cubicBezTo>
                        <a:cubicBezTo>
                          <a:pt x="266" y="15"/>
                          <a:pt x="263" y="16"/>
                          <a:pt x="261" y="16"/>
                        </a:cubicBezTo>
                        <a:cubicBezTo>
                          <a:pt x="258" y="16"/>
                          <a:pt x="223" y="30"/>
                          <a:pt x="212" y="32"/>
                        </a:cubicBezTo>
                        <a:cubicBezTo>
                          <a:pt x="200" y="35"/>
                          <a:pt x="95" y="37"/>
                          <a:pt x="78" y="32"/>
                        </a:cubicBezTo>
                        <a:cubicBezTo>
                          <a:pt x="61" y="27"/>
                          <a:pt x="6" y="18"/>
                          <a:pt x="6" y="18"/>
                        </a:cubicBezTo>
                        <a:cubicBezTo>
                          <a:pt x="0" y="188"/>
                          <a:pt x="0" y="188"/>
                          <a:pt x="0" y="188"/>
                        </a:cubicBezTo>
                        <a:cubicBezTo>
                          <a:pt x="0" y="188"/>
                          <a:pt x="13" y="190"/>
                          <a:pt x="16" y="192"/>
                        </a:cubicBezTo>
                        <a:cubicBezTo>
                          <a:pt x="19" y="193"/>
                          <a:pt x="33" y="199"/>
                          <a:pt x="36" y="202"/>
                        </a:cubicBezTo>
                        <a:cubicBezTo>
                          <a:pt x="39" y="205"/>
                          <a:pt x="56" y="204"/>
                          <a:pt x="56" y="204"/>
                        </a:cubicBezTo>
                        <a:cubicBezTo>
                          <a:pt x="56" y="204"/>
                          <a:pt x="181" y="202"/>
                          <a:pt x="189" y="202"/>
                        </a:cubicBezTo>
                        <a:cubicBezTo>
                          <a:pt x="197" y="202"/>
                          <a:pt x="214" y="203"/>
                          <a:pt x="214" y="203"/>
                        </a:cubicBezTo>
                        <a:cubicBezTo>
                          <a:pt x="218" y="208"/>
                          <a:pt x="218" y="208"/>
                          <a:pt x="218" y="208"/>
                        </a:cubicBezTo>
                        <a:cubicBezTo>
                          <a:pt x="218" y="208"/>
                          <a:pt x="244" y="206"/>
                          <a:pt x="246" y="206"/>
                        </a:cubicBezTo>
                        <a:cubicBezTo>
                          <a:pt x="248" y="206"/>
                          <a:pt x="248" y="201"/>
                          <a:pt x="248" y="201"/>
                        </a:cubicBezTo>
                        <a:cubicBezTo>
                          <a:pt x="270" y="201"/>
                          <a:pt x="270" y="201"/>
                          <a:pt x="270" y="201"/>
                        </a:cubicBezTo>
                        <a:cubicBezTo>
                          <a:pt x="270" y="201"/>
                          <a:pt x="270" y="205"/>
                          <a:pt x="271" y="216"/>
                        </a:cubicBezTo>
                        <a:cubicBezTo>
                          <a:pt x="273" y="228"/>
                          <a:pt x="276" y="281"/>
                          <a:pt x="281" y="312"/>
                        </a:cubicBezTo>
                        <a:cubicBezTo>
                          <a:pt x="286" y="343"/>
                          <a:pt x="290" y="366"/>
                          <a:pt x="294" y="374"/>
                        </a:cubicBezTo>
                        <a:cubicBezTo>
                          <a:pt x="297" y="382"/>
                          <a:pt x="308" y="381"/>
                          <a:pt x="313" y="377"/>
                        </a:cubicBezTo>
                        <a:cubicBezTo>
                          <a:pt x="319" y="373"/>
                          <a:pt x="319" y="351"/>
                          <a:pt x="319" y="351"/>
                        </a:cubicBezTo>
                        <a:cubicBezTo>
                          <a:pt x="319" y="351"/>
                          <a:pt x="325" y="353"/>
                          <a:pt x="328" y="349"/>
                        </a:cubicBezTo>
                        <a:cubicBezTo>
                          <a:pt x="331" y="345"/>
                          <a:pt x="335" y="280"/>
                          <a:pt x="328" y="196"/>
                        </a:cubicBezTo>
                        <a:close/>
                        <a:moveTo>
                          <a:pt x="158" y="166"/>
                        </a:moveTo>
                        <a:cubicBezTo>
                          <a:pt x="155" y="168"/>
                          <a:pt x="140" y="173"/>
                          <a:pt x="129" y="175"/>
                        </a:cubicBezTo>
                        <a:cubicBezTo>
                          <a:pt x="118" y="176"/>
                          <a:pt x="110" y="176"/>
                          <a:pt x="104" y="177"/>
                        </a:cubicBezTo>
                        <a:cubicBezTo>
                          <a:pt x="97" y="177"/>
                          <a:pt x="91" y="173"/>
                          <a:pt x="86" y="172"/>
                        </a:cubicBezTo>
                        <a:cubicBezTo>
                          <a:pt x="80" y="171"/>
                          <a:pt x="71" y="157"/>
                          <a:pt x="71" y="157"/>
                        </a:cubicBezTo>
                        <a:cubicBezTo>
                          <a:pt x="71" y="157"/>
                          <a:pt x="84" y="158"/>
                          <a:pt x="109" y="159"/>
                        </a:cubicBezTo>
                        <a:cubicBezTo>
                          <a:pt x="134" y="159"/>
                          <a:pt x="163" y="159"/>
                          <a:pt x="163" y="159"/>
                        </a:cubicBezTo>
                        <a:cubicBezTo>
                          <a:pt x="163" y="159"/>
                          <a:pt x="161" y="164"/>
                          <a:pt x="158" y="166"/>
                        </a:cubicBezTo>
                        <a:close/>
                        <a:moveTo>
                          <a:pt x="269" y="182"/>
                        </a:moveTo>
                        <a:cubicBezTo>
                          <a:pt x="269" y="182"/>
                          <a:pt x="258" y="181"/>
                          <a:pt x="254" y="181"/>
                        </a:cubicBezTo>
                        <a:cubicBezTo>
                          <a:pt x="250" y="181"/>
                          <a:pt x="243" y="181"/>
                          <a:pt x="243" y="181"/>
                        </a:cubicBezTo>
                        <a:cubicBezTo>
                          <a:pt x="243" y="181"/>
                          <a:pt x="245" y="167"/>
                          <a:pt x="244" y="165"/>
                        </a:cubicBezTo>
                        <a:cubicBezTo>
                          <a:pt x="242" y="163"/>
                          <a:pt x="242" y="163"/>
                          <a:pt x="242" y="161"/>
                        </a:cubicBezTo>
                        <a:cubicBezTo>
                          <a:pt x="243" y="159"/>
                          <a:pt x="244" y="156"/>
                          <a:pt x="244" y="156"/>
                        </a:cubicBezTo>
                        <a:cubicBezTo>
                          <a:pt x="245" y="156"/>
                          <a:pt x="245" y="156"/>
                          <a:pt x="245" y="156"/>
                        </a:cubicBezTo>
                        <a:cubicBezTo>
                          <a:pt x="245" y="156"/>
                          <a:pt x="245" y="159"/>
                          <a:pt x="248" y="161"/>
                        </a:cubicBezTo>
                        <a:cubicBezTo>
                          <a:pt x="250" y="164"/>
                          <a:pt x="254" y="164"/>
                          <a:pt x="254" y="164"/>
                        </a:cubicBezTo>
                        <a:cubicBezTo>
                          <a:pt x="254" y="164"/>
                          <a:pt x="255" y="163"/>
                          <a:pt x="257" y="163"/>
                        </a:cubicBezTo>
                        <a:cubicBezTo>
                          <a:pt x="259" y="163"/>
                          <a:pt x="264" y="163"/>
                          <a:pt x="264" y="163"/>
                        </a:cubicBezTo>
                        <a:cubicBezTo>
                          <a:pt x="264" y="163"/>
                          <a:pt x="264" y="167"/>
                          <a:pt x="266" y="169"/>
                        </a:cubicBezTo>
                        <a:cubicBezTo>
                          <a:pt x="269" y="171"/>
                          <a:pt x="270" y="173"/>
                          <a:pt x="270" y="173"/>
                        </a:cubicBezTo>
                        <a:lnTo>
                          <a:pt x="269" y="182"/>
                        </a:lnTo>
                        <a:close/>
                        <a:moveTo>
                          <a:pt x="285" y="136"/>
                        </a:moveTo>
                        <a:cubicBezTo>
                          <a:pt x="285" y="122"/>
                          <a:pt x="283" y="109"/>
                          <a:pt x="283" y="109"/>
                        </a:cubicBezTo>
                        <a:cubicBezTo>
                          <a:pt x="283" y="109"/>
                          <a:pt x="289" y="143"/>
                          <a:pt x="290" y="156"/>
                        </a:cubicBezTo>
                        <a:cubicBezTo>
                          <a:pt x="291" y="169"/>
                          <a:pt x="292" y="178"/>
                          <a:pt x="292" y="178"/>
                        </a:cubicBezTo>
                        <a:cubicBezTo>
                          <a:pt x="286" y="176"/>
                          <a:pt x="286" y="176"/>
                          <a:pt x="286" y="176"/>
                        </a:cubicBezTo>
                        <a:cubicBezTo>
                          <a:pt x="286" y="176"/>
                          <a:pt x="286" y="150"/>
                          <a:pt x="285" y="136"/>
                        </a:cubicBezTo>
                        <a:close/>
                        <a:moveTo>
                          <a:pt x="299" y="313"/>
                        </a:moveTo>
                        <a:cubicBezTo>
                          <a:pt x="298" y="315"/>
                          <a:pt x="294" y="298"/>
                          <a:pt x="293" y="294"/>
                        </a:cubicBezTo>
                        <a:cubicBezTo>
                          <a:pt x="293" y="289"/>
                          <a:pt x="293" y="282"/>
                          <a:pt x="293" y="277"/>
                        </a:cubicBezTo>
                        <a:cubicBezTo>
                          <a:pt x="293" y="272"/>
                          <a:pt x="294" y="267"/>
                          <a:pt x="293" y="253"/>
                        </a:cubicBezTo>
                        <a:cubicBezTo>
                          <a:pt x="293" y="239"/>
                          <a:pt x="289" y="200"/>
                          <a:pt x="289" y="200"/>
                        </a:cubicBezTo>
                        <a:cubicBezTo>
                          <a:pt x="295" y="200"/>
                          <a:pt x="295" y="200"/>
                          <a:pt x="295" y="200"/>
                        </a:cubicBezTo>
                        <a:cubicBezTo>
                          <a:pt x="295" y="200"/>
                          <a:pt x="297" y="199"/>
                          <a:pt x="299" y="229"/>
                        </a:cubicBezTo>
                        <a:cubicBezTo>
                          <a:pt x="301" y="259"/>
                          <a:pt x="299" y="311"/>
                          <a:pt x="299" y="313"/>
                        </a:cubicBezTo>
                        <a:close/>
                      </a:path>
                    </a:pathLst>
                  </a:custGeom>
                  <a:solidFill>
                    <a:srgbClr val="585858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39" name="Freeform: Shape 538"/>
                <p:cNvSpPr>
                  <a:spLocks noChangeAspect="1"/>
                </p:cNvSpPr>
                <p:nvPr/>
              </p:nvSpPr>
              <p:spPr>
                <a:xfrm>
                  <a:off x="731770" y="6079939"/>
                  <a:ext cx="2751111" cy="502920"/>
                </a:xfrm>
                <a:custGeom>
                  <a:avLst/>
                  <a:gdLst>
                    <a:gd name="connsiteX0" fmla="*/ 2162594 w 3039126"/>
                    <a:gd name="connsiteY0" fmla="*/ 425980 h 555571"/>
                    <a:gd name="connsiteX1" fmla="*/ 2127182 w 3039126"/>
                    <a:gd name="connsiteY1" fmla="*/ 431129 h 555571"/>
                    <a:gd name="connsiteX2" fmla="*/ 2098803 w 3039126"/>
                    <a:gd name="connsiteY2" fmla="*/ 440484 h 555571"/>
                    <a:gd name="connsiteX3" fmla="*/ 2090641 w 3039126"/>
                    <a:gd name="connsiteY3" fmla="*/ 461517 h 555571"/>
                    <a:gd name="connsiteX4" fmla="*/ 2098238 w 3039126"/>
                    <a:gd name="connsiteY4" fmla="*/ 480354 h 555571"/>
                    <a:gd name="connsiteX5" fmla="*/ 2119397 w 3039126"/>
                    <a:gd name="connsiteY5" fmla="*/ 487762 h 555571"/>
                    <a:gd name="connsiteX6" fmla="*/ 2150288 w 3039126"/>
                    <a:gd name="connsiteY6" fmla="*/ 474012 h 555571"/>
                    <a:gd name="connsiteX7" fmla="*/ 2162594 w 3039126"/>
                    <a:gd name="connsiteY7" fmla="*/ 438537 h 555571"/>
                    <a:gd name="connsiteX8" fmla="*/ 1962569 w 3039126"/>
                    <a:gd name="connsiteY8" fmla="*/ 425980 h 555571"/>
                    <a:gd name="connsiteX9" fmla="*/ 1927158 w 3039126"/>
                    <a:gd name="connsiteY9" fmla="*/ 431129 h 555571"/>
                    <a:gd name="connsiteX10" fmla="*/ 1898778 w 3039126"/>
                    <a:gd name="connsiteY10" fmla="*/ 440484 h 555571"/>
                    <a:gd name="connsiteX11" fmla="*/ 1890616 w 3039126"/>
                    <a:gd name="connsiteY11" fmla="*/ 461517 h 555571"/>
                    <a:gd name="connsiteX12" fmla="*/ 1898213 w 3039126"/>
                    <a:gd name="connsiteY12" fmla="*/ 480354 h 555571"/>
                    <a:gd name="connsiteX13" fmla="*/ 1919372 w 3039126"/>
                    <a:gd name="connsiteY13" fmla="*/ 487762 h 555571"/>
                    <a:gd name="connsiteX14" fmla="*/ 1950263 w 3039126"/>
                    <a:gd name="connsiteY14" fmla="*/ 474012 h 555571"/>
                    <a:gd name="connsiteX15" fmla="*/ 1962569 w 3039126"/>
                    <a:gd name="connsiteY15" fmla="*/ 438537 h 555571"/>
                    <a:gd name="connsiteX16" fmla="*/ 1635682 w 3039126"/>
                    <a:gd name="connsiteY16" fmla="*/ 414175 h 555571"/>
                    <a:gd name="connsiteX17" fmla="*/ 1704371 w 3039126"/>
                    <a:gd name="connsiteY17" fmla="*/ 414175 h 555571"/>
                    <a:gd name="connsiteX18" fmla="*/ 1704371 w 3039126"/>
                    <a:gd name="connsiteY18" fmla="*/ 425477 h 555571"/>
                    <a:gd name="connsiteX19" fmla="*/ 1635682 w 3039126"/>
                    <a:gd name="connsiteY19" fmla="*/ 425477 h 555571"/>
                    <a:gd name="connsiteX20" fmla="*/ 2886061 w 3039126"/>
                    <a:gd name="connsiteY20" fmla="*/ 373993 h 555571"/>
                    <a:gd name="connsiteX21" fmla="*/ 2856111 w 3039126"/>
                    <a:gd name="connsiteY21" fmla="*/ 386110 h 555571"/>
                    <a:gd name="connsiteX22" fmla="*/ 2841482 w 3039126"/>
                    <a:gd name="connsiteY22" fmla="*/ 420832 h 555571"/>
                    <a:gd name="connsiteX23" fmla="*/ 2924110 w 3039126"/>
                    <a:gd name="connsiteY23" fmla="*/ 420832 h 555571"/>
                    <a:gd name="connsiteX24" fmla="*/ 2913436 w 3039126"/>
                    <a:gd name="connsiteY24" fmla="*/ 386299 h 555571"/>
                    <a:gd name="connsiteX25" fmla="*/ 2886061 w 3039126"/>
                    <a:gd name="connsiteY25" fmla="*/ 373993 h 555571"/>
                    <a:gd name="connsiteX26" fmla="*/ 2423983 w 3039126"/>
                    <a:gd name="connsiteY26" fmla="*/ 373993 h 555571"/>
                    <a:gd name="connsiteX27" fmla="*/ 2387755 w 3039126"/>
                    <a:gd name="connsiteY27" fmla="*/ 389313 h 555571"/>
                    <a:gd name="connsiteX28" fmla="*/ 2374256 w 3039126"/>
                    <a:gd name="connsiteY28" fmla="*/ 431882 h 555571"/>
                    <a:gd name="connsiteX29" fmla="*/ 2387441 w 3039126"/>
                    <a:gd name="connsiteY29" fmla="*/ 472442 h 555571"/>
                    <a:gd name="connsiteX30" fmla="*/ 2423481 w 3039126"/>
                    <a:gd name="connsiteY30" fmla="*/ 487762 h 555571"/>
                    <a:gd name="connsiteX31" fmla="*/ 2459269 w 3039126"/>
                    <a:gd name="connsiteY31" fmla="*/ 472694 h 555571"/>
                    <a:gd name="connsiteX32" fmla="*/ 2471826 w 3039126"/>
                    <a:gd name="connsiteY32" fmla="*/ 430877 h 555571"/>
                    <a:gd name="connsiteX33" fmla="*/ 2459332 w 3039126"/>
                    <a:gd name="connsiteY33" fmla="*/ 388685 h 555571"/>
                    <a:gd name="connsiteX34" fmla="*/ 2423983 w 3039126"/>
                    <a:gd name="connsiteY34" fmla="*/ 373993 h 555571"/>
                    <a:gd name="connsiteX35" fmla="*/ 171436 w 3039126"/>
                    <a:gd name="connsiteY35" fmla="*/ 373993 h 555571"/>
                    <a:gd name="connsiteX36" fmla="*/ 141486 w 3039126"/>
                    <a:gd name="connsiteY36" fmla="*/ 386110 h 555571"/>
                    <a:gd name="connsiteX37" fmla="*/ 126857 w 3039126"/>
                    <a:gd name="connsiteY37" fmla="*/ 420832 h 555571"/>
                    <a:gd name="connsiteX38" fmla="*/ 209485 w 3039126"/>
                    <a:gd name="connsiteY38" fmla="*/ 420832 h 555571"/>
                    <a:gd name="connsiteX39" fmla="*/ 198811 w 3039126"/>
                    <a:gd name="connsiteY39" fmla="*/ 386299 h 555571"/>
                    <a:gd name="connsiteX40" fmla="*/ 171436 w 3039126"/>
                    <a:gd name="connsiteY40" fmla="*/ 373993 h 555571"/>
                    <a:gd name="connsiteX41" fmla="*/ 1792194 w 3039126"/>
                    <a:gd name="connsiteY41" fmla="*/ 373992 h 555571"/>
                    <a:gd name="connsiteX42" fmla="*/ 1758791 w 3039126"/>
                    <a:gd name="connsiteY42" fmla="*/ 389500 h 555571"/>
                    <a:gd name="connsiteX43" fmla="*/ 1745606 w 3039126"/>
                    <a:gd name="connsiteY43" fmla="*/ 432132 h 555571"/>
                    <a:gd name="connsiteX44" fmla="*/ 1757473 w 3039126"/>
                    <a:gd name="connsiteY44" fmla="*/ 473258 h 555571"/>
                    <a:gd name="connsiteX45" fmla="*/ 1788050 w 3039126"/>
                    <a:gd name="connsiteY45" fmla="*/ 487761 h 555571"/>
                    <a:gd name="connsiteX46" fmla="*/ 1822080 w 3039126"/>
                    <a:gd name="connsiteY46" fmla="*/ 474137 h 555571"/>
                    <a:gd name="connsiteX47" fmla="*/ 1834135 w 3039126"/>
                    <a:gd name="connsiteY47" fmla="*/ 440922 h 555571"/>
                    <a:gd name="connsiteX48" fmla="*/ 1834135 w 3039126"/>
                    <a:gd name="connsiteY48" fmla="*/ 416938 h 555571"/>
                    <a:gd name="connsiteX49" fmla="*/ 1822771 w 3039126"/>
                    <a:gd name="connsiteY49" fmla="*/ 386486 h 555571"/>
                    <a:gd name="connsiteX50" fmla="*/ 1792194 w 3039126"/>
                    <a:gd name="connsiteY50" fmla="*/ 373992 h 555571"/>
                    <a:gd name="connsiteX51" fmla="*/ 1545046 w 3039126"/>
                    <a:gd name="connsiteY51" fmla="*/ 373992 h 555571"/>
                    <a:gd name="connsiteX52" fmla="*/ 1510890 w 3039126"/>
                    <a:gd name="connsiteY52" fmla="*/ 389939 h 555571"/>
                    <a:gd name="connsiteX53" fmla="*/ 1497956 w 3039126"/>
                    <a:gd name="connsiteY53" fmla="*/ 432132 h 555571"/>
                    <a:gd name="connsiteX54" fmla="*/ 1509823 w 3039126"/>
                    <a:gd name="connsiteY54" fmla="*/ 473132 h 555571"/>
                    <a:gd name="connsiteX55" fmla="*/ 1541153 w 3039126"/>
                    <a:gd name="connsiteY55" fmla="*/ 487761 h 555571"/>
                    <a:gd name="connsiteX56" fmla="*/ 1574179 w 3039126"/>
                    <a:gd name="connsiteY56" fmla="*/ 474325 h 555571"/>
                    <a:gd name="connsiteX57" fmla="*/ 1586485 w 3039126"/>
                    <a:gd name="connsiteY57" fmla="*/ 441425 h 555571"/>
                    <a:gd name="connsiteX58" fmla="*/ 1586485 w 3039126"/>
                    <a:gd name="connsiteY58" fmla="*/ 415933 h 555571"/>
                    <a:gd name="connsiteX59" fmla="*/ 1574995 w 3039126"/>
                    <a:gd name="connsiteY59" fmla="*/ 386423 h 555571"/>
                    <a:gd name="connsiteX60" fmla="*/ 1545046 w 3039126"/>
                    <a:gd name="connsiteY60" fmla="*/ 373992 h 555571"/>
                    <a:gd name="connsiteX61" fmla="*/ 1353810 w 3039126"/>
                    <a:gd name="connsiteY61" fmla="*/ 373992 h 555571"/>
                    <a:gd name="connsiteX62" fmla="*/ 1319026 w 3039126"/>
                    <a:gd name="connsiteY62" fmla="*/ 389060 h 555571"/>
                    <a:gd name="connsiteX63" fmla="*/ 1306720 w 3039126"/>
                    <a:gd name="connsiteY63" fmla="*/ 424472 h 555571"/>
                    <a:gd name="connsiteX64" fmla="*/ 1306720 w 3039126"/>
                    <a:gd name="connsiteY64" fmla="*/ 440671 h 555571"/>
                    <a:gd name="connsiteX65" fmla="*/ 1318901 w 3039126"/>
                    <a:gd name="connsiteY65" fmla="*/ 473885 h 555571"/>
                    <a:gd name="connsiteX66" fmla="*/ 1350922 w 3039126"/>
                    <a:gd name="connsiteY66" fmla="*/ 487761 h 555571"/>
                    <a:gd name="connsiteX67" fmla="*/ 1382943 w 3039126"/>
                    <a:gd name="connsiteY67" fmla="*/ 470872 h 555571"/>
                    <a:gd name="connsiteX68" fmla="*/ 1395250 w 3039126"/>
                    <a:gd name="connsiteY68" fmla="*/ 426481 h 555571"/>
                    <a:gd name="connsiteX69" fmla="*/ 1383948 w 3039126"/>
                    <a:gd name="connsiteY69" fmla="*/ 388181 h 555571"/>
                    <a:gd name="connsiteX70" fmla="*/ 1353810 w 3039126"/>
                    <a:gd name="connsiteY70" fmla="*/ 373992 h 555571"/>
                    <a:gd name="connsiteX71" fmla="*/ 2511730 w 3039126"/>
                    <a:gd name="connsiteY71" fmla="*/ 366584 h 555571"/>
                    <a:gd name="connsiteX72" fmla="*/ 2523408 w 3039126"/>
                    <a:gd name="connsiteY72" fmla="*/ 366584 h 555571"/>
                    <a:gd name="connsiteX73" fmla="*/ 2523408 w 3039126"/>
                    <a:gd name="connsiteY73" fmla="*/ 438035 h 555571"/>
                    <a:gd name="connsiteX74" fmla="*/ 2532010 w 3039126"/>
                    <a:gd name="connsiteY74" fmla="*/ 475958 h 555571"/>
                    <a:gd name="connsiteX75" fmla="*/ 2559071 w 3039126"/>
                    <a:gd name="connsiteY75" fmla="*/ 487762 h 555571"/>
                    <a:gd name="connsiteX76" fmla="*/ 2588142 w 3039126"/>
                    <a:gd name="connsiteY76" fmla="*/ 474577 h 555571"/>
                    <a:gd name="connsiteX77" fmla="*/ 2599255 w 3039126"/>
                    <a:gd name="connsiteY77" fmla="*/ 439416 h 555571"/>
                    <a:gd name="connsiteX78" fmla="*/ 2599255 w 3039126"/>
                    <a:gd name="connsiteY78" fmla="*/ 366584 h 555571"/>
                    <a:gd name="connsiteX79" fmla="*/ 2610808 w 3039126"/>
                    <a:gd name="connsiteY79" fmla="*/ 366584 h 555571"/>
                    <a:gd name="connsiteX80" fmla="*/ 2610808 w 3039126"/>
                    <a:gd name="connsiteY80" fmla="*/ 495171 h 555571"/>
                    <a:gd name="connsiteX81" fmla="*/ 2599255 w 3039126"/>
                    <a:gd name="connsiteY81" fmla="*/ 495171 h 555571"/>
                    <a:gd name="connsiteX82" fmla="*/ 2599255 w 3039126"/>
                    <a:gd name="connsiteY82" fmla="*/ 471814 h 555571"/>
                    <a:gd name="connsiteX83" fmla="*/ 2598753 w 3039126"/>
                    <a:gd name="connsiteY83" fmla="*/ 471814 h 555571"/>
                    <a:gd name="connsiteX84" fmla="*/ 2557313 w 3039126"/>
                    <a:gd name="connsiteY84" fmla="*/ 498311 h 555571"/>
                    <a:gd name="connsiteX85" fmla="*/ 2511730 w 3039126"/>
                    <a:gd name="connsiteY85" fmla="*/ 440923 h 555571"/>
                    <a:gd name="connsiteX86" fmla="*/ 1438043 w 3039126"/>
                    <a:gd name="connsiteY86" fmla="*/ 366584 h 555571"/>
                    <a:gd name="connsiteX87" fmla="*/ 1449596 w 3039126"/>
                    <a:gd name="connsiteY87" fmla="*/ 366584 h 555571"/>
                    <a:gd name="connsiteX88" fmla="*/ 1449596 w 3039126"/>
                    <a:gd name="connsiteY88" fmla="*/ 495171 h 555571"/>
                    <a:gd name="connsiteX89" fmla="*/ 1438043 w 3039126"/>
                    <a:gd name="connsiteY89" fmla="*/ 495171 h 555571"/>
                    <a:gd name="connsiteX90" fmla="*/ 961793 w 3039126"/>
                    <a:gd name="connsiteY90" fmla="*/ 366584 h 555571"/>
                    <a:gd name="connsiteX91" fmla="*/ 973346 w 3039126"/>
                    <a:gd name="connsiteY91" fmla="*/ 366584 h 555571"/>
                    <a:gd name="connsiteX92" fmla="*/ 973346 w 3039126"/>
                    <a:gd name="connsiteY92" fmla="*/ 495171 h 555571"/>
                    <a:gd name="connsiteX93" fmla="*/ 961793 w 3039126"/>
                    <a:gd name="connsiteY93" fmla="*/ 495171 h 555571"/>
                    <a:gd name="connsiteX94" fmla="*/ 774395 w 3039126"/>
                    <a:gd name="connsiteY94" fmla="*/ 366584 h 555571"/>
                    <a:gd name="connsiteX95" fmla="*/ 787204 w 3039126"/>
                    <a:gd name="connsiteY95" fmla="*/ 366584 h 555571"/>
                    <a:gd name="connsiteX96" fmla="*/ 817090 w 3039126"/>
                    <a:gd name="connsiteY96" fmla="*/ 469177 h 555571"/>
                    <a:gd name="connsiteX97" fmla="*/ 818848 w 3039126"/>
                    <a:gd name="connsiteY97" fmla="*/ 479977 h 555571"/>
                    <a:gd name="connsiteX98" fmla="*/ 819853 w 3039126"/>
                    <a:gd name="connsiteY98" fmla="*/ 479977 h 555571"/>
                    <a:gd name="connsiteX99" fmla="*/ 822239 w 3039126"/>
                    <a:gd name="connsiteY99" fmla="*/ 469177 h 555571"/>
                    <a:gd name="connsiteX100" fmla="*/ 854888 w 3039126"/>
                    <a:gd name="connsiteY100" fmla="*/ 366584 h 555571"/>
                    <a:gd name="connsiteX101" fmla="*/ 862799 w 3039126"/>
                    <a:gd name="connsiteY101" fmla="*/ 366584 h 555571"/>
                    <a:gd name="connsiteX102" fmla="*/ 891932 w 3039126"/>
                    <a:gd name="connsiteY102" fmla="*/ 469177 h 555571"/>
                    <a:gd name="connsiteX103" fmla="*/ 893690 w 3039126"/>
                    <a:gd name="connsiteY103" fmla="*/ 479977 h 555571"/>
                    <a:gd name="connsiteX104" fmla="*/ 894695 w 3039126"/>
                    <a:gd name="connsiteY104" fmla="*/ 479977 h 555571"/>
                    <a:gd name="connsiteX105" fmla="*/ 896830 w 3039126"/>
                    <a:gd name="connsiteY105" fmla="*/ 469177 h 555571"/>
                    <a:gd name="connsiteX106" fmla="*/ 927344 w 3039126"/>
                    <a:gd name="connsiteY106" fmla="*/ 366584 h 555571"/>
                    <a:gd name="connsiteX107" fmla="*/ 939274 w 3039126"/>
                    <a:gd name="connsiteY107" fmla="*/ 366584 h 555571"/>
                    <a:gd name="connsiteX108" fmla="*/ 899341 w 3039126"/>
                    <a:gd name="connsiteY108" fmla="*/ 495171 h 555571"/>
                    <a:gd name="connsiteX109" fmla="*/ 888542 w 3039126"/>
                    <a:gd name="connsiteY109" fmla="*/ 495171 h 555571"/>
                    <a:gd name="connsiteX110" fmla="*/ 860539 w 3039126"/>
                    <a:gd name="connsiteY110" fmla="*/ 398228 h 555571"/>
                    <a:gd name="connsiteX111" fmla="*/ 858530 w 3039126"/>
                    <a:gd name="connsiteY111" fmla="*/ 387429 h 555571"/>
                    <a:gd name="connsiteX112" fmla="*/ 857902 w 3039126"/>
                    <a:gd name="connsiteY112" fmla="*/ 387429 h 555571"/>
                    <a:gd name="connsiteX113" fmla="*/ 855390 w 3039126"/>
                    <a:gd name="connsiteY113" fmla="*/ 397977 h 555571"/>
                    <a:gd name="connsiteX114" fmla="*/ 823997 w 3039126"/>
                    <a:gd name="connsiteY114" fmla="*/ 495171 h 555571"/>
                    <a:gd name="connsiteX115" fmla="*/ 813198 w 3039126"/>
                    <a:gd name="connsiteY115" fmla="*/ 495171 h 555571"/>
                    <a:gd name="connsiteX116" fmla="*/ 482905 w 3039126"/>
                    <a:gd name="connsiteY116" fmla="*/ 366584 h 555571"/>
                    <a:gd name="connsiteX117" fmla="*/ 494583 w 3039126"/>
                    <a:gd name="connsiteY117" fmla="*/ 366584 h 555571"/>
                    <a:gd name="connsiteX118" fmla="*/ 494583 w 3039126"/>
                    <a:gd name="connsiteY118" fmla="*/ 438035 h 555571"/>
                    <a:gd name="connsiteX119" fmla="*/ 503185 w 3039126"/>
                    <a:gd name="connsiteY119" fmla="*/ 475958 h 555571"/>
                    <a:gd name="connsiteX120" fmla="*/ 530247 w 3039126"/>
                    <a:gd name="connsiteY120" fmla="*/ 487762 h 555571"/>
                    <a:gd name="connsiteX121" fmla="*/ 559317 w 3039126"/>
                    <a:gd name="connsiteY121" fmla="*/ 474577 h 555571"/>
                    <a:gd name="connsiteX122" fmla="*/ 570430 w 3039126"/>
                    <a:gd name="connsiteY122" fmla="*/ 439416 h 555571"/>
                    <a:gd name="connsiteX123" fmla="*/ 570430 w 3039126"/>
                    <a:gd name="connsiteY123" fmla="*/ 366584 h 555571"/>
                    <a:gd name="connsiteX124" fmla="*/ 581983 w 3039126"/>
                    <a:gd name="connsiteY124" fmla="*/ 366584 h 555571"/>
                    <a:gd name="connsiteX125" fmla="*/ 581983 w 3039126"/>
                    <a:gd name="connsiteY125" fmla="*/ 495171 h 555571"/>
                    <a:gd name="connsiteX126" fmla="*/ 570430 w 3039126"/>
                    <a:gd name="connsiteY126" fmla="*/ 495171 h 555571"/>
                    <a:gd name="connsiteX127" fmla="*/ 570430 w 3039126"/>
                    <a:gd name="connsiteY127" fmla="*/ 471814 h 555571"/>
                    <a:gd name="connsiteX128" fmla="*/ 569928 w 3039126"/>
                    <a:gd name="connsiteY128" fmla="*/ 471814 h 555571"/>
                    <a:gd name="connsiteX129" fmla="*/ 528488 w 3039126"/>
                    <a:gd name="connsiteY129" fmla="*/ 498311 h 555571"/>
                    <a:gd name="connsiteX130" fmla="*/ 482905 w 3039126"/>
                    <a:gd name="connsiteY130" fmla="*/ 440923 h 555571"/>
                    <a:gd name="connsiteX131" fmla="*/ 2695561 w 3039126"/>
                    <a:gd name="connsiteY131" fmla="*/ 364072 h 555571"/>
                    <a:gd name="connsiteX132" fmla="*/ 2708369 w 3039126"/>
                    <a:gd name="connsiteY132" fmla="*/ 366333 h 555571"/>
                    <a:gd name="connsiteX133" fmla="*/ 2708369 w 3039126"/>
                    <a:gd name="connsiteY133" fmla="*/ 378639 h 555571"/>
                    <a:gd name="connsiteX134" fmla="*/ 2694807 w 3039126"/>
                    <a:gd name="connsiteY134" fmla="*/ 374495 h 555571"/>
                    <a:gd name="connsiteX135" fmla="*/ 2669316 w 3039126"/>
                    <a:gd name="connsiteY135" fmla="*/ 390192 h 555571"/>
                    <a:gd name="connsiteX136" fmla="*/ 2659019 w 3039126"/>
                    <a:gd name="connsiteY136" fmla="*/ 434770 h 555571"/>
                    <a:gd name="connsiteX137" fmla="*/ 2659019 w 3039126"/>
                    <a:gd name="connsiteY137" fmla="*/ 495171 h 555571"/>
                    <a:gd name="connsiteX138" fmla="*/ 2647717 w 3039126"/>
                    <a:gd name="connsiteY138" fmla="*/ 495171 h 555571"/>
                    <a:gd name="connsiteX139" fmla="*/ 2647717 w 3039126"/>
                    <a:gd name="connsiteY139" fmla="*/ 366584 h 555571"/>
                    <a:gd name="connsiteX140" fmla="*/ 2659019 w 3039126"/>
                    <a:gd name="connsiteY140" fmla="*/ 366584 h 555571"/>
                    <a:gd name="connsiteX141" fmla="*/ 2659019 w 3039126"/>
                    <a:gd name="connsiteY141" fmla="*/ 395089 h 555571"/>
                    <a:gd name="connsiteX142" fmla="*/ 2659521 w 3039126"/>
                    <a:gd name="connsiteY142" fmla="*/ 395089 h 555571"/>
                    <a:gd name="connsiteX143" fmla="*/ 2673460 w 3039126"/>
                    <a:gd name="connsiteY143" fmla="*/ 372235 h 555571"/>
                    <a:gd name="connsiteX144" fmla="*/ 2695561 w 3039126"/>
                    <a:gd name="connsiteY144" fmla="*/ 364072 h 555571"/>
                    <a:gd name="connsiteX145" fmla="*/ 3006979 w 3039126"/>
                    <a:gd name="connsiteY145" fmla="*/ 363444 h 555571"/>
                    <a:gd name="connsiteX146" fmla="*/ 3035359 w 3039126"/>
                    <a:gd name="connsiteY146" fmla="*/ 370225 h 555571"/>
                    <a:gd name="connsiteX147" fmla="*/ 3035359 w 3039126"/>
                    <a:gd name="connsiteY147" fmla="*/ 383285 h 555571"/>
                    <a:gd name="connsiteX148" fmla="*/ 3005723 w 3039126"/>
                    <a:gd name="connsiteY148" fmla="*/ 373993 h 555571"/>
                    <a:gd name="connsiteX149" fmla="*/ 2985255 w 3039126"/>
                    <a:gd name="connsiteY149" fmla="*/ 380585 h 555571"/>
                    <a:gd name="connsiteX150" fmla="*/ 2977469 w 3039126"/>
                    <a:gd name="connsiteY150" fmla="*/ 397726 h 555571"/>
                    <a:gd name="connsiteX151" fmla="*/ 2982366 w 3039126"/>
                    <a:gd name="connsiteY151" fmla="*/ 412606 h 555571"/>
                    <a:gd name="connsiteX152" fmla="*/ 3003965 w 3039126"/>
                    <a:gd name="connsiteY152" fmla="*/ 425729 h 555571"/>
                    <a:gd name="connsiteX153" fmla="*/ 3031591 w 3039126"/>
                    <a:gd name="connsiteY153" fmla="*/ 442493 h 555571"/>
                    <a:gd name="connsiteX154" fmla="*/ 3039126 w 3039126"/>
                    <a:gd name="connsiteY154" fmla="*/ 463024 h 555571"/>
                    <a:gd name="connsiteX155" fmla="*/ 3027636 w 3039126"/>
                    <a:gd name="connsiteY155" fmla="*/ 488327 h 555571"/>
                    <a:gd name="connsiteX156" fmla="*/ 2995928 w 3039126"/>
                    <a:gd name="connsiteY156" fmla="*/ 498311 h 555571"/>
                    <a:gd name="connsiteX157" fmla="*/ 2964912 w 3039126"/>
                    <a:gd name="connsiteY157" fmla="*/ 489520 h 555571"/>
                    <a:gd name="connsiteX158" fmla="*/ 2964912 w 3039126"/>
                    <a:gd name="connsiteY158" fmla="*/ 475582 h 555571"/>
                    <a:gd name="connsiteX159" fmla="*/ 2980734 w 3039126"/>
                    <a:gd name="connsiteY159" fmla="*/ 484497 h 555571"/>
                    <a:gd name="connsiteX160" fmla="*/ 2996807 w 3039126"/>
                    <a:gd name="connsiteY160" fmla="*/ 487762 h 555571"/>
                    <a:gd name="connsiteX161" fmla="*/ 3027071 w 3039126"/>
                    <a:gd name="connsiteY161" fmla="*/ 463024 h 555571"/>
                    <a:gd name="connsiteX162" fmla="*/ 3020415 w 3039126"/>
                    <a:gd name="connsiteY162" fmla="*/ 448458 h 555571"/>
                    <a:gd name="connsiteX163" fmla="*/ 2998817 w 3039126"/>
                    <a:gd name="connsiteY163" fmla="*/ 436026 h 555571"/>
                    <a:gd name="connsiteX164" fmla="*/ 2972886 w 3039126"/>
                    <a:gd name="connsiteY164" fmla="*/ 419387 h 555571"/>
                    <a:gd name="connsiteX165" fmla="*/ 2965414 w 3039126"/>
                    <a:gd name="connsiteY165" fmla="*/ 398479 h 555571"/>
                    <a:gd name="connsiteX166" fmla="*/ 2977406 w 3039126"/>
                    <a:gd name="connsiteY166" fmla="*/ 373114 h 555571"/>
                    <a:gd name="connsiteX167" fmla="*/ 3006979 w 3039126"/>
                    <a:gd name="connsiteY167" fmla="*/ 363444 h 555571"/>
                    <a:gd name="connsiteX168" fmla="*/ 2886563 w 3039126"/>
                    <a:gd name="connsiteY168" fmla="*/ 363444 h 555571"/>
                    <a:gd name="connsiteX169" fmla="*/ 2923356 w 3039126"/>
                    <a:gd name="connsiteY169" fmla="*/ 380271 h 555571"/>
                    <a:gd name="connsiteX170" fmla="*/ 2936165 w 3039126"/>
                    <a:gd name="connsiteY170" fmla="*/ 426231 h 555571"/>
                    <a:gd name="connsiteX171" fmla="*/ 2936165 w 3039126"/>
                    <a:gd name="connsiteY171" fmla="*/ 431380 h 555571"/>
                    <a:gd name="connsiteX172" fmla="*/ 2840980 w 3039126"/>
                    <a:gd name="connsiteY172" fmla="*/ 431380 h 555571"/>
                    <a:gd name="connsiteX173" fmla="*/ 2853223 w 3039126"/>
                    <a:gd name="connsiteY173" fmla="*/ 472819 h 555571"/>
                    <a:gd name="connsiteX174" fmla="*/ 2886814 w 3039126"/>
                    <a:gd name="connsiteY174" fmla="*/ 487762 h 555571"/>
                    <a:gd name="connsiteX175" fmla="*/ 2929007 w 3039126"/>
                    <a:gd name="connsiteY175" fmla="*/ 471814 h 555571"/>
                    <a:gd name="connsiteX176" fmla="*/ 2929007 w 3039126"/>
                    <a:gd name="connsiteY176" fmla="*/ 484121 h 555571"/>
                    <a:gd name="connsiteX177" fmla="*/ 2884428 w 3039126"/>
                    <a:gd name="connsiteY177" fmla="*/ 498311 h 555571"/>
                    <a:gd name="connsiteX178" fmla="*/ 2844245 w 3039126"/>
                    <a:gd name="connsiteY178" fmla="*/ 480479 h 555571"/>
                    <a:gd name="connsiteX179" fmla="*/ 2828925 w 3039126"/>
                    <a:gd name="connsiteY179" fmla="*/ 430124 h 555571"/>
                    <a:gd name="connsiteX180" fmla="*/ 2844935 w 3039126"/>
                    <a:gd name="connsiteY180" fmla="*/ 382720 h 555571"/>
                    <a:gd name="connsiteX181" fmla="*/ 2886563 w 3039126"/>
                    <a:gd name="connsiteY181" fmla="*/ 363444 h 555571"/>
                    <a:gd name="connsiteX182" fmla="*/ 2779170 w 3039126"/>
                    <a:gd name="connsiteY182" fmla="*/ 363444 h 555571"/>
                    <a:gd name="connsiteX183" fmla="*/ 2807675 w 3039126"/>
                    <a:gd name="connsiteY183" fmla="*/ 369472 h 555571"/>
                    <a:gd name="connsiteX184" fmla="*/ 2807675 w 3039126"/>
                    <a:gd name="connsiteY184" fmla="*/ 382532 h 555571"/>
                    <a:gd name="connsiteX185" fmla="*/ 2777412 w 3039126"/>
                    <a:gd name="connsiteY185" fmla="*/ 373993 h 555571"/>
                    <a:gd name="connsiteX186" fmla="*/ 2740744 w 3039126"/>
                    <a:gd name="connsiteY186" fmla="*/ 390254 h 555571"/>
                    <a:gd name="connsiteX187" fmla="*/ 2726680 w 3039126"/>
                    <a:gd name="connsiteY187" fmla="*/ 432384 h 555571"/>
                    <a:gd name="connsiteX188" fmla="*/ 2739551 w 3039126"/>
                    <a:gd name="connsiteY188" fmla="*/ 472568 h 555571"/>
                    <a:gd name="connsiteX189" fmla="*/ 2773519 w 3039126"/>
                    <a:gd name="connsiteY189" fmla="*/ 487762 h 555571"/>
                    <a:gd name="connsiteX190" fmla="*/ 2807173 w 3039126"/>
                    <a:gd name="connsiteY190" fmla="*/ 477465 h 555571"/>
                    <a:gd name="connsiteX191" fmla="*/ 2807173 w 3039126"/>
                    <a:gd name="connsiteY191" fmla="*/ 489520 h 555571"/>
                    <a:gd name="connsiteX192" fmla="*/ 2773017 w 3039126"/>
                    <a:gd name="connsiteY192" fmla="*/ 498311 h 555571"/>
                    <a:gd name="connsiteX193" fmla="*/ 2730698 w 3039126"/>
                    <a:gd name="connsiteY193" fmla="*/ 480291 h 555571"/>
                    <a:gd name="connsiteX194" fmla="*/ 2714625 w 3039126"/>
                    <a:gd name="connsiteY194" fmla="*/ 433138 h 555571"/>
                    <a:gd name="connsiteX195" fmla="*/ 2732707 w 3039126"/>
                    <a:gd name="connsiteY195" fmla="*/ 382971 h 555571"/>
                    <a:gd name="connsiteX196" fmla="*/ 2779170 w 3039126"/>
                    <a:gd name="connsiteY196" fmla="*/ 363444 h 555571"/>
                    <a:gd name="connsiteX197" fmla="*/ 2424485 w 3039126"/>
                    <a:gd name="connsiteY197" fmla="*/ 363444 h 555571"/>
                    <a:gd name="connsiteX198" fmla="*/ 2467934 w 3039126"/>
                    <a:gd name="connsiteY198" fmla="*/ 381401 h 555571"/>
                    <a:gd name="connsiteX199" fmla="*/ 2483882 w 3039126"/>
                    <a:gd name="connsiteY199" fmla="*/ 431129 h 555571"/>
                    <a:gd name="connsiteX200" fmla="*/ 2467620 w 3039126"/>
                    <a:gd name="connsiteY200" fmla="*/ 479726 h 555571"/>
                    <a:gd name="connsiteX201" fmla="*/ 2423104 w 3039126"/>
                    <a:gd name="connsiteY201" fmla="*/ 498311 h 555571"/>
                    <a:gd name="connsiteX202" fmla="*/ 2378588 w 3039126"/>
                    <a:gd name="connsiteY202" fmla="*/ 479788 h 555571"/>
                    <a:gd name="connsiteX203" fmla="*/ 2362201 w 3039126"/>
                    <a:gd name="connsiteY203" fmla="*/ 431631 h 555571"/>
                    <a:gd name="connsiteX204" fmla="*/ 2379341 w 3039126"/>
                    <a:gd name="connsiteY204" fmla="*/ 381527 h 555571"/>
                    <a:gd name="connsiteX205" fmla="*/ 2424485 w 3039126"/>
                    <a:gd name="connsiteY205" fmla="*/ 363444 h 555571"/>
                    <a:gd name="connsiteX206" fmla="*/ 2311654 w 3039126"/>
                    <a:gd name="connsiteY206" fmla="*/ 363444 h 555571"/>
                    <a:gd name="connsiteX207" fmla="*/ 2340034 w 3039126"/>
                    <a:gd name="connsiteY207" fmla="*/ 370225 h 555571"/>
                    <a:gd name="connsiteX208" fmla="*/ 2340034 w 3039126"/>
                    <a:gd name="connsiteY208" fmla="*/ 383285 h 555571"/>
                    <a:gd name="connsiteX209" fmla="*/ 2310398 w 3039126"/>
                    <a:gd name="connsiteY209" fmla="*/ 373993 h 555571"/>
                    <a:gd name="connsiteX210" fmla="*/ 2289930 w 3039126"/>
                    <a:gd name="connsiteY210" fmla="*/ 380585 h 555571"/>
                    <a:gd name="connsiteX211" fmla="*/ 2282144 w 3039126"/>
                    <a:gd name="connsiteY211" fmla="*/ 397726 h 555571"/>
                    <a:gd name="connsiteX212" fmla="*/ 2287041 w 3039126"/>
                    <a:gd name="connsiteY212" fmla="*/ 412606 h 555571"/>
                    <a:gd name="connsiteX213" fmla="*/ 2308640 w 3039126"/>
                    <a:gd name="connsiteY213" fmla="*/ 425729 h 555571"/>
                    <a:gd name="connsiteX214" fmla="*/ 2336266 w 3039126"/>
                    <a:gd name="connsiteY214" fmla="*/ 442493 h 555571"/>
                    <a:gd name="connsiteX215" fmla="*/ 2343801 w 3039126"/>
                    <a:gd name="connsiteY215" fmla="*/ 463024 h 555571"/>
                    <a:gd name="connsiteX216" fmla="*/ 2332311 w 3039126"/>
                    <a:gd name="connsiteY216" fmla="*/ 488327 h 555571"/>
                    <a:gd name="connsiteX217" fmla="*/ 2300604 w 3039126"/>
                    <a:gd name="connsiteY217" fmla="*/ 498311 h 555571"/>
                    <a:gd name="connsiteX218" fmla="*/ 2269587 w 3039126"/>
                    <a:gd name="connsiteY218" fmla="*/ 489520 h 555571"/>
                    <a:gd name="connsiteX219" fmla="*/ 2269587 w 3039126"/>
                    <a:gd name="connsiteY219" fmla="*/ 475582 h 555571"/>
                    <a:gd name="connsiteX220" fmla="*/ 2285409 w 3039126"/>
                    <a:gd name="connsiteY220" fmla="*/ 484497 h 555571"/>
                    <a:gd name="connsiteX221" fmla="*/ 2301483 w 3039126"/>
                    <a:gd name="connsiteY221" fmla="*/ 487762 h 555571"/>
                    <a:gd name="connsiteX222" fmla="*/ 2331746 w 3039126"/>
                    <a:gd name="connsiteY222" fmla="*/ 463024 h 555571"/>
                    <a:gd name="connsiteX223" fmla="*/ 2325090 w 3039126"/>
                    <a:gd name="connsiteY223" fmla="*/ 448458 h 555571"/>
                    <a:gd name="connsiteX224" fmla="*/ 2303492 w 3039126"/>
                    <a:gd name="connsiteY224" fmla="*/ 436026 h 555571"/>
                    <a:gd name="connsiteX225" fmla="*/ 2277561 w 3039126"/>
                    <a:gd name="connsiteY225" fmla="*/ 419387 h 555571"/>
                    <a:gd name="connsiteX226" fmla="*/ 2270089 w 3039126"/>
                    <a:gd name="connsiteY226" fmla="*/ 398479 h 555571"/>
                    <a:gd name="connsiteX227" fmla="*/ 2282081 w 3039126"/>
                    <a:gd name="connsiteY227" fmla="*/ 373114 h 555571"/>
                    <a:gd name="connsiteX228" fmla="*/ 2311654 w 3039126"/>
                    <a:gd name="connsiteY228" fmla="*/ 363444 h 555571"/>
                    <a:gd name="connsiteX229" fmla="*/ 2132582 w 3039126"/>
                    <a:gd name="connsiteY229" fmla="*/ 363444 h 555571"/>
                    <a:gd name="connsiteX230" fmla="*/ 2163285 w 3039126"/>
                    <a:gd name="connsiteY230" fmla="*/ 375751 h 555571"/>
                    <a:gd name="connsiteX231" fmla="*/ 2174147 w 3039126"/>
                    <a:gd name="connsiteY231" fmla="*/ 411539 h 555571"/>
                    <a:gd name="connsiteX232" fmla="*/ 2174147 w 3039126"/>
                    <a:gd name="connsiteY232" fmla="*/ 495171 h 555571"/>
                    <a:gd name="connsiteX233" fmla="*/ 2162594 w 3039126"/>
                    <a:gd name="connsiteY233" fmla="*/ 495171 h 555571"/>
                    <a:gd name="connsiteX234" fmla="*/ 2162594 w 3039126"/>
                    <a:gd name="connsiteY234" fmla="*/ 469429 h 555571"/>
                    <a:gd name="connsiteX235" fmla="*/ 2162092 w 3039126"/>
                    <a:gd name="connsiteY235" fmla="*/ 469429 h 555571"/>
                    <a:gd name="connsiteX236" fmla="*/ 2144198 w 3039126"/>
                    <a:gd name="connsiteY236" fmla="*/ 490462 h 555571"/>
                    <a:gd name="connsiteX237" fmla="*/ 2118141 w 3039126"/>
                    <a:gd name="connsiteY237" fmla="*/ 498311 h 555571"/>
                    <a:gd name="connsiteX238" fmla="*/ 2089134 w 3039126"/>
                    <a:gd name="connsiteY238" fmla="*/ 488014 h 555571"/>
                    <a:gd name="connsiteX239" fmla="*/ 2078460 w 3039126"/>
                    <a:gd name="connsiteY239" fmla="*/ 462020 h 555571"/>
                    <a:gd name="connsiteX240" fmla="*/ 2123039 w 3039126"/>
                    <a:gd name="connsiteY240" fmla="*/ 421334 h 555571"/>
                    <a:gd name="connsiteX241" fmla="*/ 2162594 w 3039126"/>
                    <a:gd name="connsiteY241" fmla="*/ 415432 h 555571"/>
                    <a:gd name="connsiteX242" fmla="*/ 2131452 w 3039126"/>
                    <a:gd name="connsiteY242" fmla="*/ 373993 h 555571"/>
                    <a:gd name="connsiteX243" fmla="*/ 2090138 w 3039126"/>
                    <a:gd name="connsiteY243" fmla="*/ 391071 h 555571"/>
                    <a:gd name="connsiteX244" fmla="*/ 2090138 w 3039126"/>
                    <a:gd name="connsiteY244" fmla="*/ 377132 h 555571"/>
                    <a:gd name="connsiteX245" fmla="*/ 2109540 w 3039126"/>
                    <a:gd name="connsiteY245" fmla="*/ 367463 h 555571"/>
                    <a:gd name="connsiteX246" fmla="*/ 2132582 w 3039126"/>
                    <a:gd name="connsiteY246" fmla="*/ 363444 h 555571"/>
                    <a:gd name="connsiteX247" fmla="*/ 1932557 w 3039126"/>
                    <a:gd name="connsiteY247" fmla="*/ 363444 h 555571"/>
                    <a:gd name="connsiteX248" fmla="*/ 1963260 w 3039126"/>
                    <a:gd name="connsiteY248" fmla="*/ 375751 h 555571"/>
                    <a:gd name="connsiteX249" fmla="*/ 1974122 w 3039126"/>
                    <a:gd name="connsiteY249" fmla="*/ 411539 h 555571"/>
                    <a:gd name="connsiteX250" fmla="*/ 1974122 w 3039126"/>
                    <a:gd name="connsiteY250" fmla="*/ 495171 h 555571"/>
                    <a:gd name="connsiteX251" fmla="*/ 1962569 w 3039126"/>
                    <a:gd name="connsiteY251" fmla="*/ 495171 h 555571"/>
                    <a:gd name="connsiteX252" fmla="*/ 1962569 w 3039126"/>
                    <a:gd name="connsiteY252" fmla="*/ 469429 h 555571"/>
                    <a:gd name="connsiteX253" fmla="*/ 1962067 w 3039126"/>
                    <a:gd name="connsiteY253" fmla="*/ 469429 h 555571"/>
                    <a:gd name="connsiteX254" fmla="*/ 1944173 w 3039126"/>
                    <a:gd name="connsiteY254" fmla="*/ 490462 h 555571"/>
                    <a:gd name="connsiteX255" fmla="*/ 1918116 w 3039126"/>
                    <a:gd name="connsiteY255" fmla="*/ 498311 h 555571"/>
                    <a:gd name="connsiteX256" fmla="*/ 1889109 w 3039126"/>
                    <a:gd name="connsiteY256" fmla="*/ 488014 h 555571"/>
                    <a:gd name="connsiteX257" fmla="*/ 1878435 w 3039126"/>
                    <a:gd name="connsiteY257" fmla="*/ 462020 h 555571"/>
                    <a:gd name="connsiteX258" fmla="*/ 1923014 w 3039126"/>
                    <a:gd name="connsiteY258" fmla="*/ 421334 h 555571"/>
                    <a:gd name="connsiteX259" fmla="*/ 1962569 w 3039126"/>
                    <a:gd name="connsiteY259" fmla="*/ 415432 h 555571"/>
                    <a:gd name="connsiteX260" fmla="*/ 1931427 w 3039126"/>
                    <a:gd name="connsiteY260" fmla="*/ 373993 h 555571"/>
                    <a:gd name="connsiteX261" fmla="*/ 1890113 w 3039126"/>
                    <a:gd name="connsiteY261" fmla="*/ 391071 h 555571"/>
                    <a:gd name="connsiteX262" fmla="*/ 1890113 w 3039126"/>
                    <a:gd name="connsiteY262" fmla="*/ 377132 h 555571"/>
                    <a:gd name="connsiteX263" fmla="*/ 1909514 w 3039126"/>
                    <a:gd name="connsiteY263" fmla="*/ 367463 h 555571"/>
                    <a:gd name="connsiteX264" fmla="*/ 1932557 w 3039126"/>
                    <a:gd name="connsiteY264" fmla="*/ 363444 h 555571"/>
                    <a:gd name="connsiteX265" fmla="*/ 654304 w 3039126"/>
                    <a:gd name="connsiteY265" fmla="*/ 363444 h 555571"/>
                    <a:gd name="connsiteX266" fmla="*/ 682684 w 3039126"/>
                    <a:gd name="connsiteY266" fmla="*/ 370225 h 555571"/>
                    <a:gd name="connsiteX267" fmla="*/ 682684 w 3039126"/>
                    <a:gd name="connsiteY267" fmla="*/ 383285 h 555571"/>
                    <a:gd name="connsiteX268" fmla="*/ 653048 w 3039126"/>
                    <a:gd name="connsiteY268" fmla="*/ 373993 h 555571"/>
                    <a:gd name="connsiteX269" fmla="*/ 632580 w 3039126"/>
                    <a:gd name="connsiteY269" fmla="*/ 380585 h 555571"/>
                    <a:gd name="connsiteX270" fmla="*/ 624794 w 3039126"/>
                    <a:gd name="connsiteY270" fmla="*/ 397726 h 555571"/>
                    <a:gd name="connsiteX271" fmla="*/ 629692 w 3039126"/>
                    <a:gd name="connsiteY271" fmla="*/ 412606 h 555571"/>
                    <a:gd name="connsiteX272" fmla="*/ 651290 w 3039126"/>
                    <a:gd name="connsiteY272" fmla="*/ 425729 h 555571"/>
                    <a:gd name="connsiteX273" fmla="*/ 678917 w 3039126"/>
                    <a:gd name="connsiteY273" fmla="*/ 442493 h 555571"/>
                    <a:gd name="connsiteX274" fmla="*/ 686451 w 3039126"/>
                    <a:gd name="connsiteY274" fmla="*/ 463024 h 555571"/>
                    <a:gd name="connsiteX275" fmla="*/ 674961 w 3039126"/>
                    <a:gd name="connsiteY275" fmla="*/ 488327 h 555571"/>
                    <a:gd name="connsiteX276" fmla="*/ 643253 w 3039126"/>
                    <a:gd name="connsiteY276" fmla="*/ 498311 h 555571"/>
                    <a:gd name="connsiteX277" fmla="*/ 612237 w 3039126"/>
                    <a:gd name="connsiteY277" fmla="*/ 489520 h 555571"/>
                    <a:gd name="connsiteX278" fmla="*/ 612237 w 3039126"/>
                    <a:gd name="connsiteY278" fmla="*/ 475582 h 555571"/>
                    <a:gd name="connsiteX279" fmla="*/ 628059 w 3039126"/>
                    <a:gd name="connsiteY279" fmla="*/ 484497 h 555571"/>
                    <a:gd name="connsiteX280" fmla="*/ 644133 w 3039126"/>
                    <a:gd name="connsiteY280" fmla="*/ 487762 h 555571"/>
                    <a:gd name="connsiteX281" fmla="*/ 674396 w 3039126"/>
                    <a:gd name="connsiteY281" fmla="*/ 463024 h 555571"/>
                    <a:gd name="connsiteX282" fmla="*/ 667740 w 3039126"/>
                    <a:gd name="connsiteY282" fmla="*/ 448458 h 555571"/>
                    <a:gd name="connsiteX283" fmla="*/ 646142 w 3039126"/>
                    <a:gd name="connsiteY283" fmla="*/ 436026 h 555571"/>
                    <a:gd name="connsiteX284" fmla="*/ 620211 w 3039126"/>
                    <a:gd name="connsiteY284" fmla="*/ 419387 h 555571"/>
                    <a:gd name="connsiteX285" fmla="*/ 612739 w 3039126"/>
                    <a:gd name="connsiteY285" fmla="*/ 398479 h 555571"/>
                    <a:gd name="connsiteX286" fmla="*/ 624731 w 3039126"/>
                    <a:gd name="connsiteY286" fmla="*/ 373114 h 555571"/>
                    <a:gd name="connsiteX287" fmla="*/ 654304 w 3039126"/>
                    <a:gd name="connsiteY287" fmla="*/ 363444 h 555571"/>
                    <a:gd name="connsiteX288" fmla="*/ 425704 w 3039126"/>
                    <a:gd name="connsiteY288" fmla="*/ 363444 h 555571"/>
                    <a:gd name="connsiteX289" fmla="*/ 454084 w 3039126"/>
                    <a:gd name="connsiteY289" fmla="*/ 370225 h 555571"/>
                    <a:gd name="connsiteX290" fmla="*/ 454084 w 3039126"/>
                    <a:gd name="connsiteY290" fmla="*/ 383285 h 555571"/>
                    <a:gd name="connsiteX291" fmla="*/ 424448 w 3039126"/>
                    <a:gd name="connsiteY291" fmla="*/ 373993 h 555571"/>
                    <a:gd name="connsiteX292" fmla="*/ 403980 w 3039126"/>
                    <a:gd name="connsiteY292" fmla="*/ 380585 h 555571"/>
                    <a:gd name="connsiteX293" fmla="*/ 396194 w 3039126"/>
                    <a:gd name="connsiteY293" fmla="*/ 397726 h 555571"/>
                    <a:gd name="connsiteX294" fmla="*/ 401092 w 3039126"/>
                    <a:gd name="connsiteY294" fmla="*/ 412606 h 555571"/>
                    <a:gd name="connsiteX295" fmla="*/ 422690 w 3039126"/>
                    <a:gd name="connsiteY295" fmla="*/ 425729 h 555571"/>
                    <a:gd name="connsiteX296" fmla="*/ 450316 w 3039126"/>
                    <a:gd name="connsiteY296" fmla="*/ 442493 h 555571"/>
                    <a:gd name="connsiteX297" fmla="*/ 457851 w 3039126"/>
                    <a:gd name="connsiteY297" fmla="*/ 463024 h 555571"/>
                    <a:gd name="connsiteX298" fmla="*/ 446361 w 3039126"/>
                    <a:gd name="connsiteY298" fmla="*/ 488327 h 555571"/>
                    <a:gd name="connsiteX299" fmla="*/ 414653 w 3039126"/>
                    <a:gd name="connsiteY299" fmla="*/ 498311 h 555571"/>
                    <a:gd name="connsiteX300" fmla="*/ 383637 w 3039126"/>
                    <a:gd name="connsiteY300" fmla="*/ 489520 h 555571"/>
                    <a:gd name="connsiteX301" fmla="*/ 383637 w 3039126"/>
                    <a:gd name="connsiteY301" fmla="*/ 475582 h 555571"/>
                    <a:gd name="connsiteX302" fmla="*/ 399459 w 3039126"/>
                    <a:gd name="connsiteY302" fmla="*/ 484497 h 555571"/>
                    <a:gd name="connsiteX303" fmla="*/ 415533 w 3039126"/>
                    <a:gd name="connsiteY303" fmla="*/ 487762 h 555571"/>
                    <a:gd name="connsiteX304" fmla="*/ 445796 w 3039126"/>
                    <a:gd name="connsiteY304" fmla="*/ 463024 h 555571"/>
                    <a:gd name="connsiteX305" fmla="*/ 439140 w 3039126"/>
                    <a:gd name="connsiteY305" fmla="*/ 448458 h 555571"/>
                    <a:gd name="connsiteX306" fmla="*/ 417542 w 3039126"/>
                    <a:gd name="connsiteY306" fmla="*/ 436026 h 555571"/>
                    <a:gd name="connsiteX307" fmla="*/ 391611 w 3039126"/>
                    <a:gd name="connsiteY307" fmla="*/ 419387 h 555571"/>
                    <a:gd name="connsiteX308" fmla="*/ 384139 w 3039126"/>
                    <a:gd name="connsiteY308" fmla="*/ 398479 h 555571"/>
                    <a:gd name="connsiteX309" fmla="*/ 396131 w 3039126"/>
                    <a:gd name="connsiteY309" fmla="*/ 373114 h 555571"/>
                    <a:gd name="connsiteX310" fmla="*/ 425704 w 3039126"/>
                    <a:gd name="connsiteY310" fmla="*/ 363444 h 555571"/>
                    <a:gd name="connsiteX311" fmla="*/ 312948 w 3039126"/>
                    <a:gd name="connsiteY311" fmla="*/ 363444 h 555571"/>
                    <a:gd name="connsiteX312" fmla="*/ 344844 w 3039126"/>
                    <a:gd name="connsiteY312" fmla="*/ 377320 h 555571"/>
                    <a:gd name="connsiteX313" fmla="*/ 355894 w 3039126"/>
                    <a:gd name="connsiteY313" fmla="*/ 416939 h 555571"/>
                    <a:gd name="connsiteX314" fmla="*/ 355894 w 3039126"/>
                    <a:gd name="connsiteY314" fmla="*/ 495171 h 555571"/>
                    <a:gd name="connsiteX315" fmla="*/ 344342 w 3039126"/>
                    <a:gd name="connsiteY315" fmla="*/ 495171 h 555571"/>
                    <a:gd name="connsiteX316" fmla="*/ 344342 w 3039126"/>
                    <a:gd name="connsiteY316" fmla="*/ 420329 h 555571"/>
                    <a:gd name="connsiteX317" fmla="*/ 310939 w 3039126"/>
                    <a:gd name="connsiteY317" fmla="*/ 373993 h 555571"/>
                    <a:gd name="connsiteX318" fmla="*/ 280424 w 3039126"/>
                    <a:gd name="connsiteY318" fmla="*/ 387617 h 555571"/>
                    <a:gd name="connsiteX319" fmla="*/ 268495 w 3039126"/>
                    <a:gd name="connsiteY319" fmla="*/ 421334 h 555571"/>
                    <a:gd name="connsiteX320" fmla="*/ 268495 w 3039126"/>
                    <a:gd name="connsiteY320" fmla="*/ 495171 h 555571"/>
                    <a:gd name="connsiteX321" fmla="*/ 256942 w 3039126"/>
                    <a:gd name="connsiteY321" fmla="*/ 495171 h 555571"/>
                    <a:gd name="connsiteX322" fmla="*/ 256942 w 3039126"/>
                    <a:gd name="connsiteY322" fmla="*/ 366584 h 555571"/>
                    <a:gd name="connsiteX323" fmla="*/ 268495 w 3039126"/>
                    <a:gd name="connsiteY323" fmla="*/ 366584 h 555571"/>
                    <a:gd name="connsiteX324" fmla="*/ 268495 w 3039126"/>
                    <a:gd name="connsiteY324" fmla="*/ 389940 h 555571"/>
                    <a:gd name="connsiteX325" fmla="*/ 268997 w 3039126"/>
                    <a:gd name="connsiteY325" fmla="*/ 389940 h 555571"/>
                    <a:gd name="connsiteX326" fmla="*/ 312948 w 3039126"/>
                    <a:gd name="connsiteY326" fmla="*/ 363444 h 555571"/>
                    <a:gd name="connsiteX327" fmla="*/ 171938 w 3039126"/>
                    <a:gd name="connsiteY327" fmla="*/ 363444 h 555571"/>
                    <a:gd name="connsiteX328" fmla="*/ 208731 w 3039126"/>
                    <a:gd name="connsiteY328" fmla="*/ 380271 h 555571"/>
                    <a:gd name="connsiteX329" fmla="*/ 221540 w 3039126"/>
                    <a:gd name="connsiteY329" fmla="*/ 426231 h 555571"/>
                    <a:gd name="connsiteX330" fmla="*/ 221540 w 3039126"/>
                    <a:gd name="connsiteY330" fmla="*/ 431380 h 555571"/>
                    <a:gd name="connsiteX331" fmla="*/ 126355 w 3039126"/>
                    <a:gd name="connsiteY331" fmla="*/ 431380 h 555571"/>
                    <a:gd name="connsiteX332" fmla="*/ 138598 w 3039126"/>
                    <a:gd name="connsiteY332" fmla="*/ 472819 h 555571"/>
                    <a:gd name="connsiteX333" fmla="*/ 172189 w 3039126"/>
                    <a:gd name="connsiteY333" fmla="*/ 487762 h 555571"/>
                    <a:gd name="connsiteX334" fmla="*/ 214382 w 3039126"/>
                    <a:gd name="connsiteY334" fmla="*/ 471814 h 555571"/>
                    <a:gd name="connsiteX335" fmla="*/ 214382 w 3039126"/>
                    <a:gd name="connsiteY335" fmla="*/ 484121 h 555571"/>
                    <a:gd name="connsiteX336" fmla="*/ 169803 w 3039126"/>
                    <a:gd name="connsiteY336" fmla="*/ 498311 h 555571"/>
                    <a:gd name="connsiteX337" fmla="*/ 129620 w 3039126"/>
                    <a:gd name="connsiteY337" fmla="*/ 480479 h 555571"/>
                    <a:gd name="connsiteX338" fmla="*/ 114300 w 3039126"/>
                    <a:gd name="connsiteY338" fmla="*/ 430124 h 555571"/>
                    <a:gd name="connsiteX339" fmla="*/ 130310 w 3039126"/>
                    <a:gd name="connsiteY339" fmla="*/ 382720 h 555571"/>
                    <a:gd name="connsiteX340" fmla="*/ 171938 w 3039126"/>
                    <a:gd name="connsiteY340" fmla="*/ 363444 h 555571"/>
                    <a:gd name="connsiteX341" fmla="*/ 64545 w 3039126"/>
                    <a:gd name="connsiteY341" fmla="*/ 363444 h 555571"/>
                    <a:gd name="connsiteX342" fmla="*/ 93050 w 3039126"/>
                    <a:gd name="connsiteY342" fmla="*/ 369472 h 555571"/>
                    <a:gd name="connsiteX343" fmla="*/ 93050 w 3039126"/>
                    <a:gd name="connsiteY343" fmla="*/ 382532 h 555571"/>
                    <a:gd name="connsiteX344" fmla="*/ 62787 w 3039126"/>
                    <a:gd name="connsiteY344" fmla="*/ 373993 h 555571"/>
                    <a:gd name="connsiteX345" fmla="*/ 26119 w 3039126"/>
                    <a:gd name="connsiteY345" fmla="*/ 390254 h 555571"/>
                    <a:gd name="connsiteX346" fmla="*/ 12055 w 3039126"/>
                    <a:gd name="connsiteY346" fmla="*/ 432384 h 555571"/>
                    <a:gd name="connsiteX347" fmla="*/ 24926 w 3039126"/>
                    <a:gd name="connsiteY347" fmla="*/ 472568 h 555571"/>
                    <a:gd name="connsiteX348" fmla="*/ 58894 w 3039126"/>
                    <a:gd name="connsiteY348" fmla="*/ 487762 h 555571"/>
                    <a:gd name="connsiteX349" fmla="*/ 92548 w 3039126"/>
                    <a:gd name="connsiteY349" fmla="*/ 477465 h 555571"/>
                    <a:gd name="connsiteX350" fmla="*/ 92548 w 3039126"/>
                    <a:gd name="connsiteY350" fmla="*/ 489520 h 555571"/>
                    <a:gd name="connsiteX351" fmla="*/ 58392 w 3039126"/>
                    <a:gd name="connsiteY351" fmla="*/ 498311 h 555571"/>
                    <a:gd name="connsiteX352" fmla="*/ 16073 w 3039126"/>
                    <a:gd name="connsiteY352" fmla="*/ 480291 h 555571"/>
                    <a:gd name="connsiteX353" fmla="*/ 0 w 3039126"/>
                    <a:gd name="connsiteY353" fmla="*/ 433138 h 555571"/>
                    <a:gd name="connsiteX354" fmla="*/ 18082 w 3039126"/>
                    <a:gd name="connsiteY354" fmla="*/ 382971 h 555571"/>
                    <a:gd name="connsiteX355" fmla="*/ 64545 w 3039126"/>
                    <a:gd name="connsiteY355" fmla="*/ 363444 h 555571"/>
                    <a:gd name="connsiteX356" fmla="*/ 1544795 w 3039126"/>
                    <a:gd name="connsiteY356" fmla="*/ 363443 h 555571"/>
                    <a:gd name="connsiteX357" fmla="*/ 1585983 w 3039126"/>
                    <a:gd name="connsiteY357" fmla="*/ 386926 h 555571"/>
                    <a:gd name="connsiteX358" fmla="*/ 1586485 w 3039126"/>
                    <a:gd name="connsiteY358" fmla="*/ 386926 h 555571"/>
                    <a:gd name="connsiteX359" fmla="*/ 1586485 w 3039126"/>
                    <a:gd name="connsiteY359" fmla="*/ 366583 h 555571"/>
                    <a:gd name="connsiteX360" fmla="*/ 1598038 w 3039126"/>
                    <a:gd name="connsiteY360" fmla="*/ 366583 h 555571"/>
                    <a:gd name="connsiteX361" fmla="*/ 1598038 w 3039126"/>
                    <a:gd name="connsiteY361" fmla="*/ 485627 h 555571"/>
                    <a:gd name="connsiteX362" fmla="*/ 1582216 w 3039126"/>
                    <a:gd name="connsiteY362" fmla="*/ 538744 h 555571"/>
                    <a:gd name="connsiteX363" fmla="*/ 1532991 w 3039126"/>
                    <a:gd name="connsiteY363" fmla="*/ 555571 h 555571"/>
                    <a:gd name="connsiteX364" fmla="*/ 1494691 w 3039126"/>
                    <a:gd name="connsiteY364" fmla="*/ 545776 h 555571"/>
                    <a:gd name="connsiteX365" fmla="*/ 1494691 w 3039126"/>
                    <a:gd name="connsiteY365" fmla="*/ 533721 h 555571"/>
                    <a:gd name="connsiteX366" fmla="*/ 1533242 w 3039126"/>
                    <a:gd name="connsiteY366" fmla="*/ 545023 h 555571"/>
                    <a:gd name="connsiteX367" fmla="*/ 1586485 w 3039126"/>
                    <a:gd name="connsiteY367" fmla="*/ 488766 h 555571"/>
                    <a:gd name="connsiteX368" fmla="*/ 1586485 w 3039126"/>
                    <a:gd name="connsiteY368" fmla="*/ 472065 h 555571"/>
                    <a:gd name="connsiteX369" fmla="*/ 1585983 w 3039126"/>
                    <a:gd name="connsiteY369" fmla="*/ 472065 h 555571"/>
                    <a:gd name="connsiteX370" fmla="*/ 1539646 w 3039126"/>
                    <a:gd name="connsiteY370" fmla="*/ 498310 h 555571"/>
                    <a:gd name="connsiteX371" fmla="*/ 1500907 w 3039126"/>
                    <a:gd name="connsiteY371" fmla="*/ 481106 h 555571"/>
                    <a:gd name="connsiteX372" fmla="*/ 1485901 w 3039126"/>
                    <a:gd name="connsiteY372" fmla="*/ 433137 h 555571"/>
                    <a:gd name="connsiteX373" fmla="*/ 1502100 w 3039126"/>
                    <a:gd name="connsiteY373" fmla="*/ 382907 h 555571"/>
                    <a:gd name="connsiteX374" fmla="*/ 1544795 w 3039126"/>
                    <a:gd name="connsiteY374" fmla="*/ 363443 h 555571"/>
                    <a:gd name="connsiteX375" fmla="*/ 2026495 w 3039126"/>
                    <a:gd name="connsiteY375" fmla="*/ 329288 h 555571"/>
                    <a:gd name="connsiteX376" fmla="*/ 2026495 w 3039126"/>
                    <a:gd name="connsiteY376" fmla="*/ 366584 h 555571"/>
                    <a:gd name="connsiteX377" fmla="*/ 2060400 w 3039126"/>
                    <a:gd name="connsiteY377" fmla="*/ 366584 h 555571"/>
                    <a:gd name="connsiteX378" fmla="*/ 2060400 w 3039126"/>
                    <a:gd name="connsiteY378" fmla="*/ 377132 h 555571"/>
                    <a:gd name="connsiteX379" fmla="*/ 2026495 w 3039126"/>
                    <a:gd name="connsiteY379" fmla="*/ 377132 h 555571"/>
                    <a:gd name="connsiteX380" fmla="*/ 2026495 w 3039126"/>
                    <a:gd name="connsiteY380" fmla="*/ 462020 h 555571"/>
                    <a:gd name="connsiteX381" fmla="*/ 2030701 w 3039126"/>
                    <a:gd name="connsiteY381" fmla="*/ 481295 h 555571"/>
                    <a:gd name="connsiteX382" fmla="*/ 2044954 w 3039126"/>
                    <a:gd name="connsiteY382" fmla="*/ 487260 h 555571"/>
                    <a:gd name="connsiteX383" fmla="*/ 2060400 w 3039126"/>
                    <a:gd name="connsiteY383" fmla="*/ 482614 h 555571"/>
                    <a:gd name="connsiteX384" fmla="*/ 2060400 w 3039126"/>
                    <a:gd name="connsiteY384" fmla="*/ 493413 h 555571"/>
                    <a:gd name="connsiteX385" fmla="*/ 2043447 w 3039126"/>
                    <a:gd name="connsiteY385" fmla="*/ 497683 h 555571"/>
                    <a:gd name="connsiteX386" fmla="*/ 2014942 w 3039126"/>
                    <a:gd name="connsiteY386" fmla="*/ 463527 h 555571"/>
                    <a:gd name="connsiteX387" fmla="*/ 2014942 w 3039126"/>
                    <a:gd name="connsiteY387" fmla="*/ 377132 h 555571"/>
                    <a:gd name="connsiteX388" fmla="*/ 1991836 w 3039126"/>
                    <a:gd name="connsiteY388" fmla="*/ 377132 h 555571"/>
                    <a:gd name="connsiteX389" fmla="*/ 1991836 w 3039126"/>
                    <a:gd name="connsiteY389" fmla="*/ 366584 h 555571"/>
                    <a:gd name="connsiteX390" fmla="*/ 2014942 w 3039126"/>
                    <a:gd name="connsiteY390" fmla="*/ 366584 h 555571"/>
                    <a:gd name="connsiteX391" fmla="*/ 2014942 w 3039126"/>
                    <a:gd name="connsiteY391" fmla="*/ 333181 h 555571"/>
                    <a:gd name="connsiteX392" fmla="*/ 2020718 w 3039126"/>
                    <a:gd name="connsiteY392" fmla="*/ 331172 h 555571"/>
                    <a:gd name="connsiteX393" fmla="*/ 2026495 w 3039126"/>
                    <a:gd name="connsiteY393" fmla="*/ 329288 h 555571"/>
                    <a:gd name="connsiteX394" fmla="*/ 1035895 w 3039126"/>
                    <a:gd name="connsiteY394" fmla="*/ 329288 h 555571"/>
                    <a:gd name="connsiteX395" fmla="*/ 1035895 w 3039126"/>
                    <a:gd name="connsiteY395" fmla="*/ 366584 h 555571"/>
                    <a:gd name="connsiteX396" fmla="*/ 1069800 w 3039126"/>
                    <a:gd name="connsiteY396" fmla="*/ 366584 h 555571"/>
                    <a:gd name="connsiteX397" fmla="*/ 1069800 w 3039126"/>
                    <a:gd name="connsiteY397" fmla="*/ 377132 h 555571"/>
                    <a:gd name="connsiteX398" fmla="*/ 1035895 w 3039126"/>
                    <a:gd name="connsiteY398" fmla="*/ 377132 h 555571"/>
                    <a:gd name="connsiteX399" fmla="*/ 1035895 w 3039126"/>
                    <a:gd name="connsiteY399" fmla="*/ 462020 h 555571"/>
                    <a:gd name="connsiteX400" fmla="*/ 1040102 w 3039126"/>
                    <a:gd name="connsiteY400" fmla="*/ 481295 h 555571"/>
                    <a:gd name="connsiteX401" fmla="*/ 1054355 w 3039126"/>
                    <a:gd name="connsiteY401" fmla="*/ 487260 h 555571"/>
                    <a:gd name="connsiteX402" fmla="*/ 1069800 w 3039126"/>
                    <a:gd name="connsiteY402" fmla="*/ 482614 h 555571"/>
                    <a:gd name="connsiteX403" fmla="*/ 1069800 w 3039126"/>
                    <a:gd name="connsiteY403" fmla="*/ 493413 h 555571"/>
                    <a:gd name="connsiteX404" fmla="*/ 1052848 w 3039126"/>
                    <a:gd name="connsiteY404" fmla="*/ 497683 h 555571"/>
                    <a:gd name="connsiteX405" fmla="*/ 1024343 w 3039126"/>
                    <a:gd name="connsiteY405" fmla="*/ 463527 h 555571"/>
                    <a:gd name="connsiteX406" fmla="*/ 1024343 w 3039126"/>
                    <a:gd name="connsiteY406" fmla="*/ 377132 h 555571"/>
                    <a:gd name="connsiteX407" fmla="*/ 1001237 w 3039126"/>
                    <a:gd name="connsiteY407" fmla="*/ 377132 h 555571"/>
                    <a:gd name="connsiteX408" fmla="*/ 1001237 w 3039126"/>
                    <a:gd name="connsiteY408" fmla="*/ 366584 h 555571"/>
                    <a:gd name="connsiteX409" fmla="*/ 1024343 w 3039126"/>
                    <a:gd name="connsiteY409" fmla="*/ 366584 h 555571"/>
                    <a:gd name="connsiteX410" fmla="*/ 1024343 w 3039126"/>
                    <a:gd name="connsiteY410" fmla="*/ 333181 h 555571"/>
                    <a:gd name="connsiteX411" fmla="*/ 1030119 w 3039126"/>
                    <a:gd name="connsiteY411" fmla="*/ 331172 h 555571"/>
                    <a:gd name="connsiteX412" fmla="*/ 1035895 w 3039126"/>
                    <a:gd name="connsiteY412" fmla="*/ 329288 h 555571"/>
                    <a:gd name="connsiteX413" fmla="*/ 1443694 w 3039126"/>
                    <a:gd name="connsiteY413" fmla="*/ 315097 h 555571"/>
                    <a:gd name="connsiteX414" fmla="*/ 1450538 w 3039126"/>
                    <a:gd name="connsiteY414" fmla="*/ 317609 h 555571"/>
                    <a:gd name="connsiteX415" fmla="*/ 1453489 w 3039126"/>
                    <a:gd name="connsiteY415" fmla="*/ 324390 h 555571"/>
                    <a:gd name="connsiteX416" fmla="*/ 1450601 w 3039126"/>
                    <a:gd name="connsiteY416" fmla="*/ 331297 h 555571"/>
                    <a:gd name="connsiteX417" fmla="*/ 1443694 w 3039126"/>
                    <a:gd name="connsiteY417" fmla="*/ 334185 h 555571"/>
                    <a:gd name="connsiteX418" fmla="*/ 1437039 w 3039126"/>
                    <a:gd name="connsiteY418" fmla="*/ 331422 h 555571"/>
                    <a:gd name="connsiteX419" fmla="*/ 1434150 w 3039126"/>
                    <a:gd name="connsiteY419" fmla="*/ 324390 h 555571"/>
                    <a:gd name="connsiteX420" fmla="*/ 1437101 w 3039126"/>
                    <a:gd name="connsiteY420" fmla="*/ 317672 h 555571"/>
                    <a:gd name="connsiteX421" fmla="*/ 1443694 w 3039126"/>
                    <a:gd name="connsiteY421" fmla="*/ 315097 h 555571"/>
                    <a:gd name="connsiteX422" fmla="*/ 967444 w 3039126"/>
                    <a:gd name="connsiteY422" fmla="*/ 315097 h 555571"/>
                    <a:gd name="connsiteX423" fmla="*/ 974288 w 3039126"/>
                    <a:gd name="connsiteY423" fmla="*/ 317609 h 555571"/>
                    <a:gd name="connsiteX424" fmla="*/ 977239 w 3039126"/>
                    <a:gd name="connsiteY424" fmla="*/ 324390 h 555571"/>
                    <a:gd name="connsiteX425" fmla="*/ 974351 w 3039126"/>
                    <a:gd name="connsiteY425" fmla="*/ 331297 h 555571"/>
                    <a:gd name="connsiteX426" fmla="*/ 967444 w 3039126"/>
                    <a:gd name="connsiteY426" fmla="*/ 334185 h 555571"/>
                    <a:gd name="connsiteX427" fmla="*/ 960789 w 3039126"/>
                    <a:gd name="connsiteY427" fmla="*/ 331422 h 555571"/>
                    <a:gd name="connsiteX428" fmla="*/ 957900 w 3039126"/>
                    <a:gd name="connsiteY428" fmla="*/ 324390 h 555571"/>
                    <a:gd name="connsiteX429" fmla="*/ 960851 w 3039126"/>
                    <a:gd name="connsiteY429" fmla="*/ 317672 h 555571"/>
                    <a:gd name="connsiteX430" fmla="*/ 967444 w 3039126"/>
                    <a:gd name="connsiteY430" fmla="*/ 315097 h 555571"/>
                    <a:gd name="connsiteX431" fmla="*/ 1834135 w 3039126"/>
                    <a:gd name="connsiteY431" fmla="*/ 304800 h 555571"/>
                    <a:gd name="connsiteX432" fmla="*/ 1845688 w 3039126"/>
                    <a:gd name="connsiteY432" fmla="*/ 304800 h 555571"/>
                    <a:gd name="connsiteX433" fmla="*/ 1845688 w 3039126"/>
                    <a:gd name="connsiteY433" fmla="*/ 495170 h 555571"/>
                    <a:gd name="connsiteX434" fmla="*/ 1834135 w 3039126"/>
                    <a:gd name="connsiteY434" fmla="*/ 495170 h 555571"/>
                    <a:gd name="connsiteX435" fmla="*/ 1834135 w 3039126"/>
                    <a:gd name="connsiteY435" fmla="*/ 471813 h 555571"/>
                    <a:gd name="connsiteX436" fmla="*/ 1833633 w 3039126"/>
                    <a:gd name="connsiteY436" fmla="*/ 471813 h 555571"/>
                    <a:gd name="connsiteX437" fmla="*/ 1815048 w 3039126"/>
                    <a:gd name="connsiteY437" fmla="*/ 491152 h 555571"/>
                    <a:gd name="connsiteX438" fmla="*/ 1787296 w 3039126"/>
                    <a:gd name="connsiteY438" fmla="*/ 498310 h 555571"/>
                    <a:gd name="connsiteX439" fmla="*/ 1748557 w 3039126"/>
                    <a:gd name="connsiteY439" fmla="*/ 480980 h 555571"/>
                    <a:gd name="connsiteX440" fmla="*/ 1733551 w 3039126"/>
                    <a:gd name="connsiteY440" fmla="*/ 433137 h 555571"/>
                    <a:gd name="connsiteX441" fmla="*/ 1749938 w 3039126"/>
                    <a:gd name="connsiteY441" fmla="*/ 382719 h 555571"/>
                    <a:gd name="connsiteX442" fmla="*/ 1792445 w 3039126"/>
                    <a:gd name="connsiteY442" fmla="*/ 363443 h 555571"/>
                    <a:gd name="connsiteX443" fmla="*/ 1833633 w 3039126"/>
                    <a:gd name="connsiteY443" fmla="*/ 387177 h 555571"/>
                    <a:gd name="connsiteX444" fmla="*/ 1834135 w 3039126"/>
                    <a:gd name="connsiteY444" fmla="*/ 387177 h 555571"/>
                    <a:gd name="connsiteX445" fmla="*/ 1295167 w 3039126"/>
                    <a:gd name="connsiteY445" fmla="*/ 304800 h 555571"/>
                    <a:gd name="connsiteX446" fmla="*/ 1306720 w 3039126"/>
                    <a:gd name="connsiteY446" fmla="*/ 304800 h 555571"/>
                    <a:gd name="connsiteX447" fmla="*/ 1306720 w 3039126"/>
                    <a:gd name="connsiteY447" fmla="*/ 393079 h 555571"/>
                    <a:gd name="connsiteX448" fmla="*/ 1307222 w 3039126"/>
                    <a:gd name="connsiteY448" fmla="*/ 393079 h 555571"/>
                    <a:gd name="connsiteX449" fmla="*/ 1327000 w 3039126"/>
                    <a:gd name="connsiteY449" fmla="*/ 371166 h 555571"/>
                    <a:gd name="connsiteX450" fmla="*/ 1355317 w 3039126"/>
                    <a:gd name="connsiteY450" fmla="*/ 363443 h 555571"/>
                    <a:gd name="connsiteX451" fmla="*/ 1393554 w 3039126"/>
                    <a:gd name="connsiteY451" fmla="*/ 380333 h 555571"/>
                    <a:gd name="connsiteX452" fmla="*/ 1407305 w 3039126"/>
                    <a:gd name="connsiteY452" fmla="*/ 426230 h 555571"/>
                    <a:gd name="connsiteX453" fmla="*/ 1391357 w 3039126"/>
                    <a:gd name="connsiteY453" fmla="*/ 478406 h 555571"/>
                    <a:gd name="connsiteX454" fmla="*/ 1349917 w 3039126"/>
                    <a:gd name="connsiteY454" fmla="*/ 498310 h 555571"/>
                    <a:gd name="connsiteX455" fmla="*/ 1307222 w 3039126"/>
                    <a:gd name="connsiteY455" fmla="*/ 472316 h 555571"/>
                    <a:gd name="connsiteX456" fmla="*/ 1306720 w 3039126"/>
                    <a:gd name="connsiteY456" fmla="*/ 472316 h 555571"/>
                    <a:gd name="connsiteX457" fmla="*/ 1306720 w 3039126"/>
                    <a:gd name="connsiteY457" fmla="*/ 495170 h 555571"/>
                    <a:gd name="connsiteX458" fmla="*/ 1295167 w 3039126"/>
                    <a:gd name="connsiteY458" fmla="*/ 495170 h 555571"/>
                    <a:gd name="connsiteX459" fmla="*/ 1095142 w 3039126"/>
                    <a:gd name="connsiteY459" fmla="*/ 304800 h 555571"/>
                    <a:gd name="connsiteX460" fmla="*/ 1106695 w 3039126"/>
                    <a:gd name="connsiteY460" fmla="*/ 304800 h 555571"/>
                    <a:gd name="connsiteX461" fmla="*/ 1106695 w 3039126"/>
                    <a:gd name="connsiteY461" fmla="*/ 389688 h 555571"/>
                    <a:gd name="connsiteX462" fmla="*/ 1107197 w 3039126"/>
                    <a:gd name="connsiteY462" fmla="*/ 389688 h 555571"/>
                    <a:gd name="connsiteX463" fmla="*/ 1151399 w 3039126"/>
                    <a:gd name="connsiteY463" fmla="*/ 363443 h 555571"/>
                    <a:gd name="connsiteX464" fmla="*/ 1183169 w 3039126"/>
                    <a:gd name="connsiteY464" fmla="*/ 376880 h 555571"/>
                    <a:gd name="connsiteX465" fmla="*/ 1194094 w 3039126"/>
                    <a:gd name="connsiteY465" fmla="*/ 415431 h 555571"/>
                    <a:gd name="connsiteX466" fmla="*/ 1194094 w 3039126"/>
                    <a:gd name="connsiteY466" fmla="*/ 495170 h 555571"/>
                    <a:gd name="connsiteX467" fmla="*/ 1182542 w 3039126"/>
                    <a:gd name="connsiteY467" fmla="*/ 495170 h 555571"/>
                    <a:gd name="connsiteX468" fmla="*/ 1182542 w 3039126"/>
                    <a:gd name="connsiteY468" fmla="*/ 418068 h 555571"/>
                    <a:gd name="connsiteX469" fmla="*/ 1174254 w 3039126"/>
                    <a:gd name="connsiteY469" fmla="*/ 384603 h 555571"/>
                    <a:gd name="connsiteX470" fmla="*/ 1148386 w 3039126"/>
                    <a:gd name="connsiteY470" fmla="*/ 373992 h 555571"/>
                    <a:gd name="connsiteX471" fmla="*/ 1119252 w 3039126"/>
                    <a:gd name="connsiteY471" fmla="*/ 386926 h 555571"/>
                    <a:gd name="connsiteX472" fmla="*/ 1106695 w 3039126"/>
                    <a:gd name="connsiteY472" fmla="*/ 423970 h 555571"/>
                    <a:gd name="connsiteX473" fmla="*/ 1106695 w 3039126"/>
                    <a:gd name="connsiteY473" fmla="*/ 495170 h 555571"/>
                    <a:gd name="connsiteX474" fmla="*/ 1095142 w 3039126"/>
                    <a:gd name="connsiteY474" fmla="*/ 495170 h 555571"/>
                    <a:gd name="connsiteX475" fmla="*/ 2581694 w 3039126"/>
                    <a:gd name="connsiteY475" fmla="*/ 121180 h 555571"/>
                    <a:gd name="connsiteX476" fmla="*/ 2546282 w 3039126"/>
                    <a:gd name="connsiteY476" fmla="*/ 126329 h 555571"/>
                    <a:gd name="connsiteX477" fmla="*/ 2517903 w 3039126"/>
                    <a:gd name="connsiteY477" fmla="*/ 135684 h 555571"/>
                    <a:gd name="connsiteX478" fmla="*/ 2509740 w 3039126"/>
                    <a:gd name="connsiteY478" fmla="*/ 156717 h 555571"/>
                    <a:gd name="connsiteX479" fmla="*/ 2517338 w 3039126"/>
                    <a:gd name="connsiteY479" fmla="*/ 175554 h 555571"/>
                    <a:gd name="connsiteX480" fmla="*/ 2538497 w 3039126"/>
                    <a:gd name="connsiteY480" fmla="*/ 182962 h 555571"/>
                    <a:gd name="connsiteX481" fmla="*/ 2569388 w 3039126"/>
                    <a:gd name="connsiteY481" fmla="*/ 169212 h 555571"/>
                    <a:gd name="connsiteX482" fmla="*/ 2581694 w 3039126"/>
                    <a:gd name="connsiteY482" fmla="*/ 133737 h 555571"/>
                    <a:gd name="connsiteX483" fmla="*/ 2790811 w 3039126"/>
                    <a:gd name="connsiteY483" fmla="*/ 69193 h 555571"/>
                    <a:gd name="connsiteX484" fmla="*/ 2760861 w 3039126"/>
                    <a:gd name="connsiteY484" fmla="*/ 81310 h 555571"/>
                    <a:gd name="connsiteX485" fmla="*/ 2746232 w 3039126"/>
                    <a:gd name="connsiteY485" fmla="*/ 116032 h 555571"/>
                    <a:gd name="connsiteX486" fmla="*/ 2828860 w 3039126"/>
                    <a:gd name="connsiteY486" fmla="*/ 116032 h 555571"/>
                    <a:gd name="connsiteX487" fmla="*/ 2818186 w 3039126"/>
                    <a:gd name="connsiteY487" fmla="*/ 81499 h 555571"/>
                    <a:gd name="connsiteX488" fmla="*/ 2790811 w 3039126"/>
                    <a:gd name="connsiteY488" fmla="*/ 69193 h 555571"/>
                    <a:gd name="connsiteX489" fmla="*/ 2219311 w 3039126"/>
                    <a:gd name="connsiteY489" fmla="*/ 69193 h 555571"/>
                    <a:gd name="connsiteX490" fmla="*/ 2189361 w 3039126"/>
                    <a:gd name="connsiteY490" fmla="*/ 81310 h 555571"/>
                    <a:gd name="connsiteX491" fmla="*/ 2174732 w 3039126"/>
                    <a:gd name="connsiteY491" fmla="*/ 116032 h 555571"/>
                    <a:gd name="connsiteX492" fmla="*/ 2257360 w 3039126"/>
                    <a:gd name="connsiteY492" fmla="*/ 116032 h 555571"/>
                    <a:gd name="connsiteX493" fmla="*/ 2246686 w 3039126"/>
                    <a:gd name="connsiteY493" fmla="*/ 81499 h 555571"/>
                    <a:gd name="connsiteX494" fmla="*/ 2219311 w 3039126"/>
                    <a:gd name="connsiteY494" fmla="*/ 69193 h 555571"/>
                    <a:gd name="connsiteX495" fmla="*/ 1238236 w 3039126"/>
                    <a:gd name="connsiteY495" fmla="*/ 69193 h 555571"/>
                    <a:gd name="connsiteX496" fmla="*/ 1208287 w 3039126"/>
                    <a:gd name="connsiteY496" fmla="*/ 81310 h 555571"/>
                    <a:gd name="connsiteX497" fmla="*/ 1193657 w 3039126"/>
                    <a:gd name="connsiteY497" fmla="*/ 116032 h 555571"/>
                    <a:gd name="connsiteX498" fmla="*/ 1276285 w 3039126"/>
                    <a:gd name="connsiteY498" fmla="*/ 116032 h 555571"/>
                    <a:gd name="connsiteX499" fmla="*/ 1265611 w 3039126"/>
                    <a:gd name="connsiteY499" fmla="*/ 81499 h 555571"/>
                    <a:gd name="connsiteX500" fmla="*/ 1238236 w 3039126"/>
                    <a:gd name="connsiteY500" fmla="*/ 69193 h 555571"/>
                    <a:gd name="connsiteX501" fmla="*/ 676261 w 3039126"/>
                    <a:gd name="connsiteY501" fmla="*/ 69193 h 555571"/>
                    <a:gd name="connsiteX502" fmla="*/ 646311 w 3039126"/>
                    <a:gd name="connsiteY502" fmla="*/ 81310 h 555571"/>
                    <a:gd name="connsiteX503" fmla="*/ 631682 w 3039126"/>
                    <a:gd name="connsiteY503" fmla="*/ 116032 h 555571"/>
                    <a:gd name="connsiteX504" fmla="*/ 714310 w 3039126"/>
                    <a:gd name="connsiteY504" fmla="*/ 116032 h 555571"/>
                    <a:gd name="connsiteX505" fmla="*/ 703636 w 3039126"/>
                    <a:gd name="connsiteY505" fmla="*/ 81499 h 555571"/>
                    <a:gd name="connsiteX506" fmla="*/ 676261 w 3039126"/>
                    <a:gd name="connsiteY506" fmla="*/ 69193 h 555571"/>
                    <a:gd name="connsiteX507" fmla="*/ 423733 w 3039126"/>
                    <a:gd name="connsiteY507" fmla="*/ 69193 h 555571"/>
                    <a:gd name="connsiteX508" fmla="*/ 387505 w 3039126"/>
                    <a:gd name="connsiteY508" fmla="*/ 84513 h 555571"/>
                    <a:gd name="connsiteX509" fmla="*/ 374006 w 3039126"/>
                    <a:gd name="connsiteY509" fmla="*/ 127082 h 555571"/>
                    <a:gd name="connsiteX510" fmla="*/ 387191 w 3039126"/>
                    <a:gd name="connsiteY510" fmla="*/ 167642 h 555571"/>
                    <a:gd name="connsiteX511" fmla="*/ 423231 w 3039126"/>
                    <a:gd name="connsiteY511" fmla="*/ 182962 h 555571"/>
                    <a:gd name="connsiteX512" fmla="*/ 459019 w 3039126"/>
                    <a:gd name="connsiteY512" fmla="*/ 167894 h 555571"/>
                    <a:gd name="connsiteX513" fmla="*/ 471577 w 3039126"/>
                    <a:gd name="connsiteY513" fmla="*/ 126077 h 555571"/>
                    <a:gd name="connsiteX514" fmla="*/ 459082 w 3039126"/>
                    <a:gd name="connsiteY514" fmla="*/ 83885 h 555571"/>
                    <a:gd name="connsiteX515" fmla="*/ 423733 w 3039126"/>
                    <a:gd name="connsiteY515" fmla="*/ 69193 h 555571"/>
                    <a:gd name="connsiteX516" fmla="*/ 2363461 w 3039126"/>
                    <a:gd name="connsiteY516" fmla="*/ 69192 h 555571"/>
                    <a:gd name="connsiteX517" fmla="*/ 2328677 w 3039126"/>
                    <a:gd name="connsiteY517" fmla="*/ 84260 h 555571"/>
                    <a:gd name="connsiteX518" fmla="*/ 2316371 w 3039126"/>
                    <a:gd name="connsiteY518" fmla="*/ 119672 h 555571"/>
                    <a:gd name="connsiteX519" fmla="*/ 2316371 w 3039126"/>
                    <a:gd name="connsiteY519" fmla="*/ 135871 h 555571"/>
                    <a:gd name="connsiteX520" fmla="*/ 2328552 w 3039126"/>
                    <a:gd name="connsiteY520" fmla="*/ 169085 h 555571"/>
                    <a:gd name="connsiteX521" fmla="*/ 2360573 w 3039126"/>
                    <a:gd name="connsiteY521" fmla="*/ 182961 h 555571"/>
                    <a:gd name="connsiteX522" fmla="*/ 2392594 w 3039126"/>
                    <a:gd name="connsiteY522" fmla="*/ 166072 h 555571"/>
                    <a:gd name="connsiteX523" fmla="*/ 2404900 w 3039126"/>
                    <a:gd name="connsiteY523" fmla="*/ 121681 h 555571"/>
                    <a:gd name="connsiteX524" fmla="*/ 2393599 w 3039126"/>
                    <a:gd name="connsiteY524" fmla="*/ 83381 h 555571"/>
                    <a:gd name="connsiteX525" fmla="*/ 2363461 w 3039126"/>
                    <a:gd name="connsiteY525" fmla="*/ 69192 h 555571"/>
                    <a:gd name="connsiteX526" fmla="*/ 1866668 w 3039126"/>
                    <a:gd name="connsiteY526" fmla="*/ 61784 h 555571"/>
                    <a:gd name="connsiteX527" fmla="*/ 1878221 w 3039126"/>
                    <a:gd name="connsiteY527" fmla="*/ 61784 h 555571"/>
                    <a:gd name="connsiteX528" fmla="*/ 1878221 w 3039126"/>
                    <a:gd name="connsiteY528" fmla="*/ 190371 h 555571"/>
                    <a:gd name="connsiteX529" fmla="*/ 1866668 w 3039126"/>
                    <a:gd name="connsiteY529" fmla="*/ 190371 h 555571"/>
                    <a:gd name="connsiteX530" fmla="*/ 1679270 w 3039126"/>
                    <a:gd name="connsiteY530" fmla="*/ 61784 h 555571"/>
                    <a:gd name="connsiteX531" fmla="*/ 1692079 w 3039126"/>
                    <a:gd name="connsiteY531" fmla="*/ 61784 h 555571"/>
                    <a:gd name="connsiteX532" fmla="*/ 1721965 w 3039126"/>
                    <a:gd name="connsiteY532" fmla="*/ 164377 h 555571"/>
                    <a:gd name="connsiteX533" fmla="*/ 1723723 w 3039126"/>
                    <a:gd name="connsiteY533" fmla="*/ 175177 h 555571"/>
                    <a:gd name="connsiteX534" fmla="*/ 1724728 w 3039126"/>
                    <a:gd name="connsiteY534" fmla="*/ 175177 h 555571"/>
                    <a:gd name="connsiteX535" fmla="*/ 1727114 w 3039126"/>
                    <a:gd name="connsiteY535" fmla="*/ 164377 h 555571"/>
                    <a:gd name="connsiteX536" fmla="*/ 1759763 w 3039126"/>
                    <a:gd name="connsiteY536" fmla="*/ 61784 h 555571"/>
                    <a:gd name="connsiteX537" fmla="*/ 1767674 w 3039126"/>
                    <a:gd name="connsiteY537" fmla="*/ 61784 h 555571"/>
                    <a:gd name="connsiteX538" fmla="*/ 1796807 w 3039126"/>
                    <a:gd name="connsiteY538" fmla="*/ 164377 h 555571"/>
                    <a:gd name="connsiteX539" fmla="*/ 1798565 w 3039126"/>
                    <a:gd name="connsiteY539" fmla="*/ 175177 h 555571"/>
                    <a:gd name="connsiteX540" fmla="*/ 1799570 w 3039126"/>
                    <a:gd name="connsiteY540" fmla="*/ 175177 h 555571"/>
                    <a:gd name="connsiteX541" fmla="*/ 1801705 w 3039126"/>
                    <a:gd name="connsiteY541" fmla="*/ 164377 h 555571"/>
                    <a:gd name="connsiteX542" fmla="*/ 1832219 w 3039126"/>
                    <a:gd name="connsiteY542" fmla="*/ 61784 h 555571"/>
                    <a:gd name="connsiteX543" fmla="*/ 1844149 w 3039126"/>
                    <a:gd name="connsiteY543" fmla="*/ 61784 h 555571"/>
                    <a:gd name="connsiteX544" fmla="*/ 1804216 w 3039126"/>
                    <a:gd name="connsiteY544" fmla="*/ 190371 h 555571"/>
                    <a:gd name="connsiteX545" fmla="*/ 1793417 w 3039126"/>
                    <a:gd name="connsiteY545" fmla="*/ 190371 h 555571"/>
                    <a:gd name="connsiteX546" fmla="*/ 1765414 w 3039126"/>
                    <a:gd name="connsiteY546" fmla="*/ 93428 h 555571"/>
                    <a:gd name="connsiteX547" fmla="*/ 1763405 w 3039126"/>
                    <a:gd name="connsiteY547" fmla="*/ 82629 h 555571"/>
                    <a:gd name="connsiteX548" fmla="*/ 1762777 w 3039126"/>
                    <a:gd name="connsiteY548" fmla="*/ 82629 h 555571"/>
                    <a:gd name="connsiteX549" fmla="*/ 1760265 w 3039126"/>
                    <a:gd name="connsiteY549" fmla="*/ 93177 h 555571"/>
                    <a:gd name="connsiteX550" fmla="*/ 1728872 w 3039126"/>
                    <a:gd name="connsiteY550" fmla="*/ 190371 h 555571"/>
                    <a:gd name="connsiteX551" fmla="*/ 1718073 w 3039126"/>
                    <a:gd name="connsiteY551" fmla="*/ 190371 h 555571"/>
                    <a:gd name="connsiteX552" fmla="*/ 496036 w 3039126"/>
                    <a:gd name="connsiteY552" fmla="*/ 61784 h 555571"/>
                    <a:gd name="connsiteX553" fmla="*/ 508970 w 3039126"/>
                    <a:gd name="connsiteY553" fmla="*/ 61784 h 555571"/>
                    <a:gd name="connsiteX554" fmla="*/ 547270 w 3039126"/>
                    <a:gd name="connsiteY554" fmla="*/ 164126 h 555571"/>
                    <a:gd name="connsiteX555" fmla="*/ 551162 w 3039126"/>
                    <a:gd name="connsiteY555" fmla="*/ 177563 h 555571"/>
                    <a:gd name="connsiteX556" fmla="*/ 551665 w 3039126"/>
                    <a:gd name="connsiteY556" fmla="*/ 177563 h 555571"/>
                    <a:gd name="connsiteX557" fmla="*/ 555306 w 3039126"/>
                    <a:gd name="connsiteY557" fmla="*/ 164629 h 555571"/>
                    <a:gd name="connsiteX558" fmla="*/ 594862 w 3039126"/>
                    <a:gd name="connsiteY558" fmla="*/ 61784 h 555571"/>
                    <a:gd name="connsiteX559" fmla="*/ 607419 w 3039126"/>
                    <a:gd name="connsiteY559" fmla="*/ 61784 h 555571"/>
                    <a:gd name="connsiteX560" fmla="*/ 556311 w 3039126"/>
                    <a:gd name="connsiteY560" fmla="*/ 190371 h 555571"/>
                    <a:gd name="connsiteX561" fmla="*/ 545763 w 3039126"/>
                    <a:gd name="connsiteY561" fmla="*/ 190371 h 555571"/>
                    <a:gd name="connsiteX562" fmla="*/ 2143111 w 3039126"/>
                    <a:gd name="connsiteY562" fmla="*/ 59272 h 555571"/>
                    <a:gd name="connsiteX563" fmla="*/ 2155919 w 3039126"/>
                    <a:gd name="connsiteY563" fmla="*/ 61533 h 555571"/>
                    <a:gd name="connsiteX564" fmla="*/ 2155919 w 3039126"/>
                    <a:gd name="connsiteY564" fmla="*/ 73839 h 555571"/>
                    <a:gd name="connsiteX565" fmla="*/ 2142357 w 3039126"/>
                    <a:gd name="connsiteY565" fmla="*/ 69695 h 555571"/>
                    <a:gd name="connsiteX566" fmla="*/ 2116866 w 3039126"/>
                    <a:gd name="connsiteY566" fmla="*/ 85392 h 555571"/>
                    <a:gd name="connsiteX567" fmla="*/ 2106569 w 3039126"/>
                    <a:gd name="connsiteY567" fmla="*/ 129970 h 555571"/>
                    <a:gd name="connsiteX568" fmla="*/ 2106569 w 3039126"/>
                    <a:gd name="connsiteY568" fmla="*/ 190371 h 555571"/>
                    <a:gd name="connsiteX569" fmla="*/ 2095267 w 3039126"/>
                    <a:gd name="connsiteY569" fmla="*/ 190371 h 555571"/>
                    <a:gd name="connsiteX570" fmla="*/ 2095267 w 3039126"/>
                    <a:gd name="connsiteY570" fmla="*/ 61784 h 555571"/>
                    <a:gd name="connsiteX571" fmla="*/ 2106569 w 3039126"/>
                    <a:gd name="connsiteY571" fmla="*/ 61784 h 555571"/>
                    <a:gd name="connsiteX572" fmla="*/ 2106569 w 3039126"/>
                    <a:gd name="connsiteY572" fmla="*/ 90289 h 555571"/>
                    <a:gd name="connsiteX573" fmla="*/ 2107071 w 3039126"/>
                    <a:gd name="connsiteY573" fmla="*/ 90289 h 555571"/>
                    <a:gd name="connsiteX574" fmla="*/ 2121010 w 3039126"/>
                    <a:gd name="connsiteY574" fmla="*/ 67435 h 555571"/>
                    <a:gd name="connsiteX575" fmla="*/ 2143111 w 3039126"/>
                    <a:gd name="connsiteY575" fmla="*/ 59272 h 555571"/>
                    <a:gd name="connsiteX576" fmla="*/ 809611 w 3039126"/>
                    <a:gd name="connsiteY576" fmla="*/ 59272 h 555571"/>
                    <a:gd name="connsiteX577" fmla="*/ 822419 w 3039126"/>
                    <a:gd name="connsiteY577" fmla="*/ 61533 h 555571"/>
                    <a:gd name="connsiteX578" fmla="*/ 822419 w 3039126"/>
                    <a:gd name="connsiteY578" fmla="*/ 73839 h 555571"/>
                    <a:gd name="connsiteX579" fmla="*/ 808858 w 3039126"/>
                    <a:gd name="connsiteY579" fmla="*/ 69695 h 555571"/>
                    <a:gd name="connsiteX580" fmla="*/ 783366 w 3039126"/>
                    <a:gd name="connsiteY580" fmla="*/ 85392 h 555571"/>
                    <a:gd name="connsiteX581" fmla="*/ 773069 w 3039126"/>
                    <a:gd name="connsiteY581" fmla="*/ 129970 h 555571"/>
                    <a:gd name="connsiteX582" fmla="*/ 773069 w 3039126"/>
                    <a:gd name="connsiteY582" fmla="*/ 190371 h 555571"/>
                    <a:gd name="connsiteX583" fmla="*/ 761767 w 3039126"/>
                    <a:gd name="connsiteY583" fmla="*/ 190371 h 555571"/>
                    <a:gd name="connsiteX584" fmla="*/ 761767 w 3039126"/>
                    <a:gd name="connsiteY584" fmla="*/ 61784 h 555571"/>
                    <a:gd name="connsiteX585" fmla="*/ 773069 w 3039126"/>
                    <a:gd name="connsiteY585" fmla="*/ 61784 h 555571"/>
                    <a:gd name="connsiteX586" fmla="*/ 773069 w 3039126"/>
                    <a:gd name="connsiteY586" fmla="*/ 90289 h 555571"/>
                    <a:gd name="connsiteX587" fmla="*/ 773571 w 3039126"/>
                    <a:gd name="connsiteY587" fmla="*/ 90289 h 555571"/>
                    <a:gd name="connsiteX588" fmla="*/ 787510 w 3039126"/>
                    <a:gd name="connsiteY588" fmla="*/ 67435 h 555571"/>
                    <a:gd name="connsiteX589" fmla="*/ 809611 w 3039126"/>
                    <a:gd name="connsiteY589" fmla="*/ 59272 h 555571"/>
                    <a:gd name="connsiteX590" fmla="*/ 2791313 w 3039126"/>
                    <a:gd name="connsiteY590" fmla="*/ 58644 h 555571"/>
                    <a:gd name="connsiteX591" fmla="*/ 2828106 w 3039126"/>
                    <a:gd name="connsiteY591" fmla="*/ 75471 h 555571"/>
                    <a:gd name="connsiteX592" fmla="*/ 2840915 w 3039126"/>
                    <a:gd name="connsiteY592" fmla="*/ 121431 h 555571"/>
                    <a:gd name="connsiteX593" fmla="*/ 2840915 w 3039126"/>
                    <a:gd name="connsiteY593" fmla="*/ 126580 h 555571"/>
                    <a:gd name="connsiteX594" fmla="*/ 2745730 w 3039126"/>
                    <a:gd name="connsiteY594" fmla="*/ 126580 h 555571"/>
                    <a:gd name="connsiteX595" fmla="*/ 2757973 w 3039126"/>
                    <a:gd name="connsiteY595" fmla="*/ 168019 h 555571"/>
                    <a:gd name="connsiteX596" fmla="*/ 2791564 w 3039126"/>
                    <a:gd name="connsiteY596" fmla="*/ 182962 h 555571"/>
                    <a:gd name="connsiteX597" fmla="*/ 2833757 w 3039126"/>
                    <a:gd name="connsiteY597" fmla="*/ 167015 h 555571"/>
                    <a:gd name="connsiteX598" fmla="*/ 2833757 w 3039126"/>
                    <a:gd name="connsiteY598" fmla="*/ 179321 h 555571"/>
                    <a:gd name="connsiteX599" fmla="*/ 2789178 w 3039126"/>
                    <a:gd name="connsiteY599" fmla="*/ 193511 h 555571"/>
                    <a:gd name="connsiteX600" fmla="*/ 2748995 w 3039126"/>
                    <a:gd name="connsiteY600" fmla="*/ 175679 h 555571"/>
                    <a:gd name="connsiteX601" fmla="*/ 2733675 w 3039126"/>
                    <a:gd name="connsiteY601" fmla="*/ 125324 h 555571"/>
                    <a:gd name="connsiteX602" fmla="*/ 2749685 w 3039126"/>
                    <a:gd name="connsiteY602" fmla="*/ 77920 h 555571"/>
                    <a:gd name="connsiteX603" fmla="*/ 2791313 w 3039126"/>
                    <a:gd name="connsiteY603" fmla="*/ 58644 h 555571"/>
                    <a:gd name="connsiteX604" fmla="*/ 2683920 w 3039126"/>
                    <a:gd name="connsiteY604" fmla="*/ 58644 h 555571"/>
                    <a:gd name="connsiteX605" fmla="*/ 2712425 w 3039126"/>
                    <a:gd name="connsiteY605" fmla="*/ 64672 h 555571"/>
                    <a:gd name="connsiteX606" fmla="*/ 2712425 w 3039126"/>
                    <a:gd name="connsiteY606" fmla="*/ 77732 h 555571"/>
                    <a:gd name="connsiteX607" fmla="*/ 2682161 w 3039126"/>
                    <a:gd name="connsiteY607" fmla="*/ 69193 h 555571"/>
                    <a:gd name="connsiteX608" fmla="*/ 2645494 w 3039126"/>
                    <a:gd name="connsiteY608" fmla="*/ 85454 h 555571"/>
                    <a:gd name="connsiteX609" fmla="*/ 2631430 w 3039126"/>
                    <a:gd name="connsiteY609" fmla="*/ 127584 h 555571"/>
                    <a:gd name="connsiteX610" fmla="*/ 2644301 w 3039126"/>
                    <a:gd name="connsiteY610" fmla="*/ 167768 h 555571"/>
                    <a:gd name="connsiteX611" fmla="*/ 2678269 w 3039126"/>
                    <a:gd name="connsiteY611" fmla="*/ 182962 h 555571"/>
                    <a:gd name="connsiteX612" fmla="*/ 2711922 w 3039126"/>
                    <a:gd name="connsiteY612" fmla="*/ 172665 h 555571"/>
                    <a:gd name="connsiteX613" fmla="*/ 2711922 w 3039126"/>
                    <a:gd name="connsiteY613" fmla="*/ 184720 h 555571"/>
                    <a:gd name="connsiteX614" fmla="*/ 2677766 w 3039126"/>
                    <a:gd name="connsiteY614" fmla="*/ 193511 h 555571"/>
                    <a:gd name="connsiteX615" fmla="*/ 2635448 w 3039126"/>
                    <a:gd name="connsiteY615" fmla="*/ 175491 h 555571"/>
                    <a:gd name="connsiteX616" fmla="*/ 2619375 w 3039126"/>
                    <a:gd name="connsiteY616" fmla="*/ 128338 h 555571"/>
                    <a:gd name="connsiteX617" fmla="*/ 2637457 w 3039126"/>
                    <a:gd name="connsiteY617" fmla="*/ 78171 h 555571"/>
                    <a:gd name="connsiteX618" fmla="*/ 2683920 w 3039126"/>
                    <a:gd name="connsiteY618" fmla="*/ 58644 h 555571"/>
                    <a:gd name="connsiteX619" fmla="*/ 2551682 w 3039126"/>
                    <a:gd name="connsiteY619" fmla="*/ 58644 h 555571"/>
                    <a:gd name="connsiteX620" fmla="*/ 2582385 w 3039126"/>
                    <a:gd name="connsiteY620" fmla="*/ 70951 h 555571"/>
                    <a:gd name="connsiteX621" fmla="*/ 2593247 w 3039126"/>
                    <a:gd name="connsiteY621" fmla="*/ 106739 h 555571"/>
                    <a:gd name="connsiteX622" fmla="*/ 2593247 w 3039126"/>
                    <a:gd name="connsiteY622" fmla="*/ 190371 h 555571"/>
                    <a:gd name="connsiteX623" fmla="*/ 2581694 w 3039126"/>
                    <a:gd name="connsiteY623" fmla="*/ 190371 h 555571"/>
                    <a:gd name="connsiteX624" fmla="*/ 2581694 w 3039126"/>
                    <a:gd name="connsiteY624" fmla="*/ 164629 h 555571"/>
                    <a:gd name="connsiteX625" fmla="*/ 2581192 w 3039126"/>
                    <a:gd name="connsiteY625" fmla="*/ 164629 h 555571"/>
                    <a:gd name="connsiteX626" fmla="*/ 2563298 w 3039126"/>
                    <a:gd name="connsiteY626" fmla="*/ 185662 h 555571"/>
                    <a:gd name="connsiteX627" fmla="*/ 2537241 w 3039126"/>
                    <a:gd name="connsiteY627" fmla="*/ 193511 h 555571"/>
                    <a:gd name="connsiteX628" fmla="*/ 2508234 w 3039126"/>
                    <a:gd name="connsiteY628" fmla="*/ 183214 h 555571"/>
                    <a:gd name="connsiteX629" fmla="*/ 2497560 w 3039126"/>
                    <a:gd name="connsiteY629" fmla="*/ 157220 h 555571"/>
                    <a:gd name="connsiteX630" fmla="*/ 2542138 w 3039126"/>
                    <a:gd name="connsiteY630" fmla="*/ 116534 h 555571"/>
                    <a:gd name="connsiteX631" fmla="*/ 2581694 w 3039126"/>
                    <a:gd name="connsiteY631" fmla="*/ 110632 h 555571"/>
                    <a:gd name="connsiteX632" fmla="*/ 2550552 w 3039126"/>
                    <a:gd name="connsiteY632" fmla="*/ 69193 h 555571"/>
                    <a:gd name="connsiteX633" fmla="*/ 2509238 w 3039126"/>
                    <a:gd name="connsiteY633" fmla="*/ 86271 h 555571"/>
                    <a:gd name="connsiteX634" fmla="*/ 2509238 w 3039126"/>
                    <a:gd name="connsiteY634" fmla="*/ 72332 h 555571"/>
                    <a:gd name="connsiteX635" fmla="*/ 2528639 w 3039126"/>
                    <a:gd name="connsiteY635" fmla="*/ 62663 h 555571"/>
                    <a:gd name="connsiteX636" fmla="*/ 2551682 w 3039126"/>
                    <a:gd name="connsiteY636" fmla="*/ 58644 h 555571"/>
                    <a:gd name="connsiteX637" fmla="*/ 2219813 w 3039126"/>
                    <a:gd name="connsiteY637" fmla="*/ 58644 h 555571"/>
                    <a:gd name="connsiteX638" fmla="*/ 2256606 w 3039126"/>
                    <a:gd name="connsiteY638" fmla="*/ 75471 h 555571"/>
                    <a:gd name="connsiteX639" fmla="*/ 2269415 w 3039126"/>
                    <a:gd name="connsiteY639" fmla="*/ 121431 h 555571"/>
                    <a:gd name="connsiteX640" fmla="*/ 2269415 w 3039126"/>
                    <a:gd name="connsiteY640" fmla="*/ 126580 h 555571"/>
                    <a:gd name="connsiteX641" fmla="*/ 2174230 w 3039126"/>
                    <a:gd name="connsiteY641" fmla="*/ 126580 h 555571"/>
                    <a:gd name="connsiteX642" fmla="*/ 2186473 w 3039126"/>
                    <a:gd name="connsiteY642" fmla="*/ 168019 h 555571"/>
                    <a:gd name="connsiteX643" fmla="*/ 2220064 w 3039126"/>
                    <a:gd name="connsiteY643" fmla="*/ 182962 h 555571"/>
                    <a:gd name="connsiteX644" fmla="*/ 2262257 w 3039126"/>
                    <a:gd name="connsiteY644" fmla="*/ 167015 h 555571"/>
                    <a:gd name="connsiteX645" fmla="*/ 2262257 w 3039126"/>
                    <a:gd name="connsiteY645" fmla="*/ 179321 h 555571"/>
                    <a:gd name="connsiteX646" fmla="*/ 2217678 w 3039126"/>
                    <a:gd name="connsiteY646" fmla="*/ 193511 h 555571"/>
                    <a:gd name="connsiteX647" fmla="*/ 2177495 w 3039126"/>
                    <a:gd name="connsiteY647" fmla="*/ 175679 h 555571"/>
                    <a:gd name="connsiteX648" fmla="*/ 2162175 w 3039126"/>
                    <a:gd name="connsiteY648" fmla="*/ 125324 h 555571"/>
                    <a:gd name="connsiteX649" fmla="*/ 2178185 w 3039126"/>
                    <a:gd name="connsiteY649" fmla="*/ 77920 h 555571"/>
                    <a:gd name="connsiteX650" fmla="*/ 2219813 w 3039126"/>
                    <a:gd name="connsiteY650" fmla="*/ 58644 h 555571"/>
                    <a:gd name="connsiteX651" fmla="*/ 1568704 w 3039126"/>
                    <a:gd name="connsiteY651" fmla="*/ 58644 h 555571"/>
                    <a:gd name="connsiteX652" fmla="*/ 1597084 w 3039126"/>
                    <a:gd name="connsiteY652" fmla="*/ 65425 h 555571"/>
                    <a:gd name="connsiteX653" fmla="*/ 1597084 w 3039126"/>
                    <a:gd name="connsiteY653" fmla="*/ 78485 h 555571"/>
                    <a:gd name="connsiteX654" fmla="*/ 1567448 w 3039126"/>
                    <a:gd name="connsiteY654" fmla="*/ 69193 h 555571"/>
                    <a:gd name="connsiteX655" fmla="*/ 1546980 w 3039126"/>
                    <a:gd name="connsiteY655" fmla="*/ 75785 h 555571"/>
                    <a:gd name="connsiteX656" fmla="*/ 1539194 w 3039126"/>
                    <a:gd name="connsiteY656" fmla="*/ 92926 h 555571"/>
                    <a:gd name="connsiteX657" fmla="*/ 1544092 w 3039126"/>
                    <a:gd name="connsiteY657" fmla="*/ 107807 h 555571"/>
                    <a:gd name="connsiteX658" fmla="*/ 1565690 w 3039126"/>
                    <a:gd name="connsiteY658" fmla="*/ 120929 h 555571"/>
                    <a:gd name="connsiteX659" fmla="*/ 1593317 w 3039126"/>
                    <a:gd name="connsiteY659" fmla="*/ 137693 h 555571"/>
                    <a:gd name="connsiteX660" fmla="*/ 1600851 w 3039126"/>
                    <a:gd name="connsiteY660" fmla="*/ 158224 h 555571"/>
                    <a:gd name="connsiteX661" fmla="*/ 1589361 w 3039126"/>
                    <a:gd name="connsiteY661" fmla="*/ 183527 h 555571"/>
                    <a:gd name="connsiteX662" fmla="*/ 1557654 w 3039126"/>
                    <a:gd name="connsiteY662" fmla="*/ 193511 h 555571"/>
                    <a:gd name="connsiteX663" fmla="*/ 1526637 w 3039126"/>
                    <a:gd name="connsiteY663" fmla="*/ 184720 h 555571"/>
                    <a:gd name="connsiteX664" fmla="*/ 1526637 w 3039126"/>
                    <a:gd name="connsiteY664" fmla="*/ 170782 h 555571"/>
                    <a:gd name="connsiteX665" fmla="*/ 1542459 w 3039126"/>
                    <a:gd name="connsiteY665" fmla="*/ 179697 h 555571"/>
                    <a:gd name="connsiteX666" fmla="*/ 1558533 w 3039126"/>
                    <a:gd name="connsiteY666" fmla="*/ 182962 h 555571"/>
                    <a:gd name="connsiteX667" fmla="*/ 1588796 w 3039126"/>
                    <a:gd name="connsiteY667" fmla="*/ 158224 h 555571"/>
                    <a:gd name="connsiteX668" fmla="*/ 1582140 w 3039126"/>
                    <a:gd name="connsiteY668" fmla="*/ 143658 h 555571"/>
                    <a:gd name="connsiteX669" fmla="*/ 1560542 w 3039126"/>
                    <a:gd name="connsiteY669" fmla="*/ 131226 h 555571"/>
                    <a:gd name="connsiteX670" fmla="*/ 1534611 w 3039126"/>
                    <a:gd name="connsiteY670" fmla="*/ 114587 h 555571"/>
                    <a:gd name="connsiteX671" fmla="*/ 1527139 w 3039126"/>
                    <a:gd name="connsiteY671" fmla="*/ 93679 h 555571"/>
                    <a:gd name="connsiteX672" fmla="*/ 1539131 w 3039126"/>
                    <a:gd name="connsiteY672" fmla="*/ 68314 h 555571"/>
                    <a:gd name="connsiteX673" fmla="*/ 1568704 w 3039126"/>
                    <a:gd name="connsiteY673" fmla="*/ 58644 h 555571"/>
                    <a:gd name="connsiteX674" fmla="*/ 1379748 w 3039126"/>
                    <a:gd name="connsiteY674" fmla="*/ 58644 h 555571"/>
                    <a:gd name="connsiteX675" fmla="*/ 1411644 w 3039126"/>
                    <a:gd name="connsiteY675" fmla="*/ 72520 h 555571"/>
                    <a:gd name="connsiteX676" fmla="*/ 1422694 w 3039126"/>
                    <a:gd name="connsiteY676" fmla="*/ 112139 h 555571"/>
                    <a:gd name="connsiteX677" fmla="*/ 1422694 w 3039126"/>
                    <a:gd name="connsiteY677" fmla="*/ 190371 h 555571"/>
                    <a:gd name="connsiteX678" fmla="*/ 1411142 w 3039126"/>
                    <a:gd name="connsiteY678" fmla="*/ 190371 h 555571"/>
                    <a:gd name="connsiteX679" fmla="*/ 1411142 w 3039126"/>
                    <a:gd name="connsiteY679" fmla="*/ 115529 h 555571"/>
                    <a:gd name="connsiteX680" fmla="*/ 1377739 w 3039126"/>
                    <a:gd name="connsiteY680" fmla="*/ 69193 h 555571"/>
                    <a:gd name="connsiteX681" fmla="*/ 1347225 w 3039126"/>
                    <a:gd name="connsiteY681" fmla="*/ 82817 h 555571"/>
                    <a:gd name="connsiteX682" fmla="*/ 1335295 w 3039126"/>
                    <a:gd name="connsiteY682" fmla="*/ 116534 h 555571"/>
                    <a:gd name="connsiteX683" fmla="*/ 1335295 w 3039126"/>
                    <a:gd name="connsiteY683" fmla="*/ 190371 h 555571"/>
                    <a:gd name="connsiteX684" fmla="*/ 1323742 w 3039126"/>
                    <a:gd name="connsiteY684" fmla="*/ 190371 h 555571"/>
                    <a:gd name="connsiteX685" fmla="*/ 1323742 w 3039126"/>
                    <a:gd name="connsiteY685" fmla="*/ 61784 h 555571"/>
                    <a:gd name="connsiteX686" fmla="*/ 1335295 w 3039126"/>
                    <a:gd name="connsiteY686" fmla="*/ 61784 h 555571"/>
                    <a:gd name="connsiteX687" fmla="*/ 1335295 w 3039126"/>
                    <a:gd name="connsiteY687" fmla="*/ 85140 h 555571"/>
                    <a:gd name="connsiteX688" fmla="*/ 1335797 w 3039126"/>
                    <a:gd name="connsiteY688" fmla="*/ 85140 h 555571"/>
                    <a:gd name="connsiteX689" fmla="*/ 1379748 w 3039126"/>
                    <a:gd name="connsiteY689" fmla="*/ 58644 h 555571"/>
                    <a:gd name="connsiteX690" fmla="*/ 1238738 w 3039126"/>
                    <a:gd name="connsiteY690" fmla="*/ 58644 h 555571"/>
                    <a:gd name="connsiteX691" fmla="*/ 1275531 w 3039126"/>
                    <a:gd name="connsiteY691" fmla="*/ 75471 h 555571"/>
                    <a:gd name="connsiteX692" fmla="*/ 1288340 w 3039126"/>
                    <a:gd name="connsiteY692" fmla="*/ 121431 h 555571"/>
                    <a:gd name="connsiteX693" fmla="*/ 1288340 w 3039126"/>
                    <a:gd name="connsiteY693" fmla="*/ 126580 h 555571"/>
                    <a:gd name="connsiteX694" fmla="*/ 1193155 w 3039126"/>
                    <a:gd name="connsiteY694" fmla="*/ 126580 h 555571"/>
                    <a:gd name="connsiteX695" fmla="*/ 1205398 w 3039126"/>
                    <a:gd name="connsiteY695" fmla="*/ 168019 h 555571"/>
                    <a:gd name="connsiteX696" fmla="*/ 1238989 w 3039126"/>
                    <a:gd name="connsiteY696" fmla="*/ 182962 h 555571"/>
                    <a:gd name="connsiteX697" fmla="*/ 1281182 w 3039126"/>
                    <a:gd name="connsiteY697" fmla="*/ 167015 h 555571"/>
                    <a:gd name="connsiteX698" fmla="*/ 1281182 w 3039126"/>
                    <a:gd name="connsiteY698" fmla="*/ 179321 h 555571"/>
                    <a:gd name="connsiteX699" fmla="*/ 1236603 w 3039126"/>
                    <a:gd name="connsiteY699" fmla="*/ 193511 h 555571"/>
                    <a:gd name="connsiteX700" fmla="*/ 1196420 w 3039126"/>
                    <a:gd name="connsiteY700" fmla="*/ 175679 h 555571"/>
                    <a:gd name="connsiteX701" fmla="*/ 1181100 w 3039126"/>
                    <a:gd name="connsiteY701" fmla="*/ 125324 h 555571"/>
                    <a:gd name="connsiteX702" fmla="*/ 1197110 w 3039126"/>
                    <a:gd name="connsiteY702" fmla="*/ 77920 h 555571"/>
                    <a:gd name="connsiteX703" fmla="*/ 1238738 w 3039126"/>
                    <a:gd name="connsiteY703" fmla="*/ 58644 h 555571"/>
                    <a:gd name="connsiteX704" fmla="*/ 1032202 w 3039126"/>
                    <a:gd name="connsiteY704" fmla="*/ 58644 h 555571"/>
                    <a:gd name="connsiteX705" fmla="*/ 1056249 w 3039126"/>
                    <a:gd name="connsiteY705" fmla="*/ 66744 h 555571"/>
                    <a:gd name="connsiteX706" fmla="*/ 1069748 w 3039126"/>
                    <a:gd name="connsiteY706" fmla="*/ 88029 h 555571"/>
                    <a:gd name="connsiteX707" fmla="*/ 1087015 w 3039126"/>
                    <a:gd name="connsiteY707" fmla="*/ 66367 h 555571"/>
                    <a:gd name="connsiteX708" fmla="*/ 1111439 w 3039126"/>
                    <a:gd name="connsiteY708" fmla="*/ 58644 h 555571"/>
                    <a:gd name="connsiteX709" fmla="*/ 1153632 w 3039126"/>
                    <a:gd name="connsiteY709" fmla="*/ 110883 h 555571"/>
                    <a:gd name="connsiteX710" fmla="*/ 1153632 w 3039126"/>
                    <a:gd name="connsiteY710" fmla="*/ 190371 h 555571"/>
                    <a:gd name="connsiteX711" fmla="*/ 1142079 w 3039126"/>
                    <a:gd name="connsiteY711" fmla="*/ 190371 h 555571"/>
                    <a:gd name="connsiteX712" fmla="*/ 1142079 w 3039126"/>
                    <a:gd name="connsiteY712" fmla="*/ 113018 h 555571"/>
                    <a:gd name="connsiteX713" fmla="*/ 1134482 w 3039126"/>
                    <a:gd name="connsiteY713" fmla="*/ 78987 h 555571"/>
                    <a:gd name="connsiteX714" fmla="*/ 1110434 w 3039126"/>
                    <a:gd name="connsiteY714" fmla="*/ 69193 h 555571"/>
                    <a:gd name="connsiteX715" fmla="*/ 1084189 w 3039126"/>
                    <a:gd name="connsiteY715" fmla="*/ 82252 h 555571"/>
                    <a:gd name="connsiteX716" fmla="*/ 1073139 w 3039126"/>
                    <a:gd name="connsiteY716" fmla="*/ 115027 h 555571"/>
                    <a:gd name="connsiteX717" fmla="*/ 1073139 w 3039126"/>
                    <a:gd name="connsiteY717" fmla="*/ 190371 h 555571"/>
                    <a:gd name="connsiteX718" fmla="*/ 1061586 w 3039126"/>
                    <a:gd name="connsiteY718" fmla="*/ 190371 h 555571"/>
                    <a:gd name="connsiteX719" fmla="*/ 1061586 w 3039126"/>
                    <a:gd name="connsiteY719" fmla="*/ 112139 h 555571"/>
                    <a:gd name="connsiteX720" fmla="*/ 1028937 w 3039126"/>
                    <a:gd name="connsiteY720" fmla="*/ 69193 h 555571"/>
                    <a:gd name="connsiteX721" fmla="*/ 1002818 w 3039126"/>
                    <a:gd name="connsiteY721" fmla="*/ 82315 h 555571"/>
                    <a:gd name="connsiteX722" fmla="*/ 992395 w 3039126"/>
                    <a:gd name="connsiteY722" fmla="*/ 116283 h 555571"/>
                    <a:gd name="connsiteX723" fmla="*/ 992395 w 3039126"/>
                    <a:gd name="connsiteY723" fmla="*/ 190371 h 555571"/>
                    <a:gd name="connsiteX724" fmla="*/ 980842 w 3039126"/>
                    <a:gd name="connsiteY724" fmla="*/ 190371 h 555571"/>
                    <a:gd name="connsiteX725" fmla="*/ 980842 w 3039126"/>
                    <a:gd name="connsiteY725" fmla="*/ 61784 h 555571"/>
                    <a:gd name="connsiteX726" fmla="*/ 992395 w 3039126"/>
                    <a:gd name="connsiteY726" fmla="*/ 61784 h 555571"/>
                    <a:gd name="connsiteX727" fmla="*/ 992395 w 3039126"/>
                    <a:gd name="connsiteY727" fmla="*/ 83131 h 555571"/>
                    <a:gd name="connsiteX728" fmla="*/ 992897 w 3039126"/>
                    <a:gd name="connsiteY728" fmla="*/ 83131 h 555571"/>
                    <a:gd name="connsiteX729" fmla="*/ 1032202 w 3039126"/>
                    <a:gd name="connsiteY729" fmla="*/ 58644 h 555571"/>
                    <a:gd name="connsiteX730" fmla="*/ 903498 w 3039126"/>
                    <a:gd name="connsiteY730" fmla="*/ 58644 h 555571"/>
                    <a:gd name="connsiteX731" fmla="*/ 935394 w 3039126"/>
                    <a:gd name="connsiteY731" fmla="*/ 72520 h 555571"/>
                    <a:gd name="connsiteX732" fmla="*/ 946444 w 3039126"/>
                    <a:gd name="connsiteY732" fmla="*/ 112139 h 555571"/>
                    <a:gd name="connsiteX733" fmla="*/ 946444 w 3039126"/>
                    <a:gd name="connsiteY733" fmla="*/ 190371 h 555571"/>
                    <a:gd name="connsiteX734" fmla="*/ 934891 w 3039126"/>
                    <a:gd name="connsiteY734" fmla="*/ 190371 h 555571"/>
                    <a:gd name="connsiteX735" fmla="*/ 934891 w 3039126"/>
                    <a:gd name="connsiteY735" fmla="*/ 115529 h 555571"/>
                    <a:gd name="connsiteX736" fmla="*/ 901489 w 3039126"/>
                    <a:gd name="connsiteY736" fmla="*/ 69193 h 555571"/>
                    <a:gd name="connsiteX737" fmla="*/ 870974 w 3039126"/>
                    <a:gd name="connsiteY737" fmla="*/ 82817 h 555571"/>
                    <a:gd name="connsiteX738" fmla="*/ 859045 w 3039126"/>
                    <a:gd name="connsiteY738" fmla="*/ 116534 h 555571"/>
                    <a:gd name="connsiteX739" fmla="*/ 859045 w 3039126"/>
                    <a:gd name="connsiteY739" fmla="*/ 190371 h 555571"/>
                    <a:gd name="connsiteX740" fmla="*/ 847492 w 3039126"/>
                    <a:gd name="connsiteY740" fmla="*/ 190371 h 555571"/>
                    <a:gd name="connsiteX741" fmla="*/ 847492 w 3039126"/>
                    <a:gd name="connsiteY741" fmla="*/ 61784 h 555571"/>
                    <a:gd name="connsiteX742" fmla="*/ 859045 w 3039126"/>
                    <a:gd name="connsiteY742" fmla="*/ 61784 h 555571"/>
                    <a:gd name="connsiteX743" fmla="*/ 859045 w 3039126"/>
                    <a:gd name="connsiteY743" fmla="*/ 85140 h 555571"/>
                    <a:gd name="connsiteX744" fmla="*/ 859547 w 3039126"/>
                    <a:gd name="connsiteY744" fmla="*/ 85140 h 555571"/>
                    <a:gd name="connsiteX745" fmla="*/ 903498 w 3039126"/>
                    <a:gd name="connsiteY745" fmla="*/ 58644 h 555571"/>
                    <a:gd name="connsiteX746" fmla="*/ 676763 w 3039126"/>
                    <a:gd name="connsiteY746" fmla="*/ 58644 h 555571"/>
                    <a:gd name="connsiteX747" fmla="*/ 713556 w 3039126"/>
                    <a:gd name="connsiteY747" fmla="*/ 75471 h 555571"/>
                    <a:gd name="connsiteX748" fmla="*/ 726365 w 3039126"/>
                    <a:gd name="connsiteY748" fmla="*/ 121431 h 555571"/>
                    <a:gd name="connsiteX749" fmla="*/ 726365 w 3039126"/>
                    <a:gd name="connsiteY749" fmla="*/ 126580 h 555571"/>
                    <a:gd name="connsiteX750" fmla="*/ 631180 w 3039126"/>
                    <a:gd name="connsiteY750" fmla="*/ 126580 h 555571"/>
                    <a:gd name="connsiteX751" fmla="*/ 643423 w 3039126"/>
                    <a:gd name="connsiteY751" fmla="*/ 168019 h 555571"/>
                    <a:gd name="connsiteX752" fmla="*/ 677014 w 3039126"/>
                    <a:gd name="connsiteY752" fmla="*/ 182962 h 555571"/>
                    <a:gd name="connsiteX753" fmla="*/ 719207 w 3039126"/>
                    <a:gd name="connsiteY753" fmla="*/ 167015 h 555571"/>
                    <a:gd name="connsiteX754" fmla="*/ 719207 w 3039126"/>
                    <a:gd name="connsiteY754" fmla="*/ 179321 h 555571"/>
                    <a:gd name="connsiteX755" fmla="*/ 674628 w 3039126"/>
                    <a:gd name="connsiteY755" fmla="*/ 193511 h 555571"/>
                    <a:gd name="connsiteX756" fmla="*/ 634445 w 3039126"/>
                    <a:gd name="connsiteY756" fmla="*/ 175679 h 555571"/>
                    <a:gd name="connsiteX757" fmla="*/ 619125 w 3039126"/>
                    <a:gd name="connsiteY757" fmla="*/ 125324 h 555571"/>
                    <a:gd name="connsiteX758" fmla="*/ 635135 w 3039126"/>
                    <a:gd name="connsiteY758" fmla="*/ 77920 h 555571"/>
                    <a:gd name="connsiteX759" fmla="*/ 676763 w 3039126"/>
                    <a:gd name="connsiteY759" fmla="*/ 58644 h 555571"/>
                    <a:gd name="connsiteX760" fmla="*/ 424235 w 3039126"/>
                    <a:gd name="connsiteY760" fmla="*/ 58644 h 555571"/>
                    <a:gd name="connsiteX761" fmla="*/ 467684 w 3039126"/>
                    <a:gd name="connsiteY761" fmla="*/ 76601 h 555571"/>
                    <a:gd name="connsiteX762" fmla="*/ 483632 w 3039126"/>
                    <a:gd name="connsiteY762" fmla="*/ 126329 h 555571"/>
                    <a:gd name="connsiteX763" fmla="*/ 467370 w 3039126"/>
                    <a:gd name="connsiteY763" fmla="*/ 174926 h 555571"/>
                    <a:gd name="connsiteX764" fmla="*/ 422854 w 3039126"/>
                    <a:gd name="connsiteY764" fmla="*/ 193511 h 555571"/>
                    <a:gd name="connsiteX765" fmla="*/ 378338 w 3039126"/>
                    <a:gd name="connsiteY765" fmla="*/ 174988 h 555571"/>
                    <a:gd name="connsiteX766" fmla="*/ 361951 w 3039126"/>
                    <a:gd name="connsiteY766" fmla="*/ 126831 h 555571"/>
                    <a:gd name="connsiteX767" fmla="*/ 379092 w 3039126"/>
                    <a:gd name="connsiteY767" fmla="*/ 76727 h 555571"/>
                    <a:gd name="connsiteX768" fmla="*/ 424235 w 3039126"/>
                    <a:gd name="connsiteY768" fmla="*/ 58644 h 555571"/>
                    <a:gd name="connsiteX769" fmla="*/ 2364968 w 3039126"/>
                    <a:gd name="connsiteY769" fmla="*/ 58643 h 555571"/>
                    <a:gd name="connsiteX770" fmla="*/ 2403205 w 3039126"/>
                    <a:gd name="connsiteY770" fmla="*/ 75533 h 555571"/>
                    <a:gd name="connsiteX771" fmla="*/ 2416955 w 3039126"/>
                    <a:gd name="connsiteY771" fmla="*/ 121430 h 555571"/>
                    <a:gd name="connsiteX772" fmla="*/ 2401196 w 3039126"/>
                    <a:gd name="connsiteY772" fmla="*/ 173606 h 555571"/>
                    <a:gd name="connsiteX773" fmla="*/ 2359568 w 3039126"/>
                    <a:gd name="connsiteY773" fmla="*/ 193510 h 555571"/>
                    <a:gd name="connsiteX774" fmla="*/ 2316873 w 3039126"/>
                    <a:gd name="connsiteY774" fmla="*/ 167516 h 555571"/>
                    <a:gd name="connsiteX775" fmla="*/ 2316371 w 3039126"/>
                    <a:gd name="connsiteY775" fmla="*/ 167516 h 555571"/>
                    <a:gd name="connsiteX776" fmla="*/ 2316371 w 3039126"/>
                    <a:gd name="connsiteY776" fmla="*/ 249515 h 555571"/>
                    <a:gd name="connsiteX777" fmla="*/ 2304818 w 3039126"/>
                    <a:gd name="connsiteY777" fmla="*/ 249515 h 555571"/>
                    <a:gd name="connsiteX778" fmla="*/ 2304818 w 3039126"/>
                    <a:gd name="connsiteY778" fmla="*/ 61783 h 555571"/>
                    <a:gd name="connsiteX779" fmla="*/ 2316371 w 3039126"/>
                    <a:gd name="connsiteY779" fmla="*/ 61783 h 555571"/>
                    <a:gd name="connsiteX780" fmla="*/ 2316371 w 3039126"/>
                    <a:gd name="connsiteY780" fmla="*/ 88279 h 555571"/>
                    <a:gd name="connsiteX781" fmla="*/ 2316873 w 3039126"/>
                    <a:gd name="connsiteY781" fmla="*/ 88279 h 555571"/>
                    <a:gd name="connsiteX782" fmla="*/ 2336651 w 3039126"/>
                    <a:gd name="connsiteY782" fmla="*/ 66366 h 555571"/>
                    <a:gd name="connsiteX783" fmla="*/ 2364968 w 3039126"/>
                    <a:gd name="connsiteY783" fmla="*/ 58643 h 555571"/>
                    <a:gd name="connsiteX784" fmla="*/ 1474045 w 3039126"/>
                    <a:gd name="connsiteY784" fmla="*/ 24488 h 555571"/>
                    <a:gd name="connsiteX785" fmla="*/ 1474045 w 3039126"/>
                    <a:gd name="connsiteY785" fmla="*/ 61784 h 555571"/>
                    <a:gd name="connsiteX786" fmla="*/ 1507950 w 3039126"/>
                    <a:gd name="connsiteY786" fmla="*/ 61784 h 555571"/>
                    <a:gd name="connsiteX787" fmla="*/ 1507950 w 3039126"/>
                    <a:gd name="connsiteY787" fmla="*/ 72332 h 555571"/>
                    <a:gd name="connsiteX788" fmla="*/ 1474045 w 3039126"/>
                    <a:gd name="connsiteY788" fmla="*/ 72332 h 555571"/>
                    <a:gd name="connsiteX789" fmla="*/ 1474045 w 3039126"/>
                    <a:gd name="connsiteY789" fmla="*/ 157220 h 555571"/>
                    <a:gd name="connsiteX790" fmla="*/ 1478251 w 3039126"/>
                    <a:gd name="connsiteY790" fmla="*/ 176495 h 555571"/>
                    <a:gd name="connsiteX791" fmla="*/ 1492504 w 3039126"/>
                    <a:gd name="connsiteY791" fmla="*/ 182460 h 555571"/>
                    <a:gd name="connsiteX792" fmla="*/ 1507950 w 3039126"/>
                    <a:gd name="connsiteY792" fmla="*/ 177814 h 555571"/>
                    <a:gd name="connsiteX793" fmla="*/ 1507950 w 3039126"/>
                    <a:gd name="connsiteY793" fmla="*/ 188613 h 555571"/>
                    <a:gd name="connsiteX794" fmla="*/ 1490997 w 3039126"/>
                    <a:gd name="connsiteY794" fmla="*/ 192883 h 555571"/>
                    <a:gd name="connsiteX795" fmla="*/ 1462492 w 3039126"/>
                    <a:gd name="connsiteY795" fmla="*/ 158727 h 555571"/>
                    <a:gd name="connsiteX796" fmla="*/ 1462492 w 3039126"/>
                    <a:gd name="connsiteY796" fmla="*/ 72332 h 555571"/>
                    <a:gd name="connsiteX797" fmla="*/ 1439386 w 3039126"/>
                    <a:gd name="connsiteY797" fmla="*/ 72332 h 555571"/>
                    <a:gd name="connsiteX798" fmla="*/ 1439386 w 3039126"/>
                    <a:gd name="connsiteY798" fmla="*/ 61784 h 555571"/>
                    <a:gd name="connsiteX799" fmla="*/ 1462492 w 3039126"/>
                    <a:gd name="connsiteY799" fmla="*/ 61784 h 555571"/>
                    <a:gd name="connsiteX800" fmla="*/ 1462492 w 3039126"/>
                    <a:gd name="connsiteY800" fmla="*/ 28381 h 555571"/>
                    <a:gd name="connsiteX801" fmla="*/ 1468268 w 3039126"/>
                    <a:gd name="connsiteY801" fmla="*/ 26372 h 555571"/>
                    <a:gd name="connsiteX802" fmla="*/ 1474045 w 3039126"/>
                    <a:gd name="connsiteY802" fmla="*/ 24488 h 555571"/>
                    <a:gd name="connsiteX803" fmla="*/ 1872319 w 3039126"/>
                    <a:gd name="connsiteY803" fmla="*/ 10299 h 555571"/>
                    <a:gd name="connsiteX804" fmla="*/ 1879163 w 3039126"/>
                    <a:gd name="connsiteY804" fmla="*/ 12810 h 555571"/>
                    <a:gd name="connsiteX805" fmla="*/ 1882114 w 3039126"/>
                    <a:gd name="connsiteY805" fmla="*/ 19591 h 555571"/>
                    <a:gd name="connsiteX806" fmla="*/ 1879226 w 3039126"/>
                    <a:gd name="connsiteY806" fmla="*/ 26498 h 555571"/>
                    <a:gd name="connsiteX807" fmla="*/ 1872319 w 3039126"/>
                    <a:gd name="connsiteY807" fmla="*/ 29386 h 555571"/>
                    <a:gd name="connsiteX808" fmla="*/ 1865664 w 3039126"/>
                    <a:gd name="connsiteY808" fmla="*/ 26623 h 555571"/>
                    <a:gd name="connsiteX809" fmla="*/ 1862775 w 3039126"/>
                    <a:gd name="connsiteY809" fmla="*/ 19591 h 555571"/>
                    <a:gd name="connsiteX810" fmla="*/ 1865726 w 3039126"/>
                    <a:gd name="connsiteY810" fmla="*/ 12873 h 555571"/>
                    <a:gd name="connsiteX811" fmla="*/ 1872319 w 3039126"/>
                    <a:gd name="connsiteY811" fmla="*/ 10299 h 555571"/>
                    <a:gd name="connsiteX812" fmla="*/ 282796 w 3039126"/>
                    <a:gd name="connsiteY812" fmla="*/ 7284 h 555571"/>
                    <a:gd name="connsiteX813" fmla="*/ 328882 w 3039126"/>
                    <a:gd name="connsiteY813" fmla="*/ 16827 h 555571"/>
                    <a:gd name="connsiteX814" fmla="*/ 328882 w 3039126"/>
                    <a:gd name="connsiteY814" fmla="*/ 30389 h 555571"/>
                    <a:gd name="connsiteX815" fmla="*/ 281038 w 3039126"/>
                    <a:gd name="connsiteY815" fmla="*/ 18585 h 555571"/>
                    <a:gd name="connsiteX816" fmla="*/ 226351 w 3039126"/>
                    <a:gd name="connsiteY816" fmla="*/ 41817 h 555571"/>
                    <a:gd name="connsiteX817" fmla="*/ 205694 w 3039126"/>
                    <a:gd name="connsiteY817" fmla="*/ 101087 h 555571"/>
                    <a:gd name="connsiteX818" fmla="*/ 225095 w 3039126"/>
                    <a:gd name="connsiteY818" fmla="*/ 160546 h 555571"/>
                    <a:gd name="connsiteX819" fmla="*/ 277397 w 3039126"/>
                    <a:gd name="connsiteY819" fmla="*/ 182082 h 555571"/>
                    <a:gd name="connsiteX820" fmla="*/ 320092 w 3039126"/>
                    <a:gd name="connsiteY820" fmla="*/ 171534 h 555571"/>
                    <a:gd name="connsiteX821" fmla="*/ 320092 w 3039126"/>
                    <a:gd name="connsiteY821" fmla="*/ 112138 h 555571"/>
                    <a:gd name="connsiteX822" fmla="*/ 277648 w 3039126"/>
                    <a:gd name="connsiteY822" fmla="*/ 112138 h 555571"/>
                    <a:gd name="connsiteX823" fmla="*/ 277648 w 3039126"/>
                    <a:gd name="connsiteY823" fmla="*/ 100836 h 555571"/>
                    <a:gd name="connsiteX824" fmla="*/ 332524 w 3039126"/>
                    <a:gd name="connsiteY824" fmla="*/ 100836 h 555571"/>
                    <a:gd name="connsiteX825" fmla="*/ 332524 w 3039126"/>
                    <a:gd name="connsiteY825" fmla="*/ 177813 h 555571"/>
                    <a:gd name="connsiteX826" fmla="*/ 275136 w 3039126"/>
                    <a:gd name="connsiteY826" fmla="*/ 193510 h 555571"/>
                    <a:gd name="connsiteX827" fmla="*/ 215615 w 3039126"/>
                    <a:gd name="connsiteY827" fmla="*/ 168520 h 555571"/>
                    <a:gd name="connsiteX828" fmla="*/ 192886 w 3039126"/>
                    <a:gd name="connsiteY828" fmla="*/ 102971 h 555571"/>
                    <a:gd name="connsiteX829" fmla="*/ 217373 w 3039126"/>
                    <a:gd name="connsiteY829" fmla="*/ 34659 h 555571"/>
                    <a:gd name="connsiteX830" fmla="*/ 282796 w 3039126"/>
                    <a:gd name="connsiteY830" fmla="*/ 7284 h 555571"/>
                    <a:gd name="connsiteX831" fmla="*/ 2447693 w 3039126"/>
                    <a:gd name="connsiteY831" fmla="*/ 0 h 555571"/>
                    <a:gd name="connsiteX832" fmla="*/ 2459246 w 3039126"/>
                    <a:gd name="connsiteY832" fmla="*/ 0 h 555571"/>
                    <a:gd name="connsiteX833" fmla="*/ 2459246 w 3039126"/>
                    <a:gd name="connsiteY833" fmla="*/ 190370 h 555571"/>
                    <a:gd name="connsiteX834" fmla="*/ 2447693 w 3039126"/>
                    <a:gd name="connsiteY834" fmla="*/ 190370 h 555571"/>
                    <a:gd name="connsiteX835" fmla="*/ 1980968 w 3039126"/>
                    <a:gd name="connsiteY835" fmla="*/ 0 h 555571"/>
                    <a:gd name="connsiteX836" fmla="*/ 1992521 w 3039126"/>
                    <a:gd name="connsiteY836" fmla="*/ 0 h 555571"/>
                    <a:gd name="connsiteX837" fmla="*/ 1992521 w 3039126"/>
                    <a:gd name="connsiteY837" fmla="*/ 190370 h 555571"/>
                    <a:gd name="connsiteX838" fmla="*/ 1980968 w 3039126"/>
                    <a:gd name="connsiteY838" fmla="*/ 190370 h 555571"/>
                    <a:gd name="connsiteX839" fmla="*/ 1923818 w 3039126"/>
                    <a:gd name="connsiteY839" fmla="*/ 0 h 555571"/>
                    <a:gd name="connsiteX840" fmla="*/ 1935371 w 3039126"/>
                    <a:gd name="connsiteY840" fmla="*/ 0 h 555571"/>
                    <a:gd name="connsiteX841" fmla="*/ 1935371 w 3039126"/>
                    <a:gd name="connsiteY841" fmla="*/ 190370 h 555571"/>
                    <a:gd name="connsiteX842" fmla="*/ 1923818 w 3039126"/>
                    <a:gd name="connsiteY842" fmla="*/ 190370 h 5555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</a:cxnLst>
                  <a:rect l="l" t="t" r="r" b="b"/>
                  <a:pathLst>
                    <a:path w="3039126" h="555571">
                      <a:moveTo>
                        <a:pt x="2162594" y="425980"/>
                      </a:moveTo>
                      <a:lnTo>
                        <a:pt x="2127182" y="431129"/>
                      </a:lnTo>
                      <a:cubicBezTo>
                        <a:pt x="2113704" y="433054"/>
                        <a:pt x="2104245" y="436172"/>
                        <a:pt x="2098803" y="440484"/>
                      </a:cubicBezTo>
                      <a:cubicBezTo>
                        <a:pt x="2093362" y="444795"/>
                        <a:pt x="2090641" y="451806"/>
                        <a:pt x="2090641" y="461517"/>
                      </a:cubicBezTo>
                      <a:cubicBezTo>
                        <a:pt x="2090641" y="469136"/>
                        <a:pt x="2093173" y="475414"/>
                        <a:pt x="2098238" y="480354"/>
                      </a:cubicBezTo>
                      <a:cubicBezTo>
                        <a:pt x="2103302" y="485293"/>
                        <a:pt x="2110356" y="487762"/>
                        <a:pt x="2119397" y="487762"/>
                      </a:cubicBezTo>
                      <a:cubicBezTo>
                        <a:pt x="2131787" y="487762"/>
                        <a:pt x="2142084" y="483179"/>
                        <a:pt x="2150288" y="474012"/>
                      </a:cubicBezTo>
                      <a:cubicBezTo>
                        <a:pt x="2158492" y="464845"/>
                        <a:pt x="2162594" y="453020"/>
                        <a:pt x="2162594" y="438537"/>
                      </a:cubicBezTo>
                      <a:close/>
                      <a:moveTo>
                        <a:pt x="1962569" y="425980"/>
                      </a:moveTo>
                      <a:lnTo>
                        <a:pt x="1927158" y="431129"/>
                      </a:lnTo>
                      <a:cubicBezTo>
                        <a:pt x="1913679" y="433054"/>
                        <a:pt x="1904219" y="436172"/>
                        <a:pt x="1898778" y="440484"/>
                      </a:cubicBezTo>
                      <a:cubicBezTo>
                        <a:pt x="1893336" y="444795"/>
                        <a:pt x="1890616" y="451806"/>
                        <a:pt x="1890616" y="461517"/>
                      </a:cubicBezTo>
                      <a:cubicBezTo>
                        <a:pt x="1890616" y="469136"/>
                        <a:pt x="1893148" y="475414"/>
                        <a:pt x="1898213" y="480354"/>
                      </a:cubicBezTo>
                      <a:cubicBezTo>
                        <a:pt x="1903278" y="485293"/>
                        <a:pt x="1910331" y="487762"/>
                        <a:pt x="1919372" y="487762"/>
                      </a:cubicBezTo>
                      <a:cubicBezTo>
                        <a:pt x="1931762" y="487762"/>
                        <a:pt x="1942059" y="483179"/>
                        <a:pt x="1950263" y="474012"/>
                      </a:cubicBezTo>
                      <a:cubicBezTo>
                        <a:pt x="1958467" y="464845"/>
                        <a:pt x="1962569" y="453020"/>
                        <a:pt x="1962569" y="438537"/>
                      </a:cubicBezTo>
                      <a:close/>
                      <a:moveTo>
                        <a:pt x="1635682" y="414175"/>
                      </a:moveTo>
                      <a:lnTo>
                        <a:pt x="1704371" y="414175"/>
                      </a:lnTo>
                      <a:lnTo>
                        <a:pt x="1704371" y="425477"/>
                      </a:lnTo>
                      <a:lnTo>
                        <a:pt x="1635682" y="425477"/>
                      </a:lnTo>
                      <a:close/>
                      <a:moveTo>
                        <a:pt x="2886061" y="373993"/>
                      </a:moveTo>
                      <a:cubicBezTo>
                        <a:pt x="2874006" y="373993"/>
                        <a:pt x="2864022" y="378032"/>
                        <a:pt x="2856111" y="386110"/>
                      </a:cubicBezTo>
                      <a:cubicBezTo>
                        <a:pt x="2848200" y="394189"/>
                        <a:pt x="2843324" y="405763"/>
                        <a:pt x="2841482" y="420832"/>
                      </a:cubicBezTo>
                      <a:lnTo>
                        <a:pt x="2924110" y="420832"/>
                      </a:lnTo>
                      <a:cubicBezTo>
                        <a:pt x="2923607" y="406014"/>
                        <a:pt x="2920049" y="394503"/>
                        <a:pt x="2913436" y="386299"/>
                      </a:cubicBezTo>
                      <a:cubicBezTo>
                        <a:pt x="2906822" y="378095"/>
                        <a:pt x="2897697" y="373993"/>
                        <a:pt x="2886061" y="373993"/>
                      </a:cubicBezTo>
                      <a:close/>
                      <a:moveTo>
                        <a:pt x="2423983" y="373993"/>
                      </a:moveTo>
                      <a:cubicBezTo>
                        <a:pt x="2408830" y="373993"/>
                        <a:pt x="2396754" y="379099"/>
                        <a:pt x="2387755" y="389313"/>
                      </a:cubicBezTo>
                      <a:cubicBezTo>
                        <a:pt x="2378755" y="399526"/>
                        <a:pt x="2374256" y="413716"/>
                        <a:pt x="2374256" y="431882"/>
                      </a:cubicBezTo>
                      <a:cubicBezTo>
                        <a:pt x="2374256" y="448709"/>
                        <a:pt x="2378651" y="462229"/>
                        <a:pt x="2387441" y="472442"/>
                      </a:cubicBezTo>
                      <a:cubicBezTo>
                        <a:pt x="2396231" y="482656"/>
                        <a:pt x="2408244" y="487762"/>
                        <a:pt x="2423481" y="487762"/>
                      </a:cubicBezTo>
                      <a:cubicBezTo>
                        <a:pt x="2438968" y="487762"/>
                        <a:pt x="2450898" y="482739"/>
                        <a:pt x="2459269" y="472694"/>
                      </a:cubicBezTo>
                      <a:cubicBezTo>
                        <a:pt x="2467641" y="462648"/>
                        <a:pt x="2471826" y="448709"/>
                        <a:pt x="2471826" y="430877"/>
                      </a:cubicBezTo>
                      <a:cubicBezTo>
                        <a:pt x="2471826" y="412544"/>
                        <a:pt x="2467662" y="398479"/>
                        <a:pt x="2459332" y="388685"/>
                      </a:cubicBezTo>
                      <a:cubicBezTo>
                        <a:pt x="2451002" y="378890"/>
                        <a:pt x="2439219" y="373993"/>
                        <a:pt x="2423983" y="373993"/>
                      </a:cubicBezTo>
                      <a:close/>
                      <a:moveTo>
                        <a:pt x="171436" y="373993"/>
                      </a:moveTo>
                      <a:cubicBezTo>
                        <a:pt x="159381" y="373993"/>
                        <a:pt x="149398" y="378032"/>
                        <a:pt x="141486" y="386110"/>
                      </a:cubicBezTo>
                      <a:cubicBezTo>
                        <a:pt x="133575" y="394189"/>
                        <a:pt x="128699" y="405763"/>
                        <a:pt x="126857" y="420832"/>
                      </a:cubicBezTo>
                      <a:lnTo>
                        <a:pt x="209485" y="420832"/>
                      </a:lnTo>
                      <a:cubicBezTo>
                        <a:pt x="208982" y="406014"/>
                        <a:pt x="205424" y="394503"/>
                        <a:pt x="198811" y="386299"/>
                      </a:cubicBezTo>
                      <a:cubicBezTo>
                        <a:pt x="192197" y="378095"/>
                        <a:pt x="183072" y="373993"/>
                        <a:pt x="171436" y="373993"/>
                      </a:cubicBezTo>
                      <a:close/>
                      <a:moveTo>
                        <a:pt x="1792194" y="373992"/>
                      </a:moveTo>
                      <a:cubicBezTo>
                        <a:pt x="1778715" y="373992"/>
                        <a:pt x="1767581" y="379161"/>
                        <a:pt x="1758791" y="389500"/>
                      </a:cubicBezTo>
                      <a:cubicBezTo>
                        <a:pt x="1750001" y="399839"/>
                        <a:pt x="1745606" y="414050"/>
                        <a:pt x="1745606" y="432132"/>
                      </a:cubicBezTo>
                      <a:cubicBezTo>
                        <a:pt x="1745606" y="449880"/>
                        <a:pt x="1749561" y="463588"/>
                        <a:pt x="1757473" y="473258"/>
                      </a:cubicBezTo>
                      <a:cubicBezTo>
                        <a:pt x="1765384" y="482927"/>
                        <a:pt x="1775576" y="487761"/>
                        <a:pt x="1788050" y="487761"/>
                      </a:cubicBezTo>
                      <a:cubicBezTo>
                        <a:pt x="1802700" y="487761"/>
                        <a:pt x="1814044" y="483220"/>
                        <a:pt x="1822080" y="474137"/>
                      </a:cubicBezTo>
                      <a:cubicBezTo>
                        <a:pt x="1830117" y="465053"/>
                        <a:pt x="1834135" y="453982"/>
                        <a:pt x="1834135" y="440922"/>
                      </a:cubicBezTo>
                      <a:lnTo>
                        <a:pt x="1834135" y="416938"/>
                      </a:lnTo>
                      <a:cubicBezTo>
                        <a:pt x="1834135" y="404966"/>
                        <a:pt x="1830347" y="394816"/>
                        <a:pt x="1822771" y="386486"/>
                      </a:cubicBezTo>
                      <a:cubicBezTo>
                        <a:pt x="1815195" y="378156"/>
                        <a:pt x="1805002" y="373992"/>
                        <a:pt x="1792194" y="373992"/>
                      </a:cubicBezTo>
                      <a:close/>
                      <a:moveTo>
                        <a:pt x="1545046" y="373992"/>
                      </a:moveTo>
                      <a:cubicBezTo>
                        <a:pt x="1530898" y="373992"/>
                        <a:pt x="1519513" y="379308"/>
                        <a:pt x="1510890" y="389939"/>
                      </a:cubicBezTo>
                      <a:cubicBezTo>
                        <a:pt x="1502267" y="400571"/>
                        <a:pt x="1497956" y="414636"/>
                        <a:pt x="1497956" y="432132"/>
                      </a:cubicBezTo>
                      <a:cubicBezTo>
                        <a:pt x="1497956" y="449713"/>
                        <a:pt x="1501911" y="463379"/>
                        <a:pt x="1509823" y="473132"/>
                      </a:cubicBezTo>
                      <a:cubicBezTo>
                        <a:pt x="1517734" y="482885"/>
                        <a:pt x="1528177" y="487761"/>
                        <a:pt x="1541153" y="487761"/>
                      </a:cubicBezTo>
                      <a:cubicBezTo>
                        <a:pt x="1554966" y="487761"/>
                        <a:pt x="1565975" y="483283"/>
                        <a:pt x="1574179" y="474325"/>
                      </a:cubicBezTo>
                      <a:cubicBezTo>
                        <a:pt x="1582383" y="465367"/>
                        <a:pt x="1586485" y="454401"/>
                        <a:pt x="1586485" y="441425"/>
                      </a:cubicBezTo>
                      <a:lnTo>
                        <a:pt x="1586485" y="415933"/>
                      </a:lnTo>
                      <a:cubicBezTo>
                        <a:pt x="1586485" y="404548"/>
                        <a:pt x="1582655" y="394711"/>
                        <a:pt x="1574995" y="386423"/>
                      </a:cubicBezTo>
                      <a:cubicBezTo>
                        <a:pt x="1567335" y="378136"/>
                        <a:pt x="1557352" y="373992"/>
                        <a:pt x="1545046" y="373992"/>
                      </a:cubicBezTo>
                      <a:close/>
                      <a:moveTo>
                        <a:pt x="1353810" y="373992"/>
                      </a:moveTo>
                      <a:cubicBezTo>
                        <a:pt x="1338825" y="373992"/>
                        <a:pt x="1327230" y="379015"/>
                        <a:pt x="1319026" y="389060"/>
                      </a:cubicBezTo>
                      <a:cubicBezTo>
                        <a:pt x="1310822" y="399106"/>
                        <a:pt x="1306720" y="410910"/>
                        <a:pt x="1306720" y="424472"/>
                      </a:cubicBezTo>
                      <a:lnTo>
                        <a:pt x="1306720" y="440671"/>
                      </a:lnTo>
                      <a:cubicBezTo>
                        <a:pt x="1306720" y="453563"/>
                        <a:pt x="1310780" y="464635"/>
                        <a:pt x="1318901" y="473885"/>
                      </a:cubicBezTo>
                      <a:cubicBezTo>
                        <a:pt x="1327021" y="483136"/>
                        <a:pt x="1337695" y="487761"/>
                        <a:pt x="1350922" y="487761"/>
                      </a:cubicBezTo>
                      <a:cubicBezTo>
                        <a:pt x="1364065" y="487761"/>
                        <a:pt x="1374739" y="482131"/>
                        <a:pt x="1382943" y="470872"/>
                      </a:cubicBezTo>
                      <a:cubicBezTo>
                        <a:pt x="1391147" y="459612"/>
                        <a:pt x="1395250" y="444815"/>
                        <a:pt x="1395250" y="426481"/>
                      </a:cubicBezTo>
                      <a:cubicBezTo>
                        <a:pt x="1395250" y="410408"/>
                        <a:pt x="1391482" y="397641"/>
                        <a:pt x="1383948" y="388181"/>
                      </a:cubicBezTo>
                      <a:cubicBezTo>
                        <a:pt x="1376413" y="378722"/>
                        <a:pt x="1366368" y="373992"/>
                        <a:pt x="1353810" y="373992"/>
                      </a:cubicBezTo>
                      <a:close/>
                      <a:moveTo>
                        <a:pt x="2511730" y="366584"/>
                      </a:moveTo>
                      <a:lnTo>
                        <a:pt x="2523408" y="366584"/>
                      </a:lnTo>
                      <a:lnTo>
                        <a:pt x="2523408" y="438035"/>
                      </a:lnTo>
                      <a:cubicBezTo>
                        <a:pt x="2523408" y="455448"/>
                        <a:pt x="2526276" y="468089"/>
                        <a:pt x="2532010" y="475958"/>
                      </a:cubicBezTo>
                      <a:cubicBezTo>
                        <a:pt x="2537745" y="483828"/>
                        <a:pt x="2546765" y="487762"/>
                        <a:pt x="2559071" y="487762"/>
                      </a:cubicBezTo>
                      <a:cubicBezTo>
                        <a:pt x="2571043" y="487762"/>
                        <a:pt x="2580733" y="483367"/>
                        <a:pt x="2588142" y="474577"/>
                      </a:cubicBezTo>
                      <a:cubicBezTo>
                        <a:pt x="2595550" y="465787"/>
                        <a:pt x="2599255" y="454067"/>
                        <a:pt x="2599255" y="439416"/>
                      </a:cubicBezTo>
                      <a:lnTo>
                        <a:pt x="2599255" y="366584"/>
                      </a:lnTo>
                      <a:lnTo>
                        <a:pt x="2610808" y="366584"/>
                      </a:lnTo>
                      <a:lnTo>
                        <a:pt x="2610808" y="495171"/>
                      </a:lnTo>
                      <a:lnTo>
                        <a:pt x="2599255" y="495171"/>
                      </a:lnTo>
                      <a:lnTo>
                        <a:pt x="2599255" y="471814"/>
                      </a:lnTo>
                      <a:lnTo>
                        <a:pt x="2598753" y="471814"/>
                      </a:lnTo>
                      <a:cubicBezTo>
                        <a:pt x="2589795" y="489479"/>
                        <a:pt x="2575982" y="498311"/>
                        <a:pt x="2557313" y="498311"/>
                      </a:cubicBezTo>
                      <a:cubicBezTo>
                        <a:pt x="2526924" y="498311"/>
                        <a:pt x="2511730" y="479181"/>
                        <a:pt x="2511730" y="440923"/>
                      </a:cubicBezTo>
                      <a:close/>
                      <a:moveTo>
                        <a:pt x="1438043" y="366584"/>
                      </a:moveTo>
                      <a:lnTo>
                        <a:pt x="1449596" y="366584"/>
                      </a:lnTo>
                      <a:lnTo>
                        <a:pt x="1449596" y="495171"/>
                      </a:lnTo>
                      <a:lnTo>
                        <a:pt x="1438043" y="495171"/>
                      </a:lnTo>
                      <a:close/>
                      <a:moveTo>
                        <a:pt x="961793" y="366584"/>
                      </a:moveTo>
                      <a:lnTo>
                        <a:pt x="973346" y="366584"/>
                      </a:lnTo>
                      <a:lnTo>
                        <a:pt x="973346" y="495171"/>
                      </a:lnTo>
                      <a:lnTo>
                        <a:pt x="961793" y="495171"/>
                      </a:lnTo>
                      <a:close/>
                      <a:moveTo>
                        <a:pt x="774395" y="366584"/>
                      </a:moveTo>
                      <a:lnTo>
                        <a:pt x="787204" y="366584"/>
                      </a:lnTo>
                      <a:lnTo>
                        <a:pt x="817090" y="469177"/>
                      </a:lnTo>
                      <a:cubicBezTo>
                        <a:pt x="817844" y="471856"/>
                        <a:pt x="818430" y="475456"/>
                        <a:pt x="818848" y="479977"/>
                      </a:cubicBezTo>
                      <a:lnTo>
                        <a:pt x="819853" y="479977"/>
                      </a:lnTo>
                      <a:cubicBezTo>
                        <a:pt x="820020" y="477549"/>
                        <a:pt x="820816" y="473949"/>
                        <a:pt x="822239" y="469177"/>
                      </a:cubicBezTo>
                      <a:lnTo>
                        <a:pt x="854888" y="366584"/>
                      </a:lnTo>
                      <a:lnTo>
                        <a:pt x="862799" y="366584"/>
                      </a:lnTo>
                      <a:lnTo>
                        <a:pt x="891932" y="469177"/>
                      </a:lnTo>
                      <a:cubicBezTo>
                        <a:pt x="892602" y="471605"/>
                        <a:pt x="893188" y="475205"/>
                        <a:pt x="893690" y="479977"/>
                      </a:cubicBezTo>
                      <a:lnTo>
                        <a:pt x="894695" y="479977"/>
                      </a:lnTo>
                      <a:cubicBezTo>
                        <a:pt x="894695" y="477549"/>
                        <a:pt x="895407" y="473949"/>
                        <a:pt x="896830" y="469177"/>
                      </a:cubicBezTo>
                      <a:lnTo>
                        <a:pt x="927344" y="366584"/>
                      </a:lnTo>
                      <a:lnTo>
                        <a:pt x="939274" y="366584"/>
                      </a:lnTo>
                      <a:lnTo>
                        <a:pt x="899341" y="495171"/>
                      </a:lnTo>
                      <a:lnTo>
                        <a:pt x="888542" y="495171"/>
                      </a:lnTo>
                      <a:lnTo>
                        <a:pt x="860539" y="398228"/>
                      </a:lnTo>
                      <a:cubicBezTo>
                        <a:pt x="859785" y="395549"/>
                        <a:pt x="859116" y="391950"/>
                        <a:pt x="858530" y="387429"/>
                      </a:cubicBezTo>
                      <a:lnTo>
                        <a:pt x="857902" y="387429"/>
                      </a:lnTo>
                      <a:cubicBezTo>
                        <a:pt x="857734" y="389354"/>
                        <a:pt x="856897" y="392870"/>
                        <a:pt x="855390" y="397977"/>
                      </a:cubicBezTo>
                      <a:lnTo>
                        <a:pt x="823997" y="495171"/>
                      </a:lnTo>
                      <a:lnTo>
                        <a:pt x="813198" y="495171"/>
                      </a:lnTo>
                      <a:close/>
                      <a:moveTo>
                        <a:pt x="482905" y="366584"/>
                      </a:moveTo>
                      <a:lnTo>
                        <a:pt x="494583" y="366584"/>
                      </a:lnTo>
                      <a:lnTo>
                        <a:pt x="494583" y="438035"/>
                      </a:lnTo>
                      <a:cubicBezTo>
                        <a:pt x="494583" y="455448"/>
                        <a:pt x="497451" y="468089"/>
                        <a:pt x="503185" y="475958"/>
                      </a:cubicBezTo>
                      <a:cubicBezTo>
                        <a:pt x="508920" y="483828"/>
                        <a:pt x="517940" y="487762"/>
                        <a:pt x="530247" y="487762"/>
                      </a:cubicBezTo>
                      <a:cubicBezTo>
                        <a:pt x="542218" y="487762"/>
                        <a:pt x="551908" y="483367"/>
                        <a:pt x="559317" y="474577"/>
                      </a:cubicBezTo>
                      <a:cubicBezTo>
                        <a:pt x="566726" y="465787"/>
                        <a:pt x="570430" y="454067"/>
                        <a:pt x="570430" y="439416"/>
                      </a:cubicBezTo>
                      <a:lnTo>
                        <a:pt x="570430" y="366584"/>
                      </a:lnTo>
                      <a:lnTo>
                        <a:pt x="581983" y="366584"/>
                      </a:lnTo>
                      <a:lnTo>
                        <a:pt x="581983" y="495171"/>
                      </a:lnTo>
                      <a:lnTo>
                        <a:pt x="570430" y="495171"/>
                      </a:lnTo>
                      <a:lnTo>
                        <a:pt x="570430" y="471814"/>
                      </a:lnTo>
                      <a:lnTo>
                        <a:pt x="569928" y="471814"/>
                      </a:lnTo>
                      <a:cubicBezTo>
                        <a:pt x="560970" y="489479"/>
                        <a:pt x="547157" y="498311"/>
                        <a:pt x="528488" y="498311"/>
                      </a:cubicBezTo>
                      <a:cubicBezTo>
                        <a:pt x="498100" y="498311"/>
                        <a:pt x="482905" y="479181"/>
                        <a:pt x="482905" y="440923"/>
                      </a:cubicBezTo>
                      <a:close/>
                      <a:moveTo>
                        <a:pt x="2695561" y="364072"/>
                      </a:moveTo>
                      <a:cubicBezTo>
                        <a:pt x="2700332" y="364072"/>
                        <a:pt x="2704602" y="364826"/>
                        <a:pt x="2708369" y="366333"/>
                      </a:cubicBezTo>
                      <a:lnTo>
                        <a:pt x="2708369" y="378639"/>
                      </a:lnTo>
                      <a:cubicBezTo>
                        <a:pt x="2704518" y="375876"/>
                        <a:pt x="2699998" y="374495"/>
                        <a:pt x="2694807" y="374495"/>
                      </a:cubicBezTo>
                      <a:cubicBezTo>
                        <a:pt x="2684678" y="374495"/>
                        <a:pt x="2676180" y="379727"/>
                        <a:pt x="2669316" y="390192"/>
                      </a:cubicBezTo>
                      <a:cubicBezTo>
                        <a:pt x="2662451" y="400656"/>
                        <a:pt x="2659019" y="415516"/>
                        <a:pt x="2659019" y="434770"/>
                      </a:cubicBezTo>
                      <a:lnTo>
                        <a:pt x="2659019" y="495171"/>
                      </a:lnTo>
                      <a:lnTo>
                        <a:pt x="2647717" y="495171"/>
                      </a:lnTo>
                      <a:lnTo>
                        <a:pt x="2647717" y="366584"/>
                      </a:lnTo>
                      <a:lnTo>
                        <a:pt x="2659019" y="366584"/>
                      </a:lnTo>
                      <a:lnTo>
                        <a:pt x="2659019" y="395089"/>
                      </a:lnTo>
                      <a:lnTo>
                        <a:pt x="2659521" y="395089"/>
                      </a:lnTo>
                      <a:cubicBezTo>
                        <a:pt x="2662451" y="385294"/>
                        <a:pt x="2667097" y="377676"/>
                        <a:pt x="2673460" y="372235"/>
                      </a:cubicBezTo>
                      <a:cubicBezTo>
                        <a:pt x="2679822" y="366793"/>
                        <a:pt x="2687189" y="364072"/>
                        <a:pt x="2695561" y="364072"/>
                      </a:cubicBezTo>
                      <a:close/>
                      <a:moveTo>
                        <a:pt x="3006979" y="363444"/>
                      </a:moveTo>
                      <a:cubicBezTo>
                        <a:pt x="3018029" y="363444"/>
                        <a:pt x="3027489" y="365705"/>
                        <a:pt x="3035359" y="370225"/>
                      </a:cubicBezTo>
                      <a:lnTo>
                        <a:pt x="3035359" y="383285"/>
                      </a:lnTo>
                      <a:cubicBezTo>
                        <a:pt x="3025815" y="377090"/>
                        <a:pt x="3015936" y="373993"/>
                        <a:pt x="3005723" y="373993"/>
                      </a:cubicBezTo>
                      <a:cubicBezTo>
                        <a:pt x="2997268" y="373993"/>
                        <a:pt x="2990445" y="376190"/>
                        <a:pt x="2985255" y="380585"/>
                      </a:cubicBezTo>
                      <a:cubicBezTo>
                        <a:pt x="2980064" y="384980"/>
                        <a:pt x="2977469" y="390694"/>
                        <a:pt x="2977469" y="397726"/>
                      </a:cubicBezTo>
                      <a:cubicBezTo>
                        <a:pt x="2977469" y="403837"/>
                        <a:pt x="2979101" y="408797"/>
                        <a:pt x="2982366" y="412606"/>
                      </a:cubicBezTo>
                      <a:cubicBezTo>
                        <a:pt x="2985631" y="416416"/>
                        <a:pt x="2992831" y="420790"/>
                        <a:pt x="3003965" y="425729"/>
                      </a:cubicBezTo>
                      <a:cubicBezTo>
                        <a:pt x="3017360" y="431756"/>
                        <a:pt x="3026568" y="437345"/>
                        <a:pt x="3031591" y="442493"/>
                      </a:cubicBezTo>
                      <a:cubicBezTo>
                        <a:pt x="3036614" y="447642"/>
                        <a:pt x="3039126" y="454485"/>
                        <a:pt x="3039126" y="463024"/>
                      </a:cubicBezTo>
                      <a:cubicBezTo>
                        <a:pt x="3039126" y="473238"/>
                        <a:pt x="3035296" y="481672"/>
                        <a:pt x="3027636" y="488327"/>
                      </a:cubicBezTo>
                      <a:cubicBezTo>
                        <a:pt x="3019976" y="494983"/>
                        <a:pt x="3009407" y="498311"/>
                        <a:pt x="2995928" y="498311"/>
                      </a:cubicBezTo>
                      <a:cubicBezTo>
                        <a:pt x="2983538" y="498311"/>
                        <a:pt x="2973200" y="495381"/>
                        <a:pt x="2964912" y="489520"/>
                      </a:cubicBezTo>
                      <a:lnTo>
                        <a:pt x="2964912" y="475582"/>
                      </a:lnTo>
                      <a:cubicBezTo>
                        <a:pt x="2969265" y="479349"/>
                        <a:pt x="2974539" y="482321"/>
                        <a:pt x="2980734" y="484497"/>
                      </a:cubicBezTo>
                      <a:cubicBezTo>
                        <a:pt x="2986929" y="486674"/>
                        <a:pt x="2992287" y="487762"/>
                        <a:pt x="2996807" y="487762"/>
                      </a:cubicBezTo>
                      <a:cubicBezTo>
                        <a:pt x="3016983" y="487762"/>
                        <a:pt x="3027071" y="479516"/>
                        <a:pt x="3027071" y="463024"/>
                      </a:cubicBezTo>
                      <a:cubicBezTo>
                        <a:pt x="3027071" y="457332"/>
                        <a:pt x="3024852" y="452476"/>
                        <a:pt x="3020415" y="448458"/>
                      </a:cubicBezTo>
                      <a:cubicBezTo>
                        <a:pt x="3015978" y="444439"/>
                        <a:pt x="3008779" y="440295"/>
                        <a:pt x="2998817" y="436026"/>
                      </a:cubicBezTo>
                      <a:cubicBezTo>
                        <a:pt x="2986510" y="430668"/>
                        <a:pt x="2977867" y="425122"/>
                        <a:pt x="2972886" y="419387"/>
                      </a:cubicBezTo>
                      <a:cubicBezTo>
                        <a:pt x="2967905" y="413653"/>
                        <a:pt x="2965414" y="406684"/>
                        <a:pt x="2965414" y="398479"/>
                      </a:cubicBezTo>
                      <a:cubicBezTo>
                        <a:pt x="2965414" y="388015"/>
                        <a:pt x="2969411" y="379560"/>
                        <a:pt x="2977406" y="373114"/>
                      </a:cubicBezTo>
                      <a:cubicBezTo>
                        <a:pt x="2985401" y="366667"/>
                        <a:pt x="2995259" y="363444"/>
                        <a:pt x="3006979" y="363444"/>
                      </a:cubicBezTo>
                      <a:close/>
                      <a:moveTo>
                        <a:pt x="2886563" y="363444"/>
                      </a:moveTo>
                      <a:cubicBezTo>
                        <a:pt x="2902553" y="363444"/>
                        <a:pt x="2914817" y="369053"/>
                        <a:pt x="2923356" y="380271"/>
                      </a:cubicBezTo>
                      <a:cubicBezTo>
                        <a:pt x="2931895" y="391489"/>
                        <a:pt x="2936165" y="406809"/>
                        <a:pt x="2936165" y="426231"/>
                      </a:cubicBezTo>
                      <a:lnTo>
                        <a:pt x="2936165" y="431380"/>
                      </a:lnTo>
                      <a:lnTo>
                        <a:pt x="2840980" y="431380"/>
                      </a:lnTo>
                      <a:cubicBezTo>
                        <a:pt x="2840980" y="449044"/>
                        <a:pt x="2845061" y="462857"/>
                        <a:pt x="2853223" y="472819"/>
                      </a:cubicBezTo>
                      <a:cubicBezTo>
                        <a:pt x="2861385" y="482781"/>
                        <a:pt x="2872582" y="487762"/>
                        <a:pt x="2886814" y="487762"/>
                      </a:cubicBezTo>
                      <a:cubicBezTo>
                        <a:pt x="2901213" y="487762"/>
                        <a:pt x="2915277" y="482446"/>
                        <a:pt x="2929007" y="471814"/>
                      </a:cubicBezTo>
                      <a:lnTo>
                        <a:pt x="2929007" y="484121"/>
                      </a:lnTo>
                      <a:cubicBezTo>
                        <a:pt x="2915696" y="493581"/>
                        <a:pt x="2900837" y="498311"/>
                        <a:pt x="2884428" y="498311"/>
                      </a:cubicBezTo>
                      <a:cubicBezTo>
                        <a:pt x="2867852" y="498311"/>
                        <a:pt x="2854458" y="492367"/>
                        <a:pt x="2844245" y="480479"/>
                      </a:cubicBezTo>
                      <a:cubicBezTo>
                        <a:pt x="2834031" y="468591"/>
                        <a:pt x="2828925" y="451806"/>
                        <a:pt x="2828925" y="430124"/>
                      </a:cubicBezTo>
                      <a:cubicBezTo>
                        <a:pt x="2828925" y="411372"/>
                        <a:pt x="2834262" y="395570"/>
                        <a:pt x="2844935" y="382720"/>
                      </a:cubicBezTo>
                      <a:cubicBezTo>
                        <a:pt x="2855609" y="369870"/>
                        <a:pt x="2869485" y="363444"/>
                        <a:pt x="2886563" y="363444"/>
                      </a:cubicBezTo>
                      <a:close/>
                      <a:moveTo>
                        <a:pt x="2779170" y="363444"/>
                      </a:moveTo>
                      <a:cubicBezTo>
                        <a:pt x="2788965" y="363444"/>
                        <a:pt x="2798466" y="365454"/>
                        <a:pt x="2807675" y="369472"/>
                      </a:cubicBezTo>
                      <a:lnTo>
                        <a:pt x="2807675" y="382532"/>
                      </a:lnTo>
                      <a:cubicBezTo>
                        <a:pt x="2798466" y="376839"/>
                        <a:pt x="2788378" y="373993"/>
                        <a:pt x="2777412" y="373993"/>
                      </a:cubicBezTo>
                      <a:cubicBezTo>
                        <a:pt x="2762343" y="373993"/>
                        <a:pt x="2750120" y="379413"/>
                        <a:pt x="2740744" y="390254"/>
                      </a:cubicBezTo>
                      <a:cubicBezTo>
                        <a:pt x="2731368" y="401096"/>
                        <a:pt x="2726680" y="415139"/>
                        <a:pt x="2726680" y="432384"/>
                      </a:cubicBezTo>
                      <a:cubicBezTo>
                        <a:pt x="2726680" y="449044"/>
                        <a:pt x="2730970" y="462438"/>
                        <a:pt x="2739551" y="472568"/>
                      </a:cubicBezTo>
                      <a:cubicBezTo>
                        <a:pt x="2748132" y="482698"/>
                        <a:pt x="2759455" y="487762"/>
                        <a:pt x="2773519" y="487762"/>
                      </a:cubicBezTo>
                      <a:cubicBezTo>
                        <a:pt x="2786411" y="487762"/>
                        <a:pt x="2797629" y="484330"/>
                        <a:pt x="2807173" y="477465"/>
                      </a:cubicBezTo>
                      <a:lnTo>
                        <a:pt x="2807173" y="489520"/>
                      </a:lnTo>
                      <a:cubicBezTo>
                        <a:pt x="2797629" y="495381"/>
                        <a:pt x="2786244" y="498311"/>
                        <a:pt x="2773017" y="498311"/>
                      </a:cubicBezTo>
                      <a:cubicBezTo>
                        <a:pt x="2755520" y="498311"/>
                        <a:pt x="2741414" y="492304"/>
                        <a:pt x="2730698" y="480291"/>
                      </a:cubicBezTo>
                      <a:cubicBezTo>
                        <a:pt x="2719982" y="468278"/>
                        <a:pt x="2714625" y="452560"/>
                        <a:pt x="2714625" y="433138"/>
                      </a:cubicBezTo>
                      <a:cubicBezTo>
                        <a:pt x="2714625" y="412711"/>
                        <a:pt x="2720652" y="395989"/>
                        <a:pt x="2732707" y="382971"/>
                      </a:cubicBezTo>
                      <a:cubicBezTo>
                        <a:pt x="2744762" y="369953"/>
                        <a:pt x="2760250" y="363444"/>
                        <a:pt x="2779170" y="363444"/>
                      </a:cubicBezTo>
                      <a:close/>
                      <a:moveTo>
                        <a:pt x="2424485" y="363444"/>
                      </a:moveTo>
                      <a:cubicBezTo>
                        <a:pt x="2442819" y="363444"/>
                        <a:pt x="2457302" y="369430"/>
                        <a:pt x="2467934" y="381401"/>
                      </a:cubicBezTo>
                      <a:cubicBezTo>
                        <a:pt x="2478566" y="393373"/>
                        <a:pt x="2483882" y="409949"/>
                        <a:pt x="2483882" y="431129"/>
                      </a:cubicBezTo>
                      <a:cubicBezTo>
                        <a:pt x="2483882" y="451137"/>
                        <a:pt x="2478461" y="467336"/>
                        <a:pt x="2467620" y="479726"/>
                      </a:cubicBezTo>
                      <a:cubicBezTo>
                        <a:pt x="2456779" y="492116"/>
                        <a:pt x="2441940" y="498311"/>
                        <a:pt x="2423104" y="498311"/>
                      </a:cubicBezTo>
                      <a:cubicBezTo>
                        <a:pt x="2404352" y="498311"/>
                        <a:pt x="2389513" y="492137"/>
                        <a:pt x="2378588" y="479788"/>
                      </a:cubicBezTo>
                      <a:cubicBezTo>
                        <a:pt x="2367663" y="467440"/>
                        <a:pt x="2362201" y="451388"/>
                        <a:pt x="2362201" y="431631"/>
                      </a:cubicBezTo>
                      <a:cubicBezTo>
                        <a:pt x="2362201" y="410283"/>
                        <a:pt x="2367914" y="393582"/>
                        <a:pt x="2379341" y="381527"/>
                      </a:cubicBezTo>
                      <a:cubicBezTo>
                        <a:pt x="2390769" y="369472"/>
                        <a:pt x="2405817" y="363444"/>
                        <a:pt x="2424485" y="363444"/>
                      </a:cubicBezTo>
                      <a:close/>
                      <a:moveTo>
                        <a:pt x="2311654" y="363444"/>
                      </a:moveTo>
                      <a:cubicBezTo>
                        <a:pt x="2322705" y="363444"/>
                        <a:pt x="2332164" y="365705"/>
                        <a:pt x="2340034" y="370225"/>
                      </a:cubicBezTo>
                      <a:lnTo>
                        <a:pt x="2340034" y="383285"/>
                      </a:lnTo>
                      <a:cubicBezTo>
                        <a:pt x="2330490" y="377090"/>
                        <a:pt x="2320611" y="373993"/>
                        <a:pt x="2310398" y="373993"/>
                      </a:cubicBezTo>
                      <a:cubicBezTo>
                        <a:pt x="2301943" y="373993"/>
                        <a:pt x="2295120" y="376190"/>
                        <a:pt x="2289930" y="380585"/>
                      </a:cubicBezTo>
                      <a:cubicBezTo>
                        <a:pt x="2284740" y="384980"/>
                        <a:pt x="2282144" y="390694"/>
                        <a:pt x="2282144" y="397726"/>
                      </a:cubicBezTo>
                      <a:cubicBezTo>
                        <a:pt x="2282144" y="403837"/>
                        <a:pt x="2283777" y="408797"/>
                        <a:pt x="2287041" y="412606"/>
                      </a:cubicBezTo>
                      <a:cubicBezTo>
                        <a:pt x="2290307" y="416416"/>
                        <a:pt x="2297506" y="420790"/>
                        <a:pt x="2308640" y="425729"/>
                      </a:cubicBezTo>
                      <a:cubicBezTo>
                        <a:pt x="2322035" y="431756"/>
                        <a:pt x="2331244" y="437345"/>
                        <a:pt x="2336266" y="442493"/>
                      </a:cubicBezTo>
                      <a:cubicBezTo>
                        <a:pt x="2341289" y="447642"/>
                        <a:pt x="2343801" y="454485"/>
                        <a:pt x="2343801" y="463024"/>
                      </a:cubicBezTo>
                      <a:cubicBezTo>
                        <a:pt x="2343801" y="473238"/>
                        <a:pt x="2339971" y="481672"/>
                        <a:pt x="2332311" y="488327"/>
                      </a:cubicBezTo>
                      <a:cubicBezTo>
                        <a:pt x="2324651" y="494983"/>
                        <a:pt x="2314082" y="498311"/>
                        <a:pt x="2300604" y="498311"/>
                      </a:cubicBezTo>
                      <a:cubicBezTo>
                        <a:pt x="2288213" y="498311"/>
                        <a:pt x="2277875" y="495381"/>
                        <a:pt x="2269587" y="489520"/>
                      </a:cubicBezTo>
                      <a:lnTo>
                        <a:pt x="2269587" y="475582"/>
                      </a:lnTo>
                      <a:cubicBezTo>
                        <a:pt x="2273940" y="479349"/>
                        <a:pt x="2279214" y="482321"/>
                        <a:pt x="2285409" y="484497"/>
                      </a:cubicBezTo>
                      <a:cubicBezTo>
                        <a:pt x="2291604" y="486674"/>
                        <a:pt x="2296962" y="487762"/>
                        <a:pt x="2301483" y="487762"/>
                      </a:cubicBezTo>
                      <a:cubicBezTo>
                        <a:pt x="2321658" y="487762"/>
                        <a:pt x="2331746" y="479516"/>
                        <a:pt x="2331746" y="463024"/>
                      </a:cubicBezTo>
                      <a:cubicBezTo>
                        <a:pt x="2331746" y="457332"/>
                        <a:pt x="2329527" y="452476"/>
                        <a:pt x="2325090" y="448458"/>
                      </a:cubicBezTo>
                      <a:cubicBezTo>
                        <a:pt x="2320654" y="444439"/>
                        <a:pt x="2313454" y="440295"/>
                        <a:pt x="2303492" y="436026"/>
                      </a:cubicBezTo>
                      <a:cubicBezTo>
                        <a:pt x="2291186" y="430668"/>
                        <a:pt x="2282542" y="425122"/>
                        <a:pt x="2277561" y="419387"/>
                      </a:cubicBezTo>
                      <a:cubicBezTo>
                        <a:pt x="2272580" y="413653"/>
                        <a:pt x="2270089" y="406684"/>
                        <a:pt x="2270089" y="398479"/>
                      </a:cubicBezTo>
                      <a:cubicBezTo>
                        <a:pt x="2270089" y="388015"/>
                        <a:pt x="2274087" y="379560"/>
                        <a:pt x="2282081" y="373114"/>
                      </a:cubicBezTo>
                      <a:cubicBezTo>
                        <a:pt x="2290076" y="366667"/>
                        <a:pt x="2299934" y="363444"/>
                        <a:pt x="2311654" y="363444"/>
                      </a:cubicBezTo>
                      <a:close/>
                      <a:moveTo>
                        <a:pt x="2132582" y="363444"/>
                      </a:moveTo>
                      <a:cubicBezTo>
                        <a:pt x="2145809" y="363444"/>
                        <a:pt x="2156044" y="367546"/>
                        <a:pt x="2163285" y="375751"/>
                      </a:cubicBezTo>
                      <a:cubicBezTo>
                        <a:pt x="2170527" y="383955"/>
                        <a:pt x="2174147" y="395884"/>
                        <a:pt x="2174147" y="411539"/>
                      </a:cubicBezTo>
                      <a:lnTo>
                        <a:pt x="2174147" y="495171"/>
                      </a:lnTo>
                      <a:lnTo>
                        <a:pt x="2162594" y="495171"/>
                      </a:lnTo>
                      <a:lnTo>
                        <a:pt x="2162594" y="469429"/>
                      </a:lnTo>
                      <a:lnTo>
                        <a:pt x="2162092" y="469429"/>
                      </a:lnTo>
                      <a:cubicBezTo>
                        <a:pt x="2157990" y="478219"/>
                        <a:pt x="2152025" y="485230"/>
                        <a:pt x="2144198" y="490462"/>
                      </a:cubicBezTo>
                      <a:cubicBezTo>
                        <a:pt x="2136371" y="495694"/>
                        <a:pt x="2127685" y="498311"/>
                        <a:pt x="2118141" y="498311"/>
                      </a:cubicBezTo>
                      <a:cubicBezTo>
                        <a:pt x="2105919" y="498311"/>
                        <a:pt x="2096250" y="494878"/>
                        <a:pt x="2089134" y="488014"/>
                      </a:cubicBezTo>
                      <a:cubicBezTo>
                        <a:pt x="2082018" y="481149"/>
                        <a:pt x="2078460" y="472484"/>
                        <a:pt x="2078460" y="462020"/>
                      </a:cubicBezTo>
                      <a:cubicBezTo>
                        <a:pt x="2078460" y="439584"/>
                        <a:pt x="2093320" y="426022"/>
                        <a:pt x="2123039" y="421334"/>
                      </a:cubicBezTo>
                      <a:lnTo>
                        <a:pt x="2162594" y="415432"/>
                      </a:lnTo>
                      <a:cubicBezTo>
                        <a:pt x="2162594" y="387806"/>
                        <a:pt x="2152213" y="373993"/>
                        <a:pt x="2131452" y="373993"/>
                      </a:cubicBezTo>
                      <a:cubicBezTo>
                        <a:pt x="2117304" y="373993"/>
                        <a:pt x="2103533" y="379685"/>
                        <a:pt x="2090138" y="391071"/>
                      </a:cubicBezTo>
                      <a:lnTo>
                        <a:pt x="2090138" y="377132"/>
                      </a:lnTo>
                      <a:cubicBezTo>
                        <a:pt x="2094910" y="373365"/>
                        <a:pt x="2101377" y="370142"/>
                        <a:pt x="2109540" y="367463"/>
                      </a:cubicBezTo>
                      <a:cubicBezTo>
                        <a:pt x="2117702" y="364784"/>
                        <a:pt x="2125383" y="363444"/>
                        <a:pt x="2132582" y="363444"/>
                      </a:cubicBezTo>
                      <a:close/>
                      <a:moveTo>
                        <a:pt x="1932557" y="363444"/>
                      </a:moveTo>
                      <a:cubicBezTo>
                        <a:pt x="1945784" y="363444"/>
                        <a:pt x="1956019" y="367546"/>
                        <a:pt x="1963260" y="375751"/>
                      </a:cubicBezTo>
                      <a:cubicBezTo>
                        <a:pt x="1970501" y="383955"/>
                        <a:pt x="1974122" y="395884"/>
                        <a:pt x="1974122" y="411539"/>
                      </a:cubicBezTo>
                      <a:lnTo>
                        <a:pt x="1974122" y="495171"/>
                      </a:lnTo>
                      <a:lnTo>
                        <a:pt x="1962569" y="495171"/>
                      </a:lnTo>
                      <a:lnTo>
                        <a:pt x="1962569" y="469429"/>
                      </a:lnTo>
                      <a:lnTo>
                        <a:pt x="1962067" y="469429"/>
                      </a:lnTo>
                      <a:cubicBezTo>
                        <a:pt x="1957965" y="478219"/>
                        <a:pt x="1952000" y="485230"/>
                        <a:pt x="1944173" y="490462"/>
                      </a:cubicBezTo>
                      <a:cubicBezTo>
                        <a:pt x="1936345" y="495694"/>
                        <a:pt x="1927660" y="498311"/>
                        <a:pt x="1918116" y="498311"/>
                      </a:cubicBezTo>
                      <a:cubicBezTo>
                        <a:pt x="1905894" y="498311"/>
                        <a:pt x="1896225" y="494878"/>
                        <a:pt x="1889109" y="488014"/>
                      </a:cubicBezTo>
                      <a:cubicBezTo>
                        <a:pt x="1881993" y="481149"/>
                        <a:pt x="1878435" y="472484"/>
                        <a:pt x="1878435" y="462020"/>
                      </a:cubicBezTo>
                      <a:cubicBezTo>
                        <a:pt x="1878435" y="439584"/>
                        <a:pt x="1893295" y="426022"/>
                        <a:pt x="1923014" y="421334"/>
                      </a:cubicBezTo>
                      <a:lnTo>
                        <a:pt x="1962569" y="415432"/>
                      </a:lnTo>
                      <a:cubicBezTo>
                        <a:pt x="1962569" y="387806"/>
                        <a:pt x="1952189" y="373993"/>
                        <a:pt x="1931427" y="373993"/>
                      </a:cubicBezTo>
                      <a:cubicBezTo>
                        <a:pt x="1917279" y="373993"/>
                        <a:pt x="1903508" y="379685"/>
                        <a:pt x="1890113" y="391071"/>
                      </a:cubicBezTo>
                      <a:lnTo>
                        <a:pt x="1890113" y="377132"/>
                      </a:lnTo>
                      <a:cubicBezTo>
                        <a:pt x="1894885" y="373365"/>
                        <a:pt x="1901352" y="370142"/>
                        <a:pt x="1909514" y="367463"/>
                      </a:cubicBezTo>
                      <a:cubicBezTo>
                        <a:pt x="1917677" y="364784"/>
                        <a:pt x="1925358" y="363444"/>
                        <a:pt x="1932557" y="363444"/>
                      </a:cubicBezTo>
                      <a:close/>
                      <a:moveTo>
                        <a:pt x="654304" y="363444"/>
                      </a:moveTo>
                      <a:cubicBezTo>
                        <a:pt x="665354" y="363444"/>
                        <a:pt x="674814" y="365705"/>
                        <a:pt x="682684" y="370225"/>
                      </a:cubicBezTo>
                      <a:lnTo>
                        <a:pt x="682684" y="383285"/>
                      </a:lnTo>
                      <a:cubicBezTo>
                        <a:pt x="673140" y="377090"/>
                        <a:pt x="663262" y="373993"/>
                        <a:pt x="653048" y="373993"/>
                      </a:cubicBezTo>
                      <a:cubicBezTo>
                        <a:pt x="644593" y="373993"/>
                        <a:pt x="637770" y="376190"/>
                        <a:pt x="632580" y="380585"/>
                      </a:cubicBezTo>
                      <a:cubicBezTo>
                        <a:pt x="627389" y="384980"/>
                        <a:pt x="624794" y="390694"/>
                        <a:pt x="624794" y="397726"/>
                      </a:cubicBezTo>
                      <a:cubicBezTo>
                        <a:pt x="624794" y="403837"/>
                        <a:pt x="626427" y="408797"/>
                        <a:pt x="629692" y="412606"/>
                      </a:cubicBezTo>
                      <a:cubicBezTo>
                        <a:pt x="632956" y="416416"/>
                        <a:pt x="640156" y="420790"/>
                        <a:pt x="651290" y="425729"/>
                      </a:cubicBezTo>
                      <a:cubicBezTo>
                        <a:pt x="664685" y="431756"/>
                        <a:pt x="673894" y="437345"/>
                        <a:pt x="678917" y="442493"/>
                      </a:cubicBezTo>
                      <a:cubicBezTo>
                        <a:pt x="683939" y="447642"/>
                        <a:pt x="686451" y="454485"/>
                        <a:pt x="686451" y="463024"/>
                      </a:cubicBezTo>
                      <a:cubicBezTo>
                        <a:pt x="686451" y="473238"/>
                        <a:pt x="682621" y="481672"/>
                        <a:pt x="674961" y="488327"/>
                      </a:cubicBezTo>
                      <a:cubicBezTo>
                        <a:pt x="667301" y="494983"/>
                        <a:pt x="656732" y="498311"/>
                        <a:pt x="643253" y="498311"/>
                      </a:cubicBezTo>
                      <a:cubicBezTo>
                        <a:pt x="630864" y="498311"/>
                        <a:pt x="620525" y="495381"/>
                        <a:pt x="612237" y="489520"/>
                      </a:cubicBezTo>
                      <a:lnTo>
                        <a:pt x="612237" y="475582"/>
                      </a:lnTo>
                      <a:cubicBezTo>
                        <a:pt x="616590" y="479349"/>
                        <a:pt x="621864" y="482321"/>
                        <a:pt x="628059" y="484497"/>
                      </a:cubicBezTo>
                      <a:cubicBezTo>
                        <a:pt x="634254" y="486674"/>
                        <a:pt x="639612" y="487762"/>
                        <a:pt x="644133" y="487762"/>
                      </a:cubicBezTo>
                      <a:cubicBezTo>
                        <a:pt x="664308" y="487762"/>
                        <a:pt x="674396" y="479516"/>
                        <a:pt x="674396" y="463024"/>
                      </a:cubicBezTo>
                      <a:cubicBezTo>
                        <a:pt x="674396" y="457332"/>
                        <a:pt x="672177" y="452476"/>
                        <a:pt x="667740" y="448458"/>
                      </a:cubicBezTo>
                      <a:cubicBezTo>
                        <a:pt x="663303" y="444439"/>
                        <a:pt x="656104" y="440295"/>
                        <a:pt x="646142" y="436026"/>
                      </a:cubicBezTo>
                      <a:cubicBezTo>
                        <a:pt x="633835" y="430668"/>
                        <a:pt x="625192" y="425122"/>
                        <a:pt x="620211" y="419387"/>
                      </a:cubicBezTo>
                      <a:cubicBezTo>
                        <a:pt x="615230" y="413653"/>
                        <a:pt x="612739" y="406684"/>
                        <a:pt x="612739" y="398479"/>
                      </a:cubicBezTo>
                      <a:cubicBezTo>
                        <a:pt x="612739" y="388015"/>
                        <a:pt x="616737" y="379560"/>
                        <a:pt x="624731" y="373114"/>
                      </a:cubicBezTo>
                      <a:cubicBezTo>
                        <a:pt x="632726" y="366667"/>
                        <a:pt x="642584" y="363444"/>
                        <a:pt x="654304" y="363444"/>
                      </a:cubicBezTo>
                      <a:close/>
                      <a:moveTo>
                        <a:pt x="425704" y="363444"/>
                      </a:moveTo>
                      <a:cubicBezTo>
                        <a:pt x="436754" y="363444"/>
                        <a:pt x="446214" y="365705"/>
                        <a:pt x="454084" y="370225"/>
                      </a:cubicBezTo>
                      <a:lnTo>
                        <a:pt x="454084" y="383285"/>
                      </a:lnTo>
                      <a:cubicBezTo>
                        <a:pt x="444540" y="377090"/>
                        <a:pt x="434662" y="373993"/>
                        <a:pt x="424448" y="373993"/>
                      </a:cubicBezTo>
                      <a:cubicBezTo>
                        <a:pt x="415993" y="373993"/>
                        <a:pt x="409170" y="376190"/>
                        <a:pt x="403980" y="380585"/>
                      </a:cubicBezTo>
                      <a:cubicBezTo>
                        <a:pt x="398789" y="384980"/>
                        <a:pt x="396194" y="390694"/>
                        <a:pt x="396194" y="397726"/>
                      </a:cubicBezTo>
                      <a:cubicBezTo>
                        <a:pt x="396194" y="403837"/>
                        <a:pt x="397827" y="408797"/>
                        <a:pt x="401092" y="412606"/>
                      </a:cubicBezTo>
                      <a:cubicBezTo>
                        <a:pt x="404356" y="416416"/>
                        <a:pt x="411556" y="420790"/>
                        <a:pt x="422690" y="425729"/>
                      </a:cubicBezTo>
                      <a:cubicBezTo>
                        <a:pt x="436085" y="431756"/>
                        <a:pt x="445293" y="437345"/>
                        <a:pt x="450316" y="442493"/>
                      </a:cubicBezTo>
                      <a:cubicBezTo>
                        <a:pt x="455339" y="447642"/>
                        <a:pt x="457851" y="454485"/>
                        <a:pt x="457851" y="463024"/>
                      </a:cubicBezTo>
                      <a:cubicBezTo>
                        <a:pt x="457851" y="473238"/>
                        <a:pt x="454021" y="481672"/>
                        <a:pt x="446361" y="488327"/>
                      </a:cubicBezTo>
                      <a:cubicBezTo>
                        <a:pt x="438701" y="494983"/>
                        <a:pt x="428132" y="498311"/>
                        <a:pt x="414653" y="498311"/>
                      </a:cubicBezTo>
                      <a:cubicBezTo>
                        <a:pt x="402264" y="498311"/>
                        <a:pt x="391925" y="495381"/>
                        <a:pt x="383637" y="489520"/>
                      </a:cubicBezTo>
                      <a:lnTo>
                        <a:pt x="383637" y="475582"/>
                      </a:lnTo>
                      <a:cubicBezTo>
                        <a:pt x="387990" y="479349"/>
                        <a:pt x="393264" y="482321"/>
                        <a:pt x="399459" y="484497"/>
                      </a:cubicBezTo>
                      <a:cubicBezTo>
                        <a:pt x="405654" y="486674"/>
                        <a:pt x="411012" y="487762"/>
                        <a:pt x="415533" y="487762"/>
                      </a:cubicBezTo>
                      <a:cubicBezTo>
                        <a:pt x="435708" y="487762"/>
                        <a:pt x="445796" y="479516"/>
                        <a:pt x="445796" y="463024"/>
                      </a:cubicBezTo>
                      <a:cubicBezTo>
                        <a:pt x="445796" y="457332"/>
                        <a:pt x="443577" y="452476"/>
                        <a:pt x="439140" y="448458"/>
                      </a:cubicBezTo>
                      <a:cubicBezTo>
                        <a:pt x="434703" y="444439"/>
                        <a:pt x="427504" y="440295"/>
                        <a:pt x="417542" y="436026"/>
                      </a:cubicBezTo>
                      <a:cubicBezTo>
                        <a:pt x="405235" y="430668"/>
                        <a:pt x="396592" y="425122"/>
                        <a:pt x="391611" y="419387"/>
                      </a:cubicBezTo>
                      <a:cubicBezTo>
                        <a:pt x="386630" y="413653"/>
                        <a:pt x="384139" y="406684"/>
                        <a:pt x="384139" y="398479"/>
                      </a:cubicBezTo>
                      <a:cubicBezTo>
                        <a:pt x="384139" y="388015"/>
                        <a:pt x="388137" y="379560"/>
                        <a:pt x="396131" y="373114"/>
                      </a:cubicBezTo>
                      <a:cubicBezTo>
                        <a:pt x="404126" y="366667"/>
                        <a:pt x="413984" y="363444"/>
                        <a:pt x="425704" y="363444"/>
                      </a:cubicBezTo>
                      <a:close/>
                      <a:moveTo>
                        <a:pt x="312948" y="363444"/>
                      </a:moveTo>
                      <a:cubicBezTo>
                        <a:pt x="326845" y="363444"/>
                        <a:pt x="337477" y="368070"/>
                        <a:pt x="344844" y="377320"/>
                      </a:cubicBezTo>
                      <a:cubicBezTo>
                        <a:pt x="352211" y="386571"/>
                        <a:pt x="355894" y="399777"/>
                        <a:pt x="355894" y="416939"/>
                      </a:cubicBezTo>
                      <a:lnTo>
                        <a:pt x="355894" y="495171"/>
                      </a:lnTo>
                      <a:lnTo>
                        <a:pt x="344342" y="495171"/>
                      </a:lnTo>
                      <a:lnTo>
                        <a:pt x="344342" y="420329"/>
                      </a:lnTo>
                      <a:cubicBezTo>
                        <a:pt x="344342" y="389438"/>
                        <a:pt x="333207" y="373993"/>
                        <a:pt x="310939" y="373993"/>
                      </a:cubicBezTo>
                      <a:cubicBezTo>
                        <a:pt x="298549" y="373993"/>
                        <a:pt x="288377" y="378534"/>
                        <a:pt x="280424" y="387617"/>
                      </a:cubicBezTo>
                      <a:cubicBezTo>
                        <a:pt x="272472" y="396700"/>
                        <a:pt x="268495" y="407939"/>
                        <a:pt x="268495" y="421334"/>
                      </a:cubicBezTo>
                      <a:lnTo>
                        <a:pt x="268495" y="495171"/>
                      </a:lnTo>
                      <a:lnTo>
                        <a:pt x="256942" y="495171"/>
                      </a:lnTo>
                      <a:lnTo>
                        <a:pt x="256942" y="366584"/>
                      </a:lnTo>
                      <a:lnTo>
                        <a:pt x="268495" y="366584"/>
                      </a:lnTo>
                      <a:lnTo>
                        <a:pt x="268495" y="389940"/>
                      </a:lnTo>
                      <a:lnTo>
                        <a:pt x="268997" y="389940"/>
                      </a:lnTo>
                      <a:cubicBezTo>
                        <a:pt x="278373" y="372276"/>
                        <a:pt x="293024" y="363444"/>
                        <a:pt x="312948" y="363444"/>
                      </a:cubicBezTo>
                      <a:close/>
                      <a:moveTo>
                        <a:pt x="171938" y="363444"/>
                      </a:moveTo>
                      <a:cubicBezTo>
                        <a:pt x="187928" y="363444"/>
                        <a:pt x="200192" y="369053"/>
                        <a:pt x="208731" y="380271"/>
                      </a:cubicBezTo>
                      <a:cubicBezTo>
                        <a:pt x="217270" y="391489"/>
                        <a:pt x="221540" y="406809"/>
                        <a:pt x="221540" y="426231"/>
                      </a:cubicBezTo>
                      <a:lnTo>
                        <a:pt x="221540" y="431380"/>
                      </a:lnTo>
                      <a:lnTo>
                        <a:pt x="126355" y="431380"/>
                      </a:lnTo>
                      <a:cubicBezTo>
                        <a:pt x="126355" y="449044"/>
                        <a:pt x="130436" y="462857"/>
                        <a:pt x="138598" y="472819"/>
                      </a:cubicBezTo>
                      <a:cubicBezTo>
                        <a:pt x="146761" y="482781"/>
                        <a:pt x="157958" y="487762"/>
                        <a:pt x="172189" y="487762"/>
                      </a:cubicBezTo>
                      <a:cubicBezTo>
                        <a:pt x="186588" y="487762"/>
                        <a:pt x="200653" y="482446"/>
                        <a:pt x="214382" y="471814"/>
                      </a:cubicBezTo>
                      <a:lnTo>
                        <a:pt x="214382" y="484121"/>
                      </a:lnTo>
                      <a:cubicBezTo>
                        <a:pt x="201071" y="493581"/>
                        <a:pt x="186212" y="498311"/>
                        <a:pt x="169803" y="498311"/>
                      </a:cubicBezTo>
                      <a:cubicBezTo>
                        <a:pt x="153228" y="498311"/>
                        <a:pt x="139833" y="492367"/>
                        <a:pt x="129620" y="480479"/>
                      </a:cubicBezTo>
                      <a:cubicBezTo>
                        <a:pt x="119406" y="468591"/>
                        <a:pt x="114300" y="451806"/>
                        <a:pt x="114300" y="430124"/>
                      </a:cubicBezTo>
                      <a:cubicBezTo>
                        <a:pt x="114300" y="411372"/>
                        <a:pt x="119637" y="395570"/>
                        <a:pt x="130310" y="382720"/>
                      </a:cubicBezTo>
                      <a:cubicBezTo>
                        <a:pt x="140984" y="369870"/>
                        <a:pt x="154860" y="363444"/>
                        <a:pt x="171938" y="363444"/>
                      </a:cubicBezTo>
                      <a:close/>
                      <a:moveTo>
                        <a:pt x="64545" y="363444"/>
                      </a:moveTo>
                      <a:cubicBezTo>
                        <a:pt x="74339" y="363444"/>
                        <a:pt x="83841" y="365454"/>
                        <a:pt x="93050" y="369472"/>
                      </a:cubicBezTo>
                      <a:lnTo>
                        <a:pt x="93050" y="382532"/>
                      </a:lnTo>
                      <a:cubicBezTo>
                        <a:pt x="83841" y="376839"/>
                        <a:pt x="73753" y="373993"/>
                        <a:pt x="62787" y="373993"/>
                      </a:cubicBezTo>
                      <a:cubicBezTo>
                        <a:pt x="47718" y="373993"/>
                        <a:pt x="35495" y="379413"/>
                        <a:pt x="26119" y="390254"/>
                      </a:cubicBezTo>
                      <a:cubicBezTo>
                        <a:pt x="16743" y="401096"/>
                        <a:pt x="12055" y="415139"/>
                        <a:pt x="12055" y="432384"/>
                      </a:cubicBezTo>
                      <a:cubicBezTo>
                        <a:pt x="12055" y="449044"/>
                        <a:pt x="16346" y="462438"/>
                        <a:pt x="24926" y="472568"/>
                      </a:cubicBezTo>
                      <a:cubicBezTo>
                        <a:pt x="33507" y="482698"/>
                        <a:pt x="44830" y="487762"/>
                        <a:pt x="58894" y="487762"/>
                      </a:cubicBezTo>
                      <a:cubicBezTo>
                        <a:pt x="71786" y="487762"/>
                        <a:pt x="83004" y="484330"/>
                        <a:pt x="92548" y="477465"/>
                      </a:cubicBezTo>
                      <a:lnTo>
                        <a:pt x="92548" y="489520"/>
                      </a:lnTo>
                      <a:cubicBezTo>
                        <a:pt x="83004" y="495381"/>
                        <a:pt x="71619" y="498311"/>
                        <a:pt x="58392" y="498311"/>
                      </a:cubicBezTo>
                      <a:cubicBezTo>
                        <a:pt x="40895" y="498311"/>
                        <a:pt x="26789" y="492304"/>
                        <a:pt x="16073" y="480291"/>
                      </a:cubicBezTo>
                      <a:cubicBezTo>
                        <a:pt x="5358" y="468278"/>
                        <a:pt x="0" y="452560"/>
                        <a:pt x="0" y="433138"/>
                      </a:cubicBezTo>
                      <a:cubicBezTo>
                        <a:pt x="0" y="412711"/>
                        <a:pt x="6027" y="395989"/>
                        <a:pt x="18082" y="382971"/>
                      </a:cubicBezTo>
                      <a:cubicBezTo>
                        <a:pt x="30137" y="369953"/>
                        <a:pt x="45625" y="363444"/>
                        <a:pt x="64545" y="363444"/>
                      </a:cubicBezTo>
                      <a:close/>
                      <a:moveTo>
                        <a:pt x="1544795" y="363443"/>
                      </a:moveTo>
                      <a:cubicBezTo>
                        <a:pt x="1563715" y="363443"/>
                        <a:pt x="1577444" y="371271"/>
                        <a:pt x="1585983" y="386926"/>
                      </a:cubicBezTo>
                      <a:lnTo>
                        <a:pt x="1586485" y="386926"/>
                      </a:lnTo>
                      <a:lnTo>
                        <a:pt x="1586485" y="366583"/>
                      </a:lnTo>
                      <a:lnTo>
                        <a:pt x="1598038" y="366583"/>
                      </a:lnTo>
                      <a:lnTo>
                        <a:pt x="1598038" y="485627"/>
                      </a:lnTo>
                      <a:cubicBezTo>
                        <a:pt x="1598038" y="509821"/>
                        <a:pt x="1592764" y="527526"/>
                        <a:pt x="1582216" y="538744"/>
                      </a:cubicBezTo>
                      <a:cubicBezTo>
                        <a:pt x="1571668" y="549962"/>
                        <a:pt x="1555259" y="555571"/>
                        <a:pt x="1532991" y="555571"/>
                      </a:cubicBezTo>
                      <a:cubicBezTo>
                        <a:pt x="1520601" y="555571"/>
                        <a:pt x="1507834" y="552306"/>
                        <a:pt x="1494691" y="545776"/>
                      </a:cubicBezTo>
                      <a:lnTo>
                        <a:pt x="1494691" y="533721"/>
                      </a:lnTo>
                      <a:cubicBezTo>
                        <a:pt x="1508253" y="541256"/>
                        <a:pt x="1521103" y="545023"/>
                        <a:pt x="1533242" y="545023"/>
                      </a:cubicBezTo>
                      <a:cubicBezTo>
                        <a:pt x="1568738" y="545023"/>
                        <a:pt x="1586485" y="526271"/>
                        <a:pt x="1586485" y="488766"/>
                      </a:cubicBezTo>
                      <a:lnTo>
                        <a:pt x="1586485" y="472065"/>
                      </a:lnTo>
                      <a:lnTo>
                        <a:pt x="1585983" y="472065"/>
                      </a:lnTo>
                      <a:cubicBezTo>
                        <a:pt x="1575853" y="489561"/>
                        <a:pt x="1560408" y="498310"/>
                        <a:pt x="1539646" y="498310"/>
                      </a:cubicBezTo>
                      <a:cubicBezTo>
                        <a:pt x="1523824" y="498310"/>
                        <a:pt x="1510911" y="492575"/>
                        <a:pt x="1500907" y="481106"/>
                      </a:cubicBezTo>
                      <a:cubicBezTo>
                        <a:pt x="1490903" y="469637"/>
                        <a:pt x="1485901" y="453647"/>
                        <a:pt x="1485901" y="433137"/>
                      </a:cubicBezTo>
                      <a:cubicBezTo>
                        <a:pt x="1485901" y="412626"/>
                        <a:pt x="1491300" y="395883"/>
                        <a:pt x="1502100" y="382907"/>
                      </a:cubicBezTo>
                      <a:cubicBezTo>
                        <a:pt x="1512899" y="369931"/>
                        <a:pt x="1527131" y="363443"/>
                        <a:pt x="1544795" y="363443"/>
                      </a:cubicBezTo>
                      <a:close/>
                      <a:moveTo>
                        <a:pt x="2026495" y="329288"/>
                      </a:moveTo>
                      <a:lnTo>
                        <a:pt x="2026495" y="366584"/>
                      </a:lnTo>
                      <a:lnTo>
                        <a:pt x="2060400" y="366584"/>
                      </a:lnTo>
                      <a:lnTo>
                        <a:pt x="2060400" y="377132"/>
                      </a:lnTo>
                      <a:lnTo>
                        <a:pt x="2026495" y="377132"/>
                      </a:lnTo>
                      <a:lnTo>
                        <a:pt x="2026495" y="462020"/>
                      </a:lnTo>
                      <a:cubicBezTo>
                        <a:pt x="2026495" y="470894"/>
                        <a:pt x="2027897" y="477319"/>
                        <a:pt x="2030701" y="481295"/>
                      </a:cubicBezTo>
                      <a:cubicBezTo>
                        <a:pt x="2033506" y="485272"/>
                        <a:pt x="2038257" y="487260"/>
                        <a:pt x="2044954" y="487260"/>
                      </a:cubicBezTo>
                      <a:cubicBezTo>
                        <a:pt x="2049726" y="487260"/>
                        <a:pt x="2054874" y="485711"/>
                        <a:pt x="2060400" y="482614"/>
                      </a:cubicBezTo>
                      <a:lnTo>
                        <a:pt x="2060400" y="493413"/>
                      </a:lnTo>
                      <a:cubicBezTo>
                        <a:pt x="2054372" y="496260"/>
                        <a:pt x="2048721" y="497683"/>
                        <a:pt x="2043447" y="497683"/>
                      </a:cubicBezTo>
                      <a:cubicBezTo>
                        <a:pt x="2024444" y="497683"/>
                        <a:pt x="2014942" y="486297"/>
                        <a:pt x="2014942" y="463527"/>
                      </a:cubicBezTo>
                      <a:lnTo>
                        <a:pt x="2014942" y="377132"/>
                      </a:lnTo>
                      <a:lnTo>
                        <a:pt x="1991836" y="377132"/>
                      </a:lnTo>
                      <a:lnTo>
                        <a:pt x="1991836" y="366584"/>
                      </a:lnTo>
                      <a:lnTo>
                        <a:pt x="2014942" y="366584"/>
                      </a:lnTo>
                      <a:lnTo>
                        <a:pt x="2014942" y="333181"/>
                      </a:lnTo>
                      <a:cubicBezTo>
                        <a:pt x="2016784" y="332511"/>
                        <a:pt x="2018709" y="331842"/>
                        <a:pt x="2020718" y="331172"/>
                      </a:cubicBezTo>
                      <a:cubicBezTo>
                        <a:pt x="2022727" y="330586"/>
                        <a:pt x="2024653" y="329958"/>
                        <a:pt x="2026495" y="329288"/>
                      </a:cubicBezTo>
                      <a:close/>
                      <a:moveTo>
                        <a:pt x="1035895" y="329288"/>
                      </a:moveTo>
                      <a:lnTo>
                        <a:pt x="1035895" y="366584"/>
                      </a:lnTo>
                      <a:lnTo>
                        <a:pt x="1069800" y="366584"/>
                      </a:lnTo>
                      <a:lnTo>
                        <a:pt x="1069800" y="377132"/>
                      </a:lnTo>
                      <a:lnTo>
                        <a:pt x="1035895" y="377132"/>
                      </a:lnTo>
                      <a:lnTo>
                        <a:pt x="1035895" y="462020"/>
                      </a:lnTo>
                      <a:cubicBezTo>
                        <a:pt x="1035895" y="470894"/>
                        <a:pt x="1037298" y="477319"/>
                        <a:pt x="1040102" y="481295"/>
                      </a:cubicBezTo>
                      <a:cubicBezTo>
                        <a:pt x="1042907" y="485272"/>
                        <a:pt x="1047658" y="487260"/>
                        <a:pt x="1054355" y="487260"/>
                      </a:cubicBezTo>
                      <a:cubicBezTo>
                        <a:pt x="1059127" y="487260"/>
                        <a:pt x="1064275" y="485711"/>
                        <a:pt x="1069800" y="482614"/>
                      </a:cubicBezTo>
                      <a:lnTo>
                        <a:pt x="1069800" y="493413"/>
                      </a:lnTo>
                      <a:cubicBezTo>
                        <a:pt x="1063773" y="496260"/>
                        <a:pt x="1058122" y="497683"/>
                        <a:pt x="1052848" y="497683"/>
                      </a:cubicBezTo>
                      <a:cubicBezTo>
                        <a:pt x="1033845" y="497683"/>
                        <a:pt x="1024343" y="486297"/>
                        <a:pt x="1024343" y="463527"/>
                      </a:cubicBezTo>
                      <a:lnTo>
                        <a:pt x="1024343" y="377132"/>
                      </a:lnTo>
                      <a:lnTo>
                        <a:pt x="1001237" y="377132"/>
                      </a:lnTo>
                      <a:lnTo>
                        <a:pt x="1001237" y="366584"/>
                      </a:lnTo>
                      <a:lnTo>
                        <a:pt x="1024343" y="366584"/>
                      </a:lnTo>
                      <a:lnTo>
                        <a:pt x="1024343" y="333181"/>
                      </a:lnTo>
                      <a:cubicBezTo>
                        <a:pt x="1026185" y="332511"/>
                        <a:pt x="1028110" y="331842"/>
                        <a:pt x="1030119" y="331172"/>
                      </a:cubicBezTo>
                      <a:cubicBezTo>
                        <a:pt x="1032128" y="330586"/>
                        <a:pt x="1034054" y="329958"/>
                        <a:pt x="1035895" y="329288"/>
                      </a:cubicBezTo>
                      <a:close/>
                      <a:moveTo>
                        <a:pt x="1443694" y="315097"/>
                      </a:moveTo>
                      <a:cubicBezTo>
                        <a:pt x="1446289" y="315097"/>
                        <a:pt x="1448571" y="315935"/>
                        <a:pt x="1450538" y="317609"/>
                      </a:cubicBezTo>
                      <a:cubicBezTo>
                        <a:pt x="1452505" y="319283"/>
                        <a:pt x="1453489" y="321544"/>
                        <a:pt x="1453489" y="324390"/>
                      </a:cubicBezTo>
                      <a:cubicBezTo>
                        <a:pt x="1453489" y="327069"/>
                        <a:pt x="1452526" y="329371"/>
                        <a:pt x="1450601" y="331297"/>
                      </a:cubicBezTo>
                      <a:cubicBezTo>
                        <a:pt x="1448675" y="333222"/>
                        <a:pt x="1446373" y="334185"/>
                        <a:pt x="1443694" y="334185"/>
                      </a:cubicBezTo>
                      <a:cubicBezTo>
                        <a:pt x="1441183" y="334185"/>
                        <a:pt x="1438964" y="333264"/>
                        <a:pt x="1437039" y="331422"/>
                      </a:cubicBezTo>
                      <a:cubicBezTo>
                        <a:pt x="1435113" y="329580"/>
                        <a:pt x="1434150" y="327236"/>
                        <a:pt x="1434150" y="324390"/>
                      </a:cubicBezTo>
                      <a:cubicBezTo>
                        <a:pt x="1434150" y="321627"/>
                        <a:pt x="1435134" y="319388"/>
                        <a:pt x="1437101" y="317672"/>
                      </a:cubicBezTo>
                      <a:cubicBezTo>
                        <a:pt x="1439069" y="315956"/>
                        <a:pt x="1441266" y="315097"/>
                        <a:pt x="1443694" y="315097"/>
                      </a:cubicBezTo>
                      <a:close/>
                      <a:moveTo>
                        <a:pt x="967444" y="315097"/>
                      </a:moveTo>
                      <a:cubicBezTo>
                        <a:pt x="970039" y="315097"/>
                        <a:pt x="972320" y="315935"/>
                        <a:pt x="974288" y="317609"/>
                      </a:cubicBezTo>
                      <a:cubicBezTo>
                        <a:pt x="976255" y="319283"/>
                        <a:pt x="977239" y="321544"/>
                        <a:pt x="977239" y="324390"/>
                      </a:cubicBezTo>
                      <a:cubicBezTo>
                        <a:pt x="977239" y="327069"/>
                        <a:pt x="976276" y="329371"/>
                        <a:pt x="974351" y="331297"/>
                      </a:cubicBezTo>
                      <a:cubicBezTo>
                        <a:pt x="972425" y="333222"/>
                        <a:pt x="970123" y="334185"/>
                        <a:pt x="967444" y="334185"/>
                      </a:cubicBezTo>
                      <a:cubicBezTo>
                        <a:pt x="964933" y="334185"/>
                        <a:pt x="962714" y="333264"/>
                        <a:pt x="960789" y="331422"/>
                      </a:cubicBezTo>
                      <a:cubicBezTo>
                        <a:pt x="958863" y="329580"/>
                        <a:pt x="957900" y="327236"/>
                        <a:pt x="957900" y="324390"/>
                      </a:cubicBezTo>
                      <a:cubicBezTo>
                        <a:pt x="957900" y="321627"/>
                        <a:pt x="958884" y="319388"/>
                        <a:pt x="960851" y="317672"/>
                      </a:cubicBezTo>
                      <a:cubicBezTo>
                        <a:pt x="962819" y="315956"/>
                        <a:pt x="965016" y="315097"/>
                        <a:pt x="967444" y="315097"/>
                      </a:cubicBezTo>
                      <a:close/>
                      <a:moveTo>
                        <a:pt x="1834135" y="304800"/>
                      </a:moveTo>
                      <a:lnTo>
                        <a:pt x="1845688" y="304800"/>
                      </a:lnTo>
                      <a:lnTo>
                        <a:pt x="1845688" y="495170"/>
                      </a:lnTo>
                      <a:lnTo>
                        <a:pt x="1834135" y="495170"/>
                      </a:lnTo>
                      <a:lnTo>
                        <a:pt x="1834135" y="471813"/>
                      </a:lnTo>
                      <a:lnTo>
                        <a:pt x="1833633" y="471813"/>
                      </a:lnTo>
                      <a:cubicBezTo>
                        <a:pt x="1829447" y="479934"/>
                        <a:pt x="1823252" y="486380"/>
                        <a:pt x="1815048" y="491152"/>
                      </a:cubicBezTo>
                      <a:cubicBezTo>
                        <a:pt x="1806844" y="495924"/>
                        <a:pt x="1797593" y="498310"/>
                        <a:pt x="1787296" y="498310"/>
                      </a:cubicBezTo>
                      <a:cubicBezTo>
                        <a:pt x="1771474" y="498310"/>
                        <a:pt x="1758561" y="492533"/>
                        <a:pt x="1748557" y="480980"/>
                      </a:cubicBezTo>
                      <a:cubicBezTo>
                        <a:pt x="1738553" y="469428"/>
                        <a:pt x="1733551" y="453480"/>
                        <a:pt x="1733551" y="433137"/>
                      </a:cubicBezTo>
                      <a:cubicBezTo>
                        <a:pt x="1733551" y="412375"/>
                        <a:pt x="1739013" y="395569"/>
                        <a:pt x="1749938" y="382719"/>
                      </a:cubicBezTo>
                      <a:cubicBezTo>
                        <a:pt x="1760863" y="369869"/>
                        <a:pt x="1775032" y="363443"/>
                        <a:pt x="1792445" y="363443"/>
                      </a:cubicBezTo>
                      <a:cubicBezTo>
                        <a:pt x="1811699" y="363443"/>
                        <a:pt x="1825429" y="371355"/>
                        <a:pt x="1833633" y="387177"/>
                      </a:cubicBezTo>
                      <a:lnTo>
                        <a:pt x="1834135" y="387177"/>
                      </a:lnTo>
                      <a:close/>
                      <a:moveTo>
                        <a:pt x="1295167" y="304800"/>
                      </a:moveTo>
                      <a:lnTo>
                        <a:pt x="1306720" y="304800"/>
                      </a:lnTo>
                      <a:lnTo>
                        <a:pt x="1306720" y="393079"/>
                      </a:lnTo>
                      <a:lnTo>
                        <a:pt x="1307222" y="393079"/>
                      </a:lnTo>
                      <a:cubicBezTo>
                        <a:pt x="1311827" y="383619"/>
                        <a:pt x="1318419" y="376315"/>
                        <a:pt x="1327000" y="371166"/>
                      </a:cubicBezTo>
                      <a:cubicBezTo>
                        <a:pt x="1335581" y="366018"/>
                        <a:pt x="1345020" y="363443"/>
                        <a:pt x="1355317" y="363443"/>
                      </a:cubicBezTo>
                      <a:cubicBezTo>
                        <a:pt x="1371642" y="363443"/>
                        <a:pt x="1384387" y="369073"/>
                        <a:pt x="1393554" y="380333"/>
                      </a:cubicBezTo>
                      <a:cubicBezTo>
                        <a:pt x="1402721" y="391593"/>
                        <a:pt x="1407305" y="406892"/>
                        <a:pt x="1407305" y="426230"/>
                      </a:cubicBezTo>
                      <a:cubicBezTo>
                        <a:pt x="1407305" y="447745"/>
                        <a:pt x="1401989" y="465137"/>
                        <a:pt x="1391357" y="478406"/>
                      </a:cubicBezTo>
                      <a:cubicBezTo>
                        <a:pt x="1380725" y="491675"/>
                        <a:pt x="1366912" y="498310"/>
                        <a:pt x="1349917" y="498310"/>
                      </a:cubicBezTo>
                      <a:cubicBezTo>
                        <a:pt x="1330663" y="498310"/>
                        <a:pt x="1316431" y="489645"/>
                        <a:pt x="1307222" y="472316"/>
                      </a:cubicBezTo>
                      <a:lnTo>
                        <a:pt x="1306720" y="472316"/>
                      </a:lnTo>
                      <a:lnTo>
                        <a:pt x="1306720" y="495170"/>
                      </a:lnTo>
                      <a:lnTo>
                        <a:pt x="1295167" y="495170"/>
                      </a:lnTo>
                      <a:close/>
                      <a:moveTo>
                        <a:pt x="1095142" y="304800"/>
                      </a:moveTo>
                      <a:lnTo>
                        <a:pt x="1106695" y="304800"/>
                      </a:lnTo>
                      <a:lnTo>
                        <a:pt x="1106695" y="389688"/>
                      </a:lnTo>
                      <a:lnTo>
                        <a:pt x="1107197" y="389688"/>
                      </a:lnTo>
                      <a:cubicBezTo>
                        <a:pt x="1117327" y="372192"/>
                        <a:pt x="1132061" y="363443"/>
                        <a:pt x="1151399" y="363443"/>
                      </a:cubicBezTo>
                      <a:cubicBezTo>
                        <a:pt x="1165296" y="363443"/>
                        <a:pt x="1175886" y="367922"/>
                        <a:pt x="1183169" y="376880"/>
                      </a:cubicBezTo>
                      <a:cubicBezTo>
                        <a:pt x="1190453" y="385837"/>
                        <a:pt x="1194094" y="398688"/>
                        <a:pt x="1194094" y="415431"/>
                      </a:cubicBezTo>
                      <a:lnTo>
                        <a:pt x="1194094" y="495170"/>
                      </a:lnTo>
                      <a:lnTo>
                        <a:pt x="1182542" y="495170"/>
                      </a:lnTo>
                      <a:lnTo>
                        <a:pt x="1182542" y="418068"/>
                      </a:lnTo>
                      <a:cubicBezTo>
                        <a:pt x="1182542" y="402832"/>
                        <a:pt x="1179779" y="391677"/>
                        <a:pt x="1174254" y="384603"/>
                      </a:cubicBezTo>
                      <a:cubicBezTo>
                        <a:pt x="1168728" y="377529"/>
                        <a:pt x="1160106" y="373992"/>
                        <a:pt x="1148386" y="373992"/>
                      </a:cubicBezTo>
                      <a:cubicBezTo>
                        <a:pt x="1137335" y="373992"/>
                        <a:pt x="1127624" y="378303"/>
                        <a:pt x="1119252" y="386926"/>
                      </a:cubicBezTo>
                      <a:cubicBezTo>
                        <a:pt x="1110881" y="395548"/>
                        <a:pt x="1106695" y="407896"/>
                        <a:pt x="1106695" y="423970"/>
                      </a:cubicBezTo>
                      <a:lnTo>
                        <a:pt x="1106695" y="495170"/>
                      </a:lnTo>
                      <a:lnTo>
                        <a:pt x="1095142" y="495170"/>
                      </a:lnTo>
                      <a:close/>
                      <a:moveTo>
                        <a:pt x="2581694" y="121180"/>
                      </a:moveTo>
                      <a:lnTo>
                        <a:pt x="2546282" y="126329"/>
                      </a:lnTo>
                      <a:cubicBezTo>
                        <a:pt x="2532804" y="128254"/>
                        <a:pt x="2523345" y="131373"/>
                        <a:pt x="2517903" y="135684"/>
                      </a:cubicBezTo>
                      <a:cubicBezTo>
                        <a:pt x="2512461" y="139995"/>
                        <a:pt x="2509740" y="147006"/>
                        <a:pt x="2509740" y="156717"/>
                      </a:cubicBezTo>
                      <a:cubicBezTo>
                        <a:pt x="2509740" y="164336"/>
                        <a:pt x="2512273" y="170614"/>
                        <a:pt x="2517338" y="175554"/>
                      </a:cubicBezTo>
                      <a:cubicBezTo>
                        <a:pt x="2522403" y="180493"/>
                        <a:pt x="2529456" y="182962"/>
                        <a:pt x="2538497" y="182962"/>
                      </a:cubicBezTo>
                      <a:cubicBezTo>
                        <a:pt x="2550887" y="182962"/>
                        <a:pt x="2561184" y="178379"/>
                        <a:pt x="2569388" y="169212"/>
                      </a:cubicBezTo>
                      <a:cubicBezTo>
                        <a:pt x="2577592" y="160045"/>
                        <a:pt x="2581694" y="148220"/>
                        <a:pt x="2581694" y="133737"/>
                      </a:cubicBezTo>
                      <a:close/>
                      <a:moveTo>
                        <a:pt x="2790811" y="69193"/>
                      </a:moveTo>
                      <a:cubicBezTo>
                        <a:pt x="2778756" y="69193"/>
                        <a:pt x="2768772" y="73232"/>
                        <a:pt x="2760861" y="81310"/>
                      </a:cubicBezTo>
                      <a:cubicBezTo>
                        <a:pt x="2752950" y="89389"/>
                        <a:pt x="2748074" y="100963"/>
                        <a:pt x="2746232" y="116032"/>
                      </a:cubicBezTo>
                      <a:lnTo>
                        <a:pt x="2828860" y="116032"/>
                      </a:lnTo>
                      <a:cubicBezTo>
                        <a:pt x="2828357" y="101214"/>
                        <a:pt x="2824799" y="89703"/>
                        <a:pt x="2818186" y="81499"/>
                      </a:cubicBezTo>
                      <a:cubicBezTo>
                        <a:pt x="2811572" y="73295"/>
                        <a:pt x="2802447" y="69193"/>
                        <a:pt x="2790811" y="69193"/>
                      </a:cubicBezTo>
                      <a:close/>
                      <a:moveTo>
                        <a:pt x="2219311" y="69193"/>
                      </a:moveTo>
                      <a:cubicBezTo>
                        <a:pt x="2207256" y="69193"/>
                        <a:pt x="2197272" y="73232"/>
                        <a:pt x="2189361" y="81310"/>
                      </a:cubicBezTo>
                      <a:cubicBezTo>
                        <a:pt x="2181450" y="89389"/>
                        <a:pt x="2176574" y="100963"/>
                        <a:pt x="2174732" y="116032"/>
                      </a:cubicBezTo>
                      <a:lnTo>
                        <a:pt x="2257360" y="116032"/>
                      </a:lnTo>
                      <a:cubicBezTo>
                        <a:pt x="2256858" y="101214"/>
                        <a:pt x="2253299" y="89703"/>
                        <a:pt x="2246686" y="81499"/>
                      </a:cubicBezTo>
                      <a:cubicBezTo>
                        <a:pt x="2240072" y="73295"/>
                        <a:pt x="2230947" y="69193"/>
                        <a:pt x="2219311" y="69193"/>
                      </a:cubicBezTo>
                      <a:close/>
                      <a:moveTo>
                        <a:pt x="1238236" y="69193"/>
                      </a:moveTo>
                      <a:cubicBezTo>
                        <a:pt x="1226181" y="69193"/>
                        <a:pt x="1216198" y="73232"/>
                        <a:pt x="1208287" y="81310"/>
                      </a:cubicBezTo>
                      <a:cubicBezTo>
                        <a:pt x="1200375" y="89389"/>
                        <a:pt x="1195499" y="100963"/>
                        <a:pt x="1193657" y="116032"/>
                      </a:cubicBezTo>
                      <a:lnTo>
                        <a:pt x="1276285" y="116032"/>
                      </a:lnTo>
                      <a:cubicBezTo>
                        <a:pt x="1275782" y="101214"/>
                        <a:pt x="1272224" y="89703"/>
                        <a:pt x="1265611" y="81499"/>
                      </a:cubicBezTo>
                      <a:cubicBezTo>
                        <a:pt x="1258997" y="73295"/>
                        <a:pt x="1249872" y="69193"/>
                        <a:pt x="1238236" y="69193"/>
                      </a:cubicBezTo>
                      <a:close/>
                      <a:moveTo>
                        <a:pt x="676261" y="69193"/>
                      </a:moveTo>
                      <a:cubicBezTo>
                        <a:pt x="664206" y="69193"/>
                        <a:pt x="654223" y="73232"/>
                        <a:pt x="646311" y="81310"/>
                      </a:cubicBezTo>
                      <a:cubicBezTo>
                        <a:pt x="638400" y="89389"/>
                        <a:pt x="633524" y="100963"/>
                        <a:pt x="631682" y="116032"/>
                      </a:cubicBezTo>
                      <a:lnTo>
                        <a:pt x="714310" y="116032"/>
                      </a:lnTo>
                      <a:cubicBezTo>
                        <a:pt x="713807" y="101214"/>
                        <a:pt x="710249" y="89703"/>
                        <a:pt x="703636" y="81499"/>
                      </a:cubicBezTo>
                      <a:cubicBezTo>
                        <a:pt x="697022" y="73295"/>
                        <a:pt x="687897" y="69193"/>
                        <a:pt x="676261" y="69193"/>
                      </a:cubicBezTo>
                      <a:close/>
                      <a:moveTo>
                        <a:pt x="423733" y="69193"/>
                      </a:moveTo>
                      <a:cubicBezTo>
                        <a:pt x="408581" y="69193"/>
                        <a:pt x="396504" y="74299"/>
                        <a:pt x="387505" y="84513"/>
                      </a:cubicBezTo>
                      <a:cubicBezTo>
                        <a:pt x="378506" y="94726"/>
                        <a:pt x="374006" y="108916"/>
                        <a:pt x="374006" y="127082"/>
                      </a:cubicBezTo>
                      <a:cubicBezTo>
                        <a:pt x="374006" y="143909"/>
                        <a:pt x="378401" y="157429"/>
                        <a:pt x="387191" y="167642"/>
                      </a:cubicBezTo>
                      <a:cubicBezTo>
                        <a:pt x="395981" y="177856"/>
                        <a:pt x="407994" y="182962"/>
                        <a:pt x="423231" y="182962"/>
                      </a:cubicBezTo>
                      <a:cubicBezTo>
                        <a:pt x="438718" y="182962"/>
                        <a:pt x="450648" y="177939"/>
                        <a:pt x="459019" y="167894"/>
                      </a:cubicBezTo>
                      <a:cubicBezTo>
                        <a:pt x="467391" y="157848"/>
                        <a:pt x="471577" y="143909"/>
                        <a:pt x="471577" y="126077"/>
                      </a:cubicBezTo>
                      <a:cubicBezTo>
                        <a:pt x="471577" y="107744"/>
                        <a:pt x="467412" y="93679"/>
                        <a:pt x="459082" y="83885"/>
                      </a:cubicBezTo>
                      <a:cubicBezTo>
                        <a:pt x="450752" y="74090"/>
                        <a:pt x="438969" y="69193"/>
                        <a:pt x="423733" y="69193"/>
                      </a:cubicBezTo>
                      <a:close/>
                      <a:moveTo>
                        <a:pt x="2363461" y="69192"/>
                      </a:moveTo>
                      <a:cubicBezTo>
                        <a:pt x="2348476" y="69192"/>
                        <a:pt x="2336881" y="74215"/>
                        <a:pt x="2328677" y="84260"/>
                      </a:cubicBezTo>
                      <a:cubicBezTo>
                        <a:pt x="2320473" y="94306"/>
                        <a:pt x="2316371" y="106110"/>
                        <a:pt x="2316371" y="119672"/>
                      </a:cubicBezTo>
                      <a:lnTo>
                        <a:pt x="2316371" y="135871"/>
                      </a:lnTo>
                      <a:cubicBezTo>
                        <a:pt x="2316371" y="148763"/>
                        <a:pt x="2320431" y="159835"/>
                        <a:pt x="2328552" y="169085"/>
                      </a:cubicBezTo>
                      <a:cubicBezTo>
                        <a:pt x="2336672" y="178336"/>
                        <a:pt x="2347346" y="182961"/>
                        <a:pt x="2360573" y="182961"/>
                      </a:cubicBezTo>
                      <a:cubicBezTo>
                        <a:pt x="2373716" y="182961"/>
                        <a:pt x="2384390" y="177331"/>
                        <a:pt x="2392594" y="166072"/>
                      </a:cubicBezTo>
                      <a:cubicBezTo>
                        <a:pt x="2400798" y="154812"/>
                        <a:pt x="2404900" y="140015"/>
                        <a:pt x="2404900" y="121681"/>
                      </a:cubicBezTo>
                      <a:cubicBezTo>
                        <a:pt x="2404900" y="105608"/>
                        <a:pt x="2401133" y="92841"/>
                        <a:pt x="2393599" y="83381"/>
                      </a:cubicBezTo>
                      <a:cubicBezTo>
                        <a:pt x="2386064" y="73922"/>
                        <a:pt x="2376018" y="69192"/>
                        <a:pt x="2363461" y="69192"/>
                      </a:cubicBezTo>
                      <a:close/>
                      <a:moveTo>
                        <a:pt x="1866668" y="61784"/>
                      </a:moveTo>
                      <a:lnTo>
                        <a:pt x="1878221" y="61784"/>
                      </a:lnTo>
                      <a:lnTo>
                        <a:pt x="1878221" y="190371"/>
                      </a:lnTo>
                      <a:lnTo>
                        <a:pt x="1866668" y="190371"/>
                      </a:lnTo>
                      <a:close/>
                      <a:moveTo>
                        <a:pt x="1679270" y="61784"/>
                      </a:moveTo>
                      <a:lnTo>
                        <a:pt x="1692079" y="61784"/>
                      </a:lnTo>
                      <a:lnTo>
                        <a:pt x="1721965" y="164377"/>
                      </a:lnTo>
                      <a:cubicBezTo>
                        <a:pt x="1722719" y="167056"/>
                        <a:pt x="1723305" y="170656"/>
                        <a:pt x="1723723" y="175177"/>
                      </a:cubicBezTo>
                      <a:lnTo>
                        <a:pt x="1724728" y="175177"/>
                      </a:lnTo>
                      <a:cubicBezTo>
                        <a:pt x="1724895" y="172749"/>
                        <a:pt x="1725691" y="169149"/>
                        <a:pt x="1727114" y="164377"/>
                      </a:cubicBezTo>
                      <a:lnTo>
                        <a:pt x="1759763" y="61784"/>
                      </a:lnTo>
                      <a:lnTo>
                        <a:pt x="1767674" y="61784"/>
                      </a:lnTo>
                      <a:lnTo>
                        <a:pt x="1796807" y="164377"/>
                      </a:lnTo>
                      <a:cubicBezTo>
                        <a:pt x="1797477" y="166805"/>
                        <a:pt x="1798063" y="170405"/>
                        <a:pt x="1798565" y="175177"/>
                      </a:cubicBezTo>
                      <a:lnTo>
                        <a:pt x="1799570" y="175177"/>
                      </a:lnTo>
                      <a:cubicBezTo>
                        <a:pt x="1799570" y="172749"/>
                        <a:pt x="1800282" y="169149"/>
                        <a:pt x="1801705" y="164377"/>
                      </a:cubicBezTo>
                      <a:lnTo>
                        <a:pt x="1832219" y="61784"/>
                      </a:lnTo>
                      <a:lnTo>
                        <a:pt x="1844149" y="61784"/>
                      </a:lnTo>
                      <a:lnTo>
                        <a:pt x="1804216" y="190371"/>
                      </a:lnTo>
                      <a:lnTo>
                        <a:pt x="1793417" y="190371"/>
                      </a:lnTo>
                      <a:lnTo>
                        <a:pt x="1765414" y="93428"/>
                      </a:lnTo>
                      <a:cubicBezTo>
                        <a:pt x="1764660" y="90749"/>
                        <a:pt x="1763991" y="87150"/>
                        <a:pt x="1763405" y="82629"/>
                      </a:cubicBezTo>
                      <a:lnTo>
                        <a:pt x="1762777" y="82629"/>
                      </a:lnTo>
                      <a:cubicBezTo>
                        <a:pt x="1762609" y="84554"/>
                        <a:pt x="1761772" y="88071"/>
                        <a:pt x="1760265" y="93177"/>
                      </a:cubicBezTo>
                      <a:lnTo>
                        <a:pt x="1728872" y="190371"/>
                      </a:lnTo>
                      <a:lnTo>
                        <a:pt x="1718073" y="190371"/>
                      </a:lnTo>
                      <a:close/>
                      <a:moveTo>
                        <a:pt x="496036" y="61784"/>
                      </a:moveTo>
                      <a:lnTo>
                        <a:pt x="508970" y="61784"/>
                      </a:lnTo>
                      <a:lnTo>
                        <a:pt x="547270" y="164126"/>
                      </a:lnTo>
                      <a:cubicBezTo>
                        <a:pt x="549111" y="169066"/>
                        <a:pt x="550409" y="173544"/>
                        <a:pt x="551162" y="177563"/>
                      </a:cubicBezTo>
                      <a:lnTo>
                        <a:pt x="551665" y="177563"/>
                      </a:lnTo>
                      <a:cubicBezTo>
                        <a:pt x="552753" y="172289"/>
                        <a:pt x="553967" y="167977"/>
                        <a:pt x="555306" y="164629"/>
                      </a:cubicBezTo>
                      <a:lnTo>
                        <a:pt x="594862" y="61784"/>
                      </a:lnTo>
                      <a:lnTo>
                        <a:pt x="607419" y="61784"/>
                      </a:lnTo>
                      <a:lnTo>
                        <a:pt x="556311" y="190371"/>
                      </a:lnTo>
                      <a:lnTo>
                        <a:pt x="545763" y="190371"/>
                      </a:lnTo>
                      <a:close/>
                      <a:moveTo>
                        <a:pt x="2143111" y="59272"/>
                      </a:moveTo>
                      <a:cubicBezTo>
                        <a:pt x="2147882" y="59272"/>
                        <a:pt x="2152152" y="60026"/>
                        <a:pt x="2155919" y="61533"/>
                      </a:cubicBezTo>
                      <a:lnTo>
                        <a:pt x="2155919" y="73839"/>
                      </a:lnTo>
                      <a:cubicBezTo>
                        <a:pt x="2152068" y="71076"/>
                        <a:pt x="2147548" y="69695"/>
                        <a:pt x="2142357" y="69695"/>
                      </a:cubicBezTo>
                      <a:cubicBezTo>
                        <a:pt x="2132228" y="69695"/>
                        <a:pt x="2123730" y="74927"/>
                        <a:pt x="2116866" y="85392"/>
                      </a:cubicBezTo>
                      <a:cubicBezTo>
                        <a:pt x="2110001" y="95856"/>
                        <a:pt x="2106569" y="110716"/>
                        <a:pt x="2106569" y="129970"/>
                      </a:cubicBezTo>
                      <a:lnTo>
                        <a:pt x="2106569" y="190371"/>
                      </a:lnTo>
                      <a:lnTo>
                        <a:pt x="2095267" y="190371"/>
                      </a:lnTo>
                      <a:lnTo>
                        <a:pt x="2095267" y="61784"/>
                      </a:lnTo>
                      <a:lnTo>
                        <a:pt x="2106569" y="61784"/>
                      </a:lnTo>
                      <a:lnTo>
                        <a:pt x="2106569" y="90289"/>
                      </a:lnTo>
                      <a:lnTo>
                        <a:pt x="2107071" y="90289"/>
                      </a:lnTo>
                      <a:cubicBezTo>
                        <a:pt x="2110001" y="80494"/>
                        <a:pt x="2114647" y="72876"/>
                        <a:pt x="2121010" y="67435"/>
                      </a:cubicBezTo>
                      <a:cubicBezTo>
                        <a:pt x="2127372" y="61993"/>
                        <a:pt x="2134739" y="59272"/>
                        <a:pt x="2143111" y="59272"/>
                      </a:cubicBezTo>
                      <a:close/>
                      <a:moveTo>
                        <a:pt x="809611" y="59272"/>
                      </a:moveTo>
                      <a:cubicBezTo>
                        <a:pt x="814383" y="59272"/>
                        <a:pt x="818652" y="60026"/>
                        <a:pt x="822419" y="61533"/>
                      </a:cubicBezTo>
                      <a:lnTo>
                        <a:pt x="822419" y="73839"/>
                      </a:lnTo>
                      <a:cubicBezTo>
                        <a:pt x="818568" y="71076"/>
                        <a:pt x="814048" y="69695"/>
                        <a:pt x="808858" y="69695"/>
                      </a:cubicBezTo>
                      <a:cubicBezTo>
                        <a:pt x="798728" y="69695"/>
                        <a:pt x="790231" y="74927"/>
                        <a:pt x="783366" y="85392"/>
                      </a:cubicBezTo>
                      <a:cubicBezTo>
                        <a:pt x="776501" y="95856"/>
                        <a:pt x="773069" y="110716"/>
                        <a:pt x="773069" y="129970"/>
                      </a:cubicBezTo>
                      <a:lnTo>
                        <a:pt x="773069" y="190371"/>
                      </a:lnTo>
                      <a:lnTo>
                        <a:pt x="761767" y="190371"/>
                      </a:lnTo>
                      <a:lnTo>
                        <a:pt x="761767" y="61784"/>
                      </a:lnTo>
                      <a:lnTo>
                        <a:pt x="773069" y="61784"/>
                      </a:lnTo>
                      <a:lnTo>
                        <a:pt x="773069" y="90289"/>
                      </a:lnTo>
                      <a:lnTo>
                        <a:pt x="773571" y="90289"/>
                      </a:lnTo>
                      <a:cubicBezTo>
                        <a:pt x="776501" y="80494"/>
                        <a:pt x="781147" y="72876"/>
                        <a:pt x="787510" y="67435"/>
                      </a:cubicBezTo>
                      <a:cubicBezTo>
                        <a:pt x="793872" y="61993"/>
                        <a:pt x="801239" y="59272"/>
                        <a:pt x="809611" y="59272"/>
                      </a:cubicBezTo>
                      <a:close/>
                      <a:moveTo>
                        <a:pt x="2791313" y="58644"/>
                      </a:moveTo>
                      <a:cubicBezTo>
                        <a:pt x="2807303" y="58644"/>
                        <a:pt x="2819567" y="64253"/>
                        <a:pt x="2828106" y="75471"/>
                      </a:cubicBezTo>
                      <a:cubicBezTo>
                        <a:pt x="2836645" y="86689"/>
                        <a:pt x="2840915" y="102009"/>
                        <a:pt x="2840915" y="121431"/>
                      </a:cubicBezTo>
                      <a:lnTo>
                        <a:pt x="2840915" y="126580"/>
                      </a:lnTo>
                      <a:lnTo>
                        <a:pt x="2745730" y="126580"/>
                      </a:lnTo>
                      <a:cubicBezTo>
                        <a:pt x="2745730" y="144244"/>
                        <a:pt x="2749811" y="158057"/>
                        <a:pt x="2757973" y="168019"/>
                      </a:cubicBezTo>
                      <a:cubicBezTo>
                        <a:pt x="2766135" y="177981"/>
                        <a:pt x="2777332" y="182962"/>
                        <a:pt x="2791564" y="182962"/>
                      </a:cubicBezTo>
                      <a:cubicBezTo>
                        <a:pt x="2805963" y="182962"/>
                        <a:pt x="2820027" y="177646"/>
                        <a:pt x="2833757" y="167015"/>
                      </a:cubicBezTo>
                      <a:lnTo>
                        <a:pt x="2833757" y="179321"/>
                      </a:lnTo>
                      <a:cubicBezTo>
                        <a:pt x="2820446" y="188781"/>
                        <a:pt x="2805587" y="193511"/>
                        <a:pt x="2789178" y="193511"/>
                      </a:cubicBezTo>
                      <a:cubicBezTo>
                        <a:pt x="2772602" y="193511"/>
                        <a:pt x="2759208" y="187567"/>
                        <a:pt x="2748995" y="175679"/>
                      </a:cubicBezTo>
                      <a:cubicBezTo>
                        <a:pt x="2738781" y="163791"/>
                        <a:pt x="2733675" y="147006"/>
                        <a:pt x="2733675" y="125324"/>
                      </a:cubicBezTo>
                      <a:cubicBezTo>
                        <a:pt x="2733675" y="106572"/>
                        <a:pt x="2739012" y="90770"/>
                        <a:pt x="2749685" y="77920"/>
                      </a:cubicBezTo>
                      <a:cubicBezTo>
                        <a:pt x="2760359" y="65070"/>
                        <a:pt x="2774235" y="58644"/>
                        <a:pt x="2791313" y="58644"/>
                      </a:cubicBezTo>
                      <a:close/>
                      <a:moveTo>
                        <a:pt x="2683920" y="58644"/>
                      </a:moveTo>
                      <a:cubicBezTo>
                        <a:pt x="2693714" y="58644"/>
                        <a:pt x="2703216" y="60654"/>
                        <a:pt x="2712425" y="64672"/>
                      </a:cubicBezTo>
                      <a:lnTo>
                        <a:pt x="2712425" y="77732"/>
                      </a:lnTo>
                      <a:cubicBezTo>
                        <a:pt x="2703216" y="72039"/>
                        <a:pt x="2693128" y="69193"/>
                        <a:pt x="2682161" y="69193"/>
                      </a:cubicBezTo>
                      <a:cubicBezTo>
                        <a:pt x="2667093" y="69193"/>
                        <a:pt x="2654870" y="74613"/>
                        <a:pt x="2645494" y="85454"/>
                      </a:cubicBezTo>
                      <a:cubicBezTo>
                        <a:pt x="2636118" y="96296"/>
                        <a:pt x="2631430" y="110339"/>
                        <a:pt x="2631430" y="127584"/>
                      </a:cubicBezTo>
                      <a:cubicBezTo>
                        <a:pt x="2631430" y="144244"/>
                        <a:pt x="2635720" y="157638"/>
                        <a:pt x="2644301" y="167768"/>
                      </a:cubicBezTo>
                      <a:cubicBezTo>
                        <a:pt x="2652882" y="177898"/>
                        <a:pt x="2664204" y="182962"/>
                        <a:pt x="2678269" y="182962"/>
                      </a:cubicBezTo>
                      <a:cubicBezTo>
                        <a:pt x="2691161" y="182962"/>
                        <a:pt x="2702379" y="179530"/>
                        <a:pt x="2711922" y="172665"/>
                      </a:cubicBezTo>
                      <a:lnTo>
                        <a:pt x="2711922" y="184720"/>
                      </a:lnTo>
                      <a:cubicBezTo>
                        <a:pt x="2702379" y="190581"/>
                        <a:pt x="2690994" y="193511"/>
                        <a:pt x="2677766" y="193511"/>
                      </a:cubicBezTo>
                      <a:cubicBezTo>
                        <a:pt x="2660270" y="193511"/>
                        <a:pt x="2646164" y="187504"/>
                        <a:pt x="2635448" y="175491"/>
                      </a:cubicBezTo>
                      <a:cubicBezTo>
                        <a:pt x="2624732" y="163478"/>
                        <a:pt x="2619375" y="147760"/>
                        <a:pt x="2619375" y="128338"/>
                      </a:cubicBezTo>
                      <a:cubicBezTo>
                        <a:pt x="2619375" y="107911"/>
                        <a:pt x="2625402" y="91189"/>
                        <a:pt x="2637457" y="78171"/>
                      </a:cubicBezTo>
                      <a:cubicBezTo>
                        <a:pt x="2649512" y="65153"/>
                        <a:pt x="2665000" y="58644"/>
                        <a:pt x="2683920" y="58644"/>
                      </a:cubicBezTo>
                      <a:close/>
                      <a:moveTo>
                        <a:pt x="2551682" y="58644"/>
                      </a:moveTo>
                      <a:cubicBezTo>
                        <a:pt x="2564909" y="58644"/>
                        <a:pt x="2575144" y="62746"/>
                        <a:pt x="2582385" y="70951"/>
                      </a:cubicBezTo>
                      <a:cubicBezTo>
                        <a:pt x="2589626" y="79155"/>
                        <a:pt x="2593247" y="91084"/>
                        <a:pt x="2593247" y="106739"/>
                      </a:cubicBezTo>
                      <a:lnTo>
                        <a:pt x="2593247" y="190371"/>
                      </a:lnTo>
                      <a:lnTo>
                        <a:pt x="2581694" y="190371"/>
                      </a:lnTo>
                      <a:lnTo>
                        <a:pt x="2581694" y="164629"/>
                      </a:lnTo>
                      <a:lnTo>
                        <a:pt x="2581192" y="164629"/>
                      </a:lnTo>
                      <a:cubicBezTo>
                        <a:pt x="2577090" y="173419"/>
                        <a:pt x="2571125" y="180430"/>
                        <a:pt x="2563298" y="185662"/>
                      </a:cubicBezTo>
                      <a:cubicBezTo>
                        <a:pt x="2555470" y="190894"/>
                        <a:pt x="2546785" y="193511"/>
                        <a:pt x="2537241" y="193511"/>
                      </a:cubicBezTo>
                      <a:cubicBezTo>
                        <a:pt x="2525019" y="193511"/>
                        <a:pt x="2515349" y="190078"/>
                        <a:pt x="2508234" y="183214"/>
                      </a:cubicBezTo>
                      <a:cubicBezTo>
                        <a:pt x="2501118" y="176349"/>
                        <a:pt x="2497560" y="167684"/>
                        <a:pt x="2497560" y="157220"/>
                      </a:cubicBezTo>
                      <a:cubicBezTo>
                        <a:pt x="2497560" y="134784"/>
                        <a:pt x="2512420" y="121222"/>
                        <a:pt x="2542138" y="116534"/>
                      </a:cubicBezTo>
                      <a:lnTo>
                        <a:pt x="2581694" y="110632"/>
                      </a:lnTo>
                      <a:cubicBezTo>
                        <a:pt x="2581694" y="83006"/>
                        <a:pt x="2571314" y="69193"/>
                        <a:pt x="2550552" y="69193"/>
                      </a:cubicBezTo>
                      <a:cubicBezTo>
                        <a:pt x="2536404" y="69193"/>
                        <a:pt x="2522633" y="74885"/>
                        <a:pt x="2509238" y="86271"/>
                      </a:cubicBezTo>
                      <a:lnTo>
                        <a:pt x="2509238" y="72332"/>
                      </a:lnTo>
                      <a:cubicBezTo>
                        <a:pt x="2514010" y="68565"/>
                        <a:pt x="2520477" y="65342"/>
                        <a:pt x="2528639" y="62663"/>
                      </a:cubicBezTo>
                      <a:cubicBezTo>
                        <a:pt x="2536802" y="59984"/>
                        <a:pt x="2544483" y="58644"/>
                        <a:pt x="2551682" y="58644"/>
                      </a:cubicBezTo>
                      <a:close/>
                      <a:moveTo>
                        <a:pt x="2219813" y="58644"/>
                      </a:moveTo>
                      <a:cubicBezTo>
                        <a:pt x="2235803" y="58644"/>
                        <a:pt x="2248067" y="64253"/>
                        <a:pt x="2256606" y="75471"/>
                      </a:cubicBezTo>
                      <a:cubicBezTo>
                        <a:pt x="2265145" y="86689"/>
                        <a:pt x="2269415" y="102009"/>
                        <a:pt x="2269415" y="121431"/>
                      </a:cubicBezTo>
                      <a:lnTo>
                        <a:pt x="2269415" y="126580"/>
                      </a:lnTo>
                      <a:lnTo>
                        <a:pt x="2174230" y="126580"/>
                      </a:lnTo>
                      <a:cubicBezTo>
                        <a:pt x="2174230" y="144244"/>
                        <a:pt x="2178311" y="158057"/>
                        <a:pt x="2186473" y="168019"/>
                      </a:cubicBezTo>
                      <a:cubicBezTo>
                        <a:pt x="2194635" y="177981"/>
                        <a:pt x="2205832" y="182962"/>
                        <a:pt x="2220064" y="182962"/>
                      </a:cubicBezTo>
                      <a:cubicBezTo>
                        <a:pt x="2234463" y="182962"/>
                        <a:pt x="2248527" y="177646"/>
                        <a:pt x="2262257" y="167015"/>
                      </a:cubicBezTo>
                      <a:lnTo>
                        <a:pt x="2262257" y="179321"/>
                      </a:lnTo>
                      <a:cubicBezTo>
                        <a:pt x="2248946" y="188781"/>
                        <a:pt x="2234087" y="193511"/>
                        <a:pt x="2217678" y="193511"/>
                      </a:cubicBezTo>
                      <a:cubicBezTo>
                        <a:pt x="2201102" y="193511"/>
                        <a:pt x="2187708" y="187567"/>
                        <a:pt x="2177495" y="175679"/>
                      </a:cubicBezTo>
                      <a:cubicBezTo>
                        <a:pt x="2167281" y="163791"/>
                        <a:pt x="2162175" y="147006"/>
                        <a:pt x="2162175" y="125324"/>
                      </a:cubicBezTo>
                      <a:cubicBezTo>
                        <a:pt x="2162175" y="106572"/>
                        <a:pt x="2167512" y="90770"/>
                        <a:pt x="2178185" y="77920"/>
                      </a:cubicBezTo>
                      <a:cubicBezTo>
                        <a:pt x="2188859" y="65070"/>
                        <a:pt x="2202735" y="58644"/>
                        <a:pt x="2219813" y="58644"/>
                      </a:cubicBezTo>
                      <a:close/>
                      <a:moveTo>
                        <a:pt x="1568704" y="58644"/>
                      </a:moveTo>
                      <a:cubicBezTo>
                        <a:pt x="1579755" y="58644"/>
                        <a:pt x="1589214" y="60905"/>
                        <a:pt x="1597084" y="65425"/>
                      </a:cubicBezTo>
                      <a:lnTo>
                        <a:pt x="1597084" y="78485"/>
                      </a:lnTo>
                      <a:cubicBezTo>
                        <a:pt x="1587540" y="72290"/>
                        <a:pt x="1577662" y="69193"/>
                        <a:pt x="1567448" y="69193"/>
                      </a:cubicBezTo>
                      <a:cubicBezTo>
                        <a:pt x="1558993" y="69193"/>
                        <a:pt x="1552170" y="71390"/>
                        <a:pt x="1546980" y="75785"/>
                      </a:cubicBezTo>
                      <a:cubicBezTo>
                        <a:pt x="1541789" y="80180"/>
                        <a:pt x="1539194" y="85894"/>
                        <a:pt x="1539194" y="92926"/>
                      </a:cubicBezTo>
                      <a:cubicBezTo>
                        <a:pt x="1539194" y="99037"/>
                        <a:pt x="1540827" y="103997"/>
                        <a:pt x="1544092" y="107807"/>
                      </a:cubicBezTo>
                      <a:cubicBezTo>
                        <a:pt x="1547357" y="111616"/>
                        <a:pt x="1554556" y="115990"/>
                        <a:pt x="1565690" y="120929"/>
                      </a:cubicBezTo>
                      <a:cubicBezTo>
                        <a:pt x="1579085" y="126957"/>
                        <a:pt x="1588294" y="132545"/>
                        <a:pt x="1593317" y="137693"/>
                      </a:cubicBezTo>
                      <a:cubicBezTo>
                        <a:pt x="1598339" y="142842"/>
                        <a:pt x="1600851" y="149685"/>
                        <a:pt x="1600851" y="158224"/>
                      </a:cubicBezTo>
                      <a:cubicBezTo>
                        <a:pt x="1600851" y="168438"/>
                        <a:pt x="1597021" y="176872"/>
                        <a:pt x="1589361" y="183527"/>
                      </a:cubicBezTo>
                      <a:cubicBezTo>
                        <a:pt x="1581701" y="190183"/>
                        <a:pt x="1571132" y="193511"/>
                        <a:pt x="1557654" y="193511"/>
                      </a:cubicBezTo>
                      <a:cubicBezTo>
                        <a:pt x="1545264" y="193511"/>
                        <a:pt x="1534925" y="190581"/>
                        <a:pt x="1526637" y="184720"/>
                      </a:cubicBezTo>
                      <a:lnTo>
                        <a:pt x="1526637" y="170782"/>
                      </a:lnTo>
                      <a:cubicBezTo>
                        <a:pt x="1530990" y="174549"/>
                        <a:pt x="1536264" y="177521"/>
                        <a:pt x="1542459" y="179697"/>
                      </a:cubicBezTo>
                      <a:cubicBezTo>
                        <a:pt x="1548654" y="181874"/>
                        <a:pt x="1554012" y="182962"/>
                        <a:pt x="1558533" y="182962"/>
                      </a:cubicBezTo>
                      <a:cubicBezTo>
                        <a:pt x="1578708" y="182962"/>
                        <a:pt x="1588796" y="174716"/>
                        <a:pt x="1588796" y="158224"/>
                      </a:cubicBezTo>
                      <a:cubicBezTo>
                        <a:pt x="1588796" y="152532"/>
                        <a:pt x="1586577" y="147676"/>
                        <a:pt x="1582140" y="143658"/>
                      </a:cubicBezTo>
                      <a:cubicBezTo>
                        <a:pt x="1577704" y="139639"/>
                        <a:pt x="1570504" y="135496"/>
                        <a:pt x="1560542" y="131226"/>
                      </a:cubicBezTo>
                      <a:cubicBezTo>
                        <a:pt x="1548236" y="125868"/>
                        <a:pt x="1539592" y="120322"/>
                        <a:pt x="1534611" y="114587"/>
                      </a:cubicBezTo>
                      <a:cubicBezTo>
                        <a:pt x="1529630" y="108853"/>
                        <a:pt x="1527139" y="101884"/>
                        <a:pt x="1527139" y="93679"/>
                      </a:cubicBezTo>
                      <a:cubicBezTo>
                        <a:pt x="1527139" y="83215"/>
                        <a:pt x="1531137" y="74760"/>
                        <a:pt x="1539131" y="68314"/>
                      </a:cubicBezTo>
                      <a:cubicBezTo>
                        <a:pt x="1547126" y="61867"/>
                        <a:pt x="1556984" y="58644"/>
                        <a:pt x="1568704" y="58644"/>
                      </a:cubicBezTo>
                      <a:close/>
                      <a:moveTo>
                        <a:pt x="1379748" y="58644"/>
                      </a:moveTo>
                      <a:cubicBezTo>
                        <a:pt x="1393645" y="58644"/>
                        <a:pt x="1404277" y="63270"/>
                        <a:pt x="1411644" y="72520"/>
                      </a:cubicBezTo>
                      <a:cubicBezTo>
                        <a:pt x="1419011" y="81771"/>
                        <a:pt x="1422694" y="94977"/>
                        <a:pt x="1422694" y="112139"/>
                      </a:cubicBezTo>
                      <a:lnTo>
                        <a:pt x="1422694" y="190371"/>
                      </a:lnTo>
                      <a:lnTo>
                        <a:pt x="1411142" y="190371"/>
                      </a:lnTo>
                      <a:lnTo>
                        <a:pt x="1411142" y="115529"/>
                      </a:lnTo>
                      <a:cubicBezTo>
                        <a:pt x="1411142" y="84638"/>
                        <a:pt x="1400007" y="69193"/>
                        <a:pt x="1377739" y="69193"/>
                      </a:cubicBezTo>
                      <a:cubicBezTo>
                        <a:pt x="1365349" y="69193"/>
                        <a:pt x="1355178" y="73734"/>
                        <a:pt x="1347225" y="82817"/>
                      </a:cubicBezTo>
                      <a:cubicBezTo>
                        <a:pt x="1339272" y="91901"/>
                        <a:pt x="1335295" y="103139"/>
                        <a:pt x="1335295" y="116534"/>
                      </a:cubicBezTo>
                      <a:lnTo>
                        <a:pt x="1335295" y="190371"/>
                      </a:lnTo>
                      <a:lnTo>
                        <a:pt x="1323742" y="190371"/>
                      </a:lnTo>
                      <a:lnTo>
                        <a:pt x="1323742" y="61784"/>
                      </a:lnTo>
                      <a:lnTo>
                        <a:pt x="1335295" y="61784"/>
                      </a:lnTo>
                      <a:lnTo>
                        <a:pt x="1335295" y="85140"/>
                      </a:lnTo>
                      <a:lnTo>
                        <a:pt x="1335797" y="85140"/>
                      </a:lnTo>
                      <a:cubicBezTo>
                        <a:pt x="1345174" y="67476"/>
                        <a:pt x="1359824" y="58644"/>
                        <a:pt x="1379748" y="58644"/>
                      </a:cubicBezTo>
                      <a:close/>
                      <a:moveTo>
                        <a:pt x="1238738" y="58644"/>
                      </a:moveTo>
                      <a:cubicBezTo>
                        <a:pt x="1254728" y="58644"/>
                        <a:pt x="1266992" y="64253"/>
                        <a:pt x="1275531" y="75471"/>
                      </a:cubicBezTo>
                      <a:cubicBezTo>
                        <a:pt x="1284070" y="86689"/>
                        <a:pt x="1288340" y="102009"/>
                        <a:pt x="1288340" y="121431"/>
                      </a:cubicBezTo>
                      <a:lnTo>
                        <a:pt x="1288340" y="126580"/>
                      </a:lnTo>
                      <a:lnTo>
                        <a:pt x="1193155" y="126580"/>
                      </a:lnTo>
                      <a:cubicBezTo>
                        <a:pt x="1193155" y="144244"/>
                        <a:pt x="1197236" y="158057"/>
                        <a:pt x="1205398" y="168019"/>
                      </a:cubicBezTo>
                      <a:cubicBezTo>
                        <a:pt x="1213561" y="177981"/>
                        <a:pt x="1224758" y="182962"/>
                        <a:pt x="1238989" y="182962"/>
                      </a:cubicBezTo>
                      <a:cubicBezTo>
                        <a:pt x="1253389" y="182962"/>
                        <a:pt x="1267453" y="177646"/>
                        <a:pt x="1281182" y="167015"/>
                      </a:cubicBezTo>
                      <a:lnTo>
                        <a:pt x="1281182" y="179321"/>
                      </a:lnTo>
                      <a:cubicBezTo>
                        <a:pt x="1267871" y="188781"/>
                        <a:pt x="1253012" y="193511"/>
                        <a:pt x="1236603" y="193511"/>
                      </a:cubicBezTo>
                      <a:cubicBezTo>
                        <a:pt x="1220028" y="193511"/>
                        <a:pt x="1206633" y="187567"/>
                        <a:pt x="1196420" y="175679"/>
                      </a:cubicBezTo>
                      <a:cubicBezTo>
                        <a:pt x="1186206" y="163791"/>
                        <a:pt x="1181100" y="147006"/>
                        <a:pt x="1181100" y="125324"/>
                      </a:cubicBezTo>
                      <a:cubicBezTo>
                        <a:pt x="1181100" y="106572"/>
                        <a:pt x="1186437" y="90770"/>
                        <a:pt x="1197110" y="77920"/>
                      </a:cubicBezTo>
                      <a:cubicBezTo>
                        <a:pt x="1207784" y="65070"/>
                        <a:pt x="1221660" y="58644"/>
                        <a:pt x="1238738" y="58644"/>
                      </a:cubicBezTo>
                      <a:close/>
                      <a:moveTo>
                        <a:pt x="1032202" y="58644"/>
                      </a:moveTo>
                      <a:cubicBezTo>
                        <a:pt x="1041578" y="58644"/>
                        <a:pt x="1049594" y="61344"/>
                        <a:pt x="1056249" y="66744"/>
                      </a:cubicBezTo>
                      <a:cubicBezTo>
                        <a:pt x="1062905" y="72144"/>
                        <a:pt x="1067404" y="79238"/>
                        <a:pt x="1069748" y="88029"/>
                      </a:cubicBezTo>
                      <a:cubicBezTo>
                        <a:pt x="1073767" y="78736"/>
                        <a:pt x="1079522" y="71516"/>
                        <a:pt x="1087015" y="66367"/>
                      </a:cubicBezTo>
                      <a:cubicBezTo>
                        <a:pt x="1094507" y="61219"/>
                        <a:pt x="1102649" y="58644"/>
                        <a:pt x="1111439" y="58644"/>
                      </a:cubicBezTo>
                      <a:cubicBezTo>
                        <a:pt x="1139567" y="58644"/>
                        <a:pt x="1153632" y="76057"/>
                        <a:pt x="1153632" y="110883"/>
                      </a:cubicBezTo>
                      <a:lnTo>
                        <a:pt x="1153632" y="190371"/>
                      </a:lnTo>
                      <a:lnTo>
                        <a:pt x="1142079" y="190371"/>
                      </a:lnTo>
                      <a:lnTo>
                        <a:pt x="1142079" y="113018"/>
                      </a:lnTo>
                      <a:cubicBezTo>
                        <a:pt x="1142079" y="96861"/>
                        <a:pt x="1139547" y="85517"/>
                        <a:pt x="1134482" y="78987"/>
                      </a:cubicBezTo>
                      <a:cubicBezTo>
                        <a:pt x="1129417" y="72458"/>
                        <a:pt x="1121401" y="69193"/>
                        <a:pt x="1110434" y="69193"/>
                      </a:cubicBezTo>
                      <a:cubicBezTo>
                        <a:pt x="1100305" y="69193"/>
                        <a:pt x="1091556" y="73546"/>
                        <a:pt x="1084189" y="82252"/>
                      </a:cubicBezTo>
                      <a:cubicBezTo>
                        <a:pt x="1076822" y="90959"/>
                        <a:pt x="1073139" y="101884"/>
                        <a:pt x="1073139" y="115027"/>
                      </a:cubicBezTo>
                      <a:lnTo>
                        <a:pt x="1073139" y="190371"/>
                      </a:lnTo>
                      <a:lnTo>
                        <a:pt x="1061586" y="190371"/>
                      </a:lnTo>
                      <a:lnTo>
                        <a:pt x="1061586" y="112139"/>
                      </a:lnTo>
                      <a:cubicBezTo>
                        <a:pt x="1061586" y="83508"/>
                        <a:pt x="1050703" y="69193"/>
                        <a:pt x="1028937" y="69193"/>
                      </a:cubicBezTo>
                      <a:cubicBezTo>
                        <a:pt x="1018472" y="69193"/>
                        <a:pt x="1009766" y="73567"/>
                        <a:pt x="1002818" y="82315"/>
                      </a:cubicBezTo>
                      <a:cubicBezTo>
                        <a:pt x="995869" y="91063"/>
                        <a:pt x="992395" y="102386"/>
                        <a:pt x="992395" y="116283"/>
                      </a:cubicBezTo>
                      <a:lnTo>
                        <a:pt x="992395" y="190371"/>
                      </a:lnTo>
                      <a:lnTo>
                        <a:pt x="980842" y="190371"/>
                      </a:lnTo>
                      <a:lnTo>
                        <a:pt x="980842" y="61784"/>
                      </a:lnTo>
                      <a:lnTo>
                        <a:pt x="992395" y="61784"/>
                      </a:lnTo>
                      <a:lnTo>
                        <a:pt x="992395" y="83131"/>
                      </a:lnTo>
                      <a:lnTo>
                        <a:pt x="992897" y="83131"/>
                      </a:lnTo>
                      <a:cubicBezTo>
                        <a:pt x="1001855" y="66807"/>
                        <a:pt x="1014956" y="58644"/>
                        <a:pt x="1032202" y="58644"/>
                      </a:cubicBezTo>
                      <a:close/>
                      <a:moveTo>
                        <a:pt x="903498" y="58644"/>
                      </a:moveTo>
                      <a:cubicBezTo>
                        <a:pt x="917395" y="58644"/>
                        <a:pt x="928027" y="63270"/>
                        <a:pt x="935394" y="72520"/>
                      </a:cubicBezTo>
                      <a:cubicBezTo>
                        <a:pt x="942761" y="81771"/>
                        <a:pt x="946444" y="94977"/>
                        <a:pt x="946444" y="112139"/>
                      </a:cubicBezTo>
                      <a:lnTo>
                        <a:pt x="946444" y="190371"/>
                      </a:lnTo>
                      <a:lnTo>
                        <a:pt x="934891" y="190371"/>
                      </a:lnTo>
                      <a:lnTo>
                        <a:pt x="934891" y="115529"/>
                      </a:lnTo>
                      <a:cubicBezTo>
                        <a:pt x="934891" y="84638"/>
                        <a:pt x="923757" y="69193"/>
                        <a:pt x="901489" y="69193"/>
                      </a:cubicBezTo>
                      <a:cubicBezTo>
                        <a:pt x="889099" y="69193"/>
                        <a:pt x="878927" y="73734"/>
                        <a:pt x="870974" y="82817"/>
                      </a:cubicBezTo>
                      <a:cubicBezTo>
                        <a:pt x="863021" y="91901"/>
                        <a:pt x="859045" y="103139"/>
                        <a:pt x="859045" y="116534"/>
                      </a:cubicBezTo>
                      <a:lnTo>
                        <a:pt x="859045" y="190371"/>
                      </a:lnTo>
                      <a:lnTo>
                        <a:pt x="847492" y="190371"/>
                      </a:lnTo>
                      <a:lnTo>
                        <a:pt x="847492" y="61784"/>
                      </a:lnTo>
                      <a:lnTo>
                        <a:pt x="859045" y="61784"/>
                      </a:lnTo>
                      <a:lnTo>
                        <a:pt x="859045" y="85140"/>
                      </a:lnTo>
                      <a:lnTo>
                        <a:pt x="859547" y="85140"/>
                      </a:lnTo>
                      <a:cubicBezTo>
                        <a:pt x="868924" y="67476"/>
                        <a:pt x="883574" y="58644"/>
                        <a:pt x="903498" y="58644"/>
                      </a:cubicBezTo>
                      <a:close/>
                      <a:moveTo>
                        <a:pt x="676763" y="58644"/>
                      </a:moveTo>
                      <a:cubicBezTo>
                        <a:pt x="692753" y="58644"/>
                        <a:pt x="705017" y="64253"/>
                        <a:pt x="713556" y="75471"/>
                      </a:cubicBezTo>
                      <a:cubicBezTo>
                        <a:pt x="722095" y="86689"/>
                        <a:pt x="726365" y="102009"/>
                        <a:pt x="726365" y="121431"/>
                      </a:cubicBezTo>
                      <a:lnTo>
                        <a:pt x="726365" y="126580"/>
                      </a:lnTo>
                      <a:lnTo>
                        <a:pt x="631180" y="126580"/>
                      </a:lnTo>
                      <a:cubicBezTo>
                        <a:pt x="631180" y="144244"/>
                        <a:pt x="635261" y="158057"/>
                        <a:pt x="643423" y="168019"/>
                      </a:cubicBezTo>
                      <a:cubicBezTo>
                        <a:pt x="651586" y="177981"/>
                        <a:pt x="662783" y="182962"/>
                        <a:pt x="677014" y="182962"/>
                      </a:cubicBezTo>
                      <a:cubicBezTo>
                        <a:pt x="691413" y="182962"/>
                        <a:pt x="705478" y="177646"/>
                        <a:pt x="719207" y="167015"/>
                      </a:cubicBezTo>
                      <a:lnTo>
                        <a:pt x="719207" y="179321"/>
                      </a:lnTo>
                      <a:cubicBezTo>
                        <a:pt x="705896" y="188781"/>
                        <a:pt x="691037" y="193511"/>
                        <a:pt x="674628" y="193511"/>
                      </a:cubicBezTo>
                      <a:cubicBezTo>
                        <a:pt x="658053" y="193511"/>
                        <a:pt x="644658" y="187567"/>
                        <a:pt x="634445" y="175679"/>
                      </a:cubicBezTo>
                      <a:cubicBezTo>
                        <a:pt x="624231" y="163791"/>
                        <a:pt x="619125" y="147006"/>
                        <a:pt x="619125" y="125324"/>
                      </a:cubicBezTo>
                      <a:cubicBezTo>
                        <a:pt x="619125" y="106572"/>
                        <a:pt x="624462" y="90770"/>
                        <a:pt x="635135" y="77920"/>
                      </a:cubicBezTo>
                      <a:cubicBezTo>
                        <a:pt x="645809" y="65070"/>
                        <a:pt x="659685" y="58644"/>
                        <a:pt x="676763" y="58644"/>
                      </a:cubicBezTo>
                      <a:close/>
                      <a:moveTo>
                        <a:pt x="424235" y="58644"/>
                      </a:moveTo>
                      <a:cubicBezTo>
                        <a:pt x="442569" y="58644"/>
                        <a:pt x="457052" y="64630"/>
                        <a:pt x="467684" y="76601"/>
                      </a:cubicBezTo>
                      <a:cubicBezTo>
                        <a:pt x="478316" y="88573"/>
                        <a:pt x="483632" y="105149"/>
                        <a:pt x="483632" y="126329"/>
                      </a:cubicBezTo>
                      <a:cubicBezTo>
                        <a:pt x="483632" y="146337"/>
                        <a:pt x="478211" y="162536"/>
                        <a:pt x="467370" y="174926"/>
                      </a:cubicBezTo>
                      <a:cubicBezTo>
                        <a:pt x="456529" y="187316"/>
                        <a:pt x="441690" y="193511"/>
                        <a:pt x="422854" y="193511"/>
                      </a:cubicBezTo>
                      <a:cubicBezTo>
                        <a:pt x="404102" y="193511"/>
                        <a:pt x="389263" y="187337"/>
                        <a:pt x="378338" y="174988"/>
                      </a:cubicBezTo>
                      <a:cubicBezTo>
                        <a:pt x="367413" y="162640"/>
                        <a:pt x="361951" y="146588"/>
                        <a:pt x="361951" y="126831"/>
                      </a:cubicBezTo>
                      <a:cubicBezTo>
                        <a:pt x="361951" y="105483"/>
                        <a:pt x="367664" y="88782"/>
                        <a:pt x="379092" y="76727"/>
                      </a:cubicBezTo>
                      <a:cubicBezTo>
                        <a:pt x="390519" y="64672"/>
                        <a:pt x="405567" y="58644"/>
                        <a:pt x="424235" y="58644"/>
                      </a:cubicBezTo>
                      <a:close/>
                      <a:moveTo>
                        <a:pt x="2364968" y="58643"/>
                      </a:moveTo>
                      <a:cubicBezTo>
                        <a:pt x="2381292" y="58643"/>
                        <a:pt x="2394038" y="64273"/>
                        <a:pt x="2403205" y="75533"/>
                      </a:cubicBezTo>
                      <a:cubicBezTo>
                        <a:pt x="2412372" y="86793"/>
                        <a:pt x="2416955" y="102092"/>
                        <a:pt x="2416955" y="121430"/>
                      </a:cubicBezTo>
                      <a:cubicBezTo>
                        <a:pt x="2416955" y="142945"/>
                        <a:pt x="2411702" y="160337"/>
                        <a:pt x="2401196" y="173606"/>
                      </a:cubicBezTo>
                      <a:cubicBezTo>
                        <a:pt x="2390690" y="186875"/>
                        <a:pt x="2376814" y="193510"/>
                        <a:pt x="2359568" y="193510"/>
                      </a:cubicBezTo>
                      <a:cubicBezTo>
                        <a:pt x="2340314" y="193510"/>
                        <a:pt x="2326082" y="184845"/>
                        <a:pt x="2316873" y="167516"/>
                      </a:cubicBezTo>
                      <a:lnTo>
                        <a:pt x="2316371" y="167516"/>
                      </a:lnTo>
                      <a:lnTo>
                        <a:pt x="2316371" y="249515"/>
                      </a:lnTo>
                      <a:lnTo>
                        <a:pt x="2304818" y="249515"/>
                      </a:lnTo>
                      <a:lnTo>
                        <a:pt x="2304818" y="61783"/>
                      </a:lnTo>
                      <a:lnTo>
                        <a:pt x="2316371" y="61783"/>
                      </a:lnTo>
                      <a:lnTo>
                        <a:pt x="2316371" y="88279"/>
                      </a:lnTo>
                      <a:lnTo>
                        <a:pt x="2316873" y="88279"/>
                      </a:lnTo>
                      <a:cubicBezTo>
                        <a:pt x="2321478" y="78819"/>
                        <a:pt x="2328070" y="71515"/>
                        <a:pt x="2336651" y="66366"/>
                      </a:cubicBezTo>
                      <a:cubicBezTo>
                        <a:pt x="2345232" y="61218"/>
                        <a:pt x="2354671" y="58643"/>
                        <a:pt x="2364968" y="58643"/>
                      </a:cubicBezTo>
                      <a:close/>
                      <a:moveTo>
                        <a:pt x="1474045" y="24488"/>
                      </a:moveTo>
                      <a:lnTo>
                        <a:pt x="1474045" y="61784"/>
                      </a:lnTo>
                      <a:lnTo>
                        <a:pt x="1507950" y="61784"/>
                      </a:lnTo>
                      <a:lnTo>
                        <a:pt x="1507950" y="72332"/>
                      </a:lnTo>
                      <a:lnTo>
                        <a:pt x="1474045" y="72332"/>
                      </a:lnTo>
                      <a:lnTo>
                        <a:pt x="1474045" y="157220"/>
                      </a:lnTo>
                      <a:cubicBezTo>
                        <a:pt x="1474045" y="166094"/>
                        <a:pt x="1475447" y="172519"/>
                        <a:pt x="1478251" y="176495"/>
                      </a:cubicBezTo>
                      <a:cubicBezTo>
                        <a:pt x="1481056" y="180472"/>
                        <a:pt x="1485807" y="182460"/>
                        <a:pt x="1492504" y="182460"/>
                      </a:cubicBezTo>
                      <a:cubicBezTo>
                        <a:pt x="1497276" y="182460"/>
                        <a:pt x="1502424" y="180911"/>
                        <a:pt x="1507950" y="177814"/>
                      </a:cubicBezTo>
                      <a:lnTo>
                        <a:pt x="1507950" y="188613"/>
                      </a:lnTo>
                      <a:cubicBezTo>
                        <a:pt x="1501922" y="191460"/>
                        <a:pt x="1496271" y="192883"/>
                        <a:pt x="1490997" y="192883"/>
                      </a:cubicBezTo>
                      <a:cubicBezTo>
                        <a:pt x="1471994" y="192883"/>
                        <a:pt x="1462492" y="181497"/>
                        <a:pt x="1462492" y="158727"/>
                      </a:cubicBezTo>
                      <a:lnTo>
                        <a:pt x="1462492" y="72332"/>
                      </a:lnTo>
                      <a:lnTo>
                        <a:pt x="1439386" y="72332"/>
                      </a:lnTo>
                      <a:lnTo>
                        <a:pt x="1439386" y="61784"/>
                      </a:lnTo>
                      <a:lnTo>
                        <a:pt x="1462492" y="61784"/>
                      </a:lnTo>
                      <a:lnTo>
                        <a:pt x="1462492" y="28381"/>
                      </a:lnTo>
                      <a:cubicBezTo>
                        <a:pt x="1464334" y="27711"/>
                        <a:pt x="1466259" y="27042"/>
                        <a:pt x="1468268" y="26372"/>
                      </a:cubicBezTo>
                      <a:cubicBezTo>
                        <a:pt x="1470278" y="25786"/>
                        <a:pt x="1472203" y="25158"/>
                        <a:pt x="1474045" y="24488"/>
                      </a:cubicBezTo>
                      <a:close/>
                      <a:moveTo>
                        <a:pt x="1872319" y="10299"/>
                      </a:moveTo>
                      <a:cubicBezTo>
                        <a:pt x="1874914" y="10299"/>
                        <a:pt x="1877195" y="11136"/>
                        <a:pt x="1879163" y="12810"/>
                      </a:cubicBezTo>
                      <a:cubicBezTo>
                        <a:pt x="1881130" y="14484"/>
                        <a:pt x="1882114" y="16745"/>
                        <a:pt x="1882114" y="19591"/>
                      </a:cubicBezTo>
                      <a:cubicBezTo>
                        <a:pt x="1882114" y="22270"/>
                        <a:pt x="1881151" y="24572"/>
                        <a:pt x="1879226" y="26498"/>
                      </a:cubicBezTo>
                      <a:cubicBezTo>
                        <a:pt x="1877300" y="28423"/>
                        <a:pt x="1874998" y="29386"/>
                        <a:pt x="1872319" y="29386"/>
                      </a:cubicBezTo>
                      <a:cubicBezTo>
                        <a:pt x="1869808" y="29386"/>
                        <a:pt x="1867589" y="28465"/>
                        <a:pt x="1865664" y="26623"/>
                      </a:cubicBezTo>
                      <a:cubicBezTo>
                        <a:pt x="1863738" y="24781"/>
                        <a:pt x="1862775" y="22437"/>
                        <a:pt x="1862775" y="19591"/>
                      </a:cubicBezTo>
                      <a:cubicBezTo>
                        <a:pt x="1862775" y="16828"/>
                        <a:pt x="1863759" y="14589"/>
                        <a:pt x="1865726" y="12873"/>
                      </a:cubicBezTo>
                      <a:cubicBezTo>
                        <a:pt x="1867694" y="11157"/>
                        <a:pt x="1869891" y="10299"/>
                        <a:pt x="1872319" y="10299"/>
                      </a:cubicBezTo>
                      <a:close/>
                      <a:moveTo>
                        <a:pt x="282796" y="7284"/>
                      </a:moveTo>
                      <a:cubicBezTo>
                        <a:pt x="298619" y="7284"/>
                        <a:pt x="313981" y="10465"/>
                        <a:pt x="328882" y="16827"/>
                      </a:cubicBezTo>
                      <a:lnTo>
                        <a:pt x="328882" y="30389"/>
                      </a:lnTo>
                      <a:cubicBezTo>
                        <a:pt x="312557" y="22520"/>
                        <a:pt x="296610" y="18585"/>
                        <a:pt x="281038" y="18585"/>
                      </a:cubicBezTo>
                      <a:cubicBezTo>
                        <a:pt x="258351" y="18585"/>
                        <a:pt x="240122" y="26329"/>
                        <a:pt x="226351" y="41817"/>
                      </a:cubicBezTo>
                      <a:cubicBezTo>
                        <a:pt x="212580" y="57304"/>
                        <a:pt x="205694" y="77061"/>
                        <a:pt x="205694" y="101087"/>
                      </a:cubicBezTo>
                      <a:cubicBezTo>
                        <a:pt x="205694" y="126369"/>
                        <a:pt x="212161" y="146189"/>
                        <a:pt x="225095" y="160546"/>
                      </a:cubicBezTo>
                      <a:cubicBezTo>
                        <a:pt x="238029" y="174904"/>
                        <a:pt x="255463" y="182082"/>
                        <a:pt x="277397" y="182082"/>
                      </a:cubicBezTo>
                      <a:cubicBezTo>
                        <a:pt x="293638" y="182082"/>
                        <a:pt x="307869" y="178566"/>
                        <a:pt x="320092" y="171534"/>
                      </a:cubicBezTo>
                      <a:lnTo>
                        <a:pt x="320092" y="112138"/>
                      </a:lnTo>
                      <a:lnTo>
                        <a:pt x="277648" y="112138"/>
                      </a:lnTo>
                      <a:lnTo>
                        <a:pt x="277648" y="100836"/>
                      </a:lnTo>
                      <a:lnTo>
                        <a:pt x="332524" y="100836"/>
                      </a:lnTo>
                      <a:lnTo>
                        <a:pt x="332524" y="177813"/>
                      </a:lnTo>
                      <a:cubicBezTo>
                        <a:pt x="313939" y="188277"/>
                        <a:pt x="294810" y="193510"/>
                        <a:pt x="275136" y="193510"/>
                      </a:cubicBezTo>
                      <a:cubicBezTo>
                        <a:pt x="250608" y="193510"/>
                        <a:pt x="230767" y="185180"/>
                        <a:pt x="215615" y="168520"/>
                      </a:cubicBezTo>
                      <a:cubicBezTo>
                        <a:pt x="200462" y="151861"/>
                        <a:pt x="192886" y="130011"/>
                        <a:pt x="192886" y="102971"/>
                      </a:cubicBezTo>
                      <a:cubicBezTo>
                        <a:pt x="192886" y="75680"/>
                        <a:pt x="201048" y="52909"/>
                        <a:pt x="217373" y="34659"/>
                      </a:cubicBezTo>
                      <a:cubicBezTo>
                        <a:pt x="233697" y="16409"/>
                        <a:pt x="255505" y="7284"/>
                        <a:pt x="282796" y="7284"/>
                      </a:cubicBezTo>
                      <a:close/>
                      <a:moveTo>
                        <a:pt x="2447693" y="0"/>
                      </a:moveTo>
                      <a:lnTo>
                        <a:pt x="2459246" y="0"/>
                      </a:lnTo>
                      <a:lnTo>
                        <a:pt x="2459246" y="190370"/>
                      </a:lnTo>
                      <a:lnTo>
                        <a:pt x="2447693" y="190370"/>
                      </a:lnTo>
                      <a:close/>
                      <a:moveTo>
                        <a:pt x="1980968" y="0"/>
                      </a:moveTo>
                      <a:lnTo>
                        <a:pt x="1992521" y="0"/>
                      </a:lnTo>
                      <a:lnTo>
                        <a:pt x="1992521" y="190370"/>
                      </a:lnTo>
                      <a:lnTo>
                        <a:pt x="1980968" y="190370"/>
                      </a:lnTo>
                      <a:close/>
                      <a:moveTo>
                        <a:pt x="1923818" y="0"/>
                      </a:moveTo>
                      <a:lnTo>
                        <a:pt x="1935371" y="0"/>
                      </a:lnTo>
                      <a:lnTo>
                        <a:pt x="1935371" y="190370"/>
                      </a:lnTo>
                      <a:lnTo>
                        <a:pt x="1923818" y="190370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Текст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432" name="Car sharing"/>
              <p:cNvGrpSpPr/>
              <p:nvPr/>
            </p:nvGrpSpPr>
            <p:grpSpPr>
              <a:xfrm>
                <a:off x="37637473" y="2490055"/>
                <a:ext cx="2619661" cy="1869181"/>
                <a:chOff x="4402592" y="4713678"/>
                <a:chExt cx="2619661" cy="1869181"/>
              </a:xfrm>
            </p:grpSpPr>
            <p:grpSp>
              <p:nvGrpSpPr>
                <p:cNvPr id="524" name="Group 523"/>
                <p:cNvGrpSpPr/>
                <p:nvPr/>
              </p:nvGrpSpPr>
              <p:grpSpPr>
                <a:xfrm>
                  <a:off x="4473262" y="4713678"/>
                  <a:ext cx="2469067" cy="1070821"/>
                  <a:chOff x="2853596" y="7041656"/>
                  <a:chExt cx="1903413" cy="825500"/>
                </a:xfrm>
              </p:grpSpPr>
              <p:sp>
                <p:nvSpPr>
                  <p:cNvPr id="526" name="Freeform 232"/>
                  <p:cNvSpPr>
                    <a:spLocks/>
                  </p:cNvSpPr>
                  <p:nvPr/>
                </p:nvSpPr>
                <p:spPr bwMode="auto">
                  <a:xfrm>
                    <a:off x="3609246" y="7286131"/>
                    <a:ext cx="241300" cy="536575"/>
                  </a:xfrm>
                  <a:custGeom>
                    <a:avLst/>
                    <a:gdLst>
                      <a:gd name="T0" fmla="*/ 522 w 675"/>
                      <a:gd name="T1" fmla="*/ 635 h 1500"/>
                      <a:gd name="T2" fmla="*/ 626 w 675"/>
                      <a:gd name="T3" fmla="*/ 639 h 1500"/>
                      <a:gd name="T4" fmla="*/ 653 w 675"/>
                      <a:gd name="T5" fmla="*/ 625 h 1500"/>
                      <a:gd name="T6" fmla="*/ 673 w 675"/>
                      <a:gd name="T7" fmla="*/ 587 h 1500"/>
                      <a:gd name="T8" fmla="*/ 632 w 675"/>
                      <a:gd name="T9" fmla="*/ 70 h 1500"/>
                      <a:gd name="T10" fmla="*/ 606 w 675"/>
                      <a:gd name="T11" fmla="*/ 38 h 1500"/>
                      <a:gd name="T12" fmla="*/ 487 w 675"/>
                      <a:gd name="T13" fmla="*/ 6 h 1500"/>
                      <a:gd name="T14" fmla="*/ 460 w 675"/>
                      <a:gd name="T15" fmla="*/ 0 h 1500"/>
                      <a:gd name="T16" fmla="*/ 443 w 675"/>
                      <a:gd name="T17" fmla="*/ 21 h 1500"/>
                      <a:gd name="T18" fmla="*/ 355 w 675"/>
                      <a:gd name="T19" fmla="*/ 142 h 1500"/>
                      <a:gd name="T20" fmla="*/ 325 w 675"/>
                      <a:gd name="T21" fmla="*/ 142 h 1500"/>
                      <a:gd name="T22" fmla="*/ 237 w 675"/>
                      <a:gd name="T23" fmla="*/ 21 h 1500"/>
                      <a:gd name="T24" fmla="*/ 219 w 675"/>
                      <a:gd name="T25" fmla="*/ 0 h 1500"/>
                      <a:gd name="T26" fmla="*/ 192 w 675"/>
                      <a:gd name="T27" fmla="*/ 6 h 1500"/>
                      <a:gd name="T28" fmla="*/ 69 w 675"/>
                      <a:gd name="T29" fmla="*/ 38 h 1500"/>
                      <a:gd name="T30" fmla="*/ 43 w 675"/>
                      <a:gd name="T31" fmla="*/ 70 h 1500"/>
                      <a:gd name="T32" fmla="*/ 2 w 675"/>
                      <a:gd name="T33" fmla="*/ 587 h 1500"/>
                      <a:gd name="T34" fmla="*/ 22 w 675"/>
                      <a:gd name="T35" fmla="*/ 625 h 1500"/>
                      <a:gd name="T36" fmla="*/ 91 w 675"/>
                      <a:gd name="T37" fmla="*/ 661 h 1500"/>
                      <a:gd name="T38" fmla="*/ 115 w 675"/>
                      <a:gd name="T39" fmla="*/ 699 h 1500"/>
                      <a:gd name="T40" fmla="*/ 173 w 675"/>
                      <a:gd name="T41" fmla="*/ 1475 h 1500"/>
                      <a:gd name="T42" fmla="*/ 201 w 675"/>
                      <a:gd name="T43" fmla="*/ 1500 h 1500"/>
                      <a:gd name="T44" fmla="*/ 298 w 675"/>
                      <a:gd name="T45" fmla="*/ 1500 h 1500"/>
                      <a:gd name="T46" fmla="*/ 324 w 675"/>
                      <a:gd name="T47" fmla="*/ 1475 h 1500"/>
                      <a:gd name="T48" fmla="*/ 324 w 675"/>
                      <a:gd name="T49" fmla="*/ 940 h 1500"/>
                      <a:gd name="T50" fmla="*/ 340 w 675"/>
                      <a:gd name="T51" fmla="*/ 915 h 1500"/>
                      <a:gd name="T52" fmla="*/ 355 w 675"/>
                      <a:gd name="T53" fmla="*/ 940 h 1500"/>
                      <a:gd name="T54" fmla="*/ 355 w 675"/>
                      <a:gd name="T55" fmla="*/ 1475 h 1500"/>
                      <a:gd name="T56" fmla="*/ 381 w 675"/>
                      <a:gd name="T57" fmla="*/ 1500 h 1500"/>
                      <a:gd name="T58" fmla="*/ 482 w 675"/>
                      <a:gd name="T59" fmla="*/ 1500 h 1500"/>
                      <a:gd name="T60" fmla="*/ 509 w 675"/>
                      <a:gd name="T61" fmla="*/ 1475 h 1500"/>
                      <a:gd name="T62" fmla="*/ 555 w 675"/>
                      <a:gd name="T63" fmla="*/ 862 h 1500"/>
                      <a:gd name="T64" fmla="*/ 522 w 675"/>
                      <a:gd name="T65" fmla="*/ 635 h 15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675" h="1500">
                        <a:moveTo>
                          <a:pt x="522" y="635"/>
                        </a:moveTo>
                        <a:cubicBezTo>
                          <a:pt x="552" y="634"/>
                          <a:pt x="588" y="635"/>
                          <a:pt x="626" y="639"/>
                        </a:cubicBezTo>
                        <a:cubicBezTo>
                          <a:pt x="653" y="625"/>
                          <a:pt x="653" y="625"/>
                          <a:pt x="653" y="625"/>
                        </a:cubicBezTo>
                        <a:cubicBezTo>
                          <a:pt x="665" y="618"/>
                          <a:pt x="675" y="601"/>
                          <a:pt x="673" y="587"/>
                        </a:cubicBezTo>
                        <a:cubicBezTo>
                          <a:pt x="632" y="70"/>
                          <a:pt x="632" y="70"/>
                          <a:pt x="632" y="70"/>
                        </a:cubicBezTo>
                        <a:cubicBezTo>
                          <a:pt x="631" y="56"/>
                          <a:pt x="619" y="42"/>
                          <a:pt x="606" y="38"/>
                        </a:cubicBezTo>
                        <a:cubicBezTo>
                          <a:pt x="487" y="6"/>
                          <a:pt x="487" y="6"/>
                          <a:pt x="487" y="6"/>
                        </a:cubicBezTo>
                        <a:cubicBezTo>
                          <a:pt x="474" y="3"/>
                          <a:pt x="461" y="0"/>
                          <a:pt x="460" y="0"/>
                        </a:cubicBezTo>
                        <a:cubicBezTo>
                          <a:pt x="459" y="0"/>
                          <a:pt x="451" y="9"/>
                          <a:pt x="443" y="21"/>
                        </a:cubicBezTo>
                        <a:cubicBezTo>
                          <a:pt x="355" y="142"/>
                          <a:pt x="355" y="142"/>
                          <a:pt x="355" y="142"/>
                        </a:cubicBezTo>
                        <a:cubicBezTo>
                          <a:pt x="346" y="153"/>
                          <a:pt x="333" y="153"/>
                          <a:pt x="325" y="142"/>
                        </a:cubicBezTo>
                        <a:cubicBezTo>
                          <a:pt x="237" y="21"/>
                          <a:pt x="237" y="21"/>
                          <a:pt x="237" y="21"/>
                        </a:cubicBezTo>
                        <a:cubicBezTo>
                          <a:pt x="229" y="9"/>
                          <a:pt x="221" y="0"/>
                          <a:pt x="219" y="0"/>
                        </a:cubicBezTo>
                        <a:cubicBezTo>
                          <a:pt x="218" y="0"/>
                          <a:pt x="206" y="3"/>
                          <a:pt x="192" y="6"/>
                        </a:cubicBezTo>
                        <a:cubicBezTo>
                          <a:pt x="69" y="38"/>
                          <a:pt x="69" y="38"/>
                          <a:pt x="69" y="38"/>
                        </a:cubicBezTo>
                        <a:cubicBezTo>
                          <a:pt x="56" y="42"/>
                          <a:pt x="44" y="56"/>
                          <a:pt x="43" y="70"/>
                        </a:cubicBezTo>
                        <a:cubicBezTo>
                          <a:pt x="2" y="587"/>
                          <a:pt x="2" y="587"/>
                          <a:pt x="2" y="587"/>
                        </a:cubicBezTo>
                        <a:cubicBezTo>
                          <a:pt x="0" y="601"/>
                          <a:pt x="10" y="618"/>
                          <a:pt x="22" y="625"/>
                        </a:cubicBezTo>
                        <a:cubicBezTo>
                          <a:pt x="91" y="661"/>
                          <a:pt x="91" y="661"/>
                          <a:pt x="91" y="661"/>
                        </a:cubicBezTo>
                        <a:cubicBezTo>
                          <a:pt x="103" y="668"/>
                          <a:pt x="114" y="685"/>
                          <a:pt x="115" y="699"/>
                        </a:cubicBezTo>
                        <a:cubicBezTo>
                          <a:pt x="173" y="1475"/>
                          <a:pt x="173" y="1475"/>
                          <a:pt x="173" y="1475"/>
                        </a:cubicBezTo>
                        <a:cubicBezTo>
                          <a:pt x="175" y="1489"/>
                          <a:pt x="187" y="1500"/>
                          <a:pt x="201" y="1500"/>
                        </a:cubicBezTo>
                        <a:cubicBezTo>
                          <a:pt x="298" y="1500"/>
                          <a:pt x="298" y="1500"/>
                          <a:pt x="298" y="1500"/>
                        </a:cubicBezTo>
                        <a:cubicBezTo>
                          <a:pt x="312" y="1500"/>
                          <a:pt x="324" y="1489"/>
                          <a:pt x="324" y="1475"/>
                        </a:cubicBezTo>
                        <a:cubicBezTo>
                          <a:pt x="324" y="940"/>
                          <a:pt x="324" y="940"/>
                          <a:pt x="324" y="940"/>
                        </a:cubicBezTo>
                        <a:cubicBezTo>
                          <a:pt x="324" y="926"/>
                          <a:pt x="331" y="915"/>
                          <a:pt x="340" y="915"/>
                        </a:cubicBezTo>
                        <a:cubicBezTo>
                          <a:pt x="348" y="915"/>
                          <a:pt x="355" y="926"/>
                          <a:pt x="355" y="940"/>
                        </a:cubicBezTo>
                        <a:cubicBezTo>
                          <a:pt x="355" y="1475"/>
                          <a:pt x="355" y="1475"/>
                          <a:pt x="355" y="1475"/>
                        </a:cubicBezTo>
                        <a:cubicBezTo>
                          <a:pt x="355" y="1489"/>
                          <a:pt x="367" y="1500"/>
                          <a:pt x="381" y="1500"/>
                        </a:cubicBezTo>
                        <a:cubicBezTo>
                          <a:pt x="482" y="1500"/>
                          <a:pt x="482" y="1500"/>
                          <a:pt x="482" y="1500"/>
                        </a:cubicBezTo>
                        <a:cubicBezTo>
                          <a:pt x="496" y="1500"/>
                          <a:pt x="508" y="1489"/>
                          <a:pt x="509" y="1475"/>
                        </a:cubicBezTo>
                        <a:cubicBezTo>
                          <a:pt x="555" y="862"/>
                          <a:pt x="555" y="862"/>
                          <a:pt x="555" y="862"/>
                        </a:cubicBezTo>
                        <a:cubicBezTo>
                          <a:pt x="502" y="780"/>
                          <a:pt x="522" y="635"/>
                          <a:pt x="522" y="635"/>
                        </a:cubicBezTo>
                        <a:close/>
                      </a:path>
                    </a:pathLst>
                  </a:cu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7" name="Oval 233"/>
                  <p:cNvSpPr>
                    <a:spLocks noChangeArrowheads="1"/>
                  </p:cNvSpPr>
                  <p:nvPr/>
                </p:nvSpPr>
                <p:spPr bwMode="auto">
                  <a:xfrm>
                    <a:off x="2901221" y="7276606"/>
                    <a:ext cx="84138" cy="84138"/>
                  </a:xfrm>
                  <a:prstGeom prst="ellipse">
                    <a:avLst/>
                  </a:pr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8" name="Freeform 234"/>
                  <p:cNvSpPr>
                    <a:spLocks/>
                  </p:cNvSpPr>
                  <p:nvPr/>
                </p:nvSpPr>
                <p:spPr bwMode="auto">
                  <a:xfrm>
                    <a:off x="2853596" y="7371856"/>
                    <a:ext cx="176213" cy="393700"/>
                  </a:xfrm>
                  <a:custGeom>
                    <a:avLst/>
                    <a:gdLst>
                      <a:gd name="T0" fmla="*/ 478 w 494"/>
                      <a:gd name="T1" fmla="*/ 458 h 1099"/>
                      <a:gd name="T2" fmla="*/ 493 w 494"/>
                      <a:gd name="T3" fmla="*/ 431 h 1099"/>
                      <a:gd name="T4" fmla="*/ 463 w 494"/>
                      <a:gd name="T5" fmla="*/ 52 h 1099"/>
                      <a:gd name="T6" fmla="*/ 443 w 494"/>
                      <a:gd name="T7" fmla="*/ 29 h 1099"/>
                      <a:gd name="T8" fmla="*/ 356 w 494"/>
                      <a:gd name="T9" fmla="*/ 5 h 1099"/>
                      <a:gd name="T10" fmla="*/ 336 w 494"/>
                      <a:gd name="T11" fmla="*/ 0 h 1099"/>
                      <a:gd name="T12" fmla="*/ 324 w 494"/>
                      <a:gd name="T13" fmla="*/ 16 h 1099"/>
                      <a:gd name="T14" fmla="*/ 259 w 494"/>
                      <a:gd name="T15" fmla="*/ 104 h 1099"/>
                      <a:gd name="T16" fmla="*/ 237 w 494"/>
                      <a:gd name="T17" fmla="*/ 104 h 1099"/>
                      <a:gd name="T18" fmla="*/ 173 w 494"/>
                      <a:gd name="T19" fmla="*/ 16 h 1099"/>
                      <a:gd name="T20" fmla="*/ 160 w 494"/>
                      <a:gd name="T21" fmla="*/ 0 h 1099"/>
                      <a:gd name="T22" fmla="*/ 140 w 494"/>
                      <a:gd name="T23" fmla="*/ 5 h 1099"/>
                      <a:gd name="T24" fmla="*/ 50 w 494"/>
                      <a:gd name="T25" fmla="*/ 29 h 1099"/>
                      <a:gd name="T26" fmla="*/ 31 w 494"/>
                      <a:gd name="T27" fmla="*/ 52 h 1099"/>
                      <a:gd name="T28" fmla="*/ 1 w 494"/>
                      <a:gd name="T29" fmla="*/ 431 h 1099"/>
                      <a:gd name="T30" fmla="*/ 16 w 494"/>
                      <a:gd name="T31" fmla="*/ 458 h 1099"/>
                      <a:gd name="T32" fmla="*/ 66 w 494"/>
                      <a:gd name="T33" fmla="*/ 485 h 1099"/>
                      <a:gd name="T34" fmla="*/ 84 w 494"/>
                      <a:gd name="T35" fmla="*/ 512 h 1099"/>
                      <a:gd name="T36" fmla="*/ 127 w 494"/>
                      <a:gd name="T37" fmla="*/ 1081 h 1099"/>
                      <a:gd name="T38" fmla="*/ 147 w 494"/>
                      <a:gd name="T39" fmla="*/ 1099 h 1099"/>
                      <a:gd name="T40" fmla="*/ 218 w 494"/>
                      <a:gd name="T41" fmla="*/ 1099 h 1099"/>
                      <a:gd name="T42" fmla="*/ 237 w 494"/>
                      <a:gd name="T43" fmla="*/ 1081 h 1099"/>
                      <a:gd name="T44" fmla="*/ 237 w 494"/>
                      <a:gd name="T45" fmla="*/ 689 h 1099"/>
                      <a:gd name="T46" fmla="*/ 248 w 494"/>
                      <a:gd name="T47" fmla="*/ 670 h 1099"/>
                      <a:gd name="T48" fmla="*/ 260 w 494"/>
                      <a:gd name="T49" fmla="*/ 689 h 1099"/>
                      <a:gd name="T50" fmla="*/ 260 w 494"/>
                      <a:gd name="T51" fmla="*/ 1081 h 1099"/>
                      <a:gd name="T52" fmla="*/ 279 w 494"/>
                      <a:gd name="T53" fmla="*/ 1099 h 1099"/>
                      <a:gd name="T54" fmla="*/ 352 w 494"/>
                      <a:gd name="T55" fmla="*/ 1099 h 1099"/>
                      <a:gd name="T56" fmla="*/ 373 w 494"/>
                      <a:gd name="T57" fmla="*/ 1081 h 1099"/>
                      <a:gd name="T58" fmla="*/ 415 w 494"/>
                      <a:gd name="T59" fmla="*/ 509 h 1099"/>
                      <a:gd name="T60" fmla="*/ 433 w 494"/>
                      <a:gd name="T61" fmla="*/ 482 h 1099"/>
                      <a:gd name="T62" fmla="*/ 478 w 494"/>
                      <a:gd name="T63" fmla="*/ 458 h 10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494" h="1099">
                        <a:moveTo>
                          <a:pt x="478" y="458"/>
                        </a:moveTo>
                        <a:cubicBezTo>
                          <a:pt x="487" y="453"/>
                          <a:pt x="494" y="441"/>
                          <a:pt x="493" y="431"/>
                        </a:cubicBezTo>
                        <a:cubicBezTo>
                          <a:pt x="463" y="52"/>
                          <a:pt x="463" y="52"/>
                          <a:pt x="463" y="52"/>
                        </a:cubicBezTo>
                        <a:cubicBezTo>
                          <a:pt x="462" y="42"/>
                          <a:pt x="453" y="31"/>
                          <a:pt x="443" y="29"/>
                        </a:cubicBezTo>
                        <a:cubicBezTo>
                          <a:pt x="356" y="5"/>
                          <a:pt x="356" y="5"/>
                          <a:pt x="356" y="5"/>
                        </a:cubicBezTo>
                        <a:cubicBezTo>
                          <a:pt x="346" y="3"/>
                          <a:pt x="337" y="0"/>
                          <a:pt x="336" y="0"/>
                        </a:cubicBezTo>
                        <a:cubicBezTo>
                          <a:pt x="335" y="0"/>
                          <a:pt x="330" y="7"/>
                          <a:pt x="324" y="16"/>
                        </a:cubicBezTo>
                        <a:cubicBezTo>
                          <a:pt x="259" y="104"/>
                          <a:pt x="259" y="104"/>
                          <a:pt x="259" y="104"/>
                        </a:cubicBezTo>
                        <a:cubicBezTo>
                          <a:pt x="253" y="113"/>
                          <a:pt x="243" y="113"/>
                          <a:pt x="237" y="104"/>
                        </a:cubicBezTo>
                        <a:cubicBezTo>
                          <a:pt x="173" y="16"/>
                          <a:pt x="173" y="16"/>
                          <a:pt x="173" y="16"/>
                        </a:cubicBezTo>
                        <a:cubicBezTo>
                          <a:pt x="167" y="7"/>
                          <a:pt x="161" y="0"/>
                          <a:pt x="160" y="0"/>
                        </a:cubicBezTo>
                        <a:cubicBezTo>
                          <a:pt x="159" y="0"/>
                          <a:pt x="150" y="3"/>
                          <a:pt x="140" y="5"/>
                        </a:cubicBezTo>
                        <a:cubicBezTo>
                          <a:pt x="50" y="29"/>
                          <a:pt x="50" y="29"/>
                          <a:pt x="50" y="29"/>
                        </a:cubicBezTo>
                        <a:cubicBezTo>
                          <a:pt x="40" y="31"/>
                          <a:pt x="32" y="42"/>
                          <a:pt x="31" y="52"/>
                        </a:cubicBezTo>
                        <a:cubicBezTo>
                          <a:pt x="1" y="431"/>
                          <a:pt x="1" y="431"/>
                          <a:pt x="1" y="431"/>
                        </a:cubicBezTo>
                        <a:cubicBezTo>
                          <a:pt x="0" y="441"/>
                          <a:pt x="7" y="453"/>
                          <a:pt x="16" y="458"/>
                        </a:cubicBezTo>
                        <a:cubicBezTo>
                          <a:pt x="66" y="485"/>
                          <a:pt x="66" y="485"/>
                          <a:pt x="66" y="485"/>
                        </a:cubicBezTo>
                        <a:cubicBezTo>
                          <a:pt x="75" y="490"/>
                          <a:pt x="83" y="502"/>
                          <a:pt x="84" y="512"/>
                        </a:cubicBezTo>
                        <a:cubicBezTo>
                          <a:pt x="127" y="1081"/>
                          <a:pt x="127" y="1081"/>
                          <a:pt x="127" y="1081"/>
                        </a:cubicBezTo>
                        <a:cubicBezTo>
                          <a:pt x="127" y="1091"/>
                          <a:pt x="136" y="1099"/>
                          <a:pt x="147" y="1099"/>
                        </a:cubicBezTo>
                        <a:cubicBezTo>
                          <a:pt x="218" y="1099"/>
                          <a:pt x="218" y="1099"/>
                          <a:pt x="218" y="1099"/>
                        </a:cubicBezTo>
                        <a:cubicBezTo>
                          <a:pt x="228" y="1099"/>
                          <a:pt x="237" y="1091"/>
                          <a:pt x="237" y="1081"/>
                        </a:cubicBezTo>
                        <a:cubicBezTo>
                          <a:pt x="237" y="689"/>
                          <a:pt x="237" y="689"/>
                          <a:pt x="237" y="689"/>
                        </a:cubicBezTo>
                        <a:cubicBezTo>
                          <a:pt x="237" y="679"/>
                          <a:pt x="242" y="670"/>
                          <a:pt x="248" y="670"/>
                        </a:cubicBezTo>
                        <a:cubicBezTo>
                          <a:pt x="255" y="670"/>
                          <a:pt x="260" y="679"/>
                          <a:pt x="260" y="689"/>
                        </a:cubicBezTo>
                        <a:cubicBezTo>
                          <a:pt x="260" y="1081"/>
                          <a:pt x="260" y="1081"/>
                          <a:pt x="260" y="1081"/>
                        </a:cubicBezTo>
                        <a:cubicBezTo>
                          <a:pt x="260" y="1091"/>
                          <a:pt x="268" y="1099"/>
                          <a:pt x="279" y="1099"/>
                        </a:cubicBezTo>
                        <a:cubicBezTo>
                          <a:pt x="352" y="1099"/>
                          <a:pt x="352" y="1099"/>
                          <a:pt x="352" y="1099"/>
                        </a:cubicBezTo>
                        <a:cubicBezTo>
                          <a:pt x="363" y="1099"/>
                          <a:pt x="372" y="1091"/>
                          <a:pt x="373" y="1081"/>
                        </a:cubicBezTo>
                        <a:cubicBezTo>
                          <a:pt x="415" y="509"/>
                          <a:pt x="415" y="509"/>
                          <a:pt x="415" y="509"/>
                        </a:cubicBezTo>
                        <a:cubicBezTo>
                          <a:pt x="416" y="499"/>
                          <a:pt x="424" y="487"/>
                          <a:pt x="433" y="482"/>
                        </a:cubicBezTo>
                        <a:lnTo>
                          <a:pt x="478" y="458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9" name="Oval 235"/>
                  <p:cNvSpPr>
                    <a:spLocks noChangeArrowheads="1"/>
                  </p:cNvSpPr>
                  <p:nvPr/>
                </p:nvSpPr>
                <p:spPr bwMode="auto">
                  <a:xfrm>
                    <a:off x="3053621" y="7201994"/>
                    <a:ext cx="103188" cy="103188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0" name="Freeform 236"/>
                  <p:cNvSpPr>
                    <a:spLocks/>
                  </p:cNvSpPr>
                  <p:nvPr/>
                </p:nvSpPr>
                <p:spPr bwMode="auto">
                  <a:xfrm>
                    <a:off x="2994884" y="7321056"/>
                    <a:ext cx="217488" cy="482600"/>
                  </a:xfrm>
                  <a:custGeom>
                    <a:avLst/>
                    <a:gdLst>
                      <a:gd name="T0" fmla="*/ 587 w 607"/>
                      <a:gd name="T1" fmla="*/ 562 h 1351"/>
                      <a:gd name="T2" fmla="*/ 606 w 607"/>
                      <a:gd name="T3" fmla="*/ 529 h 1351"/>
                      <a:gd name="T4" fmla="*/ 569 w 607"/>
                      <a:gd name="T5" fmla="*/ 64 h 1351"/>
                      <a:gd name="T6" fmla="*/ 545 w 607"/>
                      <a:gd name="T7" fmla="*/ 35 h 1351"/>
                      <a:gd name="T8" fmla="*/ 438 w 607"/>
                      <a:gd name="T9" fmla="*/ 6 h 1351"/>
                      <a:gd name="T10" fmla="*/ 413 w 607"/>
                      <a:gd name="T11" fmla="*/ 0 h 1351"/>
                      <a:gd name="T12" fmla="*/ 398 w 607"/>
                      <a:gd name="T13" fmla="*/ 19 h 1351"/>
                      <a:gd name="T14" fmla="*/ 319 w 607"/>
                      <a:gd name="T15" fmla="*/ 128 h 1351"/>
                      <a:gd name="T16" fmla="*/ 292 w 607"/>
                      <a:gd name="T17" fmla="*/ 128 h 1351"/>
                      <a:gd name="T18" fmla="*/ 213 w 607"/>
                      <a:gd name="T19" fmla="*/ 19 h 1351"/>
                      <a:gd name="T20" fmla="*/ 197 w 607"/>
                      <a:gd name="T21" fmla="*/ 0 h 1351"/>
                      <a:gd name="T22" fmla="*/ 173 w 607"/>
                      <a:gd name="T23" fmla="*/ 6 h 1351"/>
                      <a:gd name="T24" fmla="*/ 62 w 607"/>
                      <a:gd name="T25" fmla="*/ 35 h 1351"/>
                      <a:gd name="T26" fmla="*/ 38 w 607"/>
                      <a:gd name="T27" fmla="*/ 64 h 1351"/>
                      <a:gd name="T28" fmla="*/ 1 w 607"/>
                      <a:gd name="T29" fmla="*/ 529 h 1351"/>
                      <a:gd name="T30" fmla="*/ 19 w 607"/>
                      <a:gd name="T31" fmla="*/ 562 h 1351"/>
                      <a:gd name="T32" fmla="*/ 81 w 607"/>
                      <a:gd name="T33" fmla="*/ 595 h 1351"/>
                      <a:gd name="T34" fmla="*/ 103 w 607"/>
                      <a:gd name="T35" fmla="*/ 629 h 1351"/>
                      <a:gd name="T36" fmla="*/ 156 w 607"/>
                      <a:gd name="T37" fmla="*/ 1328 h 1351"/>
                      <a:gd name="T38" fmla="*/ 180 w 607"/>
                      <a:gd name="T39" fmla="*/ 1351 h 1351"/>
                      <a:gd name="T40" fmla="*/ 268 w 607"/>
                      <a:gd name="T41" fmla="*/ 1351 h 1351"/>
                      <a:gd name="T42" fmla="*/ 291 w 607"/>
                      <a:gd name="T43" fmla="*/ 1328 h 1351"/>
                      <a:gd name="T44" fmla="*/ 291 w 607"/>
                      <a:gd name="T45" fmla="*/ 846 h 1351"/>
                      <a:gd name="T46" fmla="*/ 305 w 607"/>
                      <a:gd name="T47" fmla="*/ 823 h 1351"/>
                      <a:gd name="T48" fmla="*/ 319 w 607"/>
                      <a:gd name="T49" fmla="*/ 846 h 1351"/>
                      <a:gd name="T50" fmla="*/ 319 w 607"/>
                      <a:gd name="T51" fmla="*/ 1328 h 1351"/>
                      <a:gd name="T52" fmla="*/ 342 w 607"/>
                      <a:gd name="T53" fmla="*/ 1351 h 1351"/>
                      <a:gd name="T54" fmla="*/ 433 w 607"/>
                      <a:gd name="T55" fmla="*/ 1351 h 1351"/>
                      <a:gd name="T56" fmla="*/ 458 w 607"/>
                      <a:gd name="T57" fmla="*/ 1328 h 1351"/>
                      <a:gd name="T58" fmla="*/ 511 w 607"/>
                      <a:gd name="T59" fmla="*/ 625 h 1351"/>
                      <a:gd name="T60" fmla="*/ 533 w 607"/>
                      <a:gd name="T61" fmla="*/ 592 h 1351"/>
                      <a:gd name="T62" fmla="*/ 587 w 607"/>
                      <a:gd name="T63" fmla="*/ 562 h 13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607" h="1351">
                        <a:moveTo>
                          <a:pt x="587" y="562"/>
                        </a:moveTo>
                        <a:cubicBezTo>
                          <a:pt x="598" y="557"/>
                          <a:pt x="607" y="541"/>
                          <a:pt x="606" y="529"/>
                        </a:cubicBezTo>
                        <a:cubicBezTo>
                          <a:pt x="569" y="64"/>
                          <a:pt x="569" y="64"/>
                          <a:pt x="569" y="64"/>
                        </a:cubicBezTo>
                        <a:cubicBezTo>
                          <a:pt x="568" y="51"/>
                          <a:pt x="557" y="38"/>
                          <a:pt x="545" y="35"/>
                        </a:cubicBezTo>
                        <a:cubicBezTo>
                          <a:pt x="438" y="6"/>
                          <a:pt x="438" y="6"/>
                          <a:pt x="438" y="6"/>
                        </a:cubicBezTo>
                        <a:cubicBezTo>
                          <a:pt x="426" y="3"/>
                          <a:pt x="415" y="0"/>
                          <a:pt x="413" y="0"/>
                        </a:cubicBezTo>
                        <a:cubicBezTo>
                          <a:pt x="412" y="0"/>
                          <a:pt x="405" y="8"/>
                          <a:pt x="398" y="19"/>
                        </a:cubicBezTo>
                        <a:cubicBezTo>
                          <a:pt x="319" y="128"/>
                          <a:pt x="319" y="128"/>
                          <a:pt x="319" y="128"/>
                        </a:cubicBezTo>
                        <a:cubicBezTo>
                          <a:pt x="311" y="138"/>
                          <a:pt x="299" y="138"/>
                          <a:pt x="292" y="128"/>
                        </a:cubicBezTo>
                        <a:cubicBezTo>
                          <a:pt x="213" y="19"/>
                          <a:pt x="213" y="19"/>
                          <a:pt x="213" y="19"/>
                        </a:cubicBezTo>
                        <a:cubicBezTo>
                          <a:pt x="205" y="8"/>
                          <a:pt x="198" y="0"/>
                          <a:pt x="197" y="0"/>
                        </a:cubicBezTo>
                        <a:cubicBezTo>
                          <a:pt x="196" y="0"/>
                          <a:pt x="185" y="3"/>
                          <a:pt x="173" y="6"/>
                        </a:cubicBezTo>
                        <a:cubicBezTo>
                          <a:pt x="62" y="35"/>
                          <a:pt x="62" y="35"/>
                          <a:pt x="62" y="35"/>
                        </a:cubicBezTo>
                        <a:cubicBezTo>
                          <a:pt x="50" y="38"/>
                          <a:pt x="39" y="51"/>
                          <a:pt x="38" y="64"/>
                        </a:cubicBezTo>
                        <a:cubicBezTo>
                          <a:pt x="1" y="529"/>
                          <a:pt x="1" y="529"/>
                          <a:pt x="1" y="529"/>
                        </a:cubicBezTo>
                        <a:cubicBezTo>
                          <a:pt x="0" y="541"/>
                          <a:pt x="8" y="557"/>
                          <a:pt x="19" y="562"/>
                        </a:cubicBezTo>
                        <a:cubicBezTo>
                          <a:pt x="81" y="595"/>
                          <a:pt x="81" y="595"/>
                          <a:pt x="81" y="595"/>
                        </a:cubicBezTo>
                        <a:cubicBezTo>
                          <a:pt x="92" y="601"/>
                          <a:pt x="102" y="617"/>
                          <a:pt x="103" y="629"/>
                        </a:cubicBezTo>
                        <a:cubicBezTo>
                          <a:pt x="156" y="1328"/>
                          <a:pt x="156" y="1328"/>
                          <a:pt x="156" y="1328"/>
                        </a:cubicBezTo>
                        <a:cubicBezTo>
                          <a:pt x="157" y="1340"/>
                          <a:pt x="168" y="1351"/>
                          <a:pt x="180" y="1351"/>
                        </a:cubicBezTo>
                        <a:cubicBezTo>
                          <a:pt x="268" y="1351"/>
                          <a:pt x="268" y="1351"/>
                          <a:pt x="268" y="1351"/>
                        </a:cubicBezTo>
                        <a:cubicBezTo>
                          <a:pt x="281" y="1351"/>
                          <a:pt x="291" y="1340"/>
                          <a:pt x="291" y="1328"/>
                        </a:cubicBezTo>
                        <a:cubicBezTo>
                          <a:pt x="291" y="846"/>
                          <a:pt x="291" y="846"/>
                          <a:pt x="291" y="846"/>
                        </a:cubicBezTo>
                        <a:cubicBezTo>
                          <a:pt x="291" y="834"/>
                          <a:pt x="297" y="823"/>
                          <a:pt x="305" y="823"/>
                        </a:cubicBezTo>
                        <a:cubicBezTo>
                          <a:pt x="313" y="823"/>
                          <a:pt x="319" y="834"/>
                          <a:pt x="319" y="846"/>
                        </a:cubicBezTo>
                        <a:cubicBezTo>
                          <a:pt x="319" y="1328"/>
                          <a:pt x="319" y="1328"/>
                          <a:pt x="319" y="1328"/>
                        </a:cubicBezTo>
                        <a:cubicBezTo>
                          <a:pt x="319" y="1340"/>
                          <a:pt x="330" y="1351"/>
                          <a:pt x="342" y="1351"/>
                        </a:cubicBezTo>
                        <a:cubicBezTo>
                          <a:pt x="433" y="1351"/>
                          <a:pt x="433" y="1351"/>
                          <a:pt x="433" y="1351"/>
                        </a:cubicBezTo>
                        <a:cubicBezTo>
                          <a:pt x="446" y="1351"/>
                          <a:pt x="457" y="1340"/>
                          <a:pt x="458" y="1328"/>
                        </a:cubicBezTo>
                        <a:cubicBezTo>
                          <a:pt x="511" y="625"/>
                          <a:pt x="511" y="625"/>
                          <a:pt x="511" y="625"/>
                        </a:cubicBezTo>
                        <a:cubicBezTo>
                          <a:pt x="511" y="613"/>
                          <a:pt x="521" y="598"/>
                          <a:pt x="533" y="592"/>
                        </a:cubicBezTo>
                        <a:lnTo>
                          <a:pt x="587" y="562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1" name="Oval 237"/>
                  <p:cNvSpPr>
                    <a:spLocks noChangeArrowheads="1"/>
                  </p:cNvSpPr>
                  <p:nvPr/>
                </p:nvSpPr>
                <p:spPr bwMode="auto">
                  <a:xfrm>
                    <a:off x="3671938" y="7145873"/>
                    <a:ext cx="114300" cy="114300"/>
                  </a:xfrm>
                  <a:prstGeom prst="ellipse">
                    <a:avLst/>
                  </a:pr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2" name="Oval 238"/>
                  <p:cNvSpPr>
                    <a:spLocks noChangeArrowheads="1"/>
                  </p:cNvSpPr>
                  <p:nvPr/>
                </p:nvSpPr>
                <p:spPr bwMode="auto">
                  <a:xfrm>
                    <a:off x="3237771" y="7103569"/>
                    <a:ext cx="127000" cy="127000"/>
                  </a:xfrm>
                  <a:prstGeom prst="ellipse">
                    <a:avLst/>
                  </a:pr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3" name="Freeform 239"/>
                  <p:cNvSpPr>
                    <a:spLocks/>
                  </p:cNvSpPr>
                  <p:nvPr/>
                </p:nvSpPr>
                <p:spPr bwMode="auto">
                  <a:xfrm>
                    <a:off x="3166334" y="7248031"/>
                    <a:ext cx="266700" cy="596900"/>
                  </a:xfrm>
                  <a:custGeom>
                    <a:avLst/>
                    <a:gdLst>
                      <a:gd name="T0" fmla="*/ 725 w 749"/>
                      <a:gd name="T1" fmla="*/ 694 h 1667"/>
                      <a:gd name="T2" fmla="*/ 748 w 749"/>
                      <a:gd name="T3" fmla="*/ 653 h 1667"/>
                      <a:gd name="T4" fmla="*/ 702 w 749"/>
                      <a:gd name="T5" fmla="*/ 78 h 1667"/>
                      <a:gd name="T6" fmla="*/ 673 w 749"/>
                      <a:gd name="T7" fmla="*/ 43 h 1667"/>
                      <a:gd name="T8" fmla="*/ 541 w 749"/>
                      <a:gd name="T9" fmla="*/ 7 h 1667"/>
                      <a:gd name="T10" fmla="*/ 511 w 749"/>
                      <a:gd name="T11" fmla="*/ 0 h 1667"/>
                      <a:gd name="T12" fmla="*/ 492 w 749"/>
                      <a:gd name="T13" fmla="*/ 23 h 1667"/>
                      <a:gd name="T14" fmla="*/ 394 w 749"/>
                      <a:gd name="T15" fmla="*/ 158 h 1667"/>
                      <a:gd name="T16" fmla="*/ 361 w 749"/>
                      <a:gd name="T17" fmla="*/ 158 h 1667"/>
                      <a:gd name="T18" fmla="*/ 263 w 749"/>
                      <a:gd name="T19" fmla="*/ 23 h 1667"/>
                      <a:gd name="T20" fmla="*/ 244 w 749"/>
                      <a:gd name="T21" fmla="*/ 0 h 1667"/>
                      <a:gd name="T22" fmla="*/ 213 w 749"/>
                      <a:gd name="T23" fmla="*/ 7 h 1667"/>
                      <a:gd name="T24" fmla="*/ 77 w 749"/>
                      <a:gd name="T25" fmla="*/ 43 h 1667"/>
                      <a:gd name="T26" fmla="*/ 47 w 749"/>
                      <a:gd name="T27" fmla="*/ 78 h 1667"/>
                      <a:gd name="T28" fmla="*/ 1 w 749"/>
                      <a:gd name="T29" fmla="*/ 653 h 1667"/>
                      <a:gd name="T30" fmla="*/ 24 w 749"/>
                      <a:gd name="T31" fmla="*/ 694 h 1667"/>
                      <a:gd name="T32" fmla="*/ 101 w 749"/>
                      <a:gd name="T33" fmla="*/ 735 h 1667"/>
                      <a:gd name="T34" fmla="*/ 128 w 749"/>
                      <a:gd name="T35" fmla="*/ 777 h 1667"/>
                      <a:gd name="T36" fmla="*/ 193 w 749"/>
                      <a:gd name="T37" fmla="*/ 1639 h 1667"/>
                      <a:gd name="T38" fmla="*/ 223 w 749"/>
                      <a:gd name="T39" fmla="*/ 1667 h 1667"/>
                      <a:gd name="T40" fmla="*/ 331 w 749"/>
                      <a:gd name="T41" fmla="*/ 1667 h 1667"/>
                      <a:gd name="T42" fmla="*/ 360 w 749"/>
                      <a:gd name="T43" fmla="*/ 1639 h 1667"/>
                      <a:gd name="T44" fmla="*/ 360 w 749"/>
                      <a:gd name="T45" fmla="*/ 1045 h 1667"/>
                      <a:gd name="T46" fmla="*/ 377 w 749"/>
                      <a:gd name="T47" fmla="*/ 1016 h 1667"/>
                      <a:gd name="T48" fmla="*/ 395 w 749"/>
                      <a:gd name="T49" fmla="*/ 1045 h 1667"/>
                      <a:gd name="T50" fmla="*/ 395 w 749"/>
                      <a:gd name="T51" fmla="*/ 1639 h 1667"/>
                      <a:gd name="T52" fmla="*/ 423 w 749"/>
                      <a:gd name="T53" fmla="*/ 1667 h 1667"/>
                      <a:gd name="T54" fmla="*/ 535 w 749"/>
                      <a:gd name="T55" fmla="*/ 1667 h 1667"/>
                      <a:gd name="T56" fmla="*/ 566 w 749"/>
                      <a:gd name="T57" fmla="*/ 1639 h 1667"/>
                      <a:gd name="T58" fmla="*/ 631 w 749"/>
                      <a:gd name="T59" fmla="*/ 772 h 1667"/>
                      <a:gd name="T60" fmla="*/ 658 w 749"/>
                      <a:gd name="T61" fmla="*/ 730 h 1667"/>
                      <a:gd name="T62" fmla="*/ 725 w 749"/>
                      <a:gd name="T63" fmla="*/ 694 h 16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749" h="1667">
                        <a:moveTo>
                          <a:pt x="725" y="694"/>
                        </a:moveTo>
                        <a:cubicBezTo>
                          <a:pt x="739" y="687"/>
                          <a:pt x="749" y="668"/>
                          <a:pt x="748" y="653"/>
                        </a:cubicBezTo>
                        <a:cubicBezTo>
                          <a:pt x="702" y="78"/>
                          <a:pt x="702" y="78"/>
                          <a:pt x="702" y="78"/>
                        </a:cubicBezTo>
                        <a:cubicBezTo>
                          <a:pt x="701" y="63"/>
                          <a:pt x="688" y="47"/>
                          <a:pt x="673" y="43"/>
                        </a:cubicBezTo>
                        <a:cubicBezTo>
                          <a:pt x="541" y="7"/>
                          <a:pt x="541" y="7"/>
                          <a:pt x="541" y="7"/>
                        </a:cubicBezTo>
                        <a:cubicBezTo>
                          <a:pt x="526" y="3"/>
                          <a:pt x="512" y="0"/>
                          <a:pt x="511" y="0"/>
                        </a:cubicBezTo>
                        <a:cubicBezTo>
                          <a:pt x="509" y="0"/>
                          <a:pt x="501" y="10"/>
                          <a:pt x="492" y="23"/>
                        </a:cubicBezTo>
                        <a:cubicBezTo>
                          <a:pt x="394" y="158"/>
                          <a:pt x="394" y="158"/>
                          <a:pt x="394" y="158"/>
                        </a:cubicBezTo>
                        <a:cubicBezTo>
                          <a:pt x="385" y="170"/>
                          <a:pt x="370" y="170"/>
                          <a:pt x="361" y="158"/>
                        </a:cubicBezTo>
                        <a:cubicBezTo>
                          <a:pt x="263" y="23"/>
                          <a:pt x="263" y="23"/>
                          <a:pt x="263" y="23"/>
                        </a:cubicBezTo>
                        <a:cubicBezTo>
                          <a:pt x="254" y="10"/>
                          <a:pt x="245" y="0"/>
                          <a:pt x="244" y="0"/>
                        </a:cubicBezTo>
                        <a:cubicBezTo>
                          <a:pt x="242" y="0"/>
                          <a:pt x="229" y="3"/>
                          <a:pt x="213" y="7"/>
                        </a:cubicBezTo>
                        <a:cubicBezTo>
                          <a:pt x="77" y="43"/>
                          <a:pt x="77" y="43"/>
                          <a:pt x="77" y="43"/>
                        </a:cubicBezTo>
                        <a:cubicBezTo>
                          <a:pt x="62" y="47"/>
                          <a:pt x="48" y="63"/>
                          <a:pt x="47" y="78"/>
                        </a:cubicBezTo>
                        <a:cubicBezTo>
                          <a:pt x="1" y="653"/>
                          <a:pt x="1" y="653"/>
                          <a:pt x="1" y="653"/>
                        </a:cubicBezTo>
                        <a:cubicBezTo>
                          <a:pt x="0" y="668"/>
                          <a:pt x="11" y="687"/>
                          <a:pt x="24" y="694"/>
                        </a:cubicBezTo>
                        <a:cubicBezTo>
                          <a:pt x="101" y="735"/>
                          <a:pt x="101" y="735"/>
                          <a:pt x="101" y="735"/>
                        </a:cubicBezTo>
                        <a:cubicBezTo>
                          <a:pt x="114" y="742"/>
                          <a:pt x="127" y="761"/>
                          <a:pt x="128" y="777"/>
                        </a:cubicBezTo>
                        <a:cubicBezTo>
                          <a:pt x="193" y="1639"/>
                          <a:pt x="193" y="1639"/>
                          <a:pt x="193" y="1639"/>
                        </a:cubicBezTo>
                        <a:cubicBezTo>
                          <a:pt x="194" y="1655"/>
                          <a:pt x="207" y="1667"/>
                          <a:pt x="223" y="1667"/>
                        </a:cubicBezTo>
                        <a:cubicBezTo>
                          <a:pt x="331" y="1667"/>
                          <a:pt x="331" y="1667"/>
                          <a:pt x="331" y="1667"/>
                        </a:cubicBezTo>
                        <a:cubicBezTo>
                          <a:pt x="347" y="1667"/>
                          <a:pt x="360" y="1655"/>
                          <a:pt x="360" y="1639"/>
                        </a:cubicBezTo>
                        <a:cubicBezTo>
                          <a:pt x="360" y="1045"/>
                          <a:pt x="360" y="1045"/>
                          <a:pt x="360" y="1045"/>
                        </a:cubicBezTo>
                        <a:cubicBezTo>
                          <a:pt x="360" y="1029"/>
                          <a:pt x="368" y="1016"/>
                          <a:pt x="377" y="1016"/>
                        </a:cubicBezTo>
                        <a:cubicBezTo>
                          <a:pt x="387" y="1016"/>
                          <a:pt x="395" y="1029"/>
                          <a:pt x="395" y="1045"/>
                        </a:cubicBezTo>
                        <a:cubicBezTo>
                          <a:pt x="395" y="1639"/>
                          <a:pt x="395" y="1639"/>
                          <a:pt x="395" y="1639"/>
                        </a:cubicBezTo>
                        <a:cubicBezTo>
                          <a:pt x="395" y="1655"/>
                          <a:pt x="408" y="1667"/>
                          <a:pt x="423" y="1667"/>
                        </a:cubicBezTo>
                        <a:cubicBezTo>
                          <a:pt x="535" y="1667"/>
                          <a:pt x="535" y="1667"/>
                          <a:pt x="535" y="1667"/>
                        </a:cubicBezTo>
                        <a:cubicBezTo>
                          <a:pt x="551" y="1667"/>
                          <a:pt x="565" y="1655"/>
                          <a:pt x="566" y="1639"/>
                        </a:cubicBezTo>
                        <a:cubicBezTo>
                          <a:pt x="631" y="772"/>
                          <a:pt x="631" y="772"/>
                          <a:pt x="631" y="772"/>
                        </a:cubicBezTo>
                        <a:cubicBezTo>
                          <a:pt x="632" y="756"/>
                          <a:pt x="644" y="738"/>
                          <a:pt x="658" y="730"/>
                        </a:cubicBezTo>
                        <a:lnTo>
                          <a:pt x="725" y="694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4" name="Oval 240"/>
                  <p:cNvSpPr>
                    <a:spLocks noChangeArrowheads="1"/>
                  </p:cNvSpPr>
                  <p:nvPr/>
                </p:nvSpPr>
                <p:spPr bwMode="auto">
                  <a:xfrm>
                    <a:off x="3447321" y="7041656"/>
                    <a:ext cx="139700" cy="141288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5" name="Freeform 241"/>
                  <p:cNvSpPr>
                    <a:spLocks/>
                  </p:cNvSpPr>
                  <p:nvPr/>
                </p:nvSpPr>
                <p:spPr bwMode="auto">
                  <a:xfrm>
                    <a:off x="3366359" y="7203581"/>
                    <a:ext cx="298450" cy="661988"/>
                  </a:xfrm>
                  <a:custGeom>
                    <a:avLst/>
                    <a:gdLst>
                      <a:gd name="T0" fmla="*/ 805 w 832"/>
                      <a:gd name="T1" fmla="*/ 771 h 1852"/>
                      <a:gd name="T2" fmla="*/ 831 w 832"/>
                      <a:gd name="T3" fmla="*/ 725 h 1852"/>
                      <a:gd name="T4" fmla="*/ 780 w 832"/>
                      <a:gd name="T5" fmla="*/ 87 h 1852"/>
                      <a:gd name="T6" fmla="*/ 747 w 832"/>
                      <a:gd name="T7" fmla="*/ 47 h 1852"/>
                      <a:gd name="T8" fmla="*/ 601 w 832"/>
                      <a:gd name="T9" fmla="*/ 8 h 1852"/>
                      <a:gd name="T10" fmla="*/ 567 w 832"/>
                      <a:gd name="T11" fmla="*/ 0 h 1852"/>
                      <a:gd name="T12" fmla="*/ 546 w 832"/>
                      <a:gd name="T13" fmla="*/ 25 h 1852"/>
                      <a:gd name="T14" fmla="*/ 437 w 832"/>
                      <a:gd name="T15" fmla="*/ 175 h 1852"/>
                      <a:gd name="T16" fmla="*/ 400 w 832"/>
                      <a:gd name="T17" fmla="*/ 175 h 1852"/>
                      <a:gd name="T18" fmla="*/ 292 w 832"/>
                      <a:gd name="T19" fmla="*/ 25 h 1852"/>
                      <a:gd name="T20" fmla="*/ 270 w 832"/>
                      <a:gd name="T21" fmla="*/ 0 h 1852"/>
                      <a:gd name="T22" fmla="*/ 237 w 832"/>
                      <a:gd name="T23" fmla="*/ 8 h 1852"/>
                      <a:gd name="T24" fmla="*/ 85 w 832"/>
                      <a:gd name="T25" fmla="*/ 47 h 1852"/>
                      <a:gd name="T26" fmla="*/ 52 w 832"/>
                      <a:gd name="T27" fmla="*/ 87 h 1852"/>
                      <a:gd name="T28" fmla="*/ 1 w 832"/>
                      <a:gd name="T29" fmla="*/ 725 h 1852"/>
                      <a:gd name="T30" fmla="*/ 27 w 832"/>
                      <a:gd name="T31" fmla="*/ 771 h 1852"/>
                      <a:gd name="T32" fmla="*/ 111 w 832"/>
                      <a:gd name="T33" fmla="*/ 816 h 1852"/>
                      <a:gd name="T34" fmla="*/ 142 w 832"/>
                      <a:gd name="T35" fmla="*/ 863 h 1852"/>
                      <a:gd name="T36" fmla="*/ 214 w 832"/>
                      <a:gd name="T37" fmla="*/ 1821 h 1852"/>
                      <a:gd name="T38" fmla="*/ 247 w 832"/>
                      <a:gd name="T39" fmla="*/ 1852 h 1852"/>
                      <a:gd name="T40" fmla="*/ 368 w 832"/>
                      <a:gd name="T41" fmla="*/ 1852 h 1852"/>
                      <a:gd name="T42" fmla="*/ 399 w 832"/>
                      <a:gd name="T43" fmla="*/ 1821 h 1852"/>
                      <a:gd name="T44" fmla="*/ 399 w 832"/>
                      <a:gd name="T45" fmla="*/ 1161 h 1852"/>
                      <a:gd name="T46" fmla="*/ 419 w 832"/>
                      <a:gd name="T47" fmla="*/ 1129 h 1852"/>
                      <a:gd name="T48" fmla="*/ 438 w 832"/>
                      <a:gd name="T49" fmla="*/ 1161 h 1852"/>
                      <a:gd name="T50" fmla="*/ 438 w 832"/>
                      <a:gd name="T51" fmla="*/ 1821 h 1852"/>
                      <a:gd name="T52" fmla="*/ 470 w 832"/>
                      <a:gd name="T53" fmla="*/ 1852 h 1852"/>
                      <a:gd name="T54" fmla="*/ 594 w 832"/>
                      <a:gd name="T55" fmla="*/ 1852 h 1852"/>
                      <a:gd name="T56" fmla="*/ 628 w 832"/>
                      <a:gd name="T57" fmla="*/ 1821 h 1852"/>
                      <a:gd name="T58" fmla="*/ 700 w 832"/>
                      <a:gd name="T59" fmla="*/ 857 h 1852"/>
                      <a:gd name="T60" fmla="*/ 731 w 832"/>
                      <a:gd name="T61" fmla="*/ 811 h 1852"/>
                      <a:gd name="T62" fmla="*/ 805 w 832"/>
                      <a:gd name="T63" fmla="*/ 771 h 18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832" h="1852">
                        <a:moveTo>
                          <a:pt x="805" y="771"/>
                        </a:moveTo>
                        <a:cubicBezTo>
                          <a:pt x="821" y="763"/>
                          <a:pt x="832" y="742"/>
                          <a:pt x="831" y="725"/>
                        </a:cubicBezTo>
                        <a:cubicBezTo>
                          <a:pt x="780" y="87"/>
                          <a:pt x="780" y="87"/>
                          <a:pt x="780" y="87"/>
                        </a:cubicBezTo>
                        <a:cubicBezTo>
                          <a:pt x="779" y="69"/>
                          <a:pt x="764" y="52"/>
                          <a:pt x="747" y="47"/>
                        </a:cubicBezTo>
                        <a:cubicBezTo>
                          <a:pt x="601" y="8"/>
                          <a:pt x="601" y="8"/>
                          <a:pt x="601" y="8"/>
                        </a:cubicBezTo>
                        <a:cubicBezTo>
                          <a:pt x="584" y="3"/>
                          <a:pt x="569" y="0"/>
                          <a:pt x="567" y="0"/>
                        </a:cubicBezTo>
                        <a:cubicBezTo>
                          <a:pt x="566" y="0"/>
                          <a:pt x="556" y="11"/>
                          <a:pt x="546" y="25"/>
                        </a:cubicBezTo>
                        <a:cubicBezTo>
                          <a:pt x="437" y="175"/>
                          <a:pt x="437" y="175"/>
                          <a:pt x="437" y="175"/>
                        </a:cubicBezTo>
                        <a:cubicBezTo>
                          <a:pt x="427" y="189"/>
                          <a:pt x="410" y="189"/>
                          <a:pt x="400" y="175"/>
                        </a:cubicBezTo>
                        <a:cubicBezTo>
                          <a:pt x="292" y="25"/>
                          <a:pt x="292" y="25"/>
                          <a:pt x="292" y="25"/>
                        </a:cubicBezTo>
                        <a:cubicBezTo>
                          <a:pt x="282" y="11"/>
                          <a:pt x="272" y="0"/>
                          <a:pt x="270" y="0"/>
                        </a:cubicBezTo>
                        <a:cubicBezTo>
                          <a:pt x="269" y="0"/>
                          <a:pt x="254" y="3"/>
                          <a:pt x="237" y="8"/>
                        </a:cubicBezTo>
                        <a:cubicBezTo>
                          <a:pt x="85" y="47"/>
                          <a:pt x="85" y="47"/>
                          <a:pt x="85" y="47"/>
                        </a:cubicBezTo>
                        <a:cubicBezTo>
                          <a:pt x="68" y="52"/>
                          <a:pt x="53" y="69"/>
                          <a:pt x="52" y="87"/>
                        </a:cubicBezTo>
                        <a:cubicBezTo>
                          <a:pt x="1" y="725"/>
                          <a:pt x="1" y="725"/>
                          <a:pt x="1" y="725"/>
                        </a:cubicBezTo>
                        <a:cubicBezTo>
                          <a:pt x="0" y="742"/>
                          <a:pt x="11" y="763"/>
                          <a:pt x="27" y="771"/>
                        </a:cubicBezTo>
                        <a:cubicBezTo>
                          <a:pt x="111" y="816"/>
                          <a:pt x="111" y="816"/>
                          <a:pt x="111" y="816"/>
                        </a:cubicBezTo>
                        <a:cubicBezTo>
                          <a:pt x="127" y="825"/>
                          <a:pt x="140" y="845"/>
                          <a:pt x="142" y="863"/>
                        </a:cubicBezTo>
                        <a:cubicBezTo>
                          <a:pt x="214" y="1821"/>
                          <a:pt x="214" y="1821"/>
                          <a:pt x="214" y="1821"/>
                        </a:cubicBezTo>
                        <a:cubicBezTo>
                          <a:pt x="215" y="1838"/>
                          <a:pt x="230" y="1852"/>
                          <a:pt x="247" y="1852"/>
                        </a:cubicBezTo>
                        <a:cubicBezTo>
                          <a:pt x="368" y="1852"/>
                          <a:pt x="368" y="1852"/>
                          <a:pt x="368" y="1852"/>
                        </a:cubicBezTo>
                        <a:cubicBezTo>
                          <a:pt x="385" y="1852"/>
                          <a:pt x="399" y="1838"/>
                          <a:pt x="399" y="1821"/>
                        </a:cubicBezTo>
                        <a:cubicBezTo>
                          <a:pt x="399" y="1161"/>
                          <a:pt x="399" y="1161"/>
                          <a:pt x="399" y="1161"/>
                        </a:cubicBezTo>
                        <a:cubicBezTo>
                          <a:pt x="399" y="1143"/>
                          <a:pt x="408" y="1129"/>
                          <a:pt x="419" y="1129"/>
                        </a:cubicBezTo>
                        <a:cubicBezTo>
                          <a:pt x="429" y="1129"/>
                          <a:pt x="438" y="1143"/>
                          <a:pt x="438" y="1161"/>
                        </a:cubicBezTo>
                        <a:cubicBezTo>
                          <a:pt x="438" y="1821"/>
                          <a:pt x="438" y="1821"/>
                          <a:pt x="438" y="1821"/>
                        </a:cubicBezTo>
                        <a:cubicBezTo>
                          <a:pt x="438" y="1838"/>
                          <a:pt x="452" y="1852"/>
                          <a:pt x="470" y="1852"/>
                        </a:cubicBezTo>
                        <a:cubicBezTo>
                          <a:pt x="594" y="1852"/>
                          <a:pt x="594" y="1852"/>
                          <a:pt x="594" y="1852"/>
                        </a:cubicBezTo>
                        <a:cubicBezTo>
                          <a:pt x="612" y="1852"/>
                          <a:pt x="627" y="1838"/>
                          <a:pt x="628" y="1821"/>
                        </a:cubicBezTo>
                        <a:cubicBezTo>
                          <a:pt x="700" y="857"/>
                          <a:pt x="700" y="857"/>
                          <a:pt x="700" y="857"/>
                        </a:cubicBezTo>
                        <a:cubicBezTo>
                          <a:pt x="702" y="840"/>
                          <a:pt x="715" y="819"/>
                          <a:pt x="731" y="811"/>
                        </a:cubicBezTo>
                        <a:lnTo>
                          <a:pt x="805" y="771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6" name="Freeform 242"/>
                  <p:cNvSpPr>
                    <a:spLocks noEditPoints="1"/>
                  </p:cNvSpPr>
                  <p:nvPr/>
                </p:nvSpPr>
                <p:spPr bwMode="auto">
                  <a:xfrm>
                    <a:off x="3737834" y="7270256"/>
                    <a:ext cx="1019175" cy="596900"/>
                  </a:xfrm>
                  <a:custGeom>
                    <a:avLst/>
                    <a:gdLst>
                      <a:gd name="T0" fmla="*/ 16 w 2848"/>
                      <a:gd name="T1" fmla="*/ 381 h 1671"/>
                      <a:gd name="T2" fmla="*/ 183 w 2848"/>
                      <a:gd name="T3" fmla="*/ 485 h 1671"/>
                      <a:gd name="T4" fmla="*/ 302 w 2848"/>
                      <a:gd name="T5" fmla="*/ 505 h 1671"/>
                      <a:gd name="T6" fmla="*/ 284 w 2848"/>
                      <a:gd name="T7" fmla="*/ 516 h 1671"/>
                      <a:gd name="T8" fmla="*/ 94 w 2848"/>
                      <a:gd name="T9" fmla="*/ 815 h 1671"/>
                      <a:gd name="T10" fmla="*/ 123 w 2848"/>
                      <a:gd name="T11" fmla="*/ 1104 h 1671"/>
                      <a:gd name="T12" fmla="*/ 123 w 2848"/>
                      <a:gd name="T13" fmla="*/ 1567 h 1671"/>
                      <a:gd name="T14" fmla="*/ 227 w 2848"/>
                      <a:gd name="T15" fmla="*/ 1671 h 1671"/>
                      <a:gd name="T16" fmla="*/ 506 w 2848"/>
                      <a:gd name="T17" fmla="*/ 1671 h 1671"/>
                      <a:gd name="T18" fmla="*/ 610 w 2848"/>
                      <a:gd name="T19" fmla="*/ 1567 h 1671"/>
                      <a:gd name="T20" fmla="*/ 610 w 2848"/>
                      <a:gd name="T21" fmla="*/ 1395 h 1671"/>
                      <a:gd name="T22" fmla="*/ 2238 w 2848"/>
                      <a:gd name="T23" fmla="*/ 1395 h 1671"/>
                      <a:gd name="T24" fmla="*/ 2238 w 2848"/>
                      <a:gd name="T25" fmla="*/ 1567 h 1671"/>
                      <a:gd name="T26" fmla="*/ 2342 w 2848"/>
                      <a:gd name="T27" fmla="*/ 1671 h 1671"/>
                      <a:gd name="T28" fmla="*/ 2621 w 2848"/>
                      <a:gd name="T29" fmla="*/ 1671 h 1671"/>
                      <a:gd name="T30" fmla="*/ 2725 w 2848"/>
                      <a:gd name="T31" fmla="*/ 1567 h 1671"/>
                      <a:gd name="T32" fmla="*/ 2725 w 2848"/>
                      <a:gd name="T33" fmla="*/ 1104 h 1671"/>
                      <a:gd name="T34" fmla="*/ 2754 w 2848"/>
                      <a:gd name="T35" fmla="*/ 815 h 1671"/>
                      <a:gd name="T36" fmla="*/ 2564 w 2848"/>
                      <a:gd name="T37" fmla="*/ 516 h 1671"/>
                      <a:gd name="T38" fmla="*/ 2546 w 2848"/>
                      <a:gd name="T39" fmla="*/ 505 h 1671"/>
                      <a:gd name="T40" fmla="*/ 2664 w 2848"/>
                      <a:gd name="T41" fmla="*/ 485 h 1671"/>
                      <a:gd name="T42" fmla="*/ 2832 w 2848"/>
                      <a:gd name="T43" fmla="*/ 381 h 1671"/>
                      <a:gd name="T44" fmla="*/ 2686 w 2848"/>
                      <a:gd name="T45" fmla="*/ 319 h 1671"/>
                      <a:gd name="T46" fmla="*/ 2488 w 2848"/>
                      <a:gd name="T47" fmla="*/ 457 h 1671"/>
                      <a:gd name="T48" fmla="*/ 2085 w 2848"/>
                      <a:gd name="T49" fmla="*/ 61 h 1671"/>
                      <a:gd name="T50" fmla="*/ 1424 w 2848"/>
                      <a:gd name="T51" fmla="*/ 0 h 1671"/>
                      <a:gd name="T52" fmla="*/ 762 w 2848"/>
                      <a:gd name="T53" fmla="*/ 61 h 1671"/>
                      <a:gd name="T54" fmla="*/ 360 w 2848"/>
                      <a:gd name="T55" fmla="*/ 457 h 1671"/>
                      <a:gd name="T56" fmla="*/ 162 w 2848"/>
                      <a:gd name="T57" fmla="*/ 319 h 1671"/>
                      <a:gd name="T58" fmla="*/ 16 w 2848"/>
                      <a:gd name="T59" fmla="*/ 381 h 1671"/>
                      <a:gd name="T60" fmla="*/ 2380 w 2848"/>
                      <a:gd name="T61" fmla="*/ 458 h 1671"/>
                      <a:gd name="T62" fmla="*/ 1424 w 2848"/>
                      <a:gd name="T63" fmla="*/ 525 h 1671"/>
                      <a:gd name="T64" fmla="*/ 468 w 2848"/>
                      <a:gd name="T65" fmla="*/ 458 h 1671"/>
                      <a:gd name="T66" fmla="*/ 546 w 2848"/>
                      <a:gd name="T67" fmla="*/ 372 h 1671"/>
                      <a:gd name="T68" fmla="*/ 782 w 2848"/>
                      <a:gd name="T69" fmla="*/ 140 h 1671"/>
                      <a:gd name="T70" fmla="*/ 1424 w 2848"/>
                      <a:gd name="T71" fmla="*/ 81 h 1671"/>
                      <a:gd name="T72" fmla="*/ 2066 w 2848"/>
                      <a:gd name="T73" fmla="*/ 140 h 1671"/>
                      <a:gd name="T74" fmla="*/ 2302 w 2848"/>
                      <a:gd name="T75" fmla="*/ 372 h 1671"/>
                      <a:gd name="T76" fmla="*/ 2380 w 2848"/>
                      <a:gd name="T77" fmla="*/ 458 h 1671"/>
                      <a:gd name="T78" fmla="*/ 2085 w 2848"/>
                      <a:gd name="T79" fmla="*/ 844 h 1671"/>
                      <a:gd name="T80" fmla="*/ 2686 w 2848"/>
                      <a:gd name="T81" fmla="*/ 683 h 1671"/>
                      <a:gd name="T82" fmla="*/ 2551 w 2848"/>
                      <a:gd name="T83" fmla="*/ 964 h 1671"/>
                      <a:gd name="T84" fmla="*/ 2085 w 2848"/>
                      <a:gd name="T85" fmla="*/ 844 h 1671"/>
                      <a:gd name="T86" fmla="*/ 640 w 2848"/>
                      <a:gd name="T87" fmla="*/ 1203 h 1671"/>
                      <a:gd name="T88" fmla="*/ 1424 w 2848"/>
                      <a:gd name="T89" fmla="*/ 1068 h 1671"/>
                      <a:gd name="T90" fmla="*/ 2208 w 2848"/>
                      <a:gd name="T91" fmla="*/ 1203 h 1671"/>
                      <a:gd name="T92" fmla="*/ 1424 w 2848"/>
                      <a:gd name="T93" fmla="*/ 1255 h 1671"/>
                      <a:gd name="T94" fmla="*/ 640 w 2848"/>
                      <a:gd name="T95" fmla="*/ 1203 h 1671"/>
                      <a:gd name="T96" fmla="*/ 763 w 2848"/>
                      <a:gd name="T97" fmla="*/ 844 h 1671"/>
                      <a:gd name="T98" fmla="*/ 297 w 2848"/>
                      <a:gd name="T99" fmla="*/ 964 h 1671"/>
                      <a:gd name="T100" fmla="*/ 162 w 2848"/>
                      <a:gd name="T101" fmla="*/ 683 h 1671"/>
                      <a:gd name="T102" fmla="*/ 763 w 2848"/>
                      <a:gd name="T103" fmla="*/ 844 h 16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2848" h="1671">
                        <a:moveTo>
                          <a:pt x="16" y="381"/>
                        </a:moveTo>
                        <a:cubicBezTo>
                          <a:pt x="31" y="485"/>
                          <a:pt x="89" y="484"/>
                          <a:pt x="183" y="485"/>
                        </a:cubicBezTo>
                        <a:cubicBezTo>
                          <a:pt x="236" y="486"/>
                          <a:pt x="278" y="490"/>
                          <a:pt x="302" y="505"/>
                        </a:cubicBezTo>
                        <a:cubicBezTo>
                          <a:pt x="296" y="510"/>
                          <a:pt x="289" y="514"/>
                          <a:pt x="284" y="516"/>
                        </a:cubicBezTo>
                        <a:cubicBezTo>
                          <a:pt x="177" y="564"/>
                          <a:pt x="94" y="550"/>
                          <a:pt x="94" y="815"/>
                        </a:cubicBezTo>
                        <a:cubicBezTo>
                          <a:pt x="94" y="911"/>
                          <a:pt x="107" y="1013"/>
                          <a:pt x="123" y="1104"/>
                        </a:cubicBezTo>
                        <a:cubicBezTo>
                          <a:pt x="123" y="1567"/>
                          <a:pt x="123" y="1567"/>
                          <a:pt x="123" y="1567"/>
                        </a:cubicBezTo>
                        <a:cubicBezTo>
                          <a:pt x="123" y="1624"/>
                          <a:pt x="170" y="1671"/>
                          <a:pt x="227" y="1671"/>
                        </a:cubicBezTo>
                        <a:cubicBezTo>
                          <a:pt x="506" y="1671"/>
                          <a:pt x="506" y="1671"/>
                          <a:pt x="506" y="1671"/>
                        </a:cubicBezTo>
                        <a:cubicBezTo>
                          <a:pt x="564" y="1671"/>
                          <a:pt x="610" y="1624"/>
                          <a:pt x="610" y="1567"/>
                        </a:cubicBezTo>
                        <a:cubicBezTo>
                          <a:pt x="610" y="1395"/>
                          <a:pt x="610" y="1395"/>
                          <a:pt x="610" y="1395"/>
                        </a:cubicBezTo>
                        <a:cubicBezTo>
                          <a:pt x="2238" y="1395"/>
                          <a:pt x="2238" y="1395"/>
                          <a:pt x="2238" y="1395"/>
                        </a:cubicBezTo>
                        <a:cubicBezTo>
                          <a:pt x="2238" y="1567"/>
                          <a:pt x="2238" y="1567"/>
                          <a:pt x="2238" y="1567"/>
                        </a:cubicBezTo>
                        <a:cubicBezTo>
                          <a:pt x="2238" y="1624"/>
                          <a:pt x="2284" y="1671"/>
                          <a:pt x="2342" y="1671"/>
                        </a:cubicBezTo>
                        <a:cubicBezTo>
                          <a:pt x="2621" y="1671"/>
                          <a:pt x="2621" y="1671"/>
                          <a:pt x="2621" y="1671"/>
                        </a:cubicBezTo>
                        <a:cubicBezTo>
                          <a:pt x="2678" y="1671"/>
                          <a:pt x="2725" y="1624"/>
                          <a:pt x="2725" y="1567"/>
                        </a:cubicBezTo>
                        <a:cubicBezTo>
                          <a:pt x="2725" y="1104"/>
                          <a:pt x="2725" y="1104"/>
                          <a:pt x="2725" y="1104"/>
                        </a:cubicBezTo>
                        <a:cubicBezTo>
                          <a:pt x="2741" y="1013"/>
                          <a:pt x="2754" y="911"/>
                          <a:pt x="2754" y="815"/>
                        </a:cubicBezTo>
                        <a:cubicBezTo>
                          <a:pt x="2754" y="550"/>
                          <a:pt x="2671" y="564"/>
                          <a:pt x="2564" y="516"/>
                        </a:cubicBezTo>
                        <a:cubicBezTo>
                          <a:pt x="2558" y="514"/>
                          <a:pt x="2552" y="510"/>
                          <a:pt x="2546" y="505"/>
                        </a:cubicBezTo>
                        <a:cubicBezTo>
                          <a:pt x="2570" y="490"/>
                          <a:pt x="2612" y="486"/>
                          <a:pt x="2664" y="485"/>
                        </a:cubicBezTo>
                        <a:cubicBezTo>
                          <a:pt x="2759" y="484"/>
                          <a:pt x="2817" y="485"/>
                          <a:pt x="2832" y="381"/>
                        </a:cubicBezTo>
                        <a:cubicBezTo>
                          <a:pt x="2838" y="343"/>
                          <a:pt x="2848" y="299"/>
                          <a:pt x="2686" y="319"/>
                        </a:cubicBezTo>
                        <a:cubicBezTo>
                          <a:pt x="2550" y="335"/>
                          <a:pt x="2532" y="346"/>
                          <a:pt x="2488" y="457"/>
                        </a:cubicBezTo>
                        <a:cubicBezTo>
                          <a:pt x="2363" y="335"/>
                          <a:pt x="2174" y="82"/>
                          <a:pt x="2085" y="61"/>
                        </a:cubicBezTo>
                        <a:cubicBezTo>
                          <a:pt x="1973" y="34"/>
                          <a:pt x="1743" y="0"/>
                          <a:pt x="1424" y="0"/>
                        </a:cubicBezTo>
                        <a:cubicBezTo>
                          <a:pt x="1105" y="0"/>
                          <a:pt x="875" y="34"/>
                          <a:pt x="762" y="61"/>
                        </a:cubicBezTo>
                        <a:cubicBezTo>
                          <a:pt x="674" y="82"/>
                          <a:pt x="485" y="335"/>
                          <a:pt x="360" y="457"/>
                        </a:cubicBezTo>
                        <a:cubicBezTo>
                          <a:pt x="316" y="346"/>
                          <a:pt x="298" y="335"/>
                          <a:pt x="162" y="319"/>
                        </a:cubicBezTo>
                        <a:cubicBezTo>
                          <a:pt x="0" y="299"/>
                          <a:pt x="10" y="343"/>
                          <a:pt x="16" y="381"/>
                        </a:cubicBezTo>
                        <a:close/>
                        <a:moveTo>
                          <a:pt x="2380" y="458"/>
                        </a:moveTo>
                        <a:cubicBezTo>
                          <a:pt x="2115" y="501"/>
                          <a:pt x="1776" y="525"/>
                          <a:pt x="1424" y="525"/>
                        </a:cubicBezTo>
                        <a:cubicBezTo>
                          <a:pt x="1072" y="525"/>
                          <a:pt x="733" y="501"/>
                          <a:pt x="468" y="458"/>
                        </a:cubicBezTo>
                        <a:cubicBezTo>
                          <a:pt x="493" y="432"/>
                          <a:pt x="519" y="403"/>
                          <a:pt x="546" y="372"/>
                        </a:cubicBezTo>
                        <a:cubicBezTo>
                          <a:pt x="614" y="296"/>
                          <a:pt x="740" y="155"/>
                          <a:pt x="782" y="140"/>
                        </a:cubicBezTo>
                        <a:cubicBezTo>
                          <a:pt x="840" y="126"/>
                          <a:pt x="1056" y="81"/>
                          <a:pt x="1424" y="81"/>
                        </a:cubicBezTo>
                        <a:cubicBezTo>
                          <a:pt x="1792" y="81"/>
                          <a:pt x="2007" y="126"/>
                          <a:pt x="2066" y="140"/>
                        </a:cubicBezTo>
                        <a:cubicBezTo>
                          <a:pt x="2108" y="155"/>
                          <a:pt x="2234" y="296"/>
                          <a:pt x="2302" y="372"/>
                        </a:cubicBezTo>
                        <a:cubicBezTo>
                          <a:pt x="2329" y="403"/>
                          <a:pt x="2355" y="432"/>
                          <a:pt x="2380" y="458"/>
                        </a:cubicBezTo>
                        <a:close/>
                        <a:moveTo>
                          <a:pt x="2085" y="844"/>
                        </a:moveTo>
                        <a:cubicBezTo>
                          <a:pt x="1858" y="834"/>
                          <a:pt x="2439" y="673"/>
                          <a:pt x="2686" y="683"/>
                        </a:cubicBezTo>
                        <a:cubicBezTo>
                          <a:pt x="2686" y="683"/>
                          <a:pt x="2724" y="964"/>
                          <a:pt x="2551" y="964"/>
                        </a:cubicBezTo>
                        <a:cubicBezTo>
                          <a:pt x="2395" y="964"/>
                          <a:pt x="2234" y="851"/>
                          <a:pt x="2085" y="844"/>
                        </a:cubicBezTo>
                        <a:close/>
                        <a:moveTo>
                          <a:pt x="640" y="1203"/>
                        </a:moveTo>
                        <a:cubicBezTo>
                          <a:pt x="640" y="1152"/>
                          <a:pt x="991" y="1068"/>
                          <a:pt x="1424" y="1068"/>
                        </a:cubicBezTo>
                        <a:cubicBezTo>
                          <a:pt x="1857" y="1068"/>
                          <a:pt x="2208" y="1152"/>
                          <a:pt x="2208" y="1203"/>
                        </a:cubicBezTo>
                        <a:cubicBezTo>
                          <a:pt x="2208" y="1255"/>
                          <a:pt x="1857" y="1255"/>
                          <a:pt x="1424" y="1255"/>
                        </a:cubicBezTo>
                        <a:cubicBezTo>
                          <a:pt x="991" y="1255"/>
                          <a:pt x="640" y="1255"/>
                          <a:pt x="640" y="1203"/>
                        </a:cubicBezTo>
                        <a:close/>
                        <a:moveTo>
                          <a:pt x="763" y="844"/>
                        </a:moveTo>
                        <a:cubicBezTo>
                          <a:pt x="614" y="851"/>
                          <a:pt x="453" y="964"/>
                          <a:pt x="297" y="964"/>
                        </a:cubicBezTo>
                        <a:cubicBezTo>
                          <a:pt x="124" y="964"/>
                          <a:pt x="162" y="683"/>
                          <a:pt x="162" y="683"/>
                        </a:cubicBezTo>
                        <a:cubicBezTo>
                          <a:pt x="409" y="673"/>
                          <a:pt x="990" y="834"/>
                          <a:pt x="763" y="844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7" name="Freeform 243"/>
                  <p:cNvSpPr>
                    <a:spLocks noEditPoints="1"/>
                  </p:cNvSpPr>
                  <p:nvPr/>
                </p:nvSpPr>
                <p:spPr bwMode="auto">
                  <a:xfrm>
                    <a:off x="3212371" y="7328994"/>
                    <a:ext cx="504825" cy="220663"/>
                  </a:xfrm>
                  <a:custGeom>
                    <a:avLst/>
                    <a:gdLst>
                      <a:gd name="T0" fmla="*/ 1402 w 1413"/>
                      <a:gd name="T1" fmla="*/ 261 h 616"/>
                      <a:gd name="T2" fmla="*/ 1319 w 1413"/>
                      <a:gd name="T3" fmla="*/ 178 h 616"/>
                      <a:gd name="T4" fmla="*/ 699 w 1413"/>
                      <a:gd name="T5" fmla="*/ 178 h 616"/>
                      <a:gd name="T6" fmla="*/ 699 w 1413"/>
                      <a:gd name="T7" fmla="*/ 111 h 616"/>
                      <a:gd name="T8" fmla="*/ 589 w 1413"/>
                      <a:gd name="T9" fmla="*/ 0 h 616"/>
                      <a:gd name="T10" fmla="*/ 235 w 1413"/>
                      <a:gd name="T11" fmla="*/ 0 h 616"/>
                      <a:gd name="T12" fmla="*/ 0 w 1413"/>
                      <a:gd name="T13" fmla="*/ 304 h 616"/>
                      <a:gd name="T14" fmla="*/ 262 w 1413"/>
                      <a:gd name="T15" fmla="*/ 616 h 616"/>
                      <a:gd name="T16" fmla="*/ 589 w 1413"/>
                      <a:gd name="T17" fmla="*/ 616 h 616"/>
                      <a:gd name="T18" fmla="*/ 699 w 1413"/>
                      <a:gd name="T19" fmla="*/ 506 h 616"/>
                      <a:gd name="T20" fmla="*/ 699 w 1413"/>
                      <a:gd name="T21" fmla="*/ 438 h 616"/>
                      <a:gd name="T22" fmla="*/ 818 w 1413"/>
                      <a:gd name="T23" fmla="*/ 438 h 616"/>
                      <a:gd name="T24" fmla="*/ 921 w 1413"/>
                      <a:gd name="T25" fmla="*/ 336 h 616"/>
                      <a:gd name="T26" fmla="*/ 977 w 1413"/>
                      <a:gd name="T27" fmla="*/ 391 h 616"/>
                      <a:gd name="T28" fmla="*/ 1033 w 1413"/>
                      <a:gd name="T29" fmla="*/ 336 h 616"/>
                      <a:gd name="T30" fmla="*/ 1089 w 1413"/>
                      <a:gd name="T31" fmla="*/ 391 h 616"/>
                      <a:gd name="T32" fmla="*/ 1144 w 1413"/>
                      <a:gd name="T33" fmla="*/ 336 h 616"/>
                      <a:gd name="T34" fmla="*/ 1200 w 1413"/>
                      <a:gd name="T35" fmla="*/ 391 h 616"/>
                      <a:gd name="T36" fmla="*/ 1256 w 1413"/>
                      <a:gd name="T37" fmla="*/ 336 h 616"/>
                      <a:gd name="T38" fmla="*/ 1312 w 1413"/>
                      <a:gd name="T39" fmla="*/ 391 h 616"/>
                      <a:gd name="T40" fmla="*/ 1402 w 1413"/>
                      <a:gd name="T41" fmla="*/ 301 h 616"/>
                      <a:gd name="T42" fmla="*/ 1402 w 1413"/>
                      <a:gd name="T43" fmla="*/ 261 h 616"/>
                      <a:gd name="T44" fmla="*/ 221 w 1413"/>
                      <a:gd name="T45" fmla="*/ 408 h 616"/>
                      <a:gd name="T46" fmla="*/ 131 w 1413"/>
                      <a:gd name="T47" fmla="*/ 317 h 616"/>
                      <a:gd name="T48" fmla="*/ 221 w 1413"/>
                      <a:gd name="T49" fmla="*/ 227 h 616"/>
                      <a:gd name="T50" fmla="*/ 311 w 1413"/>
                      <a:gd name="T51" fmla="*/ 317 h 616"/>
                      <a:gd name="T52" fmla="*/ 221 w 1413"/>
                      <a:gd name="T53" fmla="*/ 408 h 6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1413" h="616">
                        <a:moveTo>
                          <a:pt x="1402" y="261"/>
                        </a:moveTo>
                        <a:cubicBezTo>
                          <a:pt x="1319" y="178"/>
                          <a:pt x="1319" y="178"/>
                          <a:pt x="1319" y="178"/>
                        </a:cubicBezTo>
                        <a:cubicBezTo>
                          <a:pt x="699" y="178"/>
                          <a:pt x="699" y="178"/>
                          <a:pt x="699" y="178"/>
                        </a:cubicBezTo>
                        <a:cubicBezTo>
                          <a:pt x="699" y="111"/>
                          <a:pt x="699" y="111"/>
                          <a:pt x="699" y="111"/>
                        </a:cubicBezTo>
                        <a:cubicBezTo>
                          <a:pt x="699" y="50"/>
                          <a:pt x="649" y="0"/>
                          <a:pt x="589" y="0"/>
                        </a:cubicBezTo>
                        <a:cubicBezTo>
                          <a:pt x="235" y="0"/>
                          <a:pt x="235" y="0"/>
                          <a:pt x="235" y="0"/>
                        </a:cubicBezTo>
                        <a:cubicBezTo>
                          <a:pt x="92" y="0"/>
                          <a:pt x="0" y="174"/>
                          <a:pt x="0" y="304"/>
                        </a:cubicBezTo>
                        <a:cubicBezTo>
                          <a:pt x="0" y="441"/>
                          <a:pt x="92" y="616"/>
                          <a:pt x="262" y="616"/>
                        </a:cubicBezTo>
                        <a:cubicBezTo>
                          <a:pt x="589" y="616"/>
                          <a:pt x="589" y="616"/>
                          <a:pt x="589" y="616"/>
                        </a:cubicBezTo>
                        <a:cubicBezTo>
                          <a:pt x="649" y="616"/>
                          <a:pt x="699" y="567"/>
                          <a:pt x="699" y="506"/>
                        </a:cubicBezTo>
                        <a:cubicBezTo>
                          <a:pt x="699" y="438"/>
                          <a:pt x="699" y="438"/>
                          <a:pt x="699" y="438"/>
                        </a:cubicBezTo>
                        <a:cubicBezTo>
                          <a:pt x="818" y="438"/>
                          <a:pt x="818" y="438"/>
                          <a:pt x="818" y="438"/>
                        </a:cubicBezTo>
                        <a:cubicBezTo>
                          <a:pt x="921" y="336"/>
                          <a:pt x="921" y="336"/>
                          <a:pt x="921" y="336"/>
                        </a:cubicBezTo>
                        <a:cubicBezTo>
                          <a:pt x="977" y="391"/>
                          <a:pt x="977" y="391"/>
                          <a:pt x="977" y="391"/>
                        </a:cubicBezTo>
                        <a:cubicBezTo>
                          <a:pt x="1033" y="336"/>
                          <a:pt x="1033" y="336"/>
                          <a:pt x="1033" y="336"/>
                        </a:cubicBezTo>
                        <a:cubicBezTo>
                          <a:pt x="1089" y="391"/>
                          <a:pt x="1089" y="391"/>
                          <a:pt x="1089" y="391"/>
                        </a:cubicBezTo>
                        <a:cubicBezTo>
                          <a:pt x="1144" y="336"/>
                          <a:pt x="1144" y="336"/>
                          <a:pt x="1144" y="336"/>
                        </a:cubicBezTo>
                        <a:cubicBezTo>
                          <a:pt x="1200" y="391"/>
                          <a:pt x="1200" y="391"/>
                          <a:pt x="1200" y="391"/>
                        </a:cubicBezTo>
                        <a:cubicBezTo>
                          <a:pt x="1256" y="336"/>
                          <a:pt x="1256" y="336"/>
                          <a:pt x="1256" y="336"/>
                        </a:cubicBezTo>
                        <a:cubicBezTo>
                          <a:pt x="1312" y="391"/>
                          <a:pt x="1312" y="391"/>
                          <a:pt x="1312" y="391"/>
                        </a:cubicBezTo>
                        <a:cubicBezTo>
                          <a:pt x="1402" y="301"/>
                          <a:pt x="1402" y="301"/>
                          <a:pt x="1402" y="301"/>
                        </a:cubicBezTo>
                        <a:cubicBezTo>
                          <a:pt x="1413" y="290"/>
                          <a:pt x="1413" y="272"/>
                          <a:pt x="1402" y="261"/>
                        </a:cubicBezTo>
                        <a:close/>
                        <a:moveTo>
                          <a:pt x="221" y="408"/>
                        </a:moveTo>
                        <a:cubicBezTo>
                          <a:pt x="171" y="408"/>
                          <a:pt x="131" y="367"/>
                          <a:pt x="131" y="317"/>
                        </a:cubicBezTo>
                        <a:cubicBezTo>
                          <a:pt x="131" y="268"/>
                          <a:pt x="171" y="227"/>
                          <a:pt x="221" y="227"/>
                        </a:cubicBezTo>
                        <a:cubicBezTo>
                          <a:pt x="271" y="227"/>
                          <a:pt x="311" y="268"/>
                          <a:pt x="311" y="317"/>
                        </a:cubicBezTo>
                        <a:cubicBezTo>
                          <a:pt x="311" y="367"/>
                          <a:pt x="271" y="408"/>
                          <a:pt x="221" y="408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25" name="Freeform: Shape 524"/>
                <p:cNvSpPr>
                  <a:spLocks noChangeAspect="1"/>
                </p:cNvSpPr>
                <p:nvPr/>
              </p:nvSpPr>
              <p:spPr>
                <a:xfrm>
                  <a:off x="4402592" y="6079939"/>
                  <a:ext cx="2619661" cy="502920"/>
                </a:xfrm>
                <a:custGeom>
                  <a:avLst/>
                  <a:gdLst>
                    <a:gd name="connsiteX0" fmla="*/ 2452352 w 2552253"/>
                    <a:gd name="connsiteY0" fmla="*/ 374787 h 489979"/>
                    <a:gd name="connsiteX1" fmla="*/ 2420875 w 2552253"/>
                    <a:gd name="connsiteY1" fmla="*/ 379363 h 489979"/>
                    <a:gd name="connsiteX2" fmla="*/ 2395649 w 2552253"/>
                    <a:gd name="connsiteY2" fmla="*/ 387679 h 489979"/>
                    <a:gd name="connsiteX3" fmla="*/ 2388393 w 2552253"/>
                    <a:gd name="connsiteY3" fmla="*/ 406376 h 489979"/>
                    <a:gd name="connsiteX4" fmla="*/ 2395146 w 2552253"/>
                    <a:gd name="connsiteY4" fmla="*/ 423119 h 489979"/>
                    <a:gd name="connsiteX5" fmla="*/ 2413954 w 2552253"/>
                    <a:gd name="connsiteY5" fmla="*/ 429705 h 489979"/>
                    <a:gd name="connsiteX6" fmla="*/ 2441413 w 2552253"/>
                    <a:gd name="connsiteY6" fmla="*/ 417482 h 489979"/>
                    <a:gd name="connsiteX7" fmla="*/ 2452352 w 2552253"/>
                    <a:gd name="connsiteY7" fmla="*/ 385949 h 489979"/>
                    <a:gd name="connsiteX8" fmla="*/ 1985627 w 2552253"/>
                    <a:gd name="connsiteY8" fmla="*/ 374787 h 489979"/>
                    <a:gd name="connsiteX9" fmla="*/ 1954150 w 2552253"/>
                    <a:gd name="connsiteY9" fmla="*/ 379363 h 489979"/>
                    <a:gd name="connsiteX10" fmla="*/ 1928924 w 2552253"/>
                    <a:gd name="connsiteY10" fmla="*/ 387679 h 489979"/>
                    <a:gd name="connsiteX11" fmla="*/ 1921668 w 2552253"/>
                    <a:gd name="connsiteY11" fmla="*/ 406376 h 489979"/>
                    <a:gd name="connsiteX12" fmla="*/ 1928421 w 2552253"/>
                    <a:gd name="connsiteY12" fmla="*/ 423119 h 489979"/>
                    <a:gd name="connsiteX13" fmla="*/ 1947229 w 2552253"/>
                    <a:gd name="connsiteY13" fmla="*/ 429705 h 489979"/>
                    <a:gd name="connsiteX14" fmla="*/ 1974688 w 2552253"/>
                    <a:gd name="connsiteY14" fmla="*/ 417482 h 489979"/>
                    <a:gd name="connsiteX15" fmla="*/ 1985627 w 2552253"/>
                    <a:gd name="connsiteY15" fmla="*/ 385949 h 489979"/>
                    <a:gd name="connsiteX16" fmla="*/ 1042652 w 2552253"/>
                    <a:gd name="connsiteY16" fmla="*/ 374787 h 489979"/>
                    <a:gd name="connsiteX17" fmla="*/ 1011175 w 2552253"/>
                    <a:gd name="connsiteY17" fmla="*/ 379363 h 489979"/>
                    <a:gd name="connsiteX18" fmla="*/ 985949 w 2552253"/>
                    <a:gd name="connsiteY18" fmla="*/ 387679 h 489979"/>
                    <a:gd name="connsiteX19" fmla="*/ 978693 w 2552253"/>
                    <a:gd name="connsiteY19" fmla="*/ 406376 h 489979"/>
                    <a:gd name="connsiteX20" fmla="*/ 985446 w 2552253"/>
                    <a:gd name="connsiteY20" fmla="*/ 423119 h 489979"/>
                    <a:gd name="connsiteX21" fmla="*/ 1004255 w 2552253"/>
                    <a:gd name="connsiteY21" fmla="*/ 429705 h 489979"/>
                    <a:gd name="connsiteX22" fmla="*/ 1031713 w 2552253"/>
                    <a:gd name="connsiteY22" fmla="*/ 417482 h 489979"/>
                    <a:gd name="connsiteX23" fmla="*/ 1042652 w 2552253"/>
                    <a:gd name="connsiteY23" fmla="*/ 385949 h 489979"/>
                    <a:gd name="connsiteX24" fmla="*/ 309227 w 2552253"/>
                    <a:gd name="connsiteY24" fmla="*/ 374787 h 489979"/>
                    <a:gd name="connsiteX25" fmla="*/ 277750 w 2552253"/>
                    <a:gd name="connsiteY25" fmla="*/ 379363 h 489979"/>
                    <a:gd name="connsiteX26" fmla="*/ 252524 w 2552253"/>
                    <a:gd name="connsiteY26" fmla="*/ 387679 h 489979"/>
                    <a:gd name="connsiteX27" fmla="*/ 245268 w 2552253"/>
                    <a:gd name="connsiteY27" fmla="*/ 406376 h 489979"/>
                    <a:gd name="connsiteX28" fmla="*/ 252021 w 2552253"/>
                    <a:gd name="connsiteY28" fmla="*/ 423119 h 489979"/>
                    <a:gd name="connsiteX29" fmla="*/ 270830 w 2552253"/>
                    <a:gd name="connsiteY29" fmla="*/ 429705 h 489979"/>
                    <a:gd name="connsiteX30" fmla="*/ 298288 w 2552253"/>
                    <a:gd name="connsiteY30" fmla="*/ 417482 h 489979"/>
                    <a:gd name="connsiteX31" fmla="*/ 309227 w 2552253"/>
                    <a:gd name="connsiteY31" fmla="*/ 385949 h 489979"/>
                    <a:gd name="connsiteX32" fmla="*/ 2140818 w 2552253"/>
                    <a:gd name="connsiteY32" fmla="*/ 328576 h 489979"/>
                    <a:gd name="connsiteX33" fmla="*/ 2114196 w 2552253"/>
                    <a:gd name="connsiteY33" fmla="*/ 339347 h 489979"/>
                    <a:gd name="connsiteX34" fmla="*/ 2101192 w 2552253"/>
                    <a:gd name="connsiteY34" fmla="*/ 370211 h 489979"/>
                    <a:gd name="connsiteX35" fmla="*/ 2174639 w 2552253"/>
                    <a:gd name="connsiteY35" fmla="*/ 370211 h 489979"/>
                    <a:gd name="connsiteX36" fmla="*/ 2165151 w 2552253"/>
                    <a:gd name="connsiteY36" fmla="*/ 339515 h 489979"/>
                    <a:gd name="connsiteX37" fmla="*/ 2140818 w 2552253"/>
                    <a:gd name="connsiteY37" fmla="*/ 328576 h 489979"/>
                    <a:gd name="connsiteX38" fmla="*/ 1617017 w 2552253"/>
                    <a:gd name="connsiteY38" fmla="*/ 328575 h 489979"/>
                    <a:gd name="connsiteX39" fmla="*/ 1586098 w 2552253"/>
                    <a:gd name="connsiteY39" fmla="*/ 341969 h 489979"/>
                    <a:gd name="connsiteX40" fmla="*/ 1575159 w 2552253"/>
                    <a:gd name="connsiteY40" fmla="*/ 373447 h 489979"/>
                    <a:gd name="connsiteX41" fmla="*/ 1575159 w 2552253"/>
                    <a:gd name="connsiteY41" fmla="*/ 387846 h 489979"/>
                    <a:gd name="connsiteX42" fmla="*/ 1585986 w 2552253"/>
                    <a:gd name="connsiteY42" fmla="*/ 417369 h 489979"/>
                    <a:gd name="connsiteX43" fmla="*/ 1614450 w 2552253"/>
                    <a:gd name="connsiteY43" fmla="*/ 429704 h 489979"/>
                    <a:gd name="connsiteX44" fmla="*/ 1642913 w 2552253"/>
                    <a:gd name="connsiteY44" fmla="*/ 414691 h 489979"/>
                    <a:gd name="connsiteX45" fmla="*/ 1653852 w 2552253"/>
                    <a:gd name="connsiteY45" fmla="*/ 375232 h 489979"/>
                    <a:gd name="connsiteX46" fmla="*/ 1643806 w 2552253"/>
                    <a:gd name="connsiteY46" fmla="*/ 341188 h 489979"/>
                    <a:gd name="connsiteX47" fmla="*/ 1617017 w 2552253"/>
                    <a:gd name="connsiteY47" fmla="*/ 328575 h 489979"/>
                    <a:gd name="connsiteX48" fmla="*/ 1331267 w 2552253"/>
                    <a:gd name="connsiteY48" fmla="*/ 328575 h 489979"/>
                    <a:gd name="connsiteX49" fmla="*/ 1300348 w 2552253"/>
                    <a:gd name="connsiteY49" fmla="*/ 341969 h 489979"/>
                    <a:gd name="connsiteX50" fmla="*/ 1289409 w 2552253"/>
                    <a:gd name="connsiteY50" fmla="*/ 373447 h 489979"/>
                    <a:gd name="connsiteX51" fmla="*/ 1289409 w 2552253"/>
                    <a:gd name="connsiteY51" fmla="*/ 387846 h 489979"/>
                    <a:gd name="connsiteX52" fmla="*/ 1300236 w 2552253"/>
                    <a:gd name="connsiteY52" fmla="*/ 417369 h 489979"/>
                    <a:gd name="connsiteX53" fmla="*/ 1328700 w 2552253"/>
                    <a:gd name="connsiteY53" fmla="*/ 429704 h 489979"/>
                    <a:gd name="connsiteX54" fmla="*/ 1357163 w 2552253"/>
                    <a:gd name="connsiteY54" fmla="*/ 414691 h 489979"/>
                    <a:gd name="connsiteX55" fmla="*/ 1368102 w 2552253"/>
                    <a:gd name="connsiteY55" fmla="*/ 375232 h 489979"/>
                    <a:gd name="connsiteX56" fmla="*/ 1358056 w 2552253"/>
                    <a:gd name="connsiteY56" fmla="*/ 341188 h 489979"/>
                    <a:gd name="connsiteX57" fmla="*/ 1331267 w 2552253"/>
                    <a:gd name="connsiteY57" fmla="*/ 328575 h 489979"/>
                    <a:gd name="connsiteX58" fmla="*/ 647179 w 2552253"/>
                    <a:gd name="connsiteY58" fmla="*/ 328575 h 489979"/>
                    <a:gd name="connsiteX59" fmla="*/ 616818 w 2552253"/>
                    <a:gd name="connsiteY59" fmla="*/ 342751 h 489979"/>
                    <a:gd name="connsiteX60" fmla="*/ 605321 w 2552253"/>
                    <a:gd name="connsiteY60" fmla="*/ 380255 h 489979"/>
                    <a:gd name="connsiteX61" fmla="*/ 615869 w 2552253"/>
                    <a:gd name="connsiteY61" fmla="*/ 416700 h 489979"/>
                    <a:gd name="connsiteX62" fmla="*/ 643718 w 2552253"/>
                    <a:gd name="connsiteY62" fmla="*/ 429704 h 489979"/>
                    <a:gd name="connsiteX63" fmla="*/ 673075 w 2552253"/>
                    <a:gd name="connsiteY63" fmla="*/ 417760 h 489979"/>
                    <a:gd name="connsiteX64" fmla="*/ 684014 w 2552253"/>
                    <a:gd name="connsiteY64" fmla="*/ 388515 h 489979"/>
                    <a:gd name="connsiteX65" fmla="*/ 684014 w 2552253"/>
                    <a:gd name="connsiteY65" fmla="*/ 365856 h 489979"/>
                    <a:gd name="connsiteX66" fmla="*/ 673800 w 2552253"/>
                    <a:gd name="connsiteY66" fmla="*/ 339625 h 489979"/>
                    <a:gd name="connsiteX67" fmla="*/ 647179 w 2552253"/>
                    <a:gd name="connsiteY67" fmla="*/ 328575 h 489979"/>
                    <a:gd name="connsiteX68" fmla="*/ 1796467 w 2552253"/>
                    <a:gd name="connsiteY68" fmla="*/ 321989 h 489979"/>
                    <a:gd name="connsiteX69" fmla="*/ 1807964 w 2552253"/>
                    <a:gd name="connsiteY69" fmla="*/ 321989 h 489979"/>
                    <a:gd name="connsiteX70" fmla="*/ 1842008 w 2552253"/>
                    <a:gd name="connsiteY70" fmla="*/ 412960 h 489979"/>
                    <a:gd name="connsiteX71" fmla="*/ 1845468 w 2552253"/>
                    <a:gd name="connsiteY71" fmla="*/ 424904 h 489979"/>
                    <a:gd name="connsiteX72" fmla="*/ 1845915 w 2552253"/>
                    <a:gd name="connsiteY72" fmla="*/ 424904 h 489979"/>
                    <a:gd name="connsiteX73" fmla="*/ 1849152 w 2552253"/>
                    <a:gd name="connsiteY73" fmla="*/ 413407 h 489979"/>
                    <a:gd name="connsiteX74" fmla="*/ 1884312 w 2552253"/>
                    <a:gd name="connsiteY74" fmla="*/ 321989 h 489979"/>
                    <a:gd name="connsiteX75" fmla="*/ 1895474 w 2552253"/>
                    <a:gd name="connsiteY75" fmla="*/ 321989 h 489979"/>
                    <a:gd name="connsiteX76" fmla="*/ 1850045 w 2552253"/>
                    <a:gd name="connsiteY76" fmla="*/ 436289 h 489979"/>
                    <a:gd name="connsiteX77" fmla="*/ 1840669 w 2552253"/>
                    <a:gd name="connsiteY77" fmla="*/ 436289 h 489979"/>
                    <a:gd name="connsiteX78" fmla="*/ 1764915 w 2552253"/>
                    <a:gd name="connsiteY78" fmla="*/ 321989 h 489979"/>
                    <a:gd name="connsiteX79" fmla="*/ 1775184 w 2552253"/>
                    <a:gd name="connsiteY79" fmla="*/ 321989 h 489979"/>
                    <a:gd name="connsiteX80" fmla="*/ 1775184 w 2552253"/>
                    <a:gd name="connsiteY80" fmla="*/ 436289 h 489979"/>
                    <a:gd name="connsiteX81" fmla="*/ 1764915 w 2552253"/>
                    <a:gd name="connsiteY81" fmla="*/ 436289 h 489979"/>
                    <a:gd name="connsiteX82" fmla="*/ 1386892 w 2552253"/>
                    <a:gd name="connsiteY82" fmla="*/ 321989 h 489979"/>
                    <a:gd name="connsiteX83" fmla="*/ 1398389 w 2552253"/>
                    <a:gd name="connsiteY83" fmla="*/ 321989 h 489979"/>
                    <a:gd name="connsiteX84" fmla="*/ 1432880 w 2552253"/>
                    <a:gd name="connsiteY84" fmla="*/ 415081 h 489979"/>
                    <a:gd name="connsiteX85" fmla="*/ 1434442 w 2552253"/>
                    <a:gd name="connsiteY85" fmla="*/ 419658 h 489979"/>
                    <a:gd name="connsiteX86" fmla="*/ 1435447 w 2552253"/>
                    <a:gd name="connsiteY86" fmla="*/ 423453 h 489979"/>
                    <a:gd name="connsiteX87" fmla="*/ 1435893 w 2552253"/>
                    <a:gd name="connsiteY87" fmla="*/ 423453 h 489979"/>
                    <a:gd name="connsiteX88" fmla="*/ 1438572 w 2552253"/>
                    <a:gd name="connsiteY88" fmla="*/ 415751 h 489979"/>
                    <a:gd name="connsiteX89" fmla="*/ 1475407 w 2552253"/>
                    <a:gd name="connsiteY89" fmla="*/ 321989 h 489979"/>
                    <a:gd name="connsiteX90" fmla="*/ 1486569 w 2552253"/>
                    <a:gd name="connsiteY90" fmla="*/ 321989 h 489979"/>
                    <a:gd name="connsiteX91" fmla="*/ 1430870 w 2552253"/>
                    <a:gd name="connsiteY91" fmla="*/ 459618 h 489979"/>
                    <a:gd name="connsiteX92" fmla="*/ 1417029 w 2552253"/>
                    <a:gd name="connsiteY92" fmla="*/ 482500 h 489979"/>
                    <a:gd name="connsiteX93" fmla="*/ 1397496 w 2552253"/>
                    <a:gd name="connsiteY93" fmla="*/ 489979 h 489979"/>
                    <a:gd name="connsiteX94" fmla="*/ 1388566 w 2552253"/>
                    <a:gd name="connsiteY94" fmla="*/ 488416 h 489979"/>
                    <a:gd name="connsiteX95" fmla="*/ 1388566 w 2552253"/>
                    <a:gd name="connsiteY95" fmla="*/ 478147 h 489979"/>
                    <a:gd name="connsiteX96" fmla="*/ 1397942 w 2552253"/>
                    <a:gd name="connsiteY96" fmla="*/ 479710 h 489979"/>
                    <a:gd name="connsiteX97" fmla="*/ 1419597 w 2552253"/>
                    <a:gd name="connsiteY97" fmla="*/ 460734 h 489979"/>
                    <a:gd name="connsiteX98" fmla="*/ 1430201 w 2552253"/>
                    <a:gd name="connsiteY98" fmla="*/ 435396 h 489979"/>
                    <a:gd name="connsiteX99" fmla="*/ 431415 w 2552253"/>
                    <a:gd name="connsiteY99" fmla="*/ 321989 h 489979"/>
                    <a:gd name="connsiteX100" fmla="*/ 441684 w 2552253"/>
                    <a:gd name="connsiteY100" fmla="*/ 321989 h 489979"/>
                    <a:gd name="connsiteX101" fmla="*/ 441684 w 2552253"/>
                    <a:gd name="connsiteY101" fmla="*/ 436289 h 489979"/>
                    <a:gd name="connsiteX102" fmla="*/ 431415 w 2552253"/>
                    <a:gd name="connsiteY102" fmla="*/ 436289 h 489979"/>
                    <a:gd name="connsiteX103" fmla="*/ 2540868 w 2552253"/>
                    <a:gd name="connsiteY103" fmla="*/ 319757 h 489979"/>
                    <a:gd name="connsiteX104" fmla="*/ 2552253 w 2552253"/>
                    <a:gd name="connsiteY104" fmla="*/ 321766 h 489979"/>
                    <a:gd name="connsiteX105" fmla="*/ 2552253 w 2552253"/>
                    <a:gd name="connsiteY105" fmla="*/ 332705 h 489979"/>
                    <a:gd name="connsiteX106" fmla="*/ 2540198 w 2552253"/>
                    <a:gd name="connsiteY106" fmla="*/ 329021 h 489979"/>
                    <a:gd name="connsiteX107" fmla="*/ 2517539 w 2552253"/>
                    <a:gd name="connsiteY107" fmla="*/ 342974 h 489979"/>
                    <a:gd name="connsiteX108" fmla="*/ 2508386 w 2552253"/>
                    <a:gd name="connsiteY108" fmla="*/ 382599 h 489979"/>
                    <a:gd name="connsiteX109" fmla="*/ 2508386 w 2552253"/>
                    <a:gd name="connsiteY109" fmla="*/ 436289 h 489979"/>
                    <a:gd name="connsiteX110" fmla="*/ 2498340 w 2552253"/>
                    <a:gd name="connsiteY110" fmla="*/ 436289 h 489979"/>
                    <a:gd name="connsiteX111" fmla="*/ 2498340 w 2552253"/>
                    <a:gd name="connsiteY111" fmla="*/ 321989 h 489979"/>
                    <a:gd name="connsiteX112" fmla="*/ 2508386 w 2552253"/>
                    <a:gd name="connsiteY112" fmla="*/ 321989 h 489979"/>
                    <a:gd name="connsiteX113" fmla="*/ 2508386 w 2552253"/>
                    <a:gd name="connsiteY113" fmla="*/ 347327 h 489979"/>
                    <a:gd name="connsiteX114" fmla="*/ 2508832 w 2552253"/>
                    <a:gd name="connsiteY114" fmla="*/ 347327 h 489979"/>
                    <a:gd name="connsiteX115" fmla="*/ 2521222 w 2552253"/>
                    <a:gd name="connsiteY115" fmla="*/ 327012 h 489979"/>
                    <a:gd name="connsiteX116" fmla="*/ 2540868 w 2552253"/>
                    <a:gd name="connsiteY116" fmla="*/ 319757 h 489979"/>
                    <a:gd name="connsiteX117" fmla="*/ 1731243 w 2552253"/>
                    <a:gd name="connsiteY117" fmla="*/ 319757 h 489979"/>
                    <a:gd name="connsiteX118" fmla="*/ 1742628 w 2552253"/>
                    <a:gd name="connsiteY118" fmla="*/ 321766 h 489979"/>
                    <a:gd name="connsiteX119" fmla="*/ 1742628 w 2552253"/>
                    <a:gd name="connsiteY119" fmla="*/ 332705 h 489979"/>
                    <a:gd name="connsiteX120" fmla="*/ 1730573 w 2552253"/>
                    <a:gd name="connsiteY120" fmla="*/ 329021 h 489979"/>
                    <a:gd name="connsiteX121" fmla="*/ 1707914 w 2552253"/>
                    <a:gd name="connsiteY121" fmla="*/ 342974 h 489979"/>
                    <a:gd name="connsiteX122" fmla="*/ 1698761 w 2552253"/>
                    <a:gd name="connsiteY122" fmla="*/ 382599 h 489979"/>
                    <a:gd name="connsiteX123" fmla="*/ 1698761 w 2552253"/>
                    <a:gd name="connsiteY123" fmla="*/ 436289 h 489979"/>
                    <a:gd name="connsiteX124" fmla="*/ 1688715 w 2552253"/>
                    <a:gd name="connsiteY124" fmla="*/ 436289 h 489979"/>
                    <a:gd name="connsiteX125" fmla="*/ 1688715 w 2552253"/>
                    <a:gd name="connsiteY125" fmla="*/ 321989 h 489979"/>
                    <a:gd name="connsiteX126" fmla="*/ 1698761 w 2552253"/>
                    <a:gd name="connsiteY126" fmla="*/ 321989 h 489979"/>
                    <a:gd name="connsiteX127" fmla="*/ 1698761 w 2552253"/>
                    <a:gd name="connsiteY127" fmla="*/ 347327 h 489979"/>
                    <a:gd name="connsiteX128" fmla="*/ 1699207 w 2552253"/>
                    <a:gd name="connsiteY128" fmla="*/ 347327 h 489979"/>
                    <a:gd name="connsiteX129" fmla="*/ 1711597 w 2552253"/>
                    <a:gd name="connsiteY129" fmla="*/ 327012 h 489979"/>
                    <a:gd name="connsiteX130" fmla="*/ 1731243 w 2552253"/>
                    <a:gd name="connsiteY130" fmla="*/ 319757 h 489979"/>
                    <a:gd name="connsiteX131" fmla="*/ 397743 w 2552253"/>
                    <a:gd name="connsiteY131" fmla="*/ 319757 h 489979"/>
                    <a:gd name="connsiteX132" fmla="*/ 409128 w 2552253"/>
                    <a:gd name="connsiteY132" fmla="*/ 321766 h 489979"/>
                    <a:gd name="connsiteX133" fmla="*/ 409128 w 2552253"/>
                    <a:gd name="connsiteY133" fmla="*/ 332705 h 489979"/>
                    <a:gd name="connsiteX134" fmla="*/ 397073 w 2552253"/>
                    <a:gd name="connsiteY134" fmla="*/ 329021 h 489979"/>
                    <a:gd name="connsiteX135" fmla="*/ 374414 w 2552253"/>
                    <a:gd name="connsiteY135" fmla="*/ 342974 h 489979"/>
                    <a:gd name="connsiteX136" fmla="*/ 365261 w 2552253"/>
                    <a:gd name="connsiteY136" fmla="*/ 382599 h 489979"/>
                    <a:gd name="connsiteX137" fmla="*/ 365261 w 2552253"/>
                    <a:gd name="connsiteY137" fmla="*/ 436289 h 489979"/>
                    <a:gd name="connsiteX138" fmla="*/ 355215 w 2552253"/>
                    <a:gd name="connsiteY138" fmla="*/ 436289 h 489979"/>
                    <a:gd name="connsiteX139" fmla="*/ 355215 w 2552253"/>
                    <a:gd name="connsiteY139" fmla="*/ 321989 h 489979"/>
                    <a:gd name="connsiteX140" fmla="*/ 365261 w 2552253"/>
                    <a:gd name="connsiteY140" fmla="*/ 321989 h 489979"/>
                    <a:gd name="connsiteX141" fmla="*/ 365261 w 2552253"/>
                    <a:gd name="connsiteY141" fmla="*/ 347327 h 489979"/>
                    <a:gd name="connsiteX142" fmla="*/ 365707 w 2552253"/>
                    <a:gd name="connsiteY142" fmla="*/ 347327 h 489979"/>
                    <a:gd name="connsiteX143" fmla="*/ 378097 w 2552253"/>
                    <a:gd name="connsiteY143" fmla="*/ 327012 h 489979"/>
                    <a:gd name="connsiteX144" fmla="*/ 397743 w 2552253"/>
                    <a:gd name="connsiteY144" fmla="*/ 319757 h 489979"/>
                    <a:gd name="connsiteX145" fmla="*/ 2425675 w 2552253"/>
                    <a:gd name="connsiteY145" fmla="*/ 319200 h 489979"/>
                    <a:gd name="connsiteX146" fmla="*/ 2452966 w 2552253"/>
                    <a:gd name="connsiteY146" fmla="*/ 330139 h 489979"/>
                    <a:gd name="connsiteX147" fmla="*/ 2462621 w 2552253"/>
                    <a:gd name="connsiteY147" fmla="*/ 361951 h 489979"/>
                    <a:gd name="connsiteX148" fmla="*/ 2462621 w 2552253"/>
                    <a:gd name="connsiteY148" fmla="*/ 436290 h 489979"/>
                    <a:gd name="connsiteX149" fmla="*/ 2452352 w 2552253"/>
                    <a:gd name="connsiteY149" fmla="*/ 436290 h 489979"/>
                    <a:gd name="connsiteX150" fmla="*/ 2452352 w 2552253"/>
                    <a:gd name="connsiteY150" fmla="*/ 413408 h 489979"/>
                    <a:gd name="connsiteX151" fmla="*/ 2451906 w 2552253"/>
                    <a:gd name="connsiteY151" fmla="*/ 413408 h 489979"/>
                    <a:gd name="connsiteX152" fmla="*/ 2436000 w 2552253"/>
                    <a:gd name="connsiteY152" fmla="*/ 432104 h 489979"/>
                    <a:gd name="connsiteX153" fmla="*/ 2412838 w 2552253"/>
                    <a:gd name="connsiteY153" fmla="*/ 439081 h 489979"/>
                    <a:gd name="connsiteX154" fmla="*/ 2387054 w 2552253"/>
                    <a:gd name="connsiteY154" fmla="*/ 429928 h 489979"/>
                    <a:gd name="connsiteX155" fmla="*/ 2377566 w 2552253"/>
                    <a:gd name="connsiteY155" fmla="*/ 406822 h 489979"/>
                    <a:gd name="connsiteX156" fmla="*/ 2417191 w 2552253"/>
                    <a:gd name="connsiteY156" fmla="*/ 370657 h 489979"/>
                    <a:gd name="connsiteX157" fmla="*/ 2452352 w 2552253"/>
                    <a:gd name="connsiteY157" fmla="*/ 365411 h 489979"/>
                    <a:gd name="connsiteX158" fmla="*/ 2424670 w 2552253"/>
                    <a:gd name="connsiteY158" fmla="*/ 328576 h 489979"/>
                    <a:gd name="connsiteX159" fmla="*/ 2387947 w 2552253"/>
                    <a:gd name="connsiteY159" fmla="*/ 343756 h 489979"/>
                    <a:gd name="connsiteX160" fmla="*/ 2387947 w 2552253"/>
                    <a:gd name="connsiteY160" fmla="*/ 331366 h 489979"/>
                    <a:gd name="connsiteX161" fmla="*/ 2405192 w 2552253"/>
                    <a:gd name="connsiteY161" fmla="*/ 322772 h 489979"/>
                    <a:gd name="connsiteX162" fmla="*/ 2425675 w 2552253"/>
                    <a:gd name="connsiteY162" fmla="*/ 319200 h 489979"/>
                    <a:gd name="connsiteX163" fmla="*/ 2328378 w 2552253"/>
                    <a:gd name="connsiteY163" fmla="*/ 319200 h 489979"/>
                    <a:gd name="connsiteX164" fmla="*/ 2353716 w 2552253"/>
                    <a:gd name="connsiteY164" fmla="*/ 324558 h 489979"/>
                    <a:gd name="connsiteX165" fmla="*/ 2353716 w 2552253"/>
                    <a:gd name="connsiteY165" fmla="*/ 336166 h 489979"/>
                    <a:gd name="connsiteX166" fmla="*/ 2326816 w 2552253"/>
                    <a:gd name="connsiteY166" fmla="*/ 328576 h 489979"/>
                    <a:gd name="connsiteX167" fmla="*/ 2294222 w 2552253"/>
                    <a:gd name="connsiteY167" fmla="*/ 343031 h 489979"/>
                    <a:gd name="connsiteX168" fmla="*/ 2281721 w 2552253"/>
                    <a:gd name="connsiteY168" fmla="*/ 380480 h 489979"/>
                    <a:gd name="connsiteX169" fmla="*/ 2293162 w 2552253"/>
                    <a:gd name="connsiteY169" fmla="*/ 416198 h 489979"/>
                    <a:gd name="connsiteX170" fmla="*/ 2323355 w 2552253"/>
                    <a:gd name="connsiteY170" fmla="*/ 429705 h 489979"/>
                    <a:gd name="connsiteX171" fmla="*/ 2353270 w 2552253"/>
                    <a:gd name="connsiteY171" fmla="*/ 420552 h 489979"/>
                    <a:gd name="connsiteX172" fmla="*/ 2353270 w 2552253"/>
                    <a:gd name="connsiteY172" fmla="*/ 431267 h 489979"/>
                    <a:gd name="connsiteX173" fmla="*/ 2322909 w 2552253"/>
                    <a:gd name="connsiteY173" fmla="*/ 439081 h 489979"/>
                    <a:gd name="connsiteX174" fmla="*/ 2285293 w 2552253"/>
                    <a:gd name="connsiteY174" fmla="*/ 423063 h 489979"/>
                    <a:gd name="connsiteX175" fmla="*/ 2271005 w 2552253"/>
                    <a:gd name="connsiteY175" fmla="*/ 381149 h 489979"/>
                    <a:gd name="connsiteX176" fmla="*/ 2287078 w 2552253"/>
                    <a:gd name="connsiteY176" fmla="*/ 336557 h 489979"/>
                    <a:gd name="connsiteX177" fmla="*/ 2328378 w 2552253"/>
                    <a:gd name="connsiteY177" fmla="*/ 319200 h 489979"/>
                    <a:gd name="connsiteX178" fmla="*/ 2141264 w 2552253"/>
                    <a:gd name="connsiteY178" fmla="*/ 319200 h 489979"/>
                    <a:gd name="connsiteX179" fmla="*/ 2173969 w 2552253"/>
                    <a:gd name="connsiteY179" fmla="*/ 334157 h 489979"/>
                    <a:gd name="connsiteX180" fmla="*/ 2185354 w 2552253"/>
                    <a:gd name="connsiteY180" fmla="*/ 375010 h 489979"/>
                    <a:gd name="connsiteX181" fmla="*/ 2185354 w 2552253"/>
                    <a:gd name="connsiteY181" fmla="*/ 379587 h 489979"/>
                    <a:gd name="connsiteX182" fmla="*/ 2100746 w 2552253"/>
                    <a:gd name="connsiteY182" fmla="*/ 379587 h 489979"/>
                    <a:gd name="connsiteX183" fmla="*/ 2111629 w 2552253"/>
                    <a:gd name="connsiteY183" fmla="*/ 416422 h 489979"/>
                    <a:gd name="connsiteX184" fmla="*/ 2141487 w 2552253"/>
                    <a:gd name="connsiteY184" fmla="*/ 429705 h 489979"/>
                    <a:gd name="connsiteX185" fmla="*/ 2178992 w 2552253"/>
                    <a:gd name="connsiteY185" fmla="*/ 415529 h 489979"/>
                    <a:gd name="connsiteX186" fmla="*/ 2178992 w 2552253"/>
                    <a:gd name="connsiteY186" fmla="*/ 426468 h 489979"/>
                    <a:gd name="connsiteX187" fmla="*/ 2139367 w 2552253"/>
                    <a:gd name="connsiteY187" fmla="*/ 439081 h 489979"/>
                    <a:gd name="connsiteX188" fmla="*/ 2103648 w 2552253"/>
                    <a:gd name="connsiteY188" fmla="*/ 423231 h 489979"/>
                    <a:gd name="connsiteX189" fmla="*/ 2090030 w 2552253"/>
                    <a:gd name="connsiteY189" fmla="*/ 378471 h 489979"/>
                    <a:gd name="connsiteX190" fmla="*/ 2104262 w 2552253"/>
                    <a:gd name="connsiteY190" fmla="*/ 336334 h 489979"/>
                    <a:gd name="connsiteX191" fmla="*/ 2141264 w 2552253"/>
                    <a:gd name="connsiteY191" fmla="*/ 319200 h 489979"/>
                    <a:gd name="connsiteX192" fmla="*/ 1958950 w 2552253"/>
                    <a:gd name="connsiteY192" fmla="*/ 319200 h 489979"/>
                    <a:gd name="connsiteX193" fmla="*/ 1986241 w 2552253"/>
                    <a:gd name="connsiteY193" fmla="*/ 330139 h 489979"/>
                    <a:gd name="connsiteX194" fmla="*/ 1995896 w 2552253"/>
                    <a:gd name="connsiteY194" fmla="*/ 361951 h 489979"/>
                    <a:gd name="connsiteX195" fmla="*/ 1995896 w 2552253"/>
                    <a:gd name="connsiteY195" fmla="*/ 436290 h 489979"/>
                    <a:gd name="connsiteX196" fmla="*/ 1985627 w 2552253"/>
                    <a:gd name="connsiteY196" fmla="*/ 436290 h 489979"/>
                    <a:gd name="connsiteX197" fmla="*/ 1985627 w 2552253"/>
                    <a:gd name="connsiteY197" fmla="*/ 413408 h 489979"/>
                    <a:gd name="connsiteX198" fmla="*/ 1985181 w 2552253"/>
                    <a:gd name="connsiteY198" fmla="*/ 413408 h 489979"/>
                    <a:gd name="connsiteX199" fmla="*/ 1969275 w 2552253"/>
                    <a:gd name="connsiteY199" fmla="*/ 432104 h 489979"/>
                    <a:gd name="connsiteX200" fmla="*/ 1946113 w 2552253"/>
                    <a:gd name="connsiteY200" fmla="*/ 439081 h 489979"/>
                    <a:gd name="connsiteX201" fmla="*/ 1920329 w 2552253"/>
                    <a:gd name="connsiteY201" fmla="*/ 429928 h 489979"/>
                    <a:gd name="connsiteX202" fmla="*/ 1910841 w 2552253"/>
                    <a:gd name="connsiteY202" fmla="*/ 406822 h 489979"/>
                    <a:gd name="connsiteX203" fmla="*/ 1950466 w 2552253"/>
                    <a:gd name="connsiteY203" fmla="*/ 370657 h 489979"/>
                    <a:gd name="connsiteX204" fmla="*/ 1985627 w 2552253"/>
                    <a:gd name="connsiteY204" fmla="*/ 365411 h 489979"/>
                    <a:gd name="connsiteX205" fmla="*/ 1957945 w 2552253"/>
                    <a:gd name="connsiteY205" fmla="*/ 328576 h 489979"/>
                    <a:gd name="connsiteX206" fmla="*/ 1921222 w 2552253"/>
                    <a:gd name="connsiteY206" fmla="*/ 343756 h 489979"/>
                    <a:gd name="connsiteX207" fmla="*/ 1921222 w 2552253"/>
                    <a:gd name="connsiteY207" fmla="*/ 331366 h 489979"/>
                    <a:gd name="connsiteX208" fmla="*/ 1938467 w 2552253"/>
                    <a:gd name="connsiteY208" fmla="*/ 322772 h 489979"/>
                    <a:gd name="connsiteX209" fmla="*/ 1958950 w 2552253"/>
                    <a:gd name="connsiteY209" fmla="*/ 319200 h 489979"/>
                    <a:gd name="connsiteX210" fmla="*/ 1015975 w 2552253"/>
                    <a:gd name="connsiteY210" fmla="*/ 319200 h 489979"/>
                    <a:gd name="connsiteX211" fmla="*/ 1043266 w 2552253"/>
                    <a:gd name="connsiteY211" fmla="*/ 330139 h 489979"/>
                    <a:gd name="connsiteX212" fmla="*/ 1052921 w 2552253"/>
                    <a:gd name="connsiteY212" fmla="*/ 361951 h 489979"/>
                    <a:gd name="connsiteX213" fmla="*/ 1052921 w 2552253"/>
                    <a:gd name="connsiteY213" fmla="*/ 436290 h 489979"/>
                    <a:gd name="connsiteX214" fmla="*/ 1042652 w 2552253"/>
                    <a:gd name="connsiteY214" fmla="*/ 436290 h 489979"/>
                    <a:gd name="connsiteX215" fmla="*/ 1042652 w 2552253"/>
                    <a:gd name="connsiteY215" fmla="*/ 413408 h 489979"/>
                    <a:gd name="connsiteX216" fmla="*/ 1042206 w 2552253"/>
                    <a:gd name="connsiteY216" fmla="*/ 413408 h 489979"/>
                    <a:gd name="connsiteX217" fmla="*/ 1026300 w 2552253"/>
                    <a:gd name="connsiteY217" fmla="*/ 432104 h 489979"/>
                    <a:gd name="connsiteX218" fmla="*/ 1003138 w 2552253"/>
                    <a:gd name="connsiteY218" fmla="*/ 439081 h 489979"/>
                    <a:gd name="connsiteX219" fmla="*/ 977354 w 2552253"/>
                    <a:gd name="connsiteY219" fmla="*/ 429928 h 489979"/>
                    <a:gd name="connsiteX220" fmla="*/ 967866 w 2552253"/>
                    <a:gd name="connsiteY220" fmla="*/ 406822 h 489979"/>
                    <a:gd name="connsiteX221" fmla="*/ 1007492 w 2552253"/>
                    <a:gd name="connsiteY221" fmla="*/ 370657 h 489979"/>
                    <a:gd name="connsiteX222" fmla="*/ 1042652 w 2552253"/>
                    <a:gd name="connsiteY222" fmla="*/ 365411 h 489979"/>
                    <a:gd name="connsiteX223" fmla="*/ 1014970 w 2552253"/>
                    <a:gd name="connsiteY223" fmla="*/ 328576 h 489979"/>
                    <a:gd name="connsiteX224" fmla="*/ 978247 w 2552253"/>
                    <a:gd name="connsiteY224" fmla="*/ 343756 h 489979"/>
                    <a:gd name="connsiteX225" fmla="*/ 978247 w 2552253"/>
                    <a:gd name="connsiteY225" fmla="*/ 331366 h 489979"/>
                    <a:gd name="connsiteX226" fmla="*/ 995492 w 2552253"/>
                    <a:gd name="connsiteY226" fmla="*/ 322772 h 489979"/>
                    <a:gd name="connsiteX227" fmla="*/ 1015975 w 2552253"/>
                    <a:gd name="connsiteY227" fmla="*/ 319200 h 489979"/>
                    <a:gd name="connsiteX228" fmla="*/ 282550 w 2552253"/>
                    <a:gd name="connsiteY228" fmla="*/ 319200 h 489979"/>
                    <a:gd name="connsiteX229" fmla="*/ 309841 w 2552253"/>
                    <a:gd name="connsiteY229" fmla="*/ 330139 h 489979"/>
                    <a:gd name="connsiteX230" fmla="*/ 319496 w 2552253"/>
                    <a:gd name="connsiteY230" fmla="*/ 361951 h 489979"/>
                    <a:gd name="connsiteX231" fmla="*/ 319496 w 2552253"/>
                    <a:gd name="connsiteY231" fmla="*/ 436290 h 489979"/>
                    <a:gd name="connsiteX232" fmla="*/ 309227 w 2552253"/>
                    <a:gd name="connsiteY232" fmla="*/ 436290 h 489979"/>
                    <a:gd name="connsiteX233" fmla="*/ 309227 w 2552253"/>
                    <a:gd name="connsiteY233" fmla="*/ 413408 h 489979"/>
                    <a:gd name="connsiteX234" fmla="*/ 308781 w 2552253"/>
                    <a:gd name="connsiteY234" fmla="*/ 413408 h 489979"/>
                    <a:gd name="connsiteX235" fmla="*/ 292875 w 2552253"/>
                    <a:gd name="connsiteY235" fmla="*/ 432104 h 489979"/>
                    <a:gd name="connsiteX236" fmla="*/ 269713 w 2552253"/>
                    <a:gd name="connsiteY236" fmla="*/ 439081 h 489979"/>
                    <a:gd name="connsiteX237" fmla="*/ 243929 w 2552253"/>
                    <a:gd name="connsiteY237" fmla="*/ 429928 h 489979"/>
                    <a:gd name="connsiteX238" fmla="*/ 234441 w 2552253"/>
                    <a:gd name="connsiteY238" fmla="*/ 406822 h 489979"/>
                    <a:gd name="connsiteX239" fmla="*/ 274067 w 2552253"/>
                    <a:gd name="connsiteY239" fmla="*/ 370657 h 489979"/>
                    <a:gd name="connsiteX240" fmla="*/ 309227 w 2552253"/>
                    <a:gd name="connsiteY240" fmla="*/ 365411 h 489979"/>
                    <a:gd name="connsiteX241" fmla="*/ 281545 w 2552253"/>
                    <a:gd name="connsiteY241" fmla="*/ 328576 h 489979"/>
                    <a:gd name="connsiteX242" fmla="*/ 244822 w 2552253"/>
                    <a:gd name="connsiteY242" fmla="*/ 343756 h 489979"/>
                    <a:gd name="connsiteX243" fmla="*/ 244822 w 2552253"/>
                    <a:gd name="connsiteY243" fmla="*/ 331366 h 489979"/>
                    <a:gd name="connsiteX244" fmla="*/ 262067 w 2552253"/>
                    <a:gd name="connsiteY244" fmla="*/ 322772 h 489979"/>
                    <a:gd name="connsiteX245" fmla="*/ 282550 w 2552253"/>
                    <a:gd name="connsiteY245" fmla="*/ 319200 h 489979"/>
                    <a:gd name="connsiteX246" fmla="*/ 1618357 w 2552253"/>
                    <a:gd name="connsiteY246" fmla="*/ 319199 h 489979"/>
                    <a:gd name="connsiteX247" fmla="*/ 1652345 w 2552253"/>
                    <a:gd name="connsiteY247" fmla="*/ 334212 h 489979"/>
                    <a:gd name="connsiteX248" fmla="*/ 1664568 w 2552253"/>
                    <a:gd name="connsiteY248" fmla="*/ 375009 h 489979"/>
                    <a:gd name="connsiteX249" fmla="*/ 1650559 w 2552253"/>
                    <a:gd name="connsiteY249" fmla="*/ 421388 h 489979"/>
                    <a:gd name="connsiteX250" fmla="*/ 1613557 w 2552253"/>
                    <a:gd name="connsiteY250" fmla="*/ 439080 h 489979"/>
                    <a:gd name="connsiteX251" fmla="*/ 1575606 w 2552253"/>
                    <a:gd name="connsiteY251" fmla="*/ 415974 h 489979"/>
                    <a:gd name="connsiteX252" fmla="*/ 1575159 w 2552253"/>
                    <a:gd name="connsiteY252" fmla="*/ 415974 h 489979"/>
                    <a:gd name="connsiteX253" fmla="*/ 1575159 w 2552253"/>
                    <a:gd name="connsiteY253" fmla="*/ 488863 h 489979"/>
                    <a:gd name="connsiteX254" fmla="*/ 1564890 w 2552253"/>
                    <a:gd name="connsiteY254" fmla="*/ 488863 h 489979"/>
                    <a:gd name="connsiteX255" fmla="*/ 1564890 w 2552253"/>
                    <a:gd name="connsiteY255" fmla="*/ 321989 h 489979"/>
                    <a:gd name="connsiteX256" fmla="*/ 1575159 w 2552253"/>
                    <a:gd name="connsiteY256" fmla="*/ 321989 h 489979"/>
                    <a:gd name="connsiteX257" fmla="*/ 1575159 w 2552253"/>
                    <a:gd name="connsiteY257" fmla="*/ 345541 h 489979"/>
                    <a:gd name="connsiteX258" fmla="*/ 1575606 w 2552253"/>
                    <a:gd name="connsiteY258" fmla="*/ 345541 h 489979"/>
                    <a:gd name="connsiteX259" fmla="*/ 1593186 w 2552253"/>
                    <a:gd name="connsiteY259" fmla="*/ 326063 h 489979"/>
                    <a:gd name="connsiteX260" fmla="*/ 1618357 w 2552253"/>
                    <a:gd name="connsiteY260" fmla="*/ 319199 h 489979"/>
                    <a:gd name="connsiteX261" fmla="*/ 1138423 w 2552253"/>
                    <a:gd name="connsiteY261" fmla="*/ 319199 h 489979"/>
                    <a:gd name="connsiteX262" fmla="*/ 1166775 w 2552253"/>
                    <a:gd name="connsiteY262" fmla="*/ 331533 h 489979"/>
                    <a:gd name="connsiteX263" fmla="*/ 1176597 w 2552253"/>
                    <a:gd name="connsiteY263" fmla="*/ 366749 h 489979"/>
                    <a:gd name="connsiteX264" fmla="*/ 1176597 w 2552253"/>
                    <a:gd name="connsiteY264" fmla="*/ 436289 h 489979"/>
                    <a:gd name="connsiteX265" fmla="*/ 1166328 w 2552253"/>
                    <a:gd name="connsiteY265" fmla="*/ 436289 h 489979"/>
                    <a:gd name="connsiteX266" fmla="*/ 1166328 w 2552253"/>
                    <a:gd name="connsiteY266" fmla="*/ 369763 h 489979"/>
                    <a:gd name="connsiteX267" fmla="*/ 1136637 w 2552253"/>
                    <a:gd name="connsiteY267" fmla="*/ 328575 h 489979"/>
                    <a:gd name="connsiteX268" fmla="*/ 1109513 w 2552253"/>
                    <a:gd name="connsiteY268" fmla="*/ 340686 h 489979"/>
                    <a:gd name="connsiteX269" fmla="*/ 1098909 w 2552253"/>
                    <a:gd name="connsiteY269" fmla="*/ 370656 h 489979"/>
                    <a:gd name="connsiteX270" fmla="*/ 1098909 w 2552253"/>
                    <a:gd name="connsiteY270" fmla="*/ 436289 h 489979"/>
                    <a:gd name="connsiteX271" fmla="*/ 1088640 w 2552253"/>
                    <a:gd name="connsiteY271" fmla="*/ 436289 h 489979"/>
                    <a:gd name="connsiteX272" fmla="*/ 1088640 w 2552253"/>
                    <a:gd name="connsiteY272" fmla="*/ 321989 h 489979"/>
                    <a:gd name="connsiteX273" fmla="*/ 1098909 w 2552253"/>
                    <a:gd name="connsiteY273" fmla="*/ 321989 h 489979"/>
                    <a:gd name="connsiteX274" fmla="*/ 1098909 w 2552253"/>
                    <a:gd name="connsiteY274" fmla="*/ 342751 h 489979"/>
                    <a:gd name="connsiteX275" fmla="*/ 1099356 w 2552253"/>
                    <a:gd name="connsiteY275" fmla="*/ 342751 h 489979"/>
                    <a:gd name="connsiteX276" fmla="*/ 1138423 w 2552253"/>
                    <a:gd name="connsiteY276" fmla="*/ 319199 h 489979"/>
                    <a:gd name="connsiteX277" fmla="*/ 646955 w 2552253"/>
                    <a:gd name="connsiteY277" fmla="*/ 319199 h 489979"/>
                    <a:gd name="connsiteX278" fmla="*/ 683567 w 2552253"/>
                    <a:gd name="connsiteY278" fmla="*/ 340072 h 489979"/>
                    <a:gd name="connsiteX279" fmla="*/ 684014 w 2552253"/>
                    <a:gd name="connsiteY279" fmla="*/ 340072 h 489979"/>
                    <a:gd name="connsiteX280" fmla="*/ 684014 w 2552253"/>
                    <a:gd name="connsiteY280" fmla="*/ 321989 h 489979"/>
                    <a:gd name="connsiteX281" fmla="*/ 694283 w 2552253"/>
                    <a:gd name="connsiteY281" fmla="*/ 321989 h 489979"/>
                    <a:gd name="connsiteX282" fmla="*/ 694283 w 2552253"/>
                    <a:gd name="connsiteY282" fmla="*/ 427806 h 489979"/>
                    <a:gd name="connsiteX283" fmla="*/ 680219 w 2552253"/>
                    <a:gd name="connsiteY283" fmla="*/ 475022 h 489979"/>
                    <a:gd name="connsiteX284" fmla="*/ 636463 w 2552253"/>
                    <a:gd name="connsiteY284" fmla="*/ 489979 h 489979"/>
                    <a:gd name="connsiteX285" fmla="*/ 602419 w 2552253"/>
                    <a:gd name="connsiteY285" fmla="*/ 481273 h 489979"/>
                    <a:gd name="connsiteX286" fmla="*/ 602419 w 2552253"/>
                    <a:gd name="connsiteY286" fmla="*/ 470557 h 489979"/>
                    <a:gd name="connsiteX287" fmla="*/ 636686 w 2552253"/>
                    <a:gd name="connsiteY287" fmla="*/ 480603 h 489979"/>
                    <a:gd name="connsiteX288" fmla="*/ 684014 w 2552253"/>
                    <a:gd name="connsiteY288" fmla="*/ 430597 h 489979"/>
                    <a:gd name="connsiteX289" fmla="*/ 684014 w 2552253"/>
                    <a:gd name="connsiteY289" fmla="*/ 415751 h 489979"/>
                    <a:gd name="connsiteX290" fmla="*/ 683567 w 2552253"/>
                    <a:gd name="connsiteY290" fmla="*/ 415751 h 489979"/>
                    <a:gd name="connsiteX291" fmla="*/ 642379 w 2552253"/>
                    <a:gd name="connsiteY291" fmla="*/ 439080 h 489979"/>
                    <a:gd name="connsiteX292" fmla="*/ 607944 w 2552253"/>
                    <a:gd name="connsiteY292" fmla="*/ 423788 h 489979"/>
                    <a:gd name="connsiteX293" fmla="*/ 594605 w 2552253"/>
                    <a:gd name="connsiteY293" fmla="*/ 381148 h 489979"/>
                    <a:gd name="connsiteX294" fmla="*/ 609004 w 2552253"/>
                    <a:gd name="connsiteY294" fmla="*/ 336500 h 489979"/>
                    <a:gd name="connsiteX295" fmla="*/ 646955 w 2552253"/>
                    <a:gd name="connsiteY295" fmla="*/ 319199 h 489979"/>
                    <a:gd name="connsiteX296" fmla="*/ 528823 w 2552253"/>
                    <a:gd name="connsiteY296" fmla="*/ 319199 h 489979"/>
                    <a:gd name="connsiteX297" fmla="*/ 557175 w 2552253"/>
                    <a:gd name="connsiteY297" fmla="*/ 331533 h 489979"/>
                    <a:gd name="connsiteX298" fmla="*/ 566998 w 2552253"/>
                    <a:gd name="connsiteY298" fmla="*/ 366749 h 489979"/>
                    <a:gd name="connsiteX299" fmla="*/ 566998 w 2552253"/>
                    <a:gd name="connsiteY299" fmla="*/ 436289 h 489979"/>
                    <a:gd name="connsiteX300" fmla="*/ 556728 w 2552253"/>
                    <a:gd name="connsiteY300" fmla="*/ 436289 h 489979"/>
                    <a:gd name="connsiteX301" fmla="*/ 556728 w 2552253"/>
                    <a:gd name="connsiteY301" fmla="*/ 369763 h 489979"/>
                    <a:gd name="connsiteX302" fmla="*/ 527037 w 2552253"/>
                    <a:gd name="connsiteY302" fmla="*/ 328575 h 489979"/>
                    <a:gd name="connsiteX303" fmla="*/ 499913 w 2552253"/>
                    <a:gd name="connsiteY303" fmla="*/ 340686 h 489979"/>
                    <a:gd name="connsiteX304" fmla="*/ 489309 w 2552253"/>
                    <a:gd name="connsiteY304" fmla="*/ 370656 h 489979"/>
                    <a:gd name="connsiteX305" fmla="*/ 489309 w 2552253"/>
                    <a:gd name="connsiteY305" fmla="*/ 436289 h 489979"/>
                    <a:gd name="connsiteX306" fmla="*/ 479040 w 2552253"/>
                    <a:gd name="connsiteY306" fmla="*/ 436289 h 489979"/>
                    <a:gd name="connsiteX307" fmla="*/ 479040 w 2552253"/>
                    <a:gd name="connsiteY307" fmla="*/ 321989 h 489979"/>
                    <a:gd name="connsiteX308" fmla="*/ 489309 w 2552253"/>
                    <a:gd name="connsiteY308" fmla="*/ 321989 h 489979"/>
                    <a:gd name="connsiteX309" fmla="*/ 489309 w 2552253"/>
                    <a:gd name="connsiteY309" fmla="*/ 342751 h 489979"/>
                    <a:gd name="connsiteX310" fmla="*/ 489756 w 2552253"/>
                    <a:gd name="connsiteY310" fmla="*/ 342751 h 489979"/>
                    <a:gd name="connsiteX311" fmla="*/ 528823 w 2552253"/>
                    <a:gd name="connsiteY311" fmla="*/ 319199 h 489979"/>
                    <a:gd name="connsiteX312" fmla="*/ 2046684 w 2552253"/>
                    <a:gd name="connsiteY312" fmla="*/ 288838 h 489979"/>
                    <a:gd name="connsiteX313" fmla="*/ 2046684 w 2552253"/>
                    <a:gd name="connsiteY313" fmla="*/ 321989 h 489979"/>
                    <a:gd name="connsiteX314" fmla="*/ 2076822 w 2552253"/>
                    <a:gd name="connsiteY314" fmla="*/ 321989 h 489979"/>
                    <a:gd name="connsiteX315" fmla="*/ 2076822 w 2552253"/>
                    <a:gd name="connsiteY315" fmla="*/ 331365 h 489979"/>
                    <a:gd name="connsiteX316" fmla="*/ 2046684 w 2552253"/>
                    <a:gd name="connsiteY316" fmla="*/ 331365 h 489979"/>
                    <a:gd name="connsiteX317" fmla="*/ 2046684 w 2552253"/>
                    <a:gd name="connsiteY317" fmla="*/ 406821 h 489979"/>
                    <a:gd name="connsiteX318" fmla="*/ 2050423 w 2552253"/>
                    <a:gd name="connsiteY318" fmla="*/ 423955 h 489979"/>
                    <a:gd name="connsiteX319" fmla="*/ 2063092 w 2552253"/>
                    <a:gd name="connsiteY319" fmla="*/ 429257 h 489979"/>
                    <a:gd name="connsiteX320" fmla="*/ 2076822 w 2552253"/>
                    <a:gd name="connsiteY320" fmla="*/ 425127 h 489979"/>
                    <a:gd name="connsiteX321" fmla="*/ 2076822 w 2552253"/>
                    <a:gd name="connsiteY321" fmla="*/ 434727 h 489979"/>
                    <a:gd name="connsiteX322" fmla="*/ 2061753 w 2552253"/>
                    <a:gd name="connsiteY322" fmla="*/ 438522 h 489979"/>
                    <a:gd name="connsiteX323" fmla="*/ 2036415 w 2552253"/>
                    <a:gd name="connsiteY323" fmla="*/ 408161 h 489979"/>
                    <a:gd name="connsiteX324" fmla="*/ 2036415 w 2552253"/>
                    <a:gd name="connsiteY324" fmla="*/ 331365 h 489979"/>
                    <a:gd name="connsiteX325" fmla="*/ 2015876 w 2552253"/>
                    <a:gd name="connsiteY325" fmla="*/ 331365 h 489979"/>
                    <a:gd name="connsiteX326" fmla="*/ 2015876 w 2552253"/>
                    <a:gd name="connsiteY326" fmla="*/ 321989 h 489979"/>
                    <a:gd name="connsiteX327" fmla="*/ 2036415 w 2552253"/>
                    <a:gd name="connsiteY327" fmla="*/ 321989 h 489979"/>
                    <a:gd name="connsiteX328" fmla="*/ 2036415 w 2552253"/>
                    <a:gd name="connsiteY328" fmla="*/ 292298 h 489979"/>
                    <a:gd name="connsiteX329" fmla="*/ 2041549 w 2552253"/>
                    <a:gd name="connsiteY329" fmla="*/ 290512 h 489979"/>
                    <a:gd name="connsiteX330" fmla="*/ 2046684 w 2552253"/>
                    <a:gd name="connsiteY330" fmla="*/ 288838 h 489979"/>
                    <a:gd name="connsiteX331" fmla="*/ 798909 w 2552253"/>
                    <a:gd name="connsiteY331" fmla="*/ 288838 h 489979"/>
                    <a:gd name="connsiteX332" fmla="*/ 798909 w 2552253"/>
                    <a:gd name="connsiteY332" fmla="*/ 321989 h 489979"/>
                    <a:gd name="connsiteX333" fmla="*/ 829047 w 2552253"/>
                    <a:gd name="connsiteY333" fmla="*/ 321989 h 489979"/>
                    <a:gd name="connsiteX334" fmla="*/ 829047 w 2552253"/>
                    <a:gd name="connsiteY334" fmla="*/ 331365 h 489979"/>
                    <a:gd name="connsiteX335" fmla="*/ 798909 w 2552253"/>
                    <a:gd name="connsiteY335" fmla="*/ 331365 h 489979"/>
                    <a:gd name="connsiteX336" fmla="*/ 798909 w 2552253"/>
                    <a:gd name="connsiteY336" fmla="*/ 406821 h 489979"/>
                    <a:gd name="connsiteX337" fmla="*/ 802648 w 2552253"/>
                    <a:gd name="connsiteY337" fmla="*/ 423955 h 489979"/>
                    <a:gd name="connsiteX338" fmla="*/ 815317 w 2552253"/>
                    <a:gd name="connsiteY338" fmla="*/ 429257 h 489979"/>
                    <a:gd name="connsiteX339" fmla="*/ 829047 w 2552253"/>
                    <a:gd name="connsiteY339" fmla="*/ 425127 h 489979"/>
                    <a:gd name="connsiteX340" fmla="*/ 829047 w 2552253"/>
                    <a:gd name="connsiteY340" fmla="*/ 434727 h 489979"/>
                    <a:gd name="connsiteX341" fmla="*/ 813978 w 2552253"/>
                    <a:gd name="connsiteY341" fmla="*/ 438522 h 489979"/>
                    <a:gd name="connsiteX342" fmla="*/ 788640 w 2552253"/>
                    <a:gd name="connsiteY342" fmla="*/ 408161 h 489979"/>
                    <a:gd name="connsiteX343" fmla="*/ 788640 w 2552253"/>
                    <a:gd name="connsiteY343" fmla="*/ 331365 h 489979"/>
                    <a:gd name="connsiteX344" fmla="*/ 768101 w 2552253"/>
                    <a:gd name="connsiteY344" fmla="*/ 331365 h 489979"/>
                    <a:gd name="connsiteX345" fmla="*/ 768101 w 2552253"/>
                    <a:gd name="connsiteY345" fmla="*/ 321989 h 489979"/>
                    <a:gd name="connsiteX346" fmla="*/ 788640 w 2552253"/>
                    <a:gd name="connsiteY346" fmla="*/ 321989 h 489979"/>
                    <a:gd name="connsiteX347" fmla="*/ 788640 w 2552253"/>
                    <a:gd name="connsiteY347" fmla="*/ 292298 h 489979"/>
                    <a:gd name="connsiteX348" fmla="*/ 793774 w 2552253"/>
                    <a:gd name="connsiteY348" fmla="*/ 290512 h 489979"/>
                    <a:gd name="connsiteX349" fmla="*/ 798909 w 2552253"/>
                    <a:gd name="connsiteY349" fmla="*/ 288838 h 489979"/>
                    <a:gd name="connsiteX350" fmla="*/ 1769938 w 2552253"/>
                    <a:gd name="connsiteY350" fmla="*/ 276225 h 489979"/>
                    <a:gd name="connsiteX351" fmla="*/ 1776021 w 2552253"/>
                    <a:gd name="connsiteY351" fmla="*/ 278457 h 489979"/>
                    <a:gd name="connsiteX352" fmla="*/ 1778644 w 2552253"/>
                    <a:gd name="connsiteY352" fmla="*/ 284485 h 489979"/>
                    <a:gd name="connsiteX353" fmla="*/ 1776077 w 2552253"/>
                    <a:gd name="connsiteY353" fmla="*/ 290624 h 489979"/>
                    <a:gd name="connsiteX354" fmla="*/ 1769938 w 2552253"/>
                    <a:gd name="connsiteY354" fmla="*/ 293191 h 489979"/>
                    <a:gd name="connsiteX355" fmla="*/ 1764022 w 2552253"/>
                    <a:gd name="connsiteY355" fmla="*/ 290735 h 489979"/>
                    <a:gd name="connsiteX356" fmla="*/ 1761455 w 2552253"/>
                    <a:gd name="connsiteY356" fmla="*/ 284485 h 489979"/>
                    <a:gd name="connsiteX357" fmla="*/ 1764078 w 2552253"/>
                    <a:gd name="connsiteY357" fmla="*/ 278513 h 489979"/>
                    <a:gd name="connsiteX358" fmla="*/ 1769938 w 2552253"/>
                    <a:gd name="connsiteY358" fmla="*/ 276225 h 489979"/>
                    <a:gd name="connsiteX359" fmla="*/ 436438 w 2552253"/>
                    <a:gd name="connsiteY359" fmla="*/ 276225 h 489979"/>
                    <a:gd name="connsiteX360" fmla="*/ 442521 w 2552253"/>
                    <a:gd name="connsiteY360" fmla="*/ 278457 h 489979"/>
                    <a:gd name="connsiteX361" fmla="*/ 445144 w 2552253"/>
                    <a:gd name="connsiteY361" fmla="*/ 284485 h 489979"/>
                    <a:gd name="connsiteX362" fmla="*/ 442577 w 2552253"/>
                    <a:gd name="connsiteY362" fmla="*/ 290624 h 489979"/>
                    <a:gd name="connsiteX363" fmla="*/ 436438 w 2552253"/>
                    <a:gd name="connsiteY363" fmla="*/ 293191 h 489979"/>
                    <a:gd name="connsiteX364" fmla="*/ 430522 w 2552253"/>
                    <a:gd name="connsiteY364" fmla="*/ 290735 h 489979"/>
                    <a:gd name="connsiteX365" fmla="*/ 427955 w 2552253"/>
                    <a:gd name="connsiteY365" fmla="*/ 284485 h 489979"/>
                    <a:gd name="connsiteX366" fmla="*/ 430578 w 2552253"/>
                    <a:gd name="connsiteY366" fmla="*/ 278513 h 489979"/>
                    <a:gd name="connsiteX367" fmla="*/ 436438 w 2552253"/>
                    <a:gd name="connsiteY367" fmla="*/ 276225 h 489979"/>
                    <a:gd name="connsiteX368" fmla="*/ 49224 w 2552253"/>
                    <a:gd name="connsiteY368" fmla="*/ 273546 h 489979"/>
                    <a:gd name="connsiteX369" fmla="*/ 77799 w 2552253"/>
                    <a:gd name="connsiteY369" fmla="*/ 278345 h 489979"/>
                    <a:gd name="connsiteX370" fmla="*/ 77799 w 2552253"/>
                    <a:gd name="connsiteY370" fmla="*/ 289954 h 489979"/>
                    <a:gd name="connsiteX371" fmla="*/ 47773 w 2552253"/>
                    <a:gd name="connsiteY371" fmla="*/ 283592 h 489979"/>
                    <a:gd name="connsiteX372" fmla="*/ 21933 w 2552253"/>
                    <a:gd name="connsiteY372" fmla="*/ 291852 h 489979"/>
                    <a:gd name="connsiteX373" fmla="*/ 12390 w 2552253"/>
                    <a:gd name="connsiteY373" fmla="*/ 312836 h 489979"/>
                    <a:gd name="connsiteX374" fmla="*/ 18919 w 2552253"/>
                    <a:gd name="connsiteY374" fmla="*/ 332370 h 489979"/>
                    <a:gd name="connsiteX375" fmla="*/ 47104 w 2552253"/>
                    <a:gd name="connsiteY375" fmla="*/ 352127 h 489979"/>
                    <a:gd name="connsiteX376" fmla="*/ 76962 w 2552253"/>
                    <a:gd name="connsiteY376" fmla="*/ 374730 h 489979"/>
                    <a:gd name="connsiteX377" fmla="*/ 84385 w 2552253"/>
                    <a:gd name="connsiteY377" fmla="*/ 397445 h 489979"/>
                    <a:gd name="connsiteX378" fmla="*/ 71605 w 2552253"/>
                    <a:gd name="connsiteY378" fmla="*/ 427471 h 489979"/>
                    <a:gd name="connsiteX379" fmla="*/ 35495 w 2552253"/>
                    <a:gd name="connsiteY379" fmla="*/ 439080 h 489979"/>
                    <a:gd name="connsiteX380" fmla="*/ 16464 w 2552253"/>
                    <a:gd name="connsiteY380" fmla="*/ 436512 h 489979"/>
                    <a:gd name="connsiteX381" fmla="*/ 0 w 2552253"/>
                    <a:gd name="connsiteY381" fmla="*/ 430597 h 489979"/>
                    <a:gd name="connsiteX382" fmla="*/ 0 w 2552253"/>
                    <a:gd name="connsiteY382" fmla="*/ 417983 h 489979"/>
                    <a:gd name="connsiteX383" fmla="*/ 34825 w 2552253"/>
                    <a:gd name="connsiteY383" fmla="*/ 428922 h 489979"/>
                    <a:gd name="connsiteX384" fmla="*/ 63289 w 2552253"/>
                    <a:gd name="connsiteY384" fmla="*/ 421165 h 489979"/>
                    <a:gd name="connsiteX385" fmla="*/ 73000 w 2552253"/>
                    <a:gd name="connsiteY385" fmla="*/ 399454 h 489979"/>
                    <a:gd name="connsiteX386" fmla="*/ 66470 w 2552253"/>
                    <a:gd name="connsiteY386" fmla="*/ 379865 h 489979"/>
                    <a:gd name="connsiteX387" fmla="*/ 38174 w 2552253"/>
                    <a:gd name="connsiteY387" fmla="*/ 359940 h 489979"/>
                    <a:gd name="connsiteX388" fmla="*/ 7367 w 2552253"/>
                    <a:gd name="connsiteY388" fmla="*/ 336221 h 489979"/>
                    <a:gd name="connsiteX389" fmla="*/ 893 w 2552253"/>
                    <a:gd name="connsiteY389" fmla="*/ 314176 h 489979"/>
                    <a:gd name="connsiteX390" fmla="*/ 14064 w 2552253"/>
                    <a:gd name="connsiteY390" fmla="*/ 285378 h 489979"/>
                    <a:gd name="connsiteX391" fmla="*/ 49224 w 2552253"/>
                    <a:gd name="connsiteY391" fmla="*/ 273546 h 489979"/>
                    <a:gd name="connsiteX392" fmla="*/ 850515 w 2552253"/>
                    <a:gd name="connsiteY392" fmla="*/ 267073 h 489979"/>
                    <a:gd name="connsiteX393" fmla="*/ 860784 w 2552253"/>
                    <a:gd name="connsiteY393" fmla="*/ 267073 h 489979"/>
                    <a:gd name="connsiteX394" fmla="*/ 860784 w 2552253"/>
                    <a:gd name="connsiteY394" fmla="*/ 342529 h 489979"/>
                    <a:gd name="connsiteX395" fmla="*/ 861231 w 2552253"/>
                    <a:gd name="connsiteY395" fmla="*/ 342529 h 489979"/>
                    <a:gd name="connsiteX396" fmla="*/ 900521 w 2552253"/>
                    <a:gd name="connsiteY396" fmla="*/ 319200 h 489979"/>
                    <a:gd name="connsiteX397" fmla="*/ 928761 w 2552253"/>
                    <a:gd name="connsiteY397" fmla="*/ 331143 h 489979"/>
                    <a:gd name="connsiteX398" fmla="*/ 938472 w 2552253"/>
                    <a:gd name="connsiteY398" fmla="*/ 365411 h 489979"/>
                    <a:gd name="connsiteX399" fmla="*/ 938472 w 2552253"/>
                    <a:gd name="connsiteY399" fmla="*/ 436290 h 489979"/>
                    <a:gd name="connsiteX400" fmla="*/ 928203 w 2552253"/>
                    <a:gd name="connsiteY400" fmla="*/ 436290 h 489979"/>
                    <a:gd name="connsiteX401" fmla="*/ 928203 w 2552253"/>
                    <a:gd name="connsiteY401" fmla="*/ 367755 h 489979"/>
                    <a:gd name="connsiteX402" fmla="*/ 920836 w 2552253"/>
                    <a:gd name="connsiteY402" fmla="*/ 338008 h 489979"/>
                    <a:gd name="connsiteX403" fmla="*/ 897842 w 2552253"/>
                    <a:gd name="connsiteY403" fmla="*/ 328576 h 489979"/>
                    <a:gd name="connsiteX404" fmla="*/ 871946 w 2552253"/>
                    <a:gd name="connsiteY404" fmla="*/ 340073 h 489979"/>
                    <a:gd name="connsiteX405" fmla="*/ 860784 w 2552253"/>
                    <a:gd name="connsiteY405" fmla="*/ 373001 h 489979"/>
                    <a:gd name="connsiteX406" fmla="*/ 860784 w 2552253"/>
                    <a:gd name="connsiteY406" fmla="*/ 436290 h 489979"/>
                    <a:gd name="connsiteX407" fmla="*/ 850515 w 2552253"/>
                    <a:gd name="connsiteY407" fmla="*/ 436290 h 489979"/>
                    <a:gd name="connsiteX408" fmla="*/ 117090 w 2552253"/>
                    <a:gd name="connsiteY408" fmla="*/ 267073 h 489979"/>
                    <a:gd name="connsiteX409" fmla="*/ 127359 w 2552253"/>
                    <a:gd name="connsiteY409" fmla="*/ 267073 h 489979"/>
                    <a:gd name="connsiteX410" fmla="*/ 127359 w 2552253"/>
                    <a:gd name="connsiteY410" fmla="*/ 342529 h 489979"/>
                    <a:gd name="connsiteX411" fmla="*/ 127806 w 2552253"/>
                    <a:gd name="connsiteY411" fmla="*/ 342529 h 489979"/>
                    <a:gd name="connsiteX412" fmla="*/ 167096 w 2552253"/>
                    <a:gd name="connsiteY412" fmla="*/ 319200 h 489979"/>
                    <a:gd name="connsiteX413" fmla="*/ 195337 w 2552253"/>
                    <a:gd name="connsiteY413" fmla="*/ 331143 h 489979"/>
                    <a:gd name="connsiteX414" fmla="*/ 205048 w 2552253"/>
                    <a:gd name="connsiteY414" fmla="*/ 365411 h 489979"/>
                    <a:gd name="connsiteX415" fmla="*/ 205048 w 2552253"/>
                    <a:gd name="connsiteY415" fmla="*/ 436290 h 489979"/>
                    <a:gd name="connsiteX416" fmla="*/ 194778 w 2552253"/>
                    <a:gd name="connsiteY416" fmla="*/ 436290 h 489979"/>
                    <a:gd name="connsiteX417" fmla="*/ 194778 w 2552253"/>
                    <a:gd name="connsiteY417" fmla="*/ 367755 h 489979"/>
                    <a:gd name="connsiteX418" fmla="*/ 187411 w 2552253"/>
                    <a:gd name="connsiteY418" fmla="*/ 338008 h 489979"/>
                    <a:gd name="connsiteX419" fmla="*/ 164417 w 2552253"/>
                    <a:gd name="connsiteY419" fmla="*/ 328576 h 489979"/>
                    <a:gd name="connsiteX420" fmla="*/ 138521 w 2552253"/>
                    <a:gd name="connsiteY420" fmla="*/ 340073 h 489979"/>
                    <a:gd name="connsiteX421" fmla="*/ 127359 w 2552253"/>
                    <a:gd name="connsiteY421" fmla="*/ 373001 h 489979"/>
                    <a:gd name="connsiteX422" fmla="*/ 127359 w 2552253"/>
                    <a:gd name="connsiteY422" fmla="*/ 436290 h 489979"/>
                    <a:gd name="connsiteX423" fmla="*/ 117090 w 2552253"/>
                    <a:gd name="connsiteY423" fmla="*/ 436290 h 489979"/>
                    <a:gd name="connsiteX424" fmla="*/ 1279140 w 2552253"/>
                    <a:gd name="connsiteY424" fmla="*/ 267072 h 489979"/>
                    <a:gd name="connsiteX425" fmla="*/ 1289409 w 2552253"/>
                    <a:gd name="connsiteY425" fmla="*/ 267072 h 489979"/>
                    <a:gd name="connsiteX426" fmla="*/ 1289409 w 2552253"/>
                    <a:gd name="connsiteY426" fmla="*/ 345541 h 489979"/>
                    <a:gd name="connsiteX427" fmla="*/ 1289856 w 2552253"/>
                    <a:gd name="connsiteY427" fmla="*/ 345541 h 489979"/>
                    <a:gd name="connsiteX428" fmla="*/ 1307436 w 2552253"/>
                    <a:gd name="connsiteY428" fmla="*/ 326063 h 489979"/>
                    <a:gd name="connsiteX429" fmla="*/ 1332607 w 2552253"/>
                    <a:gd name="connsiteY429" fmla="*/ 319199 h 489979"/>
                    <a:gd name="connsiteX430" fmla="*/ 1366595 w 2552253"/>
                    <a:gd name="connsiteY430" fmla="*/ 334212 h 489979"/>
                    <a:gd name="connsiteX431" fmla="*/ 1378818 w 2552253"/>
                    <a:gd name="connsiteY431" fmla="*/ 375009 h 489979"/>
                    <a:gd name="connsiteX432" fmla="*/ 1364642 w 2552253"/>
                    <a:gd name="connsiteY432" fmla="*/ 421388 h 489979"/>
                    <a:gd name="connsiteX433" fmla="*/ 1327807 w 2552253"/>
                    <a:gd name="connsiteY433" fmla="*/ 439080 h 489979"/>
                    <a:gd name="connsiteX434" fmla="*/ 1289856 w 2552253"/>
                    <a:gd name="connsiteY434" fmla="*/ 415974 h 489979"/>
                    <a:gd name="connsiteX435" fmla="*/ 1289409 w 2552253"/>
                    <a:gd name="connsiteY435" fmla="*/ 415974 h 489979"/>
                    <a:gd name="connsiteX436" fmla="*/ 1289409 w 2552253"/>
                    <a:gd name="connsiteY436" fmla="*/ 436289 h 489979"/>
                    <a:gd name="connsiteX437" fmla="*/ 1279140 w 2552253"/>
                    <a:gd name="connsiteY437" fmla="*/ 436289 h 489979"/>
                    <a:gd name="connsiteX438" fmla="*/ 2195177 w 2552253"/>
                    <a:gd name="connsiteY438" fmla="*/ 98562 h 489979"/>
                    <a:gd name="connsiteX439" fmla="*/ 2163700 w 2552253"/>
                    <a:gd name="connsiteY439" fmla="*/ 103138 h 489979"/>
                    <a:gd name="connsiteX440" fmla="*/ 2138474 w 2552253"/>
                    <a:gd name="connsiteY440" fmla="*/ 111454 h 489979"/>
                    <a:gd name="connsiteX441" fmla="*/ 2131218 w 2552253"/>
                    <a:gd name="connsiteY441" fmla="*/ 130151 h 489979"/>
                    <a:gd name="connsiteX442" fmla="*/ 2137971 w 2552253"/>
                    <a:gd name="connsiteY442" fmla="*/ 146894 h 489979"/>
                    <a:gd name="connsiteX443" fmla="*/ 2156779 w 2552253"/>
                    <a:gd name="connsiteY443" fmla="*/ 153480 h 489979"/>
                    <a:gd name="connsiteX444" fmla="*/ 2184238 w 2552253"/>
                    <a:gd name="connsiteY444" fmla="*/ 141257 h 489979"/>
                    <a:gd name="connsiteX445" fmla="*/ 2195177 w 2552253"/>
                    <a:gd name="connsiteY445" fmla="*/ 109724 h 489979"/>
                    <a:gd name="connsiteX446" fmla="*/ 1918952 w 2552253"/>
                    <a:gd name="connsiteY446" fmla="*/ 98562 h 489979"/>
                    <a:gd name="connsiteX447" fmla="*/ 1887475 w 2552253"/>
                    <a:gd name="connsiteY447" fmla="*/ 103138 h 489979"/>
                    <a:gd name="connsiteX448" fmla="*/ 1862249 w 2552253"/>
                    <a:gd name="connsiteY448" fmla="*/ 111454 h 489979"/>
                    <a:gd name="connsiteX449" fmla="*/ 1854993 w 2552253"/>
                    <a:gd name="connsiteY449" fmla="*/ 130151 h 489979"/>
                    <a:gd name="connsiteX450" fmla="*/ 1861746 w 2552253"/>
                    <a:gd name="connsiteY450" fmla="*/ 146894 h 489979"/>
                    <a:gd name="connsiteX451" fmla="*/ 1880554 w 2552253"/>
                    <a:gd name="connsiteY451" fmla="*/ 153480 h 489979"/>
                    <a:gd name="connsiteX452" fmla="*/ 1908013 w 2552253"/>
                    <a:gd name="connsiteY452" fmla="*/ 141257 h 489979"/>
                    <a:gd name="connsiteX453" fmla="*/ 1918952 w 2552253"/>
                    <a:gd name="connsiteY453" fmla="*/ 109724 h 489979"/>
                    <a:gd name="connsiteX454" fmla="*/ 1369293 w 2552253"/>
                    <a:gd name="connsiteY454" fmla="*/ 52351 h 489979"/>
                    <a:gd name="connsiteX455" fmla="*/ 1342671 w 2552253"/>
                    <a:gd name="connsiteY455" fmla="*/ 63122 h 489979"/>
                    <a:gd name="connsiteX456" fmla="*/ 1329667 w 2552253"/>
                    <a:gd name="connsiteY456" fmla="*/ 93986 h 489979"/>
                    <a:gd name="connsiteX457" fmla="*/ 1403114 w 2552253"/>
                    <a:gd name="connsiteY457" fmla="*/ 93986 h 489979"/>
                    <a:gd name="connsiteX458" fmla="*/ 1393626 w 2552253"/>
                    <a:gd name="connsiteY458" fmla="*/ 63290 h 489979"/>
                    <a:gd name="connsiteX459" fmla="*/ 1369293 w 2552253"/>
                    <a:gd name="connsiteY459" fmla="*/ 52351 h 489979"/>
                    <a:gd name="connsiteX460" fmla="*/ 925748 w 2552253"/>
                    <a:gd name="connsiteY460" fmla="*/ 52351 h 489979"/>
                    <a:gd name="connsiteX461" fmla="*/ 893545 w 2552253"/>
                    <a:gd name="connsiteY461" fmla="*/ 65969 h 489979"/>
                    <a:gd name="connsiteX462" fmla="*/ 881546 w 2552253"/>
                    <a:gd name="connsiteY462" fmla="*/ 103808 h 489979"/>
                    <a:gd name="connsiteX463" fmla="*/ 893266 w 2552253"/>
                    <a:gd name="connsiteY463" fmla="*/ 139862 h 489979"/>
                    <a:gd name="connsiteX464" fmla="*/ 925301 w 2552253"/>
                    <a:gd name="connsiteY464" fmla="*/ 153480 h 489979"/>
                    <a:gd name="connsiteX465" fmla="*/ 957113 w 2552253"/>
                    <a:gd name="connsiteY465" fmla="*/ 140085 h 489979"/>
                    <a:gd name="connsiteX466" fmla="*/ 968275 w 2552253"/>
                    <a:gd name="connsiteY466" fmla="*/ 102915 h 489979"/>
                    <a:gd name="connsiteX467" fmla="*/ 957169 w 2552253"/>
                    <a:gd name="connsiteY467" fmla="*/ 65411 h 489979"/>
                    <a:gd name="connsiteX468" fmla="*/ 925748 w 2552253"/>
                    <a:gd name="connsiteY468" fmla="*/ 52351 h 489979"/>
                    <a:gd name="connsiteX469" fmla="*/ 693018 w 2552253"/>
                    <a:gd name="connsiteY469" fmla="*/ 52351 h 489979"/>
                    <a:gd name="connsiteX470" fmla="*/ 666396 w 2552253"/>
                    <a:gd name="connsiteY470" fmla="*/ 63122 h 489979"/>
                    <a:gd name="connsiteX471" fmla="*/ 653392 w 2552253"/>
                    <a:gd name="connsiteY471" fmla="*/ 93986 h 489979"/>
                    <a:gd name="connsiteX472" fmla="*/ 726839 w 2552253"/>
                    <a:gd name="connsiteY472" fmla="*/ 93986 h 489979"/>
                    <a:gd name="connsiteX473" fmla="*/ 717351 w 2552253"/>
                    <a:gd name="connsiteY473" fmla="*/ 63290 h 489979"/>
                    <a:gd name="connsiteX474" fmla="*/ 693018 w 2552253"/>
                    <a:gd name="connsiteY474" fmla="*/ 52351 h 489979"/>
                    <a:gd name="connsiteX475" fmla="*/ 497123 w 2552253"/>
                    <a:gd name="connsiteY475" fmla="*/ 52351 h 489979"/>
                    <a:gd name="connsiteX476" fmla="*/ 464920 w 2552253"/>
                    <a:gd name="connsiteY476" fmla="*/ 65969 h 489979"/>
                    <a:gd name="connsiteX477" fmla="*/ 452921 w 2552253"/>
                    <a:gd name="connsiteY477" fmla="*/ 103808 h 489979"/>
                    <a:gd name="connsiteX478" fmla="*/ 464641 w 2552253"/>
                    <a:gd name="connsiteY478" fmla="*/ 139862 h 489979"/>
                    <a:gd name="connsiteX479" fmla="*/ 496676 w 2552253"/>
                    <a:gd name="connsiteY479" fmla="*/ 153480 h 489979"/>
                    <a:gd name="connsiteX480" fmla="*/ 528488 w 2552253"/>
                    <a:gd name="connsiteY480" fmla="*/ 140085 h 489979"/>
                    <a:gd name="connsiteX481" fmla="*/ 539650 w 2552253"/>
                    <a:gd name="connsiteY481" fmla="*/ 102915 h 489979"/>
                    <a:gd name="connsiteX482" fmla="*/ 528544 w 2552253"/>
                    <a:gd name="connsiteY482" fmla="*/ 65411 h 489979"/>
                    <a:gd name="connsiteX483" fmla="*/ 497123 w 2552253"/>
                    <a:gd name="connsiteY483" fmla="*/ 52351 h 489979"/>
                    <a:gd name="connsiteX484" fmla="*/ 1000571 w 2552253"/>
                    <a:gd name="connsiteY484" fmla="*/ 45765 h 489979"/>
                    <a:gd name="connsiteX485" fmla="*/ 1010952 w 2552253"/>
                    <a:gd name="connsiteY485" fmla="*/ 45765 h 489979"/>
                    <a:gd name="connsiteX486" fmla="*/ 1010952 w 2552253"/>
                    <a:gd name="connsiteY486" fmla="*/ 109278 h 489979"/>
                    <a:gd name="connsiteX487" fmla="*/ 1018598 w 2552253"/>
                    <a:gd name="connsiteY487" fmla="*/ 142987 h 489979"/>
                    <a:gd name="connsiteX488" fmla="*/ 1042652 w 2552253"/>
                    <a:gd name="connsiteY488" fmla="*/ 153480 h 489979"/>
                    <a:gd name="connsiteX489" fmla="*/ 1068492 w 2552253"/>
                    <a:gd name="connsiteY489" fmla="*/ 141759 h 489979"/>
                    <a:gd name="connsiteX490" fmla="*/ 1078371 w 2552253"/>
                    <a:gd name="connsiteY490" fmla="*/ 110505 h 489979"/>
                    <a:gd name="connsiteX491" fmla="*/ 1078371 w 2552253"/>
                    <a:gd name="connsiteY491" fmla="*/ 45765 h 489979"/>
                    <a:gd name="connsiteX492" fmla="*/ 1088640 w 2552253"/>
                    <a:gd name="connsiteY492" fmla="*/ 45765 h 489979"/>
                    <a:gd name="connsiteX493" fmla="*/ 1088640 w 2552253"/>
                    <a:gd name="connsiteY493" fmla="*/ 160065 h 489979"/>
                    <a:gd name="connsiteX494" fmla="*/ 1078371 w 2552253"/>
                    <a:gd name="connsiteY494" fmla="*/ 160065 h 489979"/>
                    <a:gd name="connsiteX495" fmla="*/ 1078371 w 2552253"/>
                    <a:gd name="connsiteY495" fmla="*/ 139304 h 489979"/>
                    <a:gd name="connsiteX496" fmla="*/ 1077924 w 2552253"/>
                    <a:gd name="connsiteY496" fmla="*/ 139304 h 489979"/>
                    <a:gd name="connsiteX497" fmla="*/ 1041089 w 2552253"/>
                    <a:gd name="connsiteY497" fmla="*/ 162856 h 489979"/>
                    <a:gd name="connsiteX498" fmla="*/ 1000571 w 2552253"/>
                    <a:gd name="connsiteY498" fmla="*/ 111845 h 489979"/>
                    <a:gd name="connsiteX499" fmla="*/ 1803015 w 2552253"/>
                    <a:gd name="connsiteY499" fmla="*/ 45764 h 489979"/>
                    <a:gd name="connsiteX500" fmla="*/ 1813284 w 2552253"/>
                    <a:gd name="connsiteY500" fmla="*/ 45764 h 489979"/>
                    <a:gd name="connsiteX501" fmla="*/ 1813284 w 2552253"/>
                    <a:gd name="connsiteY501" fmla="*/ 160064 h 489979"/>
                    <a:gd name="connsiteX502" fmla="*/ 1803015 w 2552253"/>
                    <a:gd name="connsiteY502" fmla="*/ 160064 h 489979"/>
                    <a:gd name="connsiteX503" fmla="*/ 1682167 w 2552253"/>
                    <a:gd name="connsiteY503" fmla="*/ 45764 h 489979"/>
                    <a:gd name="connsiteX504" fmla="*/ 1693664 w 2552253"/>
                    <a:gd name="connsiteY504" fmla="*/ 45764 h 489979"/>
                    <a:gd name="connsiteX505" fmla="*/ 1727708 w 2552253"/>
                    <a:gd name="connsiteY505" fmla="*/ 136735 h 489979"/>
                    <a:gd name="connsiteX506" fmla="*/ 1731168 w 2552253"/>
                    <a:gd name="connsiteY506" fmla="*/ 148679 h 489979"/>
                    <a:gd name="connsiteX507" fmla="*/ 1731615 w 2552253"/>
                    <a:gd name="connsiteY507" fmla="*/ 148679 h 489979"/>
                    <a:gd name="connsiteX508" fmla="*/ 1734852 w 2552253"/>
                    <a:gd name="connsiteY508" fmla="*/ 137182 h 489979"/>
                    <a:gd name="connsiteX509" fmla="*/ 1770012 w 2552253"/>
                    <a:gd name="connsiteY509" fmla="*/ 45764 h 489979"/>
                    <a:gd name="connsiteX510" fmla="*/ 1781174 w 2552253"/>
                    <a:gd name="connsiteY510" fmla="*/ 45764 h 489979"/>
                    <a:gd name="connsiteX511" fmla="*/ 1735745 w 2552253"/>
                    <a:gd name="connsiteY511" fmla="*/ 160064 h 489979"/>
                    <a:gd name="connsiteX512" fmla="*/ 1726369 w 2552253"/>
                    <a:gd name="connsiteY512" fmla="*/ 160064 h 489979"/>
                    <a:gd name="connsiteX513" fmla="*/ 1424992 w 2552253"/>
                    <a:gd name="connsiteY513" fmla="*/ 45764 h 489979"/>
                    <a:gd name="connsiteX514" fmla="*/ 1436489 w 2552253"/>
                    <a:gd name="connsiteY514" fmla="*/ 45764 h 489979"/>
                    <a:gd name="connsiteX515" fmla="*/ 1470980 w 2552253"/>
                    <a:gd name="connsiteY515" fmla="*/ 138856 h 489979"/>
                    <a:gd name="connsiteX516" fmla="*/ 1472542 w 2552253"/>
                    <a:gd name="connsiteY516" fmla="*/ 143433 h 489979"/>
                    <a:gd name="connsiteX517" fmla="*/ 1473547 w 2552253"/>
                    <a:gd name="connsiteY517" fmla="*/ 147228 h 489979"/>
                    <a:gd name="connsiteX518" fmla="*/ 1473993 w 2552253"/>
                    <a:gd name="connsiteY518" fmla="*/ 147228 h 489979"/>
                    <a:gd name="connsiteX519" fmla="*/ 1476672 w 2552253"/>
                    <a:gd name="connsiteY519" fmla="*/ 139526 h 489979"/>
                    <a:gd name="connsiteX520" fmla="*/ 1513507 w 2552253"/>
                    <a:gd name="connsiteY520" fmla="*/ 45764 h 489979"/>
                    <a:gd name="connsiteX521" fmla="*/ 1524669 w 2552253"/>
                    <a:gd name="connsiteY521" fmla="*/ 45764 h 489979"/>
                    <a:gd name="connsiteX522" fmla="*/ 1468970 w 2552253"/>
                    <a:gd name="connsiteY522" fmla="*/ 183393 h 489979"/>
                    <a:gd name="connsiteX523" fmla="*/ 1455129 w 2552253"/>
                    <a:gd name="connsiteY523" fmla="*/ 206275 h 489979"/>
                    <a:gd name="connsiteX524" fmla="*/ 1435596 w 2552253"/>
                    <a:gd name="connsiteY524" fmla="*/ 213754 h 489979"/>
                    <a:gd name="connsiteX525" fmla="*/ 1426666 w 2552253"/>
                    <a:gd name="connsiteY525" fmla="*/ 212191 h 489979"/>
                    <a:gd name="connsiteX526" fmla="*/ 1426666 w 2552253"/>
                    <a:gd name="connsiteY526" fmla="*/ 201922 h 489979"/>
                    <a:gd name="connsiteX527" fmla="*/ 1436042 w 2552253"/>
                    <a:gd name="connsiteY527" fmla="*/ 203485 h 489979"/>
                    <a:gd name="connsiteX528" fmla="*/ 1457697 w 2552253"/>
                    <a:gd name="connsiteY528" fmla="*/ 184509 h 489979"/>
                    <a:gd name="connsiteX529" fmla="*/ 1468301 w 2552253"/>
                    <a:gd name="connsiteY529" fmla="*/ 159171 h 489979"/>
                    <a:gd name="connsiteX530" fmla="*/ 831465 w 2552253"/>
                    <a:gd name="connsiteY530" fmla="*/ 45764 h 489979"/>
                    <a:gd name="connsiteX531" fmla="*/ 841734 w 2552253"/>
                    <a:gd name="connsiteY531" fmla="*/ 45764 h 489979"/>
                    <a:gd name="connsiteX532" fmla="*/ 841734 w 2552253"/>
                    <a:gd name="connsiteY532" fmla="*/ 156827 h 489979"/>
                    <a:gd name="connsiteX533" fmla="*/ 801327 w 2552253"/>
                    <a:gd name="connsiteY533" fmla="*/ 213754 h 489979"/>
                    <a:gd name="connsiteX534" fmla="*/ 785031 w 2552253"/>
                    <a:gd name="connsiteY534" fmla="*/ 209847 h 489979"/>
                    <a:gd name="connsiteX535" fmla="*/ 785031 w 2552253"/>
                    <a:gd name="connsiteY535" fmla="*/ 199132 h 489979"/>
                    <a:gd name="connsiteX536" fmla="*/ 802444 w 2552253"/>
                    <a:gd name="connsiteY536" fmla="*/ 204378 h 489979"/>
                    <a:gd name="connsiteX537" fmla="*/ 831465 w 2552253"/>
                    <a:gd name="connsiteY537" fmla="*/ 158725 h 489979"/>
                    <a:gd name="connsiteX538" fmla="*/ 2283693 w 2552253"/>
                    <a:gd name="connsiteY538" fmla="*/ 43532 h 489979"/>
                    <a:gd name="connsiteX539" fmla="*/ 2295078 w 2552253"/>
                    <a:gd name="connsiteY539" fmla="*/ 45541 h 489979"/>
                    <a:gd name="connsiteX540" fmla="*/ 2295078 w 2552253"/>
                    <a:gd name="connsiteY540" fmla="*/ 56480 h 489979"/>
                    <a:gd name="connsiteX541" fmla="*/ 2283023 w 2552253"/>
                    <a:gd name="connsiteY541" fmla="*/ 52796 h 489979"/>
                    <a:gd name="connsiteX542" fmla="*/ 2260364 w 2552253"/>
                    <a:gd name="connsiteY542" fmla="*/ 66749 h 489979"/>
                    <a:gd name="connsiteX543" fmla="*/ 2251211 w 2552253"/>
                    <a:gd name="connsiteY543" fmla="*/ 106374 h 489979"/>
                    <a:gd name="connsiteX544" fmla="*/ 2251211 w 2552253"/>
                    <a:gd name="connsiteY544" fmla="*/ 160064 h 489979"/>
                    <a:gd name="connsiteX545" fmla="*/ 2241165 w 2552253"/>
                    <a:gd name="connsiteY545" fmla="*/ 160064 h 489979"/>
                    <a:gd name="connsiteX546" fmla="*/ 2241165 w 2552253"/>
                    <a:gd name="connsiteY546" fmla="*/ 45764 h 489979"/>
                    <a:gd name="connsiteX547" fmla="*/ 2251211 w 2552253"/>
                    <a:gd name="connsiteY547" fmla="*/ 45764 h 489979"/>
                    <a:gd name="connsiteX548" fmla="*/ 2251211 w 2552253"/>
                    <a:gd name="connsiteY548" fmla="*/ 71102 h 489979"/>
                    <a:gd name="connsiteX549" fmla="*/ 2251657 w 2552253"/>
                    <a:gd name="connsiteY549" fmla="*/ 71102 h 489979"/>
                    <a:gd name="connsiteX550" fmla="*/ 2264047 w 2552253"/>
                    <a:gd name="connsiteY550" fmla="*/ 50787 h 489979"/>
                    <a:gd name="connsiteX551" fmla="*/ 2283693 w 2552253"/>
                    <a:gd name="connsiteY551" fmla="*/ 43532 h 489979"/>
                    <a:gd name="connsiteX552" fmla="*/ 1169268 w 2552253"/>
                    <a:gd name="connsiteY552" fmla="*/ 43532 h 489979"/>
                    <a:gd name="connsiteX553" fmla="*/ 1180653 w 2552253"/>
                    <a:gd name="connsiteY553" fmla="*/ 45541 h 489979"/>
                    <a:gd name="connsiteX554" fmla="*/ 1180653 w 2552253"/>
                    <a:gd name="connsiteY554" fmla="*/ 56480 h 489979"/>
                    <a:gd name="connsiteX555" fmla="*/ 1168598 w 2552253"/>
                    <a:gd name="connsiteY555" fmla="*/ 52796 h 489979"/>
                    <a:gd name="connsiteX556" fmla="*/ 1145939 w 2552253"/>
                    <a:gd name="connsiteY556" fmla="*/ 66749 h 489979"/>
                    <a:gd name="connsiteX557" fmla="*/ 1136786 w 2552253"/>
                    <a:gd name="connsiteY557" fmla="*/ 106374 h 489979"/>
                    <a:gd name="connsiteX558" fmla="*/ 1136786 w 2552253"/>
                    <a:gd name="connsiteY558" fmla="*/ 160064 h 489979"/>
                    <a:gd name="connsiteX559" fmla="*/ 1126740 w 2552253"/>
                    <a:gd name="connsiteY559" fmla="*/ 160064 h 489979"/>
                    <a:gd name="connsiteX560" fmla="*/ 1126740 w 2552253"/>
                    <a:gd name="connsiteY560" fmla="*/ 45764 h 489979"/>
                    <a:gd name="connsiteX561" fmla="*/ 1136786 w 2552253"/>
                    <a:gd name="connsiteY561" fmla="*/ 45764 h 489979"/>
                    <a:gd name="connsiteX562" fmla="*/ 1136786 w 2552253"/>
                    <a:gd name="connsiteY562" fmla="*/ 71102 h 489979"/>
                    <a:gd name="connsiteX563" fmla="*/ 1137232 w 2552253"/>
                    <a:gd name="connsiteY563" fmla="*/ 71102 h 489979"/>
                    <a:gd name="connsiteX564" fmla="*/ 1149622 w 2552253"/>
                    <a:gd name="connsiteY564" fmla="*/ 50787 h 489979"/>
                    <a:gd name="connsiteX565" fmla="*/ 1169268 w 2552253"/>
                    <a:gd name="connsiteY565" fmla="*/ 43532 h 489979"/>
                    <a:gd name="connsiteX566" fmla="*/ 616818 w 2552253"/>
                    <a:gd name="connsiteY566" fmla="*/ 43532 h 489979"/>
                    <a:gd name="connsiteX567" fmla="*/ 628203 w 2552253"/>
                    <a:gd name="connsiteY567" fmla="*/ 45541 h 489979"/>
                    <a:gd name="connsiteX568" fmla="*/ 628203 w 2552253"/>
                    <a:gd name="connsiteY568" fmla="*/ 56480 h 489979"/>
                    <a:gd name="connsiteX569" fmla="*/ 616148 w 2552253"/>
                    <a:gd name="connsiteY569" fmla="*/ 52796 h 489979"/>
                    <a:gd name="connsiteX570" fmla="*/ 593489 w 2552253"/>
                    <a:gd name="connsiteY570" fmla="*/ 66749 h 489979"/>
                    <a:gd name="connsiteX571" fmla="*/ 584336 w 2552253"/>
                    <a:gd name="connsiteY571" fmla="*/ 106374 h 489979"/>
                    <a:gd name="connsiteX572" fmla="*/ 584336 w 2552253"/>
                    <a:gd name="connsiteY572" fmla="*/ 160064 h 489979"/>
                    <a:gd name="connsiteX573" fmla="*/ 574290 w 2552253"/>
                    <a:gd name="connsiteY573" fmla="*/ 160064 h 489979"/>
                    <a:gd name="connsiteX574" fmla="*/ 574290 w 2552253"/>
                    <a:gd name="connsiteY574" fmla="*/ 45764 h 489979"/>
                    <a:gd name="connsiteX575" fmla="*/ 584336 w 2552253"/>
                    <a:gd name="connsiteY575" fmla="*/ 45764 h 489979"/>
                    <a:gd name="connsiteX576" fmla="*/ 584336 w 2552253"/>
                    <a:gd name="connsiteY576" fmla="*/ 71102 h 489979"/>
                    <a:gd name="connsiteX577" fmla="*/ 584782 w 2552253"/>
                    <a:gd name="connsiteY577" fmla="*/ 71102 h 489979"/>
                    <a:gd name="connsiteX578" fmla="*/ 597172 w 2552253"/>
                    <a:gd name="connsiteY578" fmla="*/ 50787 h 489979"/>
                    <a:gd name="connsiteX579" fmla="*/ 616818 w 2552253"/>
                    <a:gd name="connsiteY579" fmla="*/ 43532 h 489979"/>
                    <a:gd name="connsiteX580" fmla="*/ 2168500 w 2552253"/>
                    <a:gd name="connsiteY580" fmla="*/ 42975 h 489979"/>
                    <a:gd name="connsiteX581" fmla="*/ 2195791 w 2552253"/>
                    <a:gd name="connsiteY581" fmla="*/ 53914 h 489979"/>
                    <a:gd name="connsiteX582" fmla="*/ 2205446 w 2552253"/>
                    <a:gd name="connsiteY582" fmla="*/ 85726 h 489979"/>
                    <a:gd name="connsiteX583" fmla="*/ 2205446 w 2552253"/>
                    <a:gd name="connsiteY583" fmla="*/ 160065 h 489979"/>
                    <a:gd name="connsiteX584" fmla="*/ 2195177 w 2552253"/>
                    <a:gd name="connsiteY584" fmla="*/ 160065 h 489979"/>
                    <a:gd name="connsiteX585" fmla="*/ 2195177 w 2552253"/>
                    <a:gd name="connsiteY585" fmla="*/ 137183 h 489979"/>
                    <a:gd name="connsiteX586" fmla="*/ 2194731 w 2552253"/>
                    <a:gd name="connsiteY586" fmla="*/ 137183 h 489979"/>
                    <a:gd name="connsiteX587" fmla="*/ 2178825 w 2552253"/>
                    <a:gd name="connsiteY587" fmla="*/ 155879 h 489979"/>
                    <a:gd name="connsiteX588" fmla="*/ 2155663 w 2552253"/>
                    <a:gd name="connsiteY588" fmla="*/ 162856 h 489979"/>
                    <a:gd name="connsiteX589" fmla="*/ 2129879 w 2552253"/>
                    <a:gd name="connsiteY589" fmla="*/ 153703 h 489979"/>
                    <a:gd name="connsiteX590" fmla="*/ 2120391 w 2552253"/>
                    <a:gd name="connsiteY590" fmla="*/ 130597 h 489979"/>
                    <a:gd name="connsiteX591" fmla="*/ 2160016 w 2552253"/>
                    <a:gd name="connsiteY591" fmla="*/ 94432 h 489979"/>
                    <a:gd name="connsiteX592" fmla="*/ 2195177 w 2552253"/>
                    <a:gd name="connsiteY592" fmla="*/ 89186 h 489979"/>
                    <a:gd name="connsiteX593" fmla="*/ 2167495 w 2552253"/>
                    <a:gd name="connsiteY593" fmla="*/ 52351 h 489979"/>
                    <a:gd name="connsiteX594" fmla="*/ 2130772 w 2552253"/>
                    <a:gd name="connsiteY594" fmla="*/ 67531 h 489979"/>
                    <a:gd name="connsiteX595" fmla="*/ 2130772 w 2552253"/>
                    <a:gd name="connsiteY595" fmla="*/ 55141 h 489979"/>
                    <a:gd name="connsiteX596" fmla="*/ 2148017 w 2552253"/>
                    <a:gd name="connsiteY596" fmla="*/ 46547 h 489979"/>
                    <a:gd name="connsiteX597" fmla="*/ 2168500 w 2552253"/>
                    <a:gd name="connsiteY597" fmla="*/ 42975 h 489979"/>
                    <a:gd name="connsiteX598" fmla="*/ 2071203 w 2552253"/>
                    <a:gd name="connsiteY598" fmla="*/ 42975 h 489979"/>
                    <a:gd name="connsiteX599" fmla="*/ 2096541 w 2552253"/>
                    <a:gd name="connsiteY599" fmla="*/ 48333 h 489979"/>
                    <a:gd name="connsiteX600" fmla="*/ 2096541 w 2552253"/>
                    <a:gd name="connsiteY600" fmla="*/ 59941 h 489979"/>
                    <a:gd name="connsiteX601" fmla="*/ 2069641 w 2552253"/>
                    <a:gd name="connsiteY601" fmla="*/ 52351 h 489979"/>
                    <a:gd name="connsiteX602" fmla="*/ 2037047 w 2552253"/>
                    <a:gd name="connsiteY602" fmla="*/ 66806 h 489979"/>
                    <a:gd name="connsiteX603" fmla="*/ 2024546 w 2552253"/>
                    <a:gd name="connsiteY603" fmla="*/ 104255 h 489979"/>
                    <a:gd name="connsiteX604" fmla="*/ 2035987 w 2552253"/>
                    <a:gd name="connsiteY604" fmla="*/ 139973 h 489979"/>
                    <a:gd name="connsiteX605" fmla="*/ 2066180 w 2552253"/>
                    <a:gd name="connsiteY605" fmla="*/ 153480 h 489979"/>
                    <a:gd name="connsiteX606" fmla="*/ 2096095 w 2552253"/>
                    <a:gd name="connsiteY606" fmla="*/ 144327 h 489979"/>
                    <a:gd name="connsiteX607" fmla="*/ 2096095 w 2552253"/>
                    <a:gd name="connsiteY607" fmla="*/ 155042 h 489979"/>
                    <a:gd name="connsiteX608" fmla="*/ 2065734 w 2552253"/>
                    <a:gd name="connsiteY608" fmla="*/ 162856 h 489979"/>
                    <a:gd name="connsiteX609" fmla="*/ 2028118 w 2552253"/>
                    <a:gd name="connsiteY609" fmla="*/ 146838 h 489979"/>
                    <a:gd name="connsiteX610" fmla="*/ 2013830 w 2552253"/>
                    <a:gd name="connsiteY610" fmla="*/ 104924 h 489979"/>
                    <a:gd name="connsiteX611" fmla="*/ 2029903 w 2552253"/>
                    <a:gd name="connsiteY611" fmla="*/ 60332 h 489979"/>
                    <a:gd name="connsiteX612" fmla="*/ 2071203 w 2552253"/>
                    <a:gd name="connsiteY612" fmla="*/ 42975 h 489979"/>
                    <a:gd name="connsiteX613" fmla="*/ 1892275 w 2552253"/>
                    <a:gd name="connsiteY613" fmla="*/ 42975 h 489979"/>
                    <a:gd name="connsiteX614" fmla="*/ 1919566 w 2552253"/>
                    <a:gd name="connsiteY614" fmla="*/ 53914 h 489979"/>
                    <a:gd name="connsiteX615" fmla="*/ 1929221 w 2552253"/>
                    <a:gd name="connsiteY615" fmla="*/ 85726 h 489979"/>
                    <a:gd name="connsiteX616" fmla="*/ 1929221 w 2552253"/>
                    <a:gd name="connsiteY616" fmla="*/ 160065 h 489979"/>
                    <a:gd name="connsiteX617" fmla="*/ 1918952 w 2552253"/>
                    <a:gd name="connsiteY617" fmla="*/ 160065 h 489979"/>
                    <a:gd name="connsiteX618" fmla="*/ 1918952 w 2552253"/>
                    <a:gd name="connsiteY618" fmla="*/ 137183 h 489979"/>
                    <a:gd name="connsiteX619" fmla="*/ 1918506 w 2552253"/>
                    <a:gd name="connsiteY619" fmla="*/ 137183 h 489979"/>
                    <a:gd name="connsiteX620" fmla="*/ 1902600 w 2552253"/>
                    <a:gd name="connsiteY620" fmla="*/ 155879 h 489979"/>
                    <a:gd name="connsiteX621" fmla="*/ 1879438 w 2552253"/>
                    <a:gd name="connsiteY621" fmla="*/ 162856 h 489979"/>
                    <a:gd name="connsiteX622" fmla="*/ 1853654 w 2552253"/>
                    <a:gd name="connsiteY622" fmla="*/ 153703 h 489979"/>
                    <a:gd name="connsiteX623" fmla="*/ 1844166 w 2552253"/>
                    <a:gd name="connsiteY623" fmla="*/ 130597 h 489979"/>
                    <a:gd name="connsiteX624" fmla="*/ 1883791 w 2552253"/>
                    <a:gd name="connsiteY624" fmla="*/ 94432 h 489979"/>
                    <a:gd name="connsiteX625" fmla="*/ 1918952 w 2552253"/>
                    <a:gd name="connsiteY625" fmla="*/ 89186 h 489979"/>
                    <a:gd name="connsiteX626" fmla="*/ 1891270 w 2552253"/>
                    <a:gd name="connsiteY626" fmla="*/ 52351 h 489979"/>
                    <a:gd name="connsiteX627" fmla="*/ 1854547 w 2552253"/>
                    <a:gd name="connsiteY627" fmla="*/ 67531 h 489979"/>
                    <a:gd name="connsiteX628" fmla="*/ 1854547 w 2552253"/>
                    <a:gd name="connsiteY628" fmla="*/ 55141 h 489979"/>
                    <a:gd name="connsiteX629" fmla="*/ 1871792 w 2552253"/>
                    <a:gd name="connsiteY629" fmla="*/ 46547 h 489979"/>
                    <a:gd name="connsiteX630" fmla="*/ 1892275 w 2552253"/>
                    <a:gd name="connsiteY630" fmla="*/ 42975 h 489979"/>
                    <a:gd name="connsiteX631" fmla="*/ 1577317 w 2552253"/>
                    <a:gd name="connsiteY631" fmla="*/ 42975 h 489979"/>
                    <a:gd name="connsiteX632" fmla="*/ 1602544 w 2552253"/>
                    <a:gd name="connsiteY632" fmla="*/ 49002 h 489979"/>
                    <a:gd name="connsiteX633" fmla="*/ 1602544 w 2552253"/>
                    <a:gd name="connsiteY633" fmla="*/ 60611 h 489979"/>
                    <a:gd name="connsiteX634" fmla="*/ 1576201 w 2552253"/>
                    <a:gd name="connsiteY634" fmla="*/ 52351 h 489979"/>
                    <a:gd name="connsiteX635" fmla="*/ 1558007 w 2552253"/>
                    <a:gd name="connsiteY635" fmla="*/ 58211 h 489979"/>
                    <a:gd name="connsiteX636" fmla="*/ 1551086 w 2552253"/>
                    <a:gd name="connsiteY636" fmla="*/ 73447 h 489979"/>
                    <a:gd name="connsiteX637" fmla="*/ 1555439 w 2552253"/>
                    <a:gd name="connsiteY637" fmla="*/ 86674 h 489979"/>
                    <a:gd name="connsiteX638" fmla="*/ 1574638 w 2552253"/>
                    <a:gd name="connsiteY638" fmla="*/ 98339 h 489979"/>
                    <a:gd name="connsiteX639" fmla="*/ 1599195 w 2552253"/>
                    <a:gd name="connsiteY639" fmla="*/ 113240 h 489979"/>
                    <a:gd name="connsiteX640" fmla="*/ 1605892 w 2552253"/>
                    <a:gd name="connsiteY640" fmla="*/ 131490 h 489979"/>
                    <a:gd name="connsiteX641" fmla="*/ 1595679 w 2552253"/>
                    <a:gd name="connsiteY641" fmla="*/ 153982 h 489979"/>
                    <a:gd name="connsiteX642" fmla="*/ 1567495 w 2552253"/>
                    <a:gd name="connsiteY642" fmla="*/ 162856 h 489979"/>
                    <a:gd name="connsiteX643" fmla="*/ 1539924 w 2552253"/>
                    <a:gd name="connsiteY643" fmla="*/ 155042 h 489979"/>
                    <a:gd name="connsiteX644" fmla="*/ 1539924 w 2552253"/>
                    <a:gd name="connsiteY644" fmla="*/ 142652 h 489979"/>
                    <a:gd name="connsiteX645" fmla="*/ 1553988 w 2552253"/>
                    <a:gd name="connsiteY645" fmla="*/ 150577 h 489979"/>
                    <a:gd name="connsiteX646" fmla="*/ 1568276 w 2552253"/>
                    <a:gd name="connsiteY646" fmla="*/ 153480 h 489979"/>
                    <a:gd name="connsiteX647" fmla="*/ 1595177 w 2552253"/>
                    <a:gd name="connsiteY647" fmla="*/ 131490 h 489979"/>
                    <a:gd name="connsiteX648" fmla="*/ 1589261 w 2552253"/>
                    <a:gd name="connsiteY648" fmla="*/ 118542 h 489979"/>
                    <a:gd name="connsiteX649" fmla="*/ 1570062 w 2552253"/>
                    <a:gd name="connsiteY649" fmla="*/ 107492 h 489979"/>
                    <a:gd name="connsiteX650" fmla="*/ 1547012 w 2552253"/>
                    <a:gd name="connsiteY650" fmla="*/ 92702 h 489979"/>
                    <a:gd name="connsiteX651" fmla="*/ 1540371 w 2552253"/>
                    <a:gd name="connsiteY651" fmla="*/ 74117 h 489979"/>
                    <a:gd name="connsiteX652" fmla="*/ 1551030 w 2552253"/>
                    <a:gd name="connsiteY652" fmla="*/ 51570 h 489979"/>
                    <a:gd name="connsiteX653" fmla="*/ 1577317 w 2552253"/>
                    <a:gd name="connsiteY653" fmla="*/ 42975 h 489979"/>
                    <a:gd name="connsiteX654" fmla="*/ 1369739 w 2552253"/>
                    <a:gd name="connsiteY654" fmla="*/ 42975 h 489979"/>
                    <a:gd name="connsiteX655" fmla="*/ 1402444 w 2552253"/>
                    <a:gd name="connsiteY655" fmla="*/ 57932 h 489979"/>
                    <a:gd name="connsiteX656" fmla="*/ 1413830 w 2552253"/>
                    <a:gd name="connsiteY656" fmla="*/ 98785 h 489979"/>
                    <a:gd name="connsiteX657" fmla="*/ 1413830 w 2552253"/>
                    <a:gd name="connsiteY657" fmla="*/ 103362 h 489979"/>
                    <a:gd name="connsiteX658" fmla="*/ 1329221 w 2552253"/>
                    <a:gd name="connsiteY658" fmla="*/ 103362 h 489979"/>
                    <a:gd name="connsiteX659" fmla="*/ 1340104 w 2552253"/>
                    <a:gd name="connsiteY659" fmla="*/ 140197 h 489979"/>
                    <a:gd name="connsiteX660" fmla="*/ 1369962 w 2552253"/>
                    <a:gd name="connsiteY660" fmla="*/ 153480 h 489979"/>
                    <a:gd name="connsiteX661" fmla="*/ 1407467 w 2552253"/>
                    <a:gd name="connsiteY661" fmla="*/ 139304 h 489979"/>
                    <a:gd name="connsiteX662" fmla="*/ 1407467 w 2552253"/>
                    <a:gd name="connsiteY662" fmla="*/ 150243 h 489979"/>
                    <a:gd name="connsiteX663" fmla="*/ 1367842 w 2552253"/>
                    <a:gd name="connsiteY663" fmla="*/ 162856 h 489979"/>
                    <a:gd name="connsiteX664" fmla="*/ 1332123 w 2552253"/>
                    <a:gd name="connsiteY664" fmla="*/ 147006 h 489979"/>
                    <a:gd name="connsiteX665" fmla="*/ 1318505 w 2552253"/>
                    <a:gd name="connsiteY665" fmla="*/ 102246 h 489979"/>
                    <a:gd name="connsiteX666" fmla="*/ 1332737 w 2552253"/>
                    <a:gd name="connsiteY666" fmla="*/ 60109 h 489979"/>
                    <a:gd name="connsiteX667" fmla="*/ 1369739 w 2552253"/>
                    <a:gd name="connsiteY667" fmla="*/ 42975 h 489979"/>
                    <a:gd name="connsiteX668" fmla="*/ 926194 w 2552253"/>
                    <a:gd name="connsiteY668" fmla="*/ 42975 h 489979"/>
                    <a:gd name="connsiteX669" fmla="*/ 964815 w 2552253"/>
                    <a:gd name="connsiteY669" fmla="*/ 58937 h 489979"/>
                    <a:gd name="connsiteX670" fmla="*/ 978991 w 2552253"/>
                    <a:gd name="connsiteY670" fmla="*/ 103138 h 489979"/>
                    <a:gd name="connsiteX671" fmla="*/ 964536 w 2552253"/>
                    <a:gd name="connsiteY671" fmla="*/ 146336 h 489979"/>
                    <a:gd name="connsiteX672" fmla="*/ 924966 w 2552253"/>
                    <a:gd name="connsiteY672" fmla="*/ 162856 h 489979"/>
                    <a:gd name="connsiteX673" fmla="*/ 885397 w 2552253"/>
                    <a:gd name="connsiteY673" fmla="*/ 146392 h 489979"/>
                    <a:gd name="connsiteX674" fmla="*/ 870830 w 2552253"/>
                    <a:gd name="connsiteY674" fmla="*/ 103585 h 489979"/>
                    <a:gd name="connsiteX675" fmla="*/ 886066 w 2552253"/>
                    <a:gd name="connsiteY675" fmla="*/ 59048 h 489979"/>
                    <a:gd name="connsiteX676" fmla="*/ 926194 w 2552253"/>
                    <a:gd name="connsiteY676" fmla="*/ 42975 h 489979"/>
                    <a:gd name="connsiteX677" fmla="*/ 693464 w 2552253"/>
                    <a:gd name="connsiteY677" fmla="*/ 42975 h 489979"/>
                    <a:gd name="connsiteX678" fmla="*/ 726169 w 2552253"/>
                    <a:gd name="connsiteY678" fmla="*/ 57932 h 489979"/>
                    <a:gd name="connsiteX679" fmla="*/ 737555 w 2552253"/>
                    <a:gd name="connsiteY679" fmla="*/ 98785 h 489979"/>
                    <a:gd name="connsiteX680" fmla="*/ 737555 w 2552253"/>
                    <a:gd name="connsiteY680" fmla="*/ 103362 h 489979"/>
                    <a:gd name="connsiteX681" fmla="*/ 652946 w 2552253"/>
                    <a:gd name="connsiteY681" fmla="*/ 103362 h 489979"/>
                    <a:gd name="connsiteX682" fmla="*/ 663829 w 2552253"/>
                    <a:gd name="connsiteY682" fmla="*/ 140197 h 489979"/>
                    <a:gd name="connsiteX683" fmla="*/ 693687 w 2552253"/>
                    <a:gd name="connsiteY683" fmla="*/ 153480 h 489979"/>
                    <a:gd name="connsiteX684" fmla="*/ 731192 w 2552253"/>
                    <a:gd name="connsiteY684" fmla="*/ 139304 h 489979"/>
                    <a:gd name="connsiteX685" fmla="*/ 731192 w 2552253"/>
                    <a:gd name="connsiteY685" fmla="*/ 150243 h 489979"/>
                    <a:gd name="connsiteX686" fmla="*/ 691567 w 2552253"/>
                    <a:gd name="connsiteY686" fmla="*/ 162856 h 489979"/>
                    <a:gd name="connsiteX687" fmla="*/ 655848 w 2552253"/>
                    <a:gd name="connsiteY687" fmla="*/ 147006 h 489979"/>
                    <a:gd name="connsiteX688" fmla="*/ 642230 w 2552253"/>
                    <a:gd name="connsiteY688" fmla="*/ 102246 h 489979"/>
                    <a:gd name="connsiteX689" fmla="*/ 656462 w 2552253"/>
                    <a:gd name="connsiteY689" fmla="*/ 60109 h 489979"/>
                    <a:gd name="connsiteX690" fmla="*/ 693464 w 2552253"/>
                    <a:gd name="connsiteY690" fmla="*/ 42975 h 489979"/>
                    <a:gd name="connsiteX691" fmla="*/ 497569 w 2552253"/>
                    <a:gd name="connsiteY691" fmla="*/ 42975 h 489979"/>
                    <a:gd name="connsiteX692" fmla="*/ 536190 w 2552253"/>
                    <a:gd name="connsiteY692" fmla="*/ 58937 h 489979"/>
                    <a:gd name="connsiteX693" fmla="*/ 550366 w 2552253"/>
                    <a:gd name="connsiteY693" fmla="*/ 103138 h 489979"/>
                    <a:gd name="connsiteX694" fmla="*/ 535911 w 2552253"/>
                    <a:gd name="connsiteY694" fmla="*/ 146336 h 489979"/>
                    <a:gd name="connsiteX695" fmla="*/ 496341 w 2552253"/>
                    <a:gd name="connsiteY695" fmla="*/ 162856 h 489979"/>
                    <a:gd name="connsiteX696" fmla="*/ 456772 w 2552253"/>
                    <a:gd name="connsiteY696" fmla="*/ 146392 h 489979"/>
                    <a:gd name="connsiteX697" fmla="*/ 442205 w 2552253"/>
                    <a:gd name="connsiteY697" fmla="*/ 103585 h 489979"/>
                    <a:gd name="connsiteX698" fmla="*/ 457441 w 2552253"/>
                    <a:gd name="connsiteY698" fmla="*/ 59048 h 489979"/>
                    <a:gd name="connsiteX699" fmla="*/ 497569 w 2552253"/>
                    <a:gd name="connsiteY699" fmla="*/ 42975 h 489979"/>
                    <a:gd name="connsiteX700" fmla="*/ 1252723 w 2552253"/>
                    <a:gd name="connsiteY700" fmla="*/ 42974 h 489979"/>
                    <a:gd name="connsiteX701" fmla="*/ 1281075 w 2552253"/>
                    <a:gd name="connsiteY701" fmla="*/ 55308 h 489979"/>
                    <a:gd name="connsiteX702" fmla="*/ 1290897 w 2552253"/>
                    <a:gd name="connsiteY702" fmla="*/ 90524 h 489979"/>
                    <a:gd name="connsiteX703" fmla="*/ 1290897 w 2552253"/>
                    <a:gd name="connsiteY703" fmla="*/ 160064 h 489979"/>
                    <a:gd name="connsiteX704" fmla="*/ 1280628 w 2552253"/>
                    <a:gd name="connsiteY704" fmla="*/ 160064 h 489979"/>
                    <a:gd name="connsiteX705" fmla="*/ 1280628 w 2552253"/>
                    <a:gd name="connsiteY705" fmla="*/ 93538 h 489979"/>
                    <a:gd name="connsiteX706" fmla="*/ 1250937 w 2552253"/>
                    <a:gd name="connsiteY706" fmla="*/ 52350 h 489979"/>
                    <a:gd name="connsiteX707" fmla="*/ 1223813 w 2552253"/>
                    <a:gd name="connsiteY707" fmla="*/ 64461 h 489979"/>
                    <a:gd name="connsiteX708" fmla="*/ 1213209 w 2552253"/>
                    <a:gd name="connsiteY708" fmla="*/ 94431 h 489979"/>
                    <a:gd name="connsiteX709" fmla="*/ 1213209 w 2552253"/>
                    <a:gd name="connsiteY709" fmla="*/ 160064 h 489979"/>
                    <a:gd name="connsiteX710" fmla="*/ 1202940 w 2552253"/>
                    <a:gd name="connsiteY710" fmla="*/ 160064 h 489979"/>
                    <a:gd name="connsiteX711" fmla="*/ 1202940 w 2552253"/>
                    <a:gd name="connsiteY711" fmla="*/ 45764 h 489979"/>
                    <a:gd name="connsiteX712" fmla="*/ 1213209 w 2552253"/>
                    <a:gd name="connsiteY712" fmla="*/ 45764 h 489979"/>
                    <a:gd name="connsiteX713" fmla="*/ 1213209 w 2552253"/>
                    <a:gd name="connsiteY713" fmla="*/ 66526 h 489979"/>
                    <a:gd name="connsiteX714" fmla="*/ 1213656 w 2552253"/>
                    <a:gd name="connsiteY714" fmla="*/ 66526 h 489979"/>
                    <a:gd name="connsiteX715" fmla="*/ 1252723 w 2552253"/>
                    <a:gd name="connsiteY715" fmla="*/ 42974 h 489979"/>
                    <a:gd name="connsiteX716" fmla="*/ 1808038 w 2552253"/>
                    <a:gd name="connsiteY716" fmla="*/ 0 h 489979"/>
                    <a:gd name="connsiteX717" fmla="*/ 1814121 w 2552253"/>
                    <a:gd name="connsiteY717" fmla="*/ 2232 h 489979"/>
                    <a:gd name="connsiteX718" fmla="*/ 1816744 w 2552253"/>
                    <a:gd name="connsiteY718" fmla="*/ 8260 h 489979"/>
                    <a:gd name="connsiteX719" fmla="*/ 1814177 w 2552253"/>
                    <a:gd name="connsiteY719" fmla="*/ 14399 h 489979"/>
                    <a:gd name="connsiteX720" fmla="*/ 1808038 w 2552253"/>
                    <a:gd name="connsiteY720" fmla="*/ 16966 h 489979"/>
                    <a:gd name="connsiteX721" fmla="*/ 1802122 w 2552253"/>
                    <a:gd name="connsiteY721" fmla="*/ 14510 h 489979"/>
                    <a:gd name="connsiteX722" fmla="*/ 1799555 w 2552253"/>
                    <a:gd name="connsiteY722" fmla="*/ 8260 h 489979"/>
                    <a:gd name="connsiteX723" fmla="*/ 1802178 w 2552253"/>
                    <a:gd name="connsiteY723" fmla="*/ 2288 h 489979"/>
                    <a:gd name="connsiteX724" fmla="*/ 1808038 w 2552253"/>
                    <a:gd name="connsiteY724" fmla="*/ 0 h 489979"/>
                    <a:gd name="connsiteX725" fmla="*/ 836488 w 2552253"/>
                    <a:gd name="connsiteY725" fmla="*/ 0 h 489979"/>
                    <a:gd name="connsiteX726" fmla="*/ 842571 w 2552253"/>
                    <a:gd name="connsiteY726" fmla="*/ 2232 h 489979"/>
                    <a:gd name="connsiteX727" fmla="*/ 845194 w 2552253"/>
                    <a:gd name="connsiteY727" fmla="*/ 8260 h 489979"/>
                    <a:gd name="connsiteX728" fmla="*/ 842627 w 2552253"/>
                    <a:gd name="connsiteY728" fmla="*/ 14399 h 489979"/>
                    <a:gd name="connsiteX729" fmla="*/ 836488 w 2552253"/>
                    <a:gd name="connsiteY729" fmla="*/ 16966 h 489979"/>
                    <a:gd name="connsiteX730" fmla="*/ 830572 w 2552253"/>
                    <a:gd name="connsiteY730" fmla="*/ 14510 h 489979"/>
                    <a:gd name="connsiteX731" fmla="*/ 828005 w 2552253"/>
                    <a:gd name="connsiteY731" fmla="*/ 8260 h 489979"/>
                    <a:gd name="connsiteX732" fmla="*/ 830628 w 2552253"/>
                    <a:gd name="connsiteY732" fmla="*/ 2288 h 489979"/>
                    <a:gd name="connsiteX733" fmla="*/ 836488 w 2552253"/>
                    <a:gd name="connsiteY733" fmla="*/ 0 h 489979"/>
                    <a:gd name="connsiteX734" fmla="*/ 262198 w 2552253"/>
                    <a:gd name="connsiteY734" fmla="*/ 0 h 489979"/>
                    <a:gd name="connsiteX735" fmla="*/ 272467 w 2552253"/>
                    <a:gd name="connsiteY735" fmla="*/ 0 h 489979"/>
                    <a:gd name="connsiteX736" fmla="*/ 332184 w 2552253"/>
                    <a:gd name="connsiteY736" fmla="*/ 128922 h 489979"/>
                    <a:gd name="connsiteX737" fmla="*/ 333412 w 2552253"/>
                    <a:gd name="connsiteY737" fmla="*/ 131936 h 489979"/>
                    <a:gd name="connsiteX738" fmla="*/ 334863 w 2552253"/>
                    <a:gd name="connsiteY738" fmla="*/ 135731 h 489979"/>
                    <a:gd name="connsiteX739" fmla="*/ 337207 w 2552253"/>
                    <a:gd name="connsiteY739" fmla="*/ 142205 h 489979"/>
                    <a:gd name="connsiteX740" fmla="*/ 337877 w 2552253"/>
                    <a:gd name="connsiteY740" fmla="*/ 142205 h 489979"/>
                    <a:gd name="connsiteX741" fmla="*/ 339104 w 2552253"/>
                    <a:gd name="connsiteY741" fmla="*/ 138633 h 489979"/>
                    <a:gd name="connsiteX742" fmla="*/ 342900 w 2552253"/>
                    <a:gd name="connsiteY742" fmla="*/ 128029 h 489979"/>
                    <a:gd name="connsiteX743" fmla="*/ 401724 w 2552253"/>
                    <a:gd name="connsiteY743" fmla="*/ 0 h 489979"/>
                    <a:gd name="connsiteX744" fmla="*/ 411547 w 2552253"/>
                    <a:gd name="connsiteY744" fmla="*/ 0 h 489979"/>
                    <a:gd name="connsiteX745" fmla="*/ 411547 w 2552253"/>
                    <a:gd name="connsiteY745" fmla="*/ 160064 h 489979"/>
                    <a:gd name="connsiteX746" fmla="*/ 400943 w 2552253"/>
                    <a:gd name="connsiteY746" fmla="*/ 160064 h 489979"/>
                    <a:gd name="connsiteX747" fmla="*/ 400943 w 2552253"/>
                    <a:gd name="connsiteY747" fmla="*/ 46434 h 489979"/>
                    <a:gd name="connsiteX748" fmla="*/ 402170 w 2552253"/>
                    <a:gd name="connsiteY748" fmla="*/ 22882 h 489979"/>
                    <a:gd name="connsiteX749" fmla="*/ 401724 w 2552253"/>
                    <a:gd name="connsiteY749" fmla="*/ 22882 h 489979"/>
                    <a:gd name="connsiteX750" fmla="*/ 395920 w 2552253"/>
                    <a:gd name="connsiteY750" fmla="*/ 36835 h 489979"/>
                    <a:gd name="connsiteX751" fmla="*/ 338993 w 2552253"/>
                    <a:gd name="connsiteY751" fmla="*/ 160064 h 489979"/>
                    <a:gd name="connsiteX752" fmla="*/ 335421 w 2552253"/>
                    <a:gd name="connsiteY752" fmla="*/ 160064 h 489979"/>
                    <a:gd name="connsiteX753" fmla="*/ 278271 w 2552253"/>
                    <a:gd name="connsiteY753" fmla="*/ 37504 h 489979"/>
                    <a:gd name="connsiteX754" fmla="*/ 273025 w 2552253"/>
                    <a:gd name="connsiteY754" fmla="*/ 22435 h 489979"/>
                    <a:gd name="connsiteX755" fmla="*/ 272467 w 2552253"/>
                    <a:gd name="connsiteY755" fmla="*/ 22435 h 489979"/>
                    <a:gd name="connsiteX756" fmla="*/ 273248 w 2552253"/>
                    <a:gd name="connsiteY756" fmla="*/ 43755 h 489979"/>
                    <a:gd name="connsiteX757" fmla="*/ 273248 w 2552253"/>
                    <a:gd name="connsiteY757" fmla="*/ 160064 h 489979"/>
                    <a:gd name="connsiteX758" fmla="*/ 262198 w 2552253"/>
                    <a:gd name="connsiteY758" fmla="*/ 160064 h 4899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</a:cxnLst>
                  <a:rect l="l" t="t" r="r" b="b"/>
                  <a:pathLst>
                    <a:path w="2552253" h="489979">
                      <a:moveTo>
                        <a:pt x="2452352" y="374787"/>
                      </a:moveTo>
                      <a:lnTo>
                        <a:pt x="2420875" y="379363"/>
                      </a:lnTo>
                      <a:cubicBezTo>
                        <a:pt x="2408894" y="381075"/>
                        <a:pt x="2400485" y="383847"/>
                        <a:pt x="2395649" y="387679"/>
                      </a:cubicBezTo>
                      <a:cubicBezTo>
                        <a:pt x="2390812" y="391512"/>
                        <a:pt x="2388393" y="397744"/>
                        <a:pt x="2388393" y="406376"/>
                      </a:cubicBezTo>
                      <a:cubicBezTo>
                        <a:pt x="2388393" y="413147"/>
                        <a:pt x="2390644" y="418729"/>
                        <a:pt x="2395146" y="423119"/>
                      </a:cubicBezTo>
                      <a:cubicBezTo>
                        <a:pt x="2399648" y="427509"/>
                        <a:pt x="2405918" y="429705"/>
                        <a:pt x="2413954" y="429705"/>
                      </a:cubicBezTo>
                      <a:cubicBezTo>
                        <a:pt x="2424968" y="429705"/>
                        <a:pt x="2434121" y="425630"/>
                        <a:pt x="2441413" y="417482"/>
                      </a:cubicBezTo>
                      <a:cubicBezTo>
                        <a:pt x="2448706" y="409334"/>
                        <a:pt x="2452352" y="398823"/>
                        <a:pt x="2452352" y="385949"/>
                      </a:cubicBezTo>
                      <a:close/>
                      <a:moveTo>
                        <a:pt x="1985627" y="374787"/>
                      </a:moveTo>
                      <a:lnTo>
                        <a:pt x="1954150" y="379363"/>
                      </a:lnTo>
                      <a:cubicBezTo>
                        <a:pt x="1942169" y="381075"/>
                        <a:pt x="1933760" y="383847"/>
                        <a:pt x="1928924" y="387679"/>
                      </a:cubicBezTo>
                      <a:cubicBezTo>
                        <a:pt x="1924087" y="391512"/>
                        <a:pt x="1921668" y="397744"/>
                        <a:pt x="1921668" y="406376"/>
                      </a:cubicBezTo>
                      <a:cubicBezTo>
                        <a:pt x="1921668" y="413147"/>
                        <a:pt x="1923919" y="418729"/>
                        <a:pt x="1928421" y="423119"/>
                      </a:cubicBezTo>
                      <a:cubicBezTo>
                        <a:pt x="1932923" y="427509"/>
                        <a:pt x="1939193" y="429705"/>
                        <a:pt x="1947229" y="429705"/>
                      </a:cubicBezTo>
                      <a:cubicBezTo>
                        <a:pt x="1958243" y="429705"/>
                        <a:pt x="1967396" y="425630"/>
                        <a:pt x="1974688" y="417482"/>
                      </a:cubicBezTo>
                      <a:cubicBezTo>
                        <a:pt x="1981981" y="409334"/>
                        <a:pt x="1985627" y="398823"/>
                        <a:pt x="1985627" y="385949"/>
                      </a:cubicBezTo>
                      <a:close/>
                      <a:moveTo>
                        <a:pt x="1042652" y="374787"/>
                      </a:moveTo>
                      <a:lnTo>
                        <a:pt x="1011175" y="379363"/>
                      </a:lnTo>
                      <a:cubicBezTo>
                        <a:pt x="999194" y="381075"/>
                        <a:pt x="990786" y="383847"/>
                        <a:pt x="985949" y="387679"/>
                      </a:cubicBezTo>
                      <a:cubicBezTo>
                        <a:pt x="981112" y="391512"/>
                        <a:pt x="978693" y="397744"/>
                        <a:pt x="978693" y="406376"/>
                      </a:cubicBezTo>
                      <a:cubicBezTo>
                        <a:pt x="978693" y="413147"/>
                        <a:pt x="980944" y="418729"/>
                        <a:pt x="985446" y="423119"/>
                      </a:cubicBezTo>
                      <a:cubicBezTo>
                        <a:pt x="989948" y="427509"/>
                        <a:pt x="996218" y="429705"/>
                        <a:pt x="1004255" y="429705"/>
                      </a:cubicBezTo>
                      <a:cubicBezTo>
                        <a:pt x="1015268" y="429705"/>
                        <a:pt x="1024421" y="425630"/>
                        <a:pt x="1031713" y="417482"/>
                      </a:cubicBezTo>
                      <a:cubicBezTo>
                        <a:pt x="1039006" y="409334"/>
                        <a:pt x="1042652" y="398823"/>
                        <a:pt x="1042652" y="385949"/>
                      </a:cubicBezTo>
                      <a:close/>
                      <a:moveTo>
                        <a:pt x="309227" y="374787"/>
                      </a:moveTo>
                      <a:lnTo>
                        <a:pt x="277750" y="379363"/>
                      </a:lnTo>
                      <a:cubicBezTo>
                        <a:pt x="265769" y="381075"/>
                        <a:pt x="257361" y="383847"/>
                        <a:pt x="252524" y="387679"/>
                      </a:cubicBezTo>
                      <a:cubicBezTo>
                        <a:pt x="247687" y="391512"/>
                        <a:pt x="245268" y="397744"/>
                        <a:pt x="245268" y="406376"/>
                      </a:cubicBezTo>
                      <a:cubicBezTo>
                        <a:pt x="245268" y="413147"/>
                        <a:pt x="247519" y="418729"/>
                        <a:pt x="252021" y="423119"/>
                      </a:cubicBezTo>
                      <a:cubicBezTo>
                        <a:pt x="256523" y="427509"/>
                        <a:pt x="262793" y="429705"/>
                        <a:pt x="270830" y="429705"/>
                      </a:cubicBezTo>
                      <a:cubicBezTo>
                        <a:pt x="281843" y="429705"/>
                        <a:pt x="290996" y="425630"/>
                        <a:pt x="298288" y="417482"/>
                      </a:cubicBezTo>
                      <a:cubicBezTo>
                        <a:pt x="305581" y="409334"/>
                        <a:pt x="309227" y="398823"/>
                        <a:pt x="309227" y="385949"/>
                      </a:cubicBezTo>
                      <a:close/>
                      <a:moveTo>
                        <a:pt x="2140818" y="328576"/>
                      </a:moveTo>
                      <a:cubicBezTo>
                        <a:pt x="2130102" y="328576"/>
                        <a:pt x="2121228" y="332166"/>
                        <a:pt x="2114196" y="339347"/>
                      </a:cubicBezTo>
                      <a:cubicBezTo>
                        <a:pt x="2107164" y="346528"/>
                        <a:pt x="2102829" y="356816"/>
                        <a:pt x="2101192" y="370211"/>
                      </a:cubicBezTo>
                      <a:lnTo>
                        <a:pt x="2174639" y="370211"/>
                      </a:lnTo>
                      <a:cubicBezTo>
                        <a:pt x="2174192" y="357039"/>
                        <a:pt x="2171030" y="346807"/>
                        <a:pt x="2165151" y="339515"/>
                      </a:cubicBezTo>
                      <a:cubicBezTo>
                        <a:pt x="2159272" y="332222"/>
                        <a:pt x="2151161" y="328576"/>
                        <a:pt x="2140818" y="328576"/>
                      </a:cubicBezTo>
                      <a:close/>
                      <a:moveTo>
                        <a:pt x="1617017" y="328575"/>
                      </a:moveTo>
                      <a:cubicBezTo>
                        <a:pt x="1603697" y="328575"/>
                        <a:pt x="1593391" y="333040"/>
                        <a:pt x="1586098" y="341969"/>
                      </a:cubicBezTo>
                      <a:cubicBezTo>
                        <a:pt x="1578805" y="350899"/>
                        <a:pt x="1575159" y="361391"/>
                        <a:pt x="1575159" y="373447"/>
                      </a:cubicBezTo>
                      <a:lnTo>
                        <a:pt x="1575159" y="387846"/>
                      </a:lnTo>
                      <a:cubicBezTo>
                        <a:pt x="1575159" y="399305"/>
                        <a:pt x="1578768" y="409147"/>
                        <a:pt x="1585986" y="417369"/>
                      </a:cubicBezTo>
                      <a:cubicBezTo>
                        <a:pt x="1593205" y="425592"/>
                        <a:pt x="1602692" y="429704"/>
                        <a:pt x="1614450" y="429704"/>
                      </a:cubicBezTo>
                      <a:cubicBezTo>
                        <a:pt x="1626133" y="429704"/>
                        <a:pt x="1635621" y="424699"/>
                        <a:pt x="1642913" y="414691"/>
                      </a:cubicBezTo>
                      <a:cubicBezTo>
                        <a:pt x="1650206" y="404682"/>
                        <a:pt x="1653852" y="391529"/>
                        <a:pt x="1653852" y="375232"/>
                      </a:cubicBezTo>
                      <a:cubicBezTo>
                        <a:pt x="1653852" y="360945"/>
                        <a:pt x="1650503" y="349597"/>
                        <a:pt x="1643806" y="341188"/>
                      </a:cubicBezTo>
                      <a:cubicBezTo>
                        <a:pt x="1637109" y="332779"/>
                        <a:pt x="1628179" y="328575"/>
                        <a:pt x="1617017" y="328575"/>
                      </a:cubicBezTo>
                      <a:close/>
                      <a:moveTo>
                        <a:pt x="1331267" y="328575"/>
                      </a:moveTo>
                      <a:cubicBezTo>
                        <a:pt x="1317947" y="328575"/>
                        <a:pt x="1307641" y="333040"/>
                        <a:pt x="1300348" y="341969"/>
                      </a:cubicBezTo>
                      <a:cubicBezTo>
                        <a:pt x="1293055" y="350899"/>
                        <a:pt x="1289409" y="361391"/>
                        <a:pt x="1289409" y="373447"/>
                      </a:cubicBezTo>
                      <a:lnTo>
                        <a:pt x="1289409" y="387846"/>
                      </a:lnTo>
                      <a:cubicBezTo>
                        <a:pt x="1289409" y="399305"/>
                        <a:pt x="1293018" y="409147"/>
                        <a:pt x="1300236" y="417369"/>
                      </a:cubicBezTo>
                      <a:cubicBezTo>
                        <a:pt x="1307455" y="425592"/>
                        <a:pt x="1316942" y="429704"/>
                        <a:pt x="1328700" y="429704"/>
                      </a:cubicBezTo>
                      <a:cubicBezTo>
                        <a:pt x="1340383" y="429704"/>
                        <a:pt x="1349871" y="424699"/>
                        <a:pt x="1357163" y="414691"/>
                      </a:cubicBezTo>
                      <a:cubicBezTo>
                        <a:pt x="1364456" y="404682"/>
                        <a:pt x="1368102" y="391529"/>
                        <a:pt x="1368102" y="375232"/>
                      </a:cubicBezTo>
                      <a:cubicBezTo>
                        <a:pt x="1368102" y="360945"/>
                        <a:pt x="1364753" y="349597"/>
                        <a:pt x="1358056" y="341188"/>
                      </a:cubicBezTo>
                      <a:cubicBezTo>
                        <a:pt x="1351359" y="332779"/>
                        <a:pt x="1342429" y="328575"/>
                        <a:pt x="1331267" y="328575"/>
                      </a:cubicBezTo>
                      <a:close/>
                      <a:moveTo>
                        <a:pt x="647179" y="328575"/>
                      </a:moveTo>
                      <a:cubicBezTo>
                        <a:pt x="634603" y="328575"/>
                        <a:pt x="624482" y="333300"/>
                        <a:pt x="616818" y="342751"/>
                      </a:cubicBezTo>
                      <a:cubicBezTo>
                        <a:pt x="609153" y="352201"/>
                        <a:pt x="605321" y="364703"/>
                        <a:pt x="605321" y="380255"/>
                      </a:cubicBezTo>
                      <a:cubicBezTo>
                        <a:pt x="605321" y="395882"/>
                        <a:pt x="608837" y="408030"/>
                        <a:pt x="615869" y="416700"/>
                      </a:cubicBezTo>
                      <a:cubicBezTo>
                        <a:pt x="622901" y="425369"/>
                        <a:pt x="632184" y="429704"/>
                        <a:pt x="643718" y="429704"/>
                      </a:cubicBezTo>
                      <a:cubicBezTo>
                        <a:pt x="655997" y="429704"/>
                        <a:pt x="665782" y="425722"/>
                        <a:pt x="673075" y="417760"/>
                      </a:cubicBezTo>
                      <a:cubicBezTo>
                        <a:pt x="680367" y="409798"/>
                        <a:pt x="684014" y="400050"/>
                        <a:pt x="684014" y="388515"/>
                      </a:cubicBezTo>
                      <a:lnTo>
                        <a:pt x="684014" y="365856"/>
                      </a:lnTo>
                      <a:cubicBezTo>
                        <a:pt x="684014" y="355736"/>
                        <a:pt x="680609" y="346992"/>
                        <a:pt x="673800" y="339625"/>
                      </a:cubicBezTo>
                      <a:cubicBezTo>
                        <a:pt x="666991" y="332258"/>
                        <a:pt x="658118" y="328575"/>
                        <a:pt x="647179" y="328575"/>
                      </a:cubicBezTo>
                      <a:close/>
                      <a:moveTo>
                        <a:pt x="1796467" y="321989"/>
                      </a:moveTo>
                      <a:lnTo>
                        <a:pt x="1807964" y="321989"/>
                      </a:lnTo>
                      <a:lnTo>
                        <a:pt x="1842008" y="412960"/>
                      </a:lnTo>
                      <a:cubicBezTo>
                        <a:pt x="1843645" y="417351"/>
                        <a:pt x="1844798" y="421332"/>
                        <a:pt x="1845468" y="424904"/>
                      </a:cubicBezTo>
                      <a:lnTo>
                        <a:pt x="1845915" y="424904"/>
                      </a:lnTo>
                      <a:cubicBezTo>
                        <a:pt x="1846882" y="420216"/>
                        <a:pt x="1847961" y="416383"/>
                        <a:pt x="1849152" y="413407"/>
                      </a:cubicBezTo>
                      <a:lnTo>
                        <a:pt x="1884312" y="321989"/>
                      </a:lnTo>
                      <a:lnTo>
                        <a:pt x="1895474" y="321989"/>
                      </a:lnTo>
                      <a:lnTo>
                        <a:pt x="1850045" y="436289"/>
                      </a:lnTo>
                      <a:lnTo>
                        <a:pt x="1840669" y="436289"/>
                      </a:lnTo>
                      <a:close/>
                      <a:moveTo>
                        <a:pt x="1764915" y="321989"/>
                      </a:moveTo>
                      <a:lnTo>
                        <a:pt x="1775184" y="321989"/>
                      </a:lnTo>
                      <a:lnTo>
                        <a:pt x="1775184" y="436289"/>
                      </a:lnTo>
                      <a:lnTo>
                        <a:pt x="1764915" y="436289"/>
                      </a:lnTo>
                      <a:close/>
                      <a:moveTo>
                        <a:pt x="1386892" y="321989"/>
                      </a:moveTo>
                      <a:lnTo>
                        <a:pt x="1398389" y="321989"/>
                      </a:lnTo>
                      <a:lnTo>
                        <a:pt x="1432880" y="415081"/>
                      </a:lnTo>
                      <a:cubicBezTo>
                        <a:pt x="1433624" y="417090"/>
                        <a:pt x="1434145" y="418616"/>
                        <a:pt x="1434442" y="419658"/>
                      </a:cubicBezTo>
                      <a:cubicBezTo>
                        <a:pt x="1434740" y="421072"/>
                        <a:pt x="1435075" y="422337"/>
                        <a:pt x="1435447" y="423453"/>
                      </a:cubicBezTo>
                      <a:lnTo>
                        <a:pt x="1435893" y="423453"/>
                      </a:lnTo>
                      <a:lnTo>
                        <a:pt x="1438572" y="415751"/>
                      </a:lnTo>
                      <a:lnTo>
                        <a:pt x="1475407" y="321989"/>
                      </a:lnTo>
                      <a:lnTo>
                        <a:pt x="1486569" y="321989"/>
                      </a:lnTo>
                      <a:lnTo>
                        <a:pt x="1430870" y="459618"/>
                      </a:lnTo>
                      <a:cubicBezTo>
                        <a:pt x="1426703" y="469887"/>
                        <a:pt x="1422089" y="477515"/>
                        <a:pt x="1417029" y="482500"/>
                      </a:cubicBezTo>
                      <a:cubicBezTo>
                        <a:pt x="1411969" y="487486"/>
                        <a:pt x="1405458" y="489979"/>
                        <a:pt x="1397496" y="489979"/>
                      </a:cubicBezTo>
                      <a:cubicBezTo>
                        <a:pt x="1394147" y="489979"/>
                        <a:pt x="1391170" y="489458"/>
                        <a:pt x="1388566" y="488416"/>
                      </a:cubicBezTo>
                      <a:lnTo>
                        <a:pt x="1388566" y="478147"/>
                      </a:lnTo>
                      <a:cubicBezTo>
                        <a:pt x="1391245" y="479189"/>
                        <a:pt x="1394370" y="479710"/>
                        <a:pt x="1397942" y="479710"/>
                      </a:cubicBezTo>
                      <a:cubicBezTo>
                        <a:pt x="1407095" y="479710"/>
                        <a:pt x="1414313" y="473385"/>
                        <a:pt x="1419597" y="460734"/>
                      </a:cubicBezTo>
                      <a:lnTo>
                        <a:pt x="1430201" y="435396"/>
                      </a:lnTo>
                      <a:close/>
                      <a:moveTo>
                        <a:pt x="431415" y="321989"/>
                      </a:moveTo>
                      <a:lnTo>
                        <a:pt x="441684" y="321989"/>
                      </a:lnTo>
                      <a:lnTo>
                        <a:pt x="441684" y="436289"/>
                      </a:lnTo>
                      <a:lnTo>
                        <a:pt x="431415" y="436289"/>
                      </a:lnTo>
                      <a:close/>
                      <a:moveTo>
                        <a:pt x="2540868" y="319757"/>
                      </a:moveTo>
                      <a:cubicBezTo>
                        <a:pt x="2545109" y="319757"/>
                        <a:pt x="2548904" y="320427"/>
                        <a:pt x="2552253" y="321766"/>
                      </a:cubicBezTo>
                      <a:lnTo>
                        <a:pt x="2552253" y="332705"/>
                      </a:lnTo>
                      <a:cubicBezTo>
                        <a:pt x="2548830" y="330249"/>
                        <a:pt x="2544812" y="329021"/>
                        <a:pt x="2540198" y="329021"/>
                      </a:cubicBezTo>
                      <a:cubicBezTo>
                        <a:pt x="2531194" y="329021"/>
                        <a:pt x="2523641" y="333672"/>
                        <a:pt x="2517539" y="342974"/>
                      </a:cubicBezTo>
                      <a:cubicBezTo>
                        <a:pt x="2511437" y="352276"/>
                        <a:pt x="2508386" y="365484"/>
                        <a:pt x="2508386" y="382599"/>
                      </a:cubicBezTo>
                      <a:lnTo>
                        <a:pt x="2508386" y="436289"/>
                      </a:lnTo>
                      <a:lnTo>
                        <a:pt x="2498340" y="436289"/>
                      </a:lnTo>
                      <a:lnTo>
                        <a:pt x="2498340" y="321989"/>
                      </a:lnTo>
                      <a:lnTo>
                        <a:pt x="2508386" y="321989"/>
                      </a:lnTo>
                      <a:lnTo>
                        <a:pt x="2508386" y="347327"/>
                      </a:lnTo>
                      <a:lnTo>
                        <a:pt x="2508832" y="347327"/>
                      </a:lnTo>
                      <a:cubicBezTo>
                        <a:pt x="2511437" y="338621"/>
                        <a:pt x="2515567" y="331849"/>
                        <a:pt x="2521222" y="327012"/>
                      </a:cubicBezTo>
                      <a:cubicBezTo>
                        <a:pt x="2526878" y="322175"/>
                        <a:pt x="2533426" y="319757"/>
                        <a:pt x="2540868" y="319757"/>
                      </a:cubicBezTo>
                      <a:close/>
                      <a:moveTo>
                        <a:pt x="1731243" y="319757"/>
                      </a:moveTo>
                      <a:cubicBezTo>
                        <a:pt x="1735484" y="319757"/>
                        <a:pt x="1739279" y="320427"/>
                        <a:pt x="1742628" y="321766"/>
                      </a:cubicBezTo>
                      <a:lnTo>
                        <a:pt x="1742628" y="332705"/>
                      </a:lnTo>
                      <a:cubicBezTo>
                        <a:pt x="1739205" y="330249"/>
                        <a:pt x="1735187" y="329021"/>
                        <a:pt x="1730573" y="329021"/>
                      </a:cubicBezTo>
                      <a:cubicBezTo>
                        <a:pt x="1721569" y="329021"/>
                        <a:pt x="1714016" y="333672"/>
                        <a:pt x="1707914" y="342974"/>
                      </a:cubicBezTo>
                      <a:cubicBezTo>
                        <a:pt x="1701812" y="352276"/>
                        <a:pt x="1698761" y="365484"/>
                        <a:pt x="1698761" y="382599"/>
                      </a:cubicBezTo>
                      <a:lnTo>
                        <a:pt x="1698761" y="436289"/>
                      </a:lnTo>
                      <a:lnTo>
                        <a:pt x="1688715" y="436289"/>
                      </a:lnTo>
                      <a:lnTo>
                        <a:pt x="1688715" y="321989"/>
                      </a:lnTo>
                      <a:lnTo>
                        <a:pt x="1698761" y="321989"/>
                      </a:lnTo>
                      <a:lnTo>
                        <a:pt x="1698761" y="347327"/>
                      </a:lnTo>
                      <a:lnTo>
                        <a:pt x="1699207" y="347327"/>
                      </a:lnTo>
                      <a:cubicBezTo>
                        <a:pt x="1701812" y="338621"/>
                        <a:pt x="1705942" y="331849"/>
                        <a:pt x="1711597" y="327012"/>
                      </a:cubicBezTo>
                      <a:cubicBezTo>
                        <a:pt x="1717253" y="322175"/>
                        <a:pt x="1723801" y="319757"/>
                        <a:pt x="1731243" y="319757"/>
                      </a:cubicBezTo>
                      <a:close/>
                      <a:moveTo>
                        <a:pt x="397743" y="319757"/>
                      </a:moveTo>
                      <a:cubicBezTo>
                        <a:pt x="401984" y="319757"/>
                        <a:pt x="405780" y="320427"/>
                        <a:pt x="409128" y="321766"/>
                      </a:cubicBezTo>
                      <a:lnTo>
                        <a:pt x="409128" y="332705"/>
                      </a:lnTo>
                      <a:cubicBezTo>
                        <a:pt x="405705" y="330249"/>
                        <a:pt x="401687" y="329021"/>
                        <a:pt x="397073" y="329021"/>
                      </a:cubicBezTo>
                      <a:cubicBezTo>
                        <a:pt x="388069" y="329021"/>
                        <a:pt x="380516" y="333672"/>
                        <a:pt x="374414" y="342974"/>
                      </a:cubicBezTo>
                      <a:cubicBezTo>
                        <a:pt x="368312" y="352276"/>
                        <a:pt x="365261" y="365484"/>
                        <a:pt x="365261" y="382599"/>
                      </a:cubicBezTo>
                      <a:lnTo>
                        <a:pt x="365261" y="436289"/>
                      </a:lnTo>
                      <a:lnTo>
                        <a:pt x="355215" y="436289"/>
                      </a:lnTo>
                      <a:lnTo>
                        <a:pt x="355215" y="321989"/>
                      </a:lnTo>
                      <a:lnTo>
                        <a:pt x="365261" y="321989"/>
                      </a:lnTo>
                      <a:lnTo>
                        <a:pt x="365261" y="347327"/>
                      </a:lnTo>
                      <a:lnTo>
                        <a:pt x="365707" y="347327"/>
                      </a:lnTo>
                      <a:cubicBezTo>
                        <a:pt x="368312" y="338621"/>
                        <a:pt x="372442" y="331849"/>
                        <a:pt x="378097" y="327012"/>
                      </a:cubicBezTo>
                      <a:cubicBezTo>
                        <a:pt x="383753" y="322175"/>
                        <a:pt x="390301" y="319757"/>
                        <a:pt x="397743" y="319757"/>
                      </a:cubicBezTo>
                      <a:close/>
                      <a:moveTo>
                        <a:pt x="2425675" y="319200"/>
                      </a:moveTo>
                      <a:cubicBezTo>
                        <a:pt x="2437432" y="319200"/>
                        <a:pt x="2446529" y="322846"/>
                        <a:pt x="2452966" y="330139"/>
                      </a:cubicBezTo>
                      <a:cubicBezTo>
                        <a:pt x="2459403" y="337431"/>
                        <a:pt x="2462621" y="348035"/>
                        <a:pt x="2462621" y="361951"/>
                      </a:cubicBezTo>
                      <a:lnTo>
                        <a:pt x="2462621" y="436290"/>
                      </a:lnTo>
                      <a:lnTo>
                        <a:pt x="2452352" y="436290"/>
                      </a:lnTo>
                      <a:lnTo>
                        <a:pt x="2452352" y="413408"/>
                      </a:lnTo>
                      <a:lnTo>
                        <a:pt x="2451906" y="413408"/>
                      </a:lnTo>
                      <a:cubicBezTo>
                        <a:pt x="2448259" y="421221"/>
                        <a:pt x="2442957" y="427454"/>
                        <a:pt x="2436000" y="432104"/>
                      </a:cubicBezTo>
                      <a:cubicBezTo>
                        <a:pt x="2429042" y="436755"/>
                        <a:pt x="2421321" y="439081"/>
                        <a:pt x="2412838" y="439081"/>
                      </a:cubicBezTo>
                      <a:cubicBezTo>
                        <a:pt x="2401974" y="439081"/>
                        <a:pt x="2393379" y="436030"/>
                        <a:pt x="2387054" y="429928"/>
                      </a:cubicBezTo>
                      <a:cubicBezTo>
                        <a:pt x="2380729" y="423826"/>
                        <a:pt x="2377566" y="416124"/>
                        <a:pt x="2377566" y="406822"/>
                      </a:cubicBezTo>
                      <a:cubicBezTo>
                        <a:pt x="2377566" y="386879"/>
                        <a:pt x="2390774" y="374824"/>
                        <a:pt x="2417191" y="370657"/>
                      </a:cubicBezTo>
                      <a:lnTo>
                        <a:pt x="2452352" y="365411"/>
                      </a:lnTo>
                      <a:cubicBezTo>
                        <a:pt x="2452352" y="340854"/>
                        <a:pt x="2443125" y="328576"/>
                        <a:pt x="2424670" y="328576"/>
                      </a:cubicBezTo>
                      <a:cubicBezTo>
                        <a:pt x="2412094" y="328576"/>
                        <a:pt x="2399853" y="333636"/>
                        <a:pt x="2387947" y="343756"/>
                      </a:cubicBezTo>
                      <a:lnTo>
                        <a:pt x="2387947" y="331366"/>
                      </a:lnTo>
                      <a:cubicBezTo>
                        <a:pt x="2392188" y="328018"/>
                        <a:pt x="2397937" y="325153"/>
                        <a:pt x="2405192" y="322772"/>
                      </a:cubicBezTo>
                      <a:cubicBezTo>
                        <a:pt x="2412448" y="320390"/>
                        <a:pt x="2419275" y="319200"/>
                        <a:pt x="2425675" y="319200"/>
                      </a:cubicBezTo>
                      <a:close/>
                      <a:moveTo>
                        <a:pt x="2328378" y="319200"/>
                      </a:moveTo>
                      <a:cubicBezTo>
                        <a:pt x="2337085" y="319200"/>
                        <a:pt x="2345531" y="320986"/>
                        <a:pt x="2353716" y="324558"/>
                      </a:cubicBezTo>
                      <a:lnTo>
                        <a:pt x="2353716" y="336166"/>
                      </a:lnTo>
                      <a:cubicBezTo>
                        <a:pt x="2345531" y="331106"/>
                        <a:pt x="2336564" y="328576"/>
                        <a:pt x="2326816" y="328576"/>
                      </a:cubicBezTo>
                      <a:cubicBezTo>
                        <a:pt x="2313421" y="328576"/>
                        <a:pt x="2302557" y="333394"/>
                        <a:pt x="2294222" y="343031"/>
                      </a:cubicBezTo>
                      <a:cubicBezTo>
                        <a:pt x="2285888" y="352667"/>
                        <a:pt x="2281721" y="365150"/>
                        <a:pt x="2281721" y="380480"/>
                      </a:cubicBezTo>
                      <a:cubicBezTo>
                        <a:pt x="2281721" y="395288"/>
                        <a:pt x="2285534" y="407194"/>
                        <a:pt x="2293162" y="416198"/>
                      </a:cubicBezTo>
                      <a:cubicBezTo>
                        <a:pt x="2300789" y="425203"/>
                        <a:pt x="2310854" y="429705"/>
                        <a:pt x="2323355" y="429705"/>
                      </a:cubicBezTo>
                      <a:cubicBezTo>
                        <a:pt x="2334815" y="429705"/>
                        <a:pt x="2344787" y="426654"/>
                        <a:pt x="2353270" y="420552"/>
                      </a:cubicBezTo>
                      <a:lnTo>
                        <a:pt x="2353270" y="431267"/>
                      </a:lnTo>
                      <a:cubicBezTo>
                        <a:pt x="2344787" y="436476"/>
                        <a:pt x="2334666" y="439081"/>
                        <a:pt x="2322909" y="439081"/>
                      </a:cubicBezTo>
                      <a:cubicBezTo>
                        <a:pt x="2307356" y="439081"/>
                        <a:pt x="2294818" y="433742"/>
                        <a:pt x="2285293" y="423063"/>
                      </a:cubicBezTo>
                      <a:cubicBezTo>
                        <a:pt x="2275768" y="412385"/>
                        <a:pt x="2271005" y="398413"/>
                        <a:pt x="2271005" y="381149"/>
                      </a:cubicBezTo>
                      <a:cubicBezTo>
                        <a:pt x="2271005" y="362992"/>
                        <a:pt x="2276363" y="348128"/>
                        <a:pt x="2287078" y="336557"/>
                      </a:cubicBezTo>
                      <a:cubicBezTo>
                        <a:pt x="2297794" y="324985"/>
                        <a:pt x="2311561" y="319200"/>
                        <a:pt x="2328378" y="319200"/>
                      </a:cubicBezTo>
                      <a:close/>
                      <a:moveTo>
                        <a:pt x="2141264" y="319200"/>
                      </a:moveTo>
                      <a:cubicBezTo>
                        <a:pt x="2155477" y="319200"/>
                        <a:pt x="2166379" y="324185"/>
                        <a:pt x="2173969" y="334157"/>
                      </a:cubicBezTo>
                      <a:cubicBezTo>
                        <a:pt x="2181559" y="344128"/>
                        <a:pt x="2185354" y="357746"/>
                        <a:pt x="2185354" y="375010"/>
                      </a:cubicBezTo>
                      <a:lnTo>
                        <a:pt x="2185354" y="379587"/>
                      </a:lnTo>
                      <a:lnTo>
                        <a:pt x="2100746" y="379587"/>
                      </a:lnTo>
                      <a:cubicBezTo>
                        <a:pt x="2100746" y="395288"/>
                        <a:pt x="2104373" y="407566"/>
                        <a:pt x="2111629" y="416422"/>
                      </a:cubicBezTo>
                      <a:cubicBezTo>
                        <a:pt x="2118884" y="425277"/>
                        <a:pt x="2128837" y="429705"/>
                        <a:pt x="2141487" y="429705"/>
                      </a:cubicBezTo>
                      <a:cubicBezTo>
                        <a:pt x="2154287" y="429705"/>
                        <a:pt x="2166788" y="424979"/>
                        <a:pt x="2178992" y="415529"/>
                      </a:cubicBezTo>
                      <a:lnTo>
                        <a:pt x="2178992" y="426468"/>
                      </a:lnTo>
                      <a:cubicBezTo>
                        <a:pt x="2167160" y="434876"/>
                        <a:pt x="2153952" y="439081"/>
                        <a:pt x="2139367" y="439081"/>
                      </a:cubicBezTo>
                      <a:cubicBezTo>
                        <a:pt x="2124633" y="439081"/>
                        <a:pt x="2112726" y="433797"/>
                        <a:pt x="2103648" y="423231"/>
                      </a:cubicBezTo>
                      <a:cubicBezTo>
                        <a:pt x="2094569" y="412664"/>
                        <a:pt x="2090030" y="397744"/>
                        <a:pt x="2090030" y="378471"/>
                      </a:cubicBezTo>
                      <a:cubicBezTo>
                        <a:pt x="2090030" y="361802"/>
                        <a:pt x="2094774" y="347756"/>
                        <a:pt x="2104262" y="336334"/>
                      </a:cubicBezTo>
                      <a:cubicBezTo>
                        <a:pt x="2113750" y="324911"/>
                        <a:pt x="2126084" y="319200"/>
                        <a:pt x="2141264" y="319200"/>
                      </a:cubicBezTo>
                      <a:close/>
                      <a:moveTo>
                        <a:pt x="1958950" y="319200"/>
                      </a:moveTo>
                      <a:cubicBezTo>
                        <a:pt x="1970707" y="319200"/>
                        <a:pt x="1979804" y="322846"/>
                        <a:pt x="1986241" y="330139"/>
                      </a:cubicBezTo>
                      <a:cubicBezTo>
                        <a:pt x="1992678" y="337431"/>
                        <a:pt x="1995896" y="348035"/>
                        <a:pt x="1995896" y="361951"/>
                      </a:cubicBezTo>
                      <a:lnTo>
                        <a:pt x="1995896" y="436290"/>
                      </a:lnTo>
                      <a:lnTo>
                        <a:pt x="1985627" y="436290"/>
                      </a:lnTo>
                      <a:lnTo>
                        <a:pt x="1985627" y="413408"/>
                      </a:lnTo>
                      <a:lnTo>
                        <a:pt x="1985181" y="413408"/>
                      </a:lnTo>
                      <a:cubicBezTo>
                        <a:pt x="1981534" y="421221"/>
                        <a:pt x="1976232" y="427454"/>
                        <a:pt x="1969275" y="432104"/>
                      </a:cubicBezTo>
                      <a:cubicBezTo>
                        <a:pt x="1962317" y="436755"/>
                        <a:pt x="1954596" y="439081"/>
                        <a:pt x="1946113" y="439081"/>
                      </a:cubicBezTo>
                      <a:cubicBezTo>
                        <a:pt x="1935249" y="439081"/>
                        <a:pt x="1926654" y="436030"/>
                        <a:pt x="1920329" y="429928"/>
                      </a:cubicBezTo>
                      <a:cubicBezTo>
                        <a:pt x="1914004" y="423826"/>
                        <a:pt x="1910841" y="416124"/>
                        <a:pt x="1910841" y="406822"/>
                      </a:cubicBezTo>
                      <a:cubicBezTo>
                        <a:pt x="1910841" y="386879"/>
                        <a:pt x="1924049" y="374824"/>
                        <a:pt x="1950466" y="370657"/>
                      </a:cubicBezTo>
                      <a:lnTo>
                        <a:pt x="1985627" y="365411"/>
                      </a:lnTo>
                      <a:cubicBezTo>
                        <a:pt x="1985627" y="340854"/>
                        <a:pt x="1976400" y="328576"/>
                        <a:pt x="1957945" y="328576"/>
                      </a:cubicBezTo>
                      <a:cubicBezTo>
                        <a:pt x="1945369" y="328576"/>
                        <a:pt x="1933128" y="333636"/>
                        <a:pt x="1921222" y="343756"/>
                      </a:cubicBezTo>
                      <a:lnTo>
                        <a:pt x="1921222" y="331366"/>
                      </a:lnTo>
                      <a:cubicBezTo>
                        <a:pt x="1925463" y="328018"/>
                        <a:pt x="1931212" y="325153"/>
                        <a:pt x="1938467" y="322772"/>
                      </a:cubicBezTo>
                      <a:cubicBezTo>
                        <a:pt x="1945723" y="320390"/>
                        <a:pt x="1952550" y="319200"/>
                        <a:pt x="1958950" y="319200"/>
                      </a:cubicBezTo>
                      <a:close/>
                      <a:moveTo>
                        <a:pt x="1015975" y="319200"/>
                      </a:moveTo>
                      <a:cubicBezTo>
                        <a:pt x="1027732" y="319200"/>
                        <a:pt x="1036829" y="322846"/>
                        <a:pt x="1043266" y="330139"/>
                      </a:cubicBezTo>
                      <a:cubicBezTo>
                        <a:pt x="1049703" y="337431"/>
                        <a:pt x="1052921" y="348035"/>
                        <a:pt x="1052921" y="361951"/>
                      </a:cubicBezTo>
                      <a:lnTo>
                        <a:pt x="1052921" y="436290"/>
                      </a:lnTo>
                      <a:lnTo>
                        <a:pt x="1042652" y="436290"/>
                      </a:lnTo>
                      <a:lnTo>
                        <a:pt x="1042652" y="413408"/>
                      </a:lnTo>
                      <a:lnTo>
                        <a:pt x="1042206" y="413408"/>
                      </a:lnTo>
                      <a:cubicBezTo>
                        <a:pt x="1038559" y="421221"/>
                        <a:pt x="1033257" y="427454"/>
                        <a:pt x="1026300" y="432104"/>
                      </a:cubicBezTo>
                      <a:cubicBezTo>
                        <a:pt x="1019342" y="436755"/>
                        <a:pt x="1011621" y="439081"/>
                        <a:pt x="1003138" y="439081"/>
                      </a:cubicBezTo>
                      <a:cubicBezTo>
                        <a:pt x="992274" y="439081"/>
                        <a:pt x="983679" y="436030"/>
                        <a:pt x="977354" y="429928"/>
                      </a:cubicBezTo>
                      <a:cubicBezTo>
                        <a:pt x="971029" y="423826"/>
                        <a:pt x="967866" y="416124"/>
                        <a:pt x="967866" y="406822"/>
                      </a:cubicBezTo>
                      <a:cubicBezTo>
                        <a:pt x="967866" y="386879"/>
                        <a:pt x="981075" y="374824"/>
                        <a:pt x="1007492" y="370657"/>
                      </a:cubicBezTo>
                      <a:lnTo>
                        <a:pt x="1042652" y="365411"/>
                      </a:lnTo>
                      <a:cubicBezTo>
                        <a:pt x="1042652" y="340854"/>
                        <a:pt x="1033425" y="328576"/>
                        <a:pt x="1014970" y="328576"/>
                      </a:cubicBezTo>
                      <a:cubicBezTo>
                        <a:pt x="1002394" y="328576"/>
                        <a:pt x="990153" y="333636"/>
                        <a:pt x="978247" y="343756"/>
                      </a:cubicBezTo>
                      <a:lnTo>
                        <a:pt x="978247" y="331366"/>
                      </a:lnTo>
                      <a:cubicBezTo>
                        <a:pt x="982488" y="328018"/>
                        <a:pt x="988237" y="325153"/>
                        <a:pt x="995492" y="322772"/>
                      </a:cubicBezTo>
                      <a:cubicBezTo>
                        <a:pt x="1002748" y="320390"/>
                        <a:pt x="1009575" y="319200"/>
                        <a:pt x="1015975" y="319200"/>
                      </a:cubicBezTo>
                      <a:close/>
                      <a:moveTo>
                        <a:pt x="282550" y="319200"/>
                      </a:moveTo>
                      <a:cubicBezTo>
                        <a:pt x="294307" y="319200"/>
                        <a:pt x="303404" y="322846"/>
                        <a:pt x="309841" y="330139"/>
                      </a:cubicBezTo>
                      <a:cubicBezTo>
                        <a:pt x="316278" y="337431"/>
                        <a:pt x="319496" y="348035"/>
                        <a:pt x="319496" y="361951"/>
                      </a:cubicBezTo>
                      <a:lnTo>
                        <a:pt x="319496" y="436290"/>
                      </a:lnTo>
                      <a:lnTo>
                        <a:pt x="309227" y="436290"/>
                      </a:lnTo>
                      <a:lnTo>
                        <a:pt x="309227" y="413408"/>
                      </a:lnTo>
                      <a:lnTo>
                        <a:pt x="308781" y="413408"/>
                      </a:lnTo>
                      <a:cubicBezTo>
                        <a:pt x="305134" y="421221"/>
                        <a:pt x="299832" y="427454"/>
                        <a:pt x="292875" y="432104"/>
                      </a:cubicBezTo>
                      <a:cubicBezTo>
                        <a:pt x="285917" y="436755"/>
                        <a:pt x="278197" y="439081"/>
                        <a:pt x="269713" y="439081"/>
                      </a:cubicBezTo>
                      <a:cubicBezTo>
                        <a:pt x="258849" y="439081"/>
                        <a:pt x="250254" y="436030"/>
                        <a:pt x="243929" y="429928"/>
                      </a:cubicBezTo>
                      <a:cubicBezTo>
                        <a:pt x="237604" y="423826"/>
                        <a:pt x="234441" y="416124"/>
                        <a:pt x="234441" y="406822"/>
                      </a:cubicBezTo>
                      <a:cubicBezTo>
                        <a:pt x="234441" y="386879"/>
                        <a:pt x="247650" y="374824"/>
                        <a:pt x="274067" y="370657"/>
                      </a:cubicBezTo>
                      <a:lnTo>
                        <a:pt x="309227" y="365411"/>
                      </a:lnTo>
                      <a:cubicBezTo>
                        <a:pt x="309227" y="340854"/>
                        <a:pt x="300000" y="328576"/>
                        <a:pt x="281545" y="328576"/>
                      </a:cubicBezTo>
                      <a:cubicBezTo>
                        <a:pt x="268969" y="328576"/>
                        <a:pt x="256728" y="333636"/>
                        <a:pt x="244822" y="343756"/>
                      </a:cubicBezTo>
                      <a:lnTo>
                        <a:pt x="244822" y="331366"/>
                      </a:lnTo>
                      <a:cubicBezTo>
                        <a:pt x="249063" y="328018"/>
                        <a:pt x="254812" y="325153"/>
                        <a:pt x="262067" y="322772"/>
                      </a:cubicBezTo>
                      <a:cubicBezTo>
                        <a:pt x="269323" y="320390"/>
                        <a:pt x="276150" y="319200"/>
                        <a:pt x="282550" y="319200"/>
                      </a:cubicBezTo>
                      <a:close/>
                      <a:moveTo>
                        <a:pt x="1618357" y="319199"/>
                      </a:moveTo>
                      <a:cubicBezTo>
                        <a:pt x="1632867" y="319199"/>
                        <a:pt x="1644197" y="324203"/>
                        <a:pt x="1652345" y="334212"/>
                      </a:cubicBezTo>
                      <a:cubicBezTo>
                        <a:pt x="1660494" y="344220"/>
                        <a:pt x="1664568" y="357820"/>
                        <a:pt x="1664568" y="375009"/>
                      </a:cubicBezTo>
                      <a:cubicBezTo>
                        <a:pt x="1664568" y="394134"/>
                        <a:pt x="1659898" y="409593"/>
                        <a:pt x="1650559" y="421388"/>
                      </a:cubicBezTo>
                      <a:cubicBezTo>
                        <a:pt x="1641220" y="433182"/>
                        <a:pt x="1628886" y="439080"/>
                        <a:pt x="1613557" y="439080"/>
                      </a:cubicBezTo>
                      <a:cubicBezTo>
                        <a:pt x="1596442" y="439080"/>
                        <a:pt x="1583791" y="431378"/>
                        <a:pt x="1575606" y="415974"/>
                      </a:cubicBezTo>
                      <a:lnTo>
                        <a:pt x="1575159" y="415974"/>
                      </a:lnTo>
                      <a:lnTo>
                        <a:pt x="1575159" y="488863"/>
                      </a:lnTo>
                      <a:lnTo>
                        <a:pt x="1564890" y="488863"/>
                      </a:lnTo>
                      <a:lnTo>
                        <a:pt x="1564890" y="321989"/>
                      </a:lnTo>
                      <a:lnTo>
                        <a:pt x="1575159" y="321989"/>
                      </a:lnTo>
                      <a:lnTo>
                        <a:pt x="1575159" y="345541"/>
                      </a:lnTo>
                      <a:lnTo>
                        <a:pt x="1575606" y="345541"/>
                      </a:lnTo>
                      <a:cubicBezTo>
                        <a:pt x="1579698" y="337132"/>
                        <a:pt x="1585559" y="330640"/>
                        <a:pt x="1593186" y="326063"/>
                      </a:cubicBezTo>
                      <a:cubicBezTo>
                        <a:pt x="1600813" y="321487"/>
                        <a:pt x="1609204" y="319199"/>
                        <a:pt x="1618357" y="319199"/>
                      </a:cubicBezTo>
                      <a:close/>
                      <a:moveTo>
                        <a:pt x="1138423" y="319199"/>
                      </a:moveTo>
                      <a:cubicBezTo>
                        <a:pt x="1150776" y="319199"/>
                        <a:pt x="1160226" y="323310"/>
                        <a:pt x="1166775" y="331533"/>
                      </a:cubicBezTo>
                      <a:cubicBezTo>
                        <a:pt x="1173323" y="339756"/>
                        <a:pt x="1176597" y="351494"/>
                        <a:pt x="1176597" y="366749"/>
                      </a:cubicBezTo>
                      <a:lnTo>
                        <a:pt x="1176597" y="436289"/>
                      </a:lnTo>
                      <a:lnTo>
                        <a:pt x="1166328" y="436289"/>
                      </a:lnTo>
                      <a:lnTo>
                        <a:pt x="1166328" y="369763"/>
                      </a:lnTo>
                      <a:cubicBezTo>
                        <a:pt x="1166328" y="342304"/>
                        <a:pt x="1156431" y="328575"/>
                        <a:pt x="1136637" y="328575"/>
                      </a:cubicBezTo>
                      <a:cubicBezTo>
                        <a:pt x="1125624" y="328575"/>
                        <a:pt x="1116583" y="332612"/>
                        <a:pt x="1109513" y="340686"/>
                      </a:cubicBezTo>
                      <a:cubicBezTo>
                        <a:pt x="1102444" y="348760"/>
                        <a:pt x="1098909" y="358750"/>
                        <a:pt x="1098909" y="370656"/>
                      </a:cubicBezTo>
                      <a:lnTo>
                        <a:pt x="1098909" y="436289"/>
                      </a:lnTo>
                      <a:lnTo>
                        <a:pt x="1088640" y="436289"/>
                      </a:lnTo>
                      <a:lnTo>
                        <a:pt x="1088640" y="321989"/>
                      </a:lnTo>
                      <a:lnTo>
                        <a:pt x="1098909" y="321989"/>
                      </a:lnTo>
                      <a:lnTo>
                        <a:pt x="1098909" y="342751"/>
                      </a:lnTo>
                      <a:lnTo>
                        <a:pt x="1099356" y="342751"/>
                      </a:lnTo>
                      <a:cubicBezTo>
                        <a:pt x="1107690" y="327049"/>
                        <a:pt x="1120713" y="319199"/>
                        <a:pt x="1138423" y="319199"/>
                      </a:cubicBezTo>
                      <a:close/>
                      <a:moveTo>
                        <a:pt x="646955" y="319199"/>
                      </a:moveTo>
                      <a:cubicBezTo>
                        <a:pt x="663773" y="319199"/>
                        <a:pt x="675977" y="326156"/>
                        <a:pt x="683567" y="340072"/>
                      </a:cubicBezTo>
                      <a:lnTo>
                        <a:pt x="684014" y="340072"/>
                      </a:lnTo>
                      <a:lnTo>
                        <a:pt x="684014" y="321989"/>
                      </a:lnTo>
                      <a:lnTo>
                        <a:pt x="694283" y="321989"/>
                      </a:lnTo>
                      <a:lnTo>
                        <a:pt x="694283" y="427806"/>
                      </a:lnTo>
                      <a:cubicBezTo>
                        <a:pt x="694283" y="449312"/>
                        <a:pt x="689595" y="465050"/>
                        <a:pt x="680219" y="475022"/>
                      </a:cubicBezTo>
                      <a:cubicBezTo>
                        <a:pt x="670842" y="484993"/>
                        <a:pt x="656257" y="489979"/>
                        <a:pt x="636463" y="489979"/>
                      </a:cubicBezTo>
                      <a:cubicBezTo>
                        <a:pt x="625450" y="489979"/>
                        <a:pt x="614102" y="487077"/>
                        <a:pt x="602419" y="481273"/>
                      </a:cubicBezTo>
                      <a:lnTo>
                        <a:pt x="602419" y="470557"/>
                      </a:lnTo>
                      <a:cubicBezTo>
                        <a:pt x="614474" y="477254"/>
                        <a:pt x="625896" y="480603"/>
                        <a:pt x="636686" y="480603"/>
                      </a:cubicBezTo>
                      <a:cubicBezTo>
                        <a:pt x="668238" y="480603"/>
                        <a:pt x="684014" y="463934"/>
                        <a:pt x="684014" y="430597"/>
                      </a:cubicBezTo>
                      <a:lnTo>
                        <a:pt x="684014" y="415751"/>
                      </a:lnTo>
                      <a:lnTo>
                        <a:pt x="683567" y="415751"/>
                      </a:lnTo>
                      <a:cubicBezTo>
                        <a:pt x="674563" y="431303"/>
                        <a:pt x="660834" y="439080"/>
                        <a:pt x="642379" y="439080"/>
                      </a:cubicBezTo>
                      <a:cubicBezTo>
                        <a:pt x="628315" y="439080"/>
                        <a:pt x="616836" y="433982"/>
                        <a:pt x="607944" y="423788"/>
                      </a:cubicBezTo>
                      <a:cubicBezTo>
                        <a:pt x="599051" y="413593"/>
                        <a:pt x="594605" y="399380"/>
                        <a:pt x="594605" y="381148"/>
                      </a:cubicBezTo>
                      <a:cubicBezTo>
                        <a:pt x="594605" y="362917"/>
                        <a:pt x="599405" y="348034"/>
                        <a:pt x="609004" y="336500"/>
                      </a:cubicBezTo>
                      <a:cubicBezTo>
                        <a:pt x="618604" y="324966"/>
                        <a:pt x="631254" y="319199"/>
                        <a:pt x="646955" y="319199"/>
                      </a:cubicBezTo>
                      <a:close/>
                      <a:moveTo>
                        <a:pt x="528823" y="319199"/>
                      </a:moveTo>
                      <a:cubicBezTo>
                        <a:pt x="541176" y="319199"/>
                        <a:pt x="550626" y="323310"/>
                        <a:pt x="557175" y="331533"/>
                      </a:cubicBezTo>
                      <a:cubicBezTo>
                        <a:pt x="563723" y="339756"/>
                        <a:pt x="566998" y="351494"/>
                        <a:pt x="566998" y="366749"/>
                      </a:cubicBezTo>
                      <a:lnTo>
                        <a:pt x="566998" y="436289"/>
                      </a:lnTo>
                      <a:lnTo>
                        <a:pt x="556728" y="436289"/>
                      </a:lnTo>
                      <a:lnTo>
                        <a:pt x="556728" y="369763"/>
                      </a:lnTo>
                      <a:cubicBezTo>
                        <a:pt x="556728" y="342304"/>
                        <a:pt x="546831" y="328575"/>
                        <a:pt x="527037" y="328575"/>
                      </a:cubicBezTo>
                      <a:cubicBezTo>
                        <a:pt x="516024" y="328575"/>
                        <a:pt x="506983" y="332612"/>
                        <a:pt x="499913" y="340686"/>
                      </a:cubicBezTo>
                      <a:cubicBezTo>
                        <a:pt x="492844" y="348760"/>
                        <a:pt x="489309" y="358750"/>
                        <a:pt x="489309" y="370656"/>
                      </a:cubicBezTo>
                      <a:lnTo>
                        <a:pt x="489309" y="436289"/>
                      </a:lnTo>
                      <a:lnTo>
                        <a:pt x="479040" y="436289"/>
                      </a:lnTo>
                      <a:lnTo>
                        <a:pt x="479040" y="321989"/>
                      </a:lnTo>
                      <a:lnTo>
                        <a:pt x="489309" y="321989"/>
                      </a:lnTo>
                      <a:lnTo>
                        <a:pt x="489309" y="342751"/>
                      </a:lnTo>
                      <a:lnTo>
                        <a:pt x="489756" y="342751"/>
                      </a:lnTo>
                      <a:cubicBezTo>
                        <a:pt x="498090" y="327049"/>
                        <a:pt x="511113" y="319199"/>
                        <a:pt x="528823" y="319199"/>
                      </a:cubicBezTo>
                      <a:close/>
                      <a:moveTo>
                        <a:pt x="2046684" y="288838"/>
                      </a:moveTo>
                      <a:lnTo>
                        <a:pt x="2046684" y="321989"/>
                      </a:lnTo>
                      <a:lnTo>
                        <a:pt x="2076822" y="321989"/>
                      </a:lnTo>
                      <a:lnTo>
                        <a:pt x="2076822" y="331365"/>
                      </a:lnTo>
                      <a:lnTo>
                        <a:pt x="2046684" y="331365"/>
                      </a:lnTo>
                      <a:lnTo>
                        <a:pt x="2046684" y="406821"/>
                      </a:lnTo>
                      <a:cubicBezTo>
                        <a:pt x="2046684" y="414709"/>
                        <a:pt x="2047930" y="420420"/>
                        <a:pt x="2050423" y="423955"/>
                      </a:cubicBezTo>
                      <a:cubicBezTo>
                        <a:pt x="2052916" y="427490"/>
                        <a:pt x="2057139" y="429257"/>
                        <a:pt x="2063092" y="429257"/>
                      </a:cubicBezTo>
                      <a:cubicBezTo>
                        <a:pt x="2067334" y="429257"/>
                        <a:pt x="2071910" y="427880"/>
                        <a:pt x="2076822" y="425127"/>
                      </a:cubicBezTo>
                      <a:lnTo>
                        <a:pt x="2076822" y="434727"/>
                      </a:lnTo>
                      <a:cubicBezTo>
                        <a:pt x="2071464" y="437257"/>
                        <a:pt x="2066441" y="438522"/>
                        <a:pt x="2061753" y="438522"/>
                      </a:cubicBezTo>
                      <a:cubicBezTo>
                        <a:pt x="2044861" y="438522"/>
                        <a:pt x="2036415" y="428401"/>
                        <a:pt x="2036415" y="408161"/>
                      </a:cubicBezTo>
                      <a:lnTo>
                        <a:pt x="2036415" y="331365"/>
                      </a:lnTo>
                      <a:lnTo>
                        <a:pt x="2015876" y="331365"/>
                      </a:lnTo>
                      <a:lnTo>
                        <a:pt x="2015876" y="321989"/>
                      </a:lnTo>
                      <a:lnTo>
                        <a:pt x="2036415" y="321989"/>
                      </a:lnTo>
                      <a:lnTo>
                        <a:pt x="2036415" y="292298"/>
                      </a:lnTo>
                      <a:cubicBezTo>
                        <a:pt x="2038052" y="291703"/>
                        <a:pt x="2039763" y="291107"/>
                        <a:pt x="2041549" y="290512"/>
                      </a:cubicBezTo>
                      <a:cubicBezTo>
                        <a:pt x="2043335" y="289991"/>
                        <a:pt x="2045047" y="289433"/>
                        <a:pt x="2046684" y="288838"/>
                      </a:cubicBezTo>
                      <a:close/>
                      <a:moveTo>
                        <a:pt x="798909" y="288838"/>
                      </a:moveTo>
                      <a:lnTo>
                        <a:pt x="798909" y="321989"/>
                      </a:lnTo>
                      <a:lnTo>
                        <a:pt x="829047" y="321989"/>
                      </a:lnTo>
                      <a:lnTo>
                        <a:pt x="829047" y="331365"/>
                      </a:lnTo>
                      <a:lnTo>
                        <a:pt x="798909" y="331365"/>
                      </a:lnTo>
                      <a:lnTo>
                        <a:pt x="798909" y="406821"/>
                      </a:lnTo>
                      <a:cubicBezTo>
                        <a:pt x="798909" y="414709"/>
                        <a:pt x="800155" y="420420"/>
                        <a:pt x="802648" y="423955"/>
                      </a:cubicBezTo>
                      <a:cubicBezTo>
                        <a:pt x="805141" y="427490"/>
                        <a:pt x="809364" y="429257"/>
                        <a:pt x="815317" y="429257"/>
                      </a:cubicBezTo>
                      <a:cubicBezTo>
                        <a:pt x="819559" y="429257"/>
                        <a:pt x="824135" y="427880"/>
                        <a:pt x="829047" y="425127"/>
                      </a:cubicBezTo>
                      <a:lnTo>
                        <a:pt x="829047" y="434727"/>
                      </a:lnTo>
                      <a:cubicBezTo>
                        <a:pt x="823689" y="437257"/>
                        <a:pt x="818666" y="438522"/>
                        <a:pt x="813978" y="438522"/>
                      </a:cubicBezTo>
                      <a:cubicBezTo>
                        <a:pt x="797086" y="438522"/>
                        <a:pt x="788640" y="428401"/>
                        <a:pt x="788640" y="408161"/>
                      </a:cubicBezTo>
                      <a:lnTo>
                        <a:pt x="788640" y="331365"/>
                      </a:lnTo>
                      <a:lnTo>
                        <a:pt x="768101" y="331365"/>
                      </a:lnTo>
                      <a:lnTo>
                        <a:pt x="768101" y="321989"/>
                      </a:lnTo>
                      <a:lnTo>
                        <a:pt x="788640" y="321989"/>
                      </a:lnTo>
                      <a:lnTo>
                        <a:pt x="788640" y="292298"/>
                      </a:lnTo>
                      <a:cubicBezTo>
                        <a:pt x="790277" y="291703"/>
                        <a:pt x="791988" y="291107"/>
                        <a:pt x="793774" y="290512"/>
                      </a:cubicBezTo>
                      <a:cubicBezTo>
                        <a:pt x="795560" y="289991"/>
                        <a:pt x="797272" y="289433"/>
                        <a:pt x="798909" y="288838"/>
                      </a:cubicBezTo>
                      <a:close/>
                      <a:moveTo>
                        <a:pt x="1769938" y="276225"/>
                      </a:moveTo>
                      <a:cubicBezTo>
                        <a:pt x="1772245" y="276225"/>
                        <a:pt x="1774273" y="276969"/>
                        <a:pt x="1776021" y="278457"/>
                      </a:cubicBezTo>
                      <a:cubicBezTo>
                        <a:pt x="1777770" y="279945"/>
                        <a:pt x="1778644" y="281954"/>
                        <a:pt x="1778644" y="284485"/>
                      </a:cubicBezTo>
                      <a:cubicBezTo>
                        <a:pt x="1778644" y="286866"/>
                        <a:pt x="1777789" y="288912"/>
                        <a:pt x="1776077" y="290624"/>
                      </a:cubicBezTo>
                      <a:cubicBezTo>
                        <a:pt x="1774366" y="292335"/>
                        <a:pt x="1772319" y="293191"/>
                        <a:pt x="1769938" y="293191"/>
                      </a:cubicBezTo>
                      <a:cubicBezTo>
                        <a:pt x="1767706" y="293191"/>
                        <a:pt x="1765734" y="292372"/>
                        <a:pt x="1764022" y="290735"/>
                      </a:cubicBezTo>
                      <a:cubicBezTo>
                        <a:pt x="1762311" y="289098"/>
                        <a:pt x="1761455" y="287015"/>
                        <a:pt x="1761455" y="284485"/>
                      </a:cubicBezTo>
                      <a:cubicBezTo>
                        <a:pt x="1761455" y="282029"/>
                        <a:pt x="1762329" y="280038"/>
                        <a:pt x="1764078" y="278513"/>
                      </a:cubicBezTo>
                      <a:cubicBezTo>
                        <a:pt x="1765827" y="276987"/>
                        <a:pt x="1767780" y="276225"/>
                        <a:pt x="1769938" y="276225"/>
                      </a:cubicBezTo>
                      <a:close/>
                      <a:moveTo>
                        <a:pt x="436438" y="276225"/>
                      </a:moveTo>
                      <a:cubicBezTo>
                        <a:pt x="438745" y="276225"/>
                        <a:pt x="440773" y="276969"/>
                        <a:pt x="442521" y="278457"/>
                      </a:cubicBezTo>
                      <a:cubicBezTo>
                        <a:pt x="444270" y="279945"/>
                        <a:pt x="445144" y="281954"/>
                        <a:pt x="445144" y="284485"/>
                      </a:cubicBezTo>
                      <a:cubicBezTo>
                        <a:pt x="445144" y="286866"/>
                        <a:pt x="444289" y="288912"/>
                        <a:pt x="442577" y="290624"/>
                      </a:cubicBezTo>
                      <a:cubicBezTo>
                        <a:pt x="440866" y="292335"/>
                        <a:pt x="438819" y="293191"/>
                        <a:pt x="436438" y="293191"/>
                      </a:cubicBezTo>
                      <a:cubicBezTo>
                        <a:pt x="434206" y="293191"/>
                        <a:pt x="432234" y="292372"/>
                        <a:pt x="430522" y="290735"/>
                      </a:cubicBezTo>
                      <a:cubicBezTo>
                        <a:pt x="428811" y="289098"/>
                        <a:pt x="427955" y="287015"/>
                        <a:pt x="427955" y="284485"/>
                      </a:cubicBezTo>
                      <a:cubicBezTo>
                        <a:pt x="427955" y="282029"/>
                        <a:pt x="428829" y="280038"/>
                        <a:pt x="430578" y="278513"/>
                      </a:cubicBezTo>
                      <a:cubicBezTo>
                        <a:pt x="432327" y="276987"/>
                        <a:pt x="434280" y="276225"/>
                        <a:pt x="436438" y="276225"/>
                      </a:cubicBezTo>
                      <a:close/>
                      <a:moveTo>
                        <a:pt x="49224" y="273546"/>
                      </a:moveTo>
                      <a:cubicBezTo>
                        <a:pt x="58749" y="273546"/>
                        <a:pt x="68274" y="275146"/>
                        <a:pt x="77799" y="278345"/>
                      </a:cubicBezTo>
                      <a:lnTo>
                        <a:pt x="77799" y="289954"/>
                      </a:lnTo>
                      <a:cubicBezTo>
                        <a:pt x="68423" y="285712"/>
                        <a:pt x="58415" y="283592"/>
                        <a:pt x="47773" y="283592"/>
                      </a:cubicBezTo>
                      <a:cubicBezTo>
                        <a:pt x="36909" y="283592"/>
                        <a:pt x="28296" y="286345"/>
                        <a:pt x="21933" y="291852"/>
                      </a:cubicBezTo>
                      <a:cubicBezTo>
                        <a:pt x="15571" y="297358"/>
                        <a:pt x="12390" y="304353"/>
                        <a:pt x="12390" y="312836"/>
                      </a:cubicBezTo>
                      <a:cubicBezTo>
                        <a:pt x="12390" y="321022"/>
                        <a:pt x="14566" y="327533"/>
                        <a:pt x="18919" y="332370"/>
                      </a:cubicBezTo>
                      <a:cubicBezTo>
                        <a:pt x="23273" y="337207"/>
                        <a:pt x="32667" y="343793"/>
                        <a:pt x="47104" y="352127"/>
                      </a:cubicBezTo>
                      <a:cubicBezTo>
                        <a:pt x="62061" y="360610"/>
                        <a:pt x="72014" y="368145"/>
                        <a:pt x="76962" y="374730"/>
                      </a:cubicBezTo>
                      <a:cubicBezTo>
                        <a:pt x="81911" y="381316"/>
                        <a:pt x="84385" y="388887"/>
                        <a:pt x="84385" y="397445"/>
                      </a:cubicBezTo>
                      <a:cubicBezTo>
                        <a:pt x="84385" y="409723"/>
                        <a:pt x="80125" y="419732"/>
                        <a:pt x="71605" y="427471"/>
                      </a:cubicBezTo>
                      <a:cubicBezTo>
                        <a:pt x="63084" y="435210"/>
                        <a:pt x="51048" y="439080"/>
                        <a:pt x="35495" y="439080"/>
                      </a:cubicBezTo>
                      <a:cubicBezTo>
                        <a:pt x="29988" y="439080"/>
                        <a:pt x="23645" y="438224"/>
                        <a:pt x="16464" y="436512"/>
                      </a:cubicBezTo>
                      <a:cubicBezTo>
                        <a:pt x="9283" y="434801"/>
                        <a:pt x="3795" y="432829"/>
                        <a:pt x="0" y="430597"/>
                      </a:cubicBezTo>
                      <a:lnTo>
                        <a:pt x="0" y="417983"/>
                      </a:lnTo>
                      <a:cubicBezTo>
                        <a:pt x="11459" y="425276"/>
                        <a:pt x="23068" y="428922"/>
                        <a:pt x="34825" y="428922"/>
                      </a:cubicBezTo>
                      <a:cubicBezTo>
                        <a:pt x="47327" y="428922"/>
                        <a:pt x="56815" y="426336"/>
                        <a:pt x="63289" y="421165"/>
                      </a:cubicBezTo>
                      <a:cubicBezTo>
                        <a:pt x="69763" y="415993"/>
                        <a:pt x="73000" y="408756"/>
                        <a:pt x="73000" y="399454"/>
                      </a:cubicBezTo>
                      <a:cubicBezTo>
                        <a:pt x="73000" y="391269"/>
                        <a:pt x="70823" y="384739"/>
                        <a:pt x="66470" y="379865"/>
                      </a:cubicBezTo>
                      <a:cubicBezTo>
                        <a:pt x="62117" y="374991"/>
                        <a:pt x="52685" y="368349"/>
                        <a:pt x="38174" y="359940"/>
                      </a:cubicBezTo>
                      <a:cubicBezTo>
                        <a:pt x="21952" y="350490"/>
                        <a:pt x="11683" y="342583"/>
                        <a:pt x="7367" y="336221"/>
                      </a:cubicBezTo>
                      <a:cubicBezTo>
                        <a:pt x="3051" y="329859"/>
                        <a:pt x="893" y="322510"/>
                        <a:pt x="893" y="314176"/>
                      </a:cubicBezTo>
                      <a:cubicBezTo>
                        <a:pt x="893" y="302865"/>
                        <a:pt x="5283" y="293265"/>
                        <a:pt x="14064" y="285378"/>
                      </a:cubicBezTo>
                      <a:cubicBezTo>
                        <a:pt x="22845" y="277490"/>
                        <a:pt x="34565" y="273546"/>
                        <a:pt x="49224" y="273546"/>
                      </a:cubicBezTo>
                      <a:close/>
                      <a:moveTo>
                        <a:pt x="850515" y="267073"/>
                      </a:moveTo>
                      <a:lnTo>
                        <a:pt x="860784" y="267073"/>
                      </a:lnTo>
                      <a:lnTo>
                        <a:pt x="860784" y="342529"/>
                      </a:lnTo>
                      <a:lnTo>
                        <a:pt x="861231" y="342529"/>
                      </a:lnTo>
                      <a:cubicBezTo>
                        <a:pt x="870235" y="326976"/>
                        <a:pt x="883332" y="319200"/>
                        <a:pt x="900521" y="319200"/>
                      </a:cubicBezTo>
                      <a:cubicBezTo>
                        <a:pt x="912874" y="319200"/>
                        <a:pt x="922287" y="323181"/>
                        <a:pt x="928761" y="331143"/>
                      </a:cubicBezTo>
                      <a:cubicBezTo>
                        <a:pt x="935235" y="339105"/>
                        <a:pt x="938472" y="350528"/>
                        <a:pt x="938472" y="365411"/>
                      </a:cubicBezTo>
                      <a:lnTo>
                        <a:pt x="938472" y="436290"/>
                      </a:lnTo>
                      <a:lnTo>
                        <a:pt x="928203" y="436290"/>
                      </a:lnTo>
                      <a:lnTo>
                        <a:pt x="928203" y="367755"/>
                      </a:lnTo>
                      <a:cubicBezTo>
                        <a:pt x="928203" y="354212"/>
                        <a:pt x="925748" y="344296"/>
                        <a:pt x="920836" y="338008"/>
                      </a:cubicBezTo>
                      <a:cubicBezTo>
                        <a:pt x="915925" y="331720"/>
                        <a:pt x="908260" y="328576"/>
                        <a:pt x="897842" y="328576"/>
                      </a:cubicBezTo>
                      <a:cubicBezTo>
                        <a:pt x="888020" y="328576"/>
                        <a:pt x="879388" y="332408"/>
                        <a:pt x="871946" y="340073"/>
                      </a:cubicBezTo>
                      <a:cubicBezTo>
                        <a:pt x="864505" y="347737"/>
                        <a:pt x="860784" y="358714"/>
                        <a:pt x="860784" y="373001"/>
                      </a:cubicBezTo>
                      <a:lnTo>
                        <a:pt x="860784" y="436290"/>
                      </a:lnTo>
                      <a:lnTo>
                        <a:pt x="850515" y="436290"/>
                      </a:lnTo>
                      <a:close/>
                      <a:moveTo>
                        <a:pt x="117090" y="267073"/>
                      </a:moveTo>
                      <a:lnTo>
                        <a:pt x="127359" y="267073"/>
                      </a:lnTo>
                      <a:lnTo>
                        <a:pt x="127359" y="342529"/>
                      </a:lnTo>
                      <a:lnTo>
                        <a:pt x="127806" y="342529"/>
                      </a:lnTo>
                      <a:cubicBezTo>
                        <a:pt x="136810" y="326976"/>
                        <a:pt x="149907" y="319200"/>
                        <a:pt x="167096" y="319200"/>
                      </a:cubicBezTo>
                      <a:cubicBezTo>
                        <a:pt x="179449" y="319200"/>
                        <a:pt x="188862" y="323181"/>
                        <a:pt x="195337" y="331143"/>
                      </a:cubicBezTo>
                      <a:cubicBezTo>
                        <a:pt x="201811" y="339105"/>
                        <a:pt x="205048" y="350528"/>
                        <a:pt x="205048" y="365411"/>
                      </a:cubicBezTo>
                      <a:lnTo>
                        <a:pt x="205048" y="436290"/>
                      </a:lnTo>
                      <a:lnTo>
                        <a:pt x="194778" y="436290"/>
                      </a:lnTo>
                      <a:lnTo>
                        <a:pt x="194778" y="367755"/>
                      </a:lnTo>
                      <a:cubicBezTo>
                        <a:pt x="194778" y="354212"/>
                        <a:pt x="192323" y="344296"/>
                        <a:pt x="187411" y="338008"/>
                      </a:cubicBezTo>
                      <a:cubicBezTo>
                        <a:pt x="182500" y="331720"/>
                        <a:pt x="174835" y="328576"/>
                        <a:pt x="164417" y="328576"/>
                      </a:cubicBezTo>
                      <a:cubicBezTo>
                        <a:pt x="154595" y="328576"/>
                        <a:pt x="145963" y="332408"/>
                        <a:pt x="138521" y="340073"/>
                      </a:cubicBezTo>
                      <a:cubicBezTo>
                        <a:pt x="131080" y="347737"/>
                        <a:pt x="127359" y="358714"/>
                        <a:pt x="127359" y="373001"/>
                      </a:cubicBezTo>
                      <a:lnTo>
                        <a:pt x="127359" y="436290"/>
                      </a:lnTo>
                      <a:lnTo>
                        <a:pt x="117090" y="436290"/>
                      </a:lnTo>
                      <a:close/>
                      <a:moveTo>
                        <a:pt x="1279140" y="267072"/>
                      </a:moveTo>
                      <a:lnTo>
                        <a:pt x="1289409" y="267072"/>
                      </a:lnTo>
                      <a:lnTo>
                        <a:pt x="1289409" y="345541"/>
                      </a:lnTo>
                      <a:lnTo>
                        <a:pt x="1289856" y="345541"/>
                      </a:lnTo>
                      <a:cubicBezTo>
                        <a:pt x="1293948" y="337132"/>
                        <a:pt x="1299809" y="330640"/>
                        <a:pt x="1307436" y="326063"/>
                      </a:cubicBezTo>
                      <a:cubicBezTo>
                        <a:pt x="1315063" y="321487"/>
                        <a:pt x="1323454" y="319199"/>
                        <a:pt x="1332607" y="319199"/>
                      </a:cubicBezTo>
                      <a:cubicBezTo>
                        <a:pt x="1347117" y="319199"/>
                        <a:pt x="1358447" y="324203"/>
                        <a:pt x="1366595" y="334212"/>
                      </a:cubicBezTo>
                      <a:cubicBezTo>
                        <a:pt x="1374744" y="344220"/>
                        <a:pt x="1378818" y="357820"/>
                        <a:pt x="1378818" y="375009"/>
                      </a:cubicBezTo>
                      <a:cubicBezTo>
                        <a:pt x="1378818" y="394134"/>
                        <a:pt x="1374092" y="409593"/>
                        <a:pt x="1364642" y="421388"/>
                      </a:cubicBezTo>
                      <a:cubicBezTo>
                        <a:pt x="1355191" y="433182"/>
                        <a:pt x="1342913" y="439080"/>
                        <a:pt x="1327807" y="439080"/>
                      </a:cubicBezTo>
                      <a:cubicBezTo>
                        <a:pt x="1310692" y="439080"/>
                        <a:pt x="1298041" y="431378"/>
                        <a:pt x="1289856" y="415974"/>
                      </a:cubicBezTo>
                      <a:lnTo>
                        <a:pt x="1289409" y="415974"/>
                      </a:lnTo>
                      <a:lnTo>
                        <a:pt x="1289409" y="436289"/>
                      </a:lnTo>
                      <a:lnTo>
                        <a:pt x="1279140" y="436289"/>
                      </a:lnTo>
                      <a:close/>
                      <a:moveTo>
                        <a:pt x="2195177" y="98562"/>
                      </a:moveTo>
                      <a:lnTo>
                        <a:pt x="2163700" y="103138"/>
                      </a:lnTo>
                      <a:cubicBezTo>
                        <a:pt x="2151719" y="104850"/>
                        <a:pt x="2143310" y="107622"/>
                        <a:pt x="2138474" y="111454"/>
                      </a:cubicBezTo>
                      <a:cubicBezTo>
                        <a:pt x="2133637" y="115287"/>
                        <a:pt x="2131218" y="121519"/>
                        <a:pt x="2131218" y="130151"/>
                      </a:cubicBezTo>
                      <a:cubicBezTo>
                        <a:pt x="2131218" y="136922"/>
                        <a:pt x="2133469" y="142504"/>
                        <a:pt x="2137971" y="146894"/>
                      </a:cubicBezTo>
                      <a:cubicBezTo>
                        <a:pt x="2142473" y="151284"/>
                        <a:pt x="2148743" y="153480"/>
                        <a:pt x="2156779" y="153480"/>
                      </a:cubicBezTo>
                      <a:cubicBezTo>
                        <a:pt x="2167793" y="153480"/>
                        <a:pt x="2176946" y="149405"/>
                        <a:pt x="2184238" y="141257"/>
                      </a:cubicBezTo>
                      <a:cubicBezTo>
                        <a:pt x="2191531" y="133109"/>
                        <a:pt x="2195177" y="122598"/>
                        <a:pt x="2195177" y="109724"/>
                      </a:cubicBezTo>
                      <a:close/>
                      <a:moveTo>
                        <a:pt x="1918952" y="98562"/>
                      </a:moveTo>
                      <a:lnTo>
                        <a:pt x="1887475" y="103138"/>
                      </a:lnTo>
                      <a:cubicBezTo>
                        <a:pt x="1875494" y="104850"/>
                        <a:pt x="1867085" y="107622"/>
                        <a:pt x="1862249" y="111454"/>
                      </a:cubicBezTo>
                      <a:cubicBezTo>
                        <a:pt x="1857412" y="115287"/>
                        <a:pt x="1854993" y="121519"/>
                        <a:pt x="1854993" y="130151"/>
                      </a:cubicBezTo>
                      <a:cubicBezTo>
                        <a:pt x="1854993" y="136922"/>
                        <a:pt x="1857244" y="142504"/>
                        <a:pt x="1861746" y="146894"/>
                      </a:cubicBezTo>
                      <a:cubicBezTo>
                        <a:pt x="1866248" y="151284"/>
                        <a:pt x="1872518" y="153480"/>
                        <a:pt x="1880554" y="153480"/>
                      </a:cubicBezTo>
                      <a:cubicBezTo>
                        <a:pt x="1891568" y="153480"/>
                        <a:pt x="1900721" y="149405"/>
                        <a:pt x="1908013" y="141257"/>
                      </a:cubicBezTo>
                      <a:cubicBezTo>
                        <a:pt x="1915306" y="133109"/>
                        <a:pt x="1918952" y="122598"/>
                        <a:pt x="1918952" y="109724"/>
                      </a:cubicBezTo>
                      <a:close/>
                      <a:moveTo>
                        <a:pt x="1369293" y="52351"/>
                      </a:moveTo>
                      <a:cubicBezTo>
                        <a:pt x="1358577" y="52351"/>
                        <a:pt x="1349703" y="55941"/>
                        <a:pt x="1342671" y="63122"/>
                      </a:cubicBezTo>
                      <a:cubicBezTo>
                        <a:pt x="1335639" y="70303"/>
                        <a:pt x="1331304" y="80591"/>
                        <a:pt x="1329667" y="93986"/>
                      </a:cubicBezTo>
                      <a:lnTo>
                        <a:pt x="1403114" y="93986"/>
                      </a:lnTo>
                      <a:cubicBezTo>
                        <a:pt x="1402667" y="80814"/>
                        <a:pt x="1399505" y="70582"/>
                        <a:pt x="1393626" y="63290"/>
                      </a:cubicBezTo>
                      <a:cubicBezTo>
                        <a:pt x="1387747" y="55997"/>
                        <a:pt x="1379636" y="52351"/>
                        <a:pt x="1369293" y="52351"/>
                      </a:cubicBezTo>
                      <a:close/>
                      <a:moveTo>
                        <a:pt x="925748" y="52351"/>
                      </a:moveTo>
                      <a:cubicBezTo>
                        <a:pt x="912279" y="52351"/>
                        <a:pt x="901544" y="56890"/>
                        <a:pt x="893545" y="65969"/>
                      </a:cubicBezTo>
                      <a:cubicBezTo>
                        <a:pt x="885545" y="75047"/>
                        <a:pt x="881546" y="87660"/>
                        <a:pt x="881546" y="103808"/>
                      </a:cubicBezTo>
                      <a:cubicBezTo>
                        <a:pt x="881546" y="118765"/>
                        <a:pt x="885453" y="130783"/>
                        <a:pt x="893266" y="139862"/>
                      </a:cubicBezTo>
                      <a:cubicBezTo>
                        <a:pt x="901079" y="148940"/>
                        <a:pt x="911758" y="153480"/>
                        <a:pt x="925301" y="153480"/>
                      </a:cubicBezTo>
                      <a:cubicBezTo>
                        <a:pt x="939068" y="153480"/>
                        <a:pt x="949672" y="149015"/>
                        <a:pt x="957113" y="140085"/>
                      </a:cubicBezTo>
                      <a:cubicBezTo>
                        <a:pt x="964555" y="131155"/>
                        <a:pt x="968275" y="118765"/>
                        <a:pt x="968275" y="102915"/>
                      </a:cubicBezTo>
                      <a:cubicBezTo>
                        <a:pt x="968275" y="86619"/>
                        <a:pt x="964573" y="74117"/>
                        <a:pt x="957169" y="65411"/>
                      </a:cubicBezTo>
                      <a:cubicBezTo>
                        <a:pt x="949765" y="56704"/>
                        <a:pt x="939291" y="52351"/>
                        <a:pt x="925748" y="52351"/>
                      </a:cubicBezTo>
                      <a:close/>
                      <a:moveTo>
                        <a:pt x="693018" y="52351"/>
                      </a:moveTo>
                      <a:cubicBezTo>
                        <a:pt x="682302" y="52351"/>
                        <a:pt x="673428" y="55941"/>
                        <a:pt x="666396" y="63122"/>
                      </a:cubicBezTo>
                      <a:cubicBezTo>
                        <a:pt x="659364" y="70303"/>
                        <a:pt x="655029" y="80591"/>
                        <a:pt x="653392" y="93986"/>
                      </a:cubicBezTo>
                      <a:lnTo>
                        <a:pt x="726839" y="93986"/>
                      </a:lnTo>
                      <a:cubicBezTo>
                        <a:pt x="726392" y="80814"/>
                        <a:pt x="723230" y="70582"/>
                        <a:pt x="717351" y="63290"/>
                      </a:cubicBezTo>
                      <a:cubicBezTo>
                        <a:pt x="711472" y="55997"/>
                        <a:pt x="703361" y="52351"/>
                        <a:pt x="693018" y="52351"/>
                      </a:cubicBezTo>
                      <a:close/>
                      <a:moveTo>
                        <a:pt x="497123" y="52351"/>
                      </a:moveTo>
                      <a:cubicBezTo>
                        <a:pt x="483654" y="52351"/>
                        <a:pt x="472920" y="56890"/>
                        <a:pt x="464920" y="65969"/>
                      </a:cubicBezTo>
                      <a:cubicBezTo>
                        <a:pt x="456921" y="75047"/>
                        <a:pt x="452921" y="87660"/>
                        <a:pt x="452921" y="103808"/>
                      </a:cubicBezTo>
                      <a:cubicBezTo>
                        <a:pt x="452921" y="118765"/>
                        <a:pt x="456827" y="130783"/>
                        <a:pt x="464641" y="139862"/>
                      </a:cubicBezTo>
                      <a:cubicBezTo>
                        <a:pt x="472454" y="148940"/>
                        <a:pt x="483133" y="153480"/>
                        <a:pt x="496676" y="153480"/>
                      </a:cubicBezTo>
                      <a:cubicBezTo>
                        <a:pt x="510443" y="153480"/>
                        <a:pt x="521047" y="149015"/>
                        <a:pt x="528488" y="140085"/>
                      </a:cubicBezTo>
                      <a:cubicBezTo>
                        <a:pt x="535930" y="131155"/>
                        <a:pt x="539650" y="118765"/>
                        <a:pt x="539650" y="102915"/>
                      </a:cubicBezTo>
                      <a:cubicBezTo>
                        <a:pt x="539650" y="86619"/>
                        <a:pt x="535948" y="74117"/>
                        <a:pt x="528544" y="65411"/>
                      </a:cubicBezTo>
                      <a:cubicBezTo>
                        <a:pt x="521140" y="56704"/>
                        <a:pt x="510666" y="52351"/>
                        <a:pt x="497123" y="52351"/>
                      </a:cubicBezTo>
                      <a:close/>
                      <a:moveTo>
                        <a:pt x="1000571" y="45765"/>
                      </a:moveTo>
                      <a:lnTo>
                        <a:pt x="1010952" y="45765"/>
                      </a:lnTo>
                      <a:lnTo>
                        <a:pt x="1010952" y="109278"/>
                      </a:lnTo>
                      <a:cubicBezTo>
                        <a:pt x="1010952" y="124756"/>
                        <a:pt x="1013500" y="135992"/>
                        <a:pt x="1018598" y="142987"/>
                      </a:cubicBezTo>
                      <a:cubicBezTo>
                        <a:pt x="1023695" y="149982"/>
                        <a:pt x="1031713" y="153480"/>
                        <a:pt x="1042652" y="153480"/>
                      </a:cubicBezTo>
                      <a:cubicBezTo>
                        <a:pt x="1053293" y="153480"/>
                        <a:pt x="1061907" y="149573"/>
                        <a:pt x="1068492" y="141759"/>
                      </a:cubicBezTo>
                      <a:cubicBezTo>
                        <a:pt x="1075078" y="133946"/>
                        <a:pt x="1078371" y="123528"/>
                        <a:pt x="1078371" y="110505"/>
                      </a:cubicBezTo>
                      <a:lnTo>
                        <a:pt x="1078371" y="45765"/>
                      </a:lnTo>
                      <a:lnTo>
                        <a:pt x="1088640" y="45765"/>
                      </a:lnTo>
                      <a:lnTo>
                        <a:pt x="1088640" y="160065"/>
                      </a:lnTo>
                      <a:lnTo>
                        <a:pt x="1078371" y="160065"/>
                      </a:lnTo>
                      <a:lnTo>
                        <a:pt x="1078371" y="139304"/>
                      </a:lnTo>
                      <a:lnTo>
                        <a:pt x="1077924" y="139304"/>
                      </a:lnTo>
                      <a:cubicBezTo>
                        <a:pt x="1069962" y="155005"/>
                        <a:pt x="1057684" y="162856"/>
                        <a:pt x="1041089" y="162856"/>
                      </a:cubicBezTo>
                      <a:cubicBezTo>
                        <a:pt x="1014077" y="162856"/>
                        <a:pt x="1000571" y="145852"/>
                        <a:pt x="1000571" y="111845"/>
                      </a:cubicBezTo>
                      <a:close/>
                      <a:moveTo>
                        <a:pt x="1803015" y="45764"/>
                      </a:moveTo>
                      <a:lnTo>
                        <a:pt x="1813284" y="45764"/>
                      </a:lnTo>
                      <a:lnTo>
                        <a:pt x="1813284" y="160064"/>
                      </a:lnTo>
                      <a:lnTo>
                        <a:pt x="1803015" y="160064"/>
                      </a:lnTo>
                      <a:close/>
                      <a:moveTo>
                        <a:pt x="1682167" y="45764"/>
                      </a:moveTo>
                      <a:lnTo>
                        <a:pt x="1693664" y="45764"/>
                      </a:lnTo>
                      <a:lnTo>
                        <a:pt x="1727708" y="136735"/>
                      </a:lnTo>
                      <a:cubicBezTo>
                        <a:pt x="1729345" y="141126"/>
                        <a:pt x="1730499" y="145107"/>
                        <a:pt x="1731168" y="148679"/>
                      </a:cubicBezTo>
                      <a:lnTo>
                        <a:pt x="1731615" y="148679"/>
                      </a:lnTo>
                      <a:cubicBezTo>
                        <a:pt x="1732582" y="143991"/>
                        <a:pt x="1733661" y="140158"/>
                        <a:pt x="1734852" y="137182"/>
                      </a:cubicBezTo>
                      <a:lnTo>
                        <a:pt x="1770012" y="45764"/>
                      </a:lnTo>
                      <a:lnTo>
                        <a:pt x="1781174" y="45764"/>
                      </a:lnTo>
                      <a:lnTo>
                        <a:pt x="1735745" y="160064"/>
                      </a:lnTo>
                      <a:lnTo>
                        <a:pt x="1726369" y="160064"/>
                      </a:lnTo>
                      <a:close/>
                      <a:moveTo>
                        <a:pt x="1424992" y="45764"/>
                      </a:moveTo>
                      <a:lnTo>
                        <a:pt x="1436489" y="45764"/>
                      </a:lnTo>
                      <a:lnTo>
                        <a:pt x="1470980" y="138856"/>
                      </a:lnTo>
                      <a:cubicBezTo>
                        <a:pt x="1471724" y="140865"/>
                        <a:pt x="1472245" y="142391"/>
                        <a:pt x="1472542" y="143433"/>
                      </a:cubicBezTo>
                      <a:cubicBezTo>
                        <a:pt x="1472840" y="144847"/>
                        <a:pt x="1473175" y="146112"/>
                        <a:pt x="1473547" y="147228"/>
                      </a:cubicBezTo>
                      <a:lnTo>
                        <a:pt x="1473993" y="147228"/>
                      </a:lnTo>
                      <a:lnTo>
                        <a:pt x="1476672" y="139526"/>
                      </a:lnTo>
                      <a:lnTo>
                        <a:pt x="1513507" y="45764"/>
                      </a:lnTo>
                      <a:lnTo>
                        <a:pt x="1524669" y="45764"/>
                      </a:lnTo>
                      <a:lnTo>
                        <a:pt x="1468970" y="183393"/>
                      </a:lnTo>
                      <a:cubicBezTo>
                        <a:pt x="1464803" y="193662"/>
                        <a:pt x="1460189" y="201290"/>
                        <a:pt x="1455129" y="206275"/>
                      </a:cubicBezTo>
                      <a:cubicBezTo>
                        <a:pt x="1450069" y="211261"/>
                        <a:pt x="1443558" y="213754"/>
                        <a:pt x="1435596" y="213754"/>
                      </a:cubicBezTo>
                      <a:cubicBezTo>
                        <a:pt x="1432247" y="213754"/>
                        <a:pt x="1429270" y="213233"/>
                        <a:pt x="1426666" y="212191"/>
                      </a:cubicBezTo>
                      <a:lnTo>
                        <a:pt x="1426666" y="201922"/>
                      </a:lnTo>
                      <a:cubicBezTo>
                        <a:pt x="1429345" y="202964"/>
                        <a:pt x="1432470" y="203485"/>
                        <a:pt x="1436042" y="203485"/>
                      </a:cubicBezTo>
                      <a:cubicBezTo>
                        <a:pt x="1445195" y="203485"/>
                        <a:pt x="1452413" y="197160"/>
                        <a:pt x="1457697" y="184509"/>
                      </a:cubicBezTo>
                      <a:lnTo>
                        <a:pt x="1468301" y="159171"/>
                      </a:lnTo>
                      <a:close/>
                      <a:moveTo>
                        <a:pt x="831465" y="45764"/>
                      </a:moveTo>
                      <a:lnTo>
                        <a:pt x="841734" y="45764"/>
                      </a:lnTo>
                      <a:lnTo>
                        <a:pt x="841734" y="156827"/>
                      </a:lnTo>
                      <a:cubicBezTo>
                        <a:pt x="841734" y="194778"/>
                        <a:pt x="828265" y="213754"/>
                        <a:pt x="801327" y="213754"/>
                      </a:cubicBezTo>
                      <a:cubicBezTo>
                        <a:pt x="795970" y="213754"/>
                        <a:pt x="790537" y="212452"/>
                        <a:pt x="785031" y="209847"/>
                      </a:cubicBezTo>
                      <a:lnTo>
                        <a:pt x="785031" y="199132"/>
                      </a:lnTo>
                      <a:cubicBezTo>
                        <a:pt x="790984" y="202629"/>
                        <a:pt x="796788" y="204378"/>
                        <a:pt x="802444" y="204378"/>
                      </a:cubicBezTo>
                      <a:cubicBezTo>
                        <a:pt x="821791" y="204378"/>
                        <a:pt x="831465" y="189160"/>
                        <a:pt x="831465" y="158725"/>
                      </a:cubicBezTo>
                      <a:close/>
                      <a:moveTo>
                        <a:pt x="2283693" y="43532"/>
                      </a:moveTo>
                      <a:cubicBezTo>
                        <a:pt x="2287934" y="43532"/>
                        <a:pt x="2291729" y="44202"/>
                        <a:pt x="2295078" y="45541"/>
                      </a:cubicBezTo>
                      <a:lnTo>
                        <a:pt x="2295078" y="56480"/>
                      </a:lnTo>
                      <a:cubicBezTo>
                        <a:pt x="2291655" y="54024"/>
                        <a:pt x="2287637" y="52796"/>
                        <a:pt x="2283023" y="52796"/>
                      </a:cubicBezTo>
                      <a:cubicBezTo>
                        <a:pt x="2274019" y="52796"/>
                        <a:pt x="2266466" y="57447"/>
                        <a:pt x="2260364" y="66749"/>
                      </a:cubicBezTo>
                      <a:cubicBezTo>
                        <a:pt x="2254262" y="76051"/>
                        <a:pt x="2251211" y="89259"/>
                        <a:pt x="2251211" y="106374"/>
                      </a:cubicBezTo>
                      <a:lnTo>
                        <a:pt x="2251211" y="160064"/>
                      </a:lnTo>
                      <a:lnTo>
                        <a:pt x="2241165" y="160064"/>
                      </a:lnTo>
                      <a:lnTo>
                        <a:pt x="2241165" y="45764"/>
                      </a:lnTo>
                      <a:lnTo>
                        <a:pt x="2251211" y="45764"/>
                      </a:lnTo>
                      <a:lnTo>
                        <a:pt x="2251211" y="71102"/>
                      </a:lnTo>
                      <a:lnTo>
                        <a:pt x="2251657" y="71102"/>
                      </a:lnTo>
                      <a:cubicBezTo>
                        <a:pt x="2254262" y="62396"/>
                        <a:pt x="2258392" y="55624"/>
                        <a:pt x="2264047" y="50787"/>
                      </a:cubicBezTo>
                      <a:cubicBezTo>
                        <a:pt x="2269703" y="45950"/>
                        <a:pt x="2276251" y="43532"/>
                        <a:pt x="2283693" y="43532"/>
                      </a:cubicBezTo>
                      <a:close/>
                      <a:moveTo>
                        <a:pt x="1169268" y="43532"/>
                      </a:moveTo>
                      <a:cubicBezTo>
                        <a:pt x="1173509" y="43532"/>
                        <a:pt x="1177304" y="44202"/>
                        <a:pt x="1180653" y="45541"/>
                      </a:cubicBezTo>
                      <a:lnTo>
                        <a:pt x="1180653" y="56480"/>
                      </a:lnTo>
                      <a:cubicBezTo>
                        <a:pt x="1177230" y="54024"/>
                        <a:pt x="1173212" y="52796"/>
                        <a:pt x="1168598" y="52796"/>
                      </a:cubicBezTo>
                      <a:cubicBezTo>
                        <a:pt x="1159594" y="52796"/>
                        <a:pt x="1152041" y="57447"/>
                        <a:pt x="1145939" y="66749"/>
                      </a:cubicBezTo>
                      <a:cubicBezTo>
                        <a:pt x="1139837" y="76051"/>
                        <a:pt x="1136786" y="89259"/>
                        <a:pt x="1136786" y="106374"/>
                      </a:cubicBezTo>
                      <a:lnTo>
                        <a:pt x="1136786" y="160064"/>
                      </a:lnTo>
                      <a:lnTo>
                        <a:pt x="1126740" y="160064"/>
                      </a:lnTo>
                      <a:lnTo>
                        <a:pt x="1126740" y="45764"/>
                      </a:lnTo>
                      <a:lnTo>
                        <a:pt x="1136786" y="45764"/>
                      </a:lnTo>
                      <a:lnTo>
                        <a:pt x="1136786" y="71102"/>
                      </a:lnTo>
                      <a:lnTo>
                        <a:pt x="1137232" y="71102"/>
                      </a:lnTo>
                      <a:cubicBezTo>
                        <a:pt x="1139837" y="62396"/>
                        <a:pt x="1143967" y="55624"/>
                        <a:pt x="1149622" y="50787"/>
                      </a:cubicBezTo>
                      <a:cubicBezTo>
                        <a:pt x="1155278" y="45950"/>
                        <a:pt x="1161826" y="43532"/>
                        <a:pt x="1169268" y="43532"/>
                      </a:cubicBezTo>
                      <a:close/>
                      <a:moveTo>
                        <a:pt x="616818" y="43532"/>
                      </a:moveTo>
                      <a:cubicBezTo>
                        <a:pt x="621059" y="43532"/>
                        <a:pt x="624854" y="44202"/>
                        <a:pt x="628203" y="45541"/>
                      </a:cubicBezTo>
                      <a:lnTo>
                        <a:pt x="628203" y="56480"/>
                      </a:lnTo>
                      <a:cubicBezTo>
                        <a:pt x="624780" y="54024"/>
                        <a:pt x="620762" y="52796"/>
                        <a:pt x="616148" y="52796"/>
                      </a:cubicBezTo>
                      <a:cubicBezTo>
                        <a:pt x="607144" y="52796"/>
                        <a:pt x="599591" y="57447"/>
                        <a:pt x="593489" y="66749"/>
                      </a:cubicBezTo>
                      <a:cubicBezTo>
                        <a:pt x="587387" y="76051"/>
                        <a:pt x="584336" y="89259"/>
                        <a:pt x="584336" y="106374"/>
                      </a:cubicBezTo>
                      <a:lnTo>
                        <a:pt x="584336" y="160064"/>
                      </a:lnTo>
                      <a:lnTo>
                        <a:pt x="574290" y="160064"/>
                      </a:lnTo>
                      <a:lnTo>
                        <a:pt x="574290" y="45764"/>
                      </a:lnTo>
                      <a:lnTo>
                        <a:pt x="584336" y="45764"/>
                      </a:lnTo>
                      <a:lnTo>
                        <a:pt x="584336" y="71102"/>
                      </a:lnTo>
                      <a:lnTo>
                        <a:pt x="584782" y="71102"/>
                      </a:lnTo>
                      <a:cubicBezTo>
                        <a:pt x="587387" y="62396"/>
                        <a:pt x="591517" y="55624"/>
                        <a:pt x="597172" y="50787"/>
                      </a:cubicBezTo>
                      <a:cubicBezTo>
                        <a:pt x="602828" y="45950"/>
                        <a:pt x="609376" y="43532"/>
                        <a:pt x="616818" y="43532"/>
                      </a:cubicBezTo>
                      <a:close/>
                      <a:moveTo>
                        <a:pt x="2168500" y="42975"/>
                      </a:moveTo>
                      <a:cubicBezTo>
                        <a:pt x="2180257" y="42975"/>
                        <a:pt x="2189354" y="46621"/>
                        <a:pt x="2195791" y="53914"/>
                      </a:cubicBezTo>
                      <a:cubicBezTo>
                        <a:pt x="2202228" y="61206"/>
                        <a:pt x="2205446" y="71810"/>
                        <a:pt x="2205446" y="85726"/>
                      </a:cubicBezTo>
                      <a:lnTo>
                        <a:pt x="2205446" y="160065"/>
                      </a:lnTo>
                      <a:lnTo>
                        <a:pt x="2195177" y="160065"/>
                      </a:lnTo>
                      <a:lnTo>
                        <a:pt x="2195177" y="137183"/>
                      </a:lnTo>
                      <a:lnTo>
                        <a:pt x="2194731" y="137183"/>
                      </a:lnTo>
                      <a:cubicBezTo>
                        <a:pt x="2191084" y="144996"/>
                        <a:pt x="2185782" y="151229"/>
                        <a:pt x="2178825" y="155879"/>
                      </a:cubicBezTo>
                      <a:cubicBezTo>
                        <a:pt x="2171867" y="160530"/>
                        <a:pt x="2164146" y="162856"/>
                        <a:pt x="2155663" y="162856"/>
                      </a:cubicBezTo>
                      <a:cubicBezTo>
                        <a:pt x="2144799" y="162856"/>
                        <a:pt x="2136204" y="159805"/>
                        <a:pt x="2129879" y="153703"/>
                      </a:cubicBezTo>
                      <a:cubicBezTo>
                        <a:pt x="2123554" y="147601"/>
                        <a:pt x="2120391" y="139899"/>
                        <a:pt x="2120391" y="130597"/>
                      </a:cubicBezTo>
                      <a:cubicBezTo>
                        <a:pt x="2120391" y="110654"/>
                        <a:pt x="2133599" y="98599"/>
                        <a:pt x="2160016" y="94432"/>
                      </a:cubicBezTo>
                      <a:lnTo>
                        <a:pt x="2195177" y="89186"/>
                      </a:lnTo>
                      <a:cubicBezTo>
                        <a:pt x="2195177" y="64629"/>
                        <a:pt x="2185950" y="52351"/>
                        <a:pt x="2167495" y="52351"/>
                      </a:cubicBezTo>
                      <a:cubicBezTo>
                        <a:pt x="2154919" y="52351"/>
                        <a:pt x="2142678" y="57411"/>
                        <a:pt x="2130772" y="67531"/>
                      </a:cubicBezTo>
                      <a:lnTo>
                        <a:pt x="2130772" y="55141"/>
                      </a:lnTo>
                      <a:cubicBezTo>
                        <a:pt x="2135013" y="51793"/>
                        <a:pt x="2140762" y="48928"/>
                        <a:pt x="2148017" y="46547"/>
                      </a:cubicBezTo>
                      <a:cubicBezTo>
                        <a:pt x="2155273" y="44165"/>
                        <a:pt x="2162100" y="42975"/>
                        <a:pt x="2168500" y="42975"/>
                      </a:cubicBezTo>
                      <a:close/>
                      <a:moveTo>
                        <a:pt x="2071203" y="42975"/>
                      </a:moveTo>
                      <a:cubicBezTo>
                        <a:pt x="2079910" y="42975"/>
                        <a:pt x="2088356" y="44761"/>
                        <a:pt x="2096541" y="48333"/>
                      </a:cubicBezTo>
                      <a:lnTo>
                        <a:pt x="2096541" y="59941"/>
                      </a:lnTo>
                      <a:cubicBezTo>
                        <a:pt x="2088356" y="54881"/>
                        <a:pt x="2079389" y="52351"/>
                        <a:pt x="2069641" y="52351"/>
                      </a:cubicBezTo>
                      <a:cubicBezTo>
                        <a:pt x="2056246" y="52351"/>
                        <a:pt x="2045382" y="57169"/>
                        <a:pt x="2037047" y="66806"/>
                      </a:cubicBezTo>
                      <a:cubicBezTo>
                        <a:pt x="2028713" y="76442"/>
                        <a:pt x="2024546" y="88925"/>
                        <a:pt x="2024546" y="104255"/>
                      </a:cubicBezTo>
                      <a:cubicBezTo>
                        <a:pt x="2024546" y="119063"/>
                        <a:pt x="2028359" y="130969"/>
                        <a:pt x="2035987" y="139973"/>
                      </a:cubicBezTo>
                      <a:cubicBezTo>
                        <a:pt x="2043614" y="148978"/>
                        <a:pt x="2053679" y="153480"/>
                        <a:pt x="2066180" y="153480"/>
                      </a:cubicBezTo>
                      <a:cubicBezTo>
                        <a:pt x="2077640" y="153480"/>
                        <a:pt x="2087612" y="150429"/>
                        <a:pt x="2096095" y="144327"/>
                      </a:cubicBezTo>
                      <a:lnTo>
                        <a:pt x="2096095" y="155042"/>
                      </a:lnTo>
                      <a:cubicBezTo>
                        <a:pt x="2087612" y="160251"/>
                        <a:pt x="2077491" y="162856"/>
                        <a:pt x="2065734" y="162856"/>
                      </a:cubicBezTo>
                      <a:cubicBezTo>
                        <a:pt x="2050181" y="162856"/>
                        <a:pt x="2037643" y="157517"/>
                        <a:pt x="2028118" y="146838"/>
                      </a:cubicBezTo>
                      <a:cubicBezTo>
                        <a:pt x="2018593" y="136160"/>
                        <a:pt x="2013830" y="122188"/>
                        <a:pt x="2013830" y="104924"/>
                      </a:cubicBezTo>
                      <a:cubicBezTo>
                        <a:pt x="2013830" y="86767"/>
                        <a:pt x="2019188" y="71903"/>
                        <a:pt x="2029903" y="60332"/>
                      </a:cubicBezTo>
                      <a:cubicBezTo>
                        <a:pt x="2040619" y="48760"/>
                        <a:pt x="2054386" y="42975"/>
                        <a:pt x="2071203" y="42975"/>
                      </a:cubicBezTo>
                      <a:close/>
                      <a:moveTo>
                        <a:pt x="1892275" y="42975"/>
                      </a:moveTo>
                      <a:cubicBezTo>
                        <a:pt x="1904032" y="42975"/>
                        <a:pt x="1913129" y="46621"/>
                        <a:pt x="1919566" y="53914"/>
                      </a:cubicBezTo>
                      <a:cubicBezTo>
                        <a:pt x="1926003" y="61206"/>
                        <a:pt x="1929221" y="71810"/>
                        <a:pt x="1929221" y="85726"/>
                      </a:cubicBezTo>
                      <a:lnTo>
                        <a:pt x="1929221" y="160065"/>
                      </a:lnTo>
                      <a:lnTo>
                        <a:pt x="1918952" y="160065"/>
                      </a:lnTo>
                      <a:lnTo>
                        <a:pt x="1918952" y="137183"/>
                      </a:lnTo>
                      <a:lnTo>
                        <a:pt x="1918506" y="137183"/>
                      </a:lnTo>
                      <a:cubicBezTo>
                        <a:pt x="1914859" y="144996"/>
                        <a:pt x="1909557" y="151229"/>
                        <a:pt x="1902600" y="155879"/>
                      </a:cubicBezTo>
                      <a:cubicBezTo>
                        <a:pt x="1895642" y="160530"/>
                        <a:pt x="1887921" y="162856"/>
                        <a:pt x="1879438" y="162856"/>
                      </a:cubicBezTo>
                      <a:cubicBezTo>
                        <a:pt x="1868574" y="162856"/>
                        <a:pt x="1859979" y="159805"/>
                        <a:pt x="1853654" y="153703"/>
                      </a:cubicBezTo>
                      <a:cubicBezTo>
                        <a:pt x="1847329" y="147601"/>
                        <a:pt x="1844166" y="139899"/>
                        <a:pt x="1844166" y="130597"/>
                      </a:cubicBezTo>
                      <a:cubicBezTo>
                        <a:pt x="1844166" y="110654"/>
                        <a:pt x="1857374" y="98599"/>
                        <a:pt x="1883791" y="94432"/>
                      </a:cubicBezTo>
                      <a:lnTo>
                        <a:pt x="1918952" y="89186"/>
                      </a:lnTo>
                      <a:cubicBezTo>
                        <a:pt x="1918952" y="64629"/>
                        <a:pt x="1909725" y="52351"/>
                        <a:pt x="1891270" y="52351"/>
                      </a:cubicBezTo>
                      <a:cubicBezTo>
                        <a:pt x="1878694" y="52351"/>
                        <a:pt x="1866453" y="57411"/>
                        <a:pt x="1854547" y="67531"/>
                      </a:cubicBezTo>
                      <a:lnTo>
                        <a:pt x="1854547" y="55141"/>
                      </a:lnTo>
                      <a:cubicBezTo>
                        <a:pt x="1858788" y="51793"/>
                        <a:pt x="1864537" y="48928"/>
                        <a:pt x="1871792" y="46547"/>
                      </a:cubicBezTo>
                      <a:cubicBezTo>
                        <a:pt x="1879048" y="44165"/>
                        <a:pt x="1885875" y="42975"/>
                        <a:pt x="1892275" y="42975"/>
                      </a:cubicBezTo>
                      <a:close/>
                      <a:moveTo>
                        <a:pt x="1577317" y="42975"/>
                      </a:moveTo>
                      <a:cubicBezTo>
                        <a:pt x="1587140" y="42975"/>
                        <a:pt x="1595549" y="44984"/>
                        <a:pt x="1602544" y="49002"/>
                      </a:cubicBezTo>
                      <a:lnTo>
                        <a:pt x="1602544" y="60611"/>
                      </a:lnTo>
                      <a:cubicBezTo>
                        <a:pt x="1594060" y="55104"/>
                        <a:pt x="1585280" y="52351"/>
                        <a:pt x="1576201" y="52351"/>
                      </a:cubicBezTo>
                      <a:cubicBezTo>
                        <a:pt x="1568685" y="52351"/>
                        <a:pt x="1562620" y="54304"/>
                        <a:pt x="1558007" y="58211"/>
                      </a:cubicBezTo>
                      <a:cubicBezTo>
                        <a:pt x="1553393" y="62118"/>
                        <a:pt x="1551086" y="67196"/>
                        <a:pt x="1551086" y="73447"/>
                      </a:cubicBezTo>
                      <a:cubicBezTo>
                        <a:pt x="1551086" y="78879"/>
                        <a:pt x="1552537" y="83289"/>
                        <a:pt x="1555439" y="86674"/>
                      </a:cubicBezTo>
                      <a:cubicBezTo>
                        <a:pt x="1558342" y="90060"/>
                        <a:pt x="1564741" y="93948"/>
                        <a:pt x="1574638" y="98339"/>
                      </a:cubicBezTo>
                      <a:cubicBezTo>
                        <a:pt x="1586545" y="103697"/>
                        <a:pt x="1594730" y="108664"/>
                        <a:pt x="1599195" y="113240"/>
                      </a:cubicBezTo>
                      <a:cubicBezTo>
                        <a:pt x="1603660" y="117817"/>
                        <a:pt x="1605892" y="123900"/>
                        <a:pt x="1605892" y="131490"/>
                      </a:cubicBezTo>
                      <a:cubicBezTo>
                        <a:pt x="1605892" y="140569"/>
                        <a:pt x="1602488" y="148066"/>
                        <a:pt x="1595679" y="153982"/>
                      </a:cubicBezTo>
                      <a:cubicBezTo>
                        <a:pt x="1588870" y="159898"/>
                        <a:pt x="1579475" y="162856"/>
                        <a:pt x="1567495" y="162856"/>
                      </a:cubicBezTo>
                      <a:cubicBezTo>
                        <a:pt x="1556481" y="162856"/>
                        <a:pt x="1547291" y="160251"/>
                        <a:pt x="1539924" y="155042"/>
                      </a:cubicBezTo>
                      <a:lnTo>
                        <a:pt x="1539924" y="142652"/>
                      </a:lnTo>
                      <a:cubicBezTo>
                        <a:pt x="1543794" y="146001"/>
                        <a:pt x="1548482" y="148643"/>
                        <a:pt x="1553988" y="150577"/>
                      </a:cubicBezTo>
                      <a:cubicBezTo>
                        <a:pt x="1559495" y="152512"/>
                        <a:pt x="1564258" y="153480"/>
                        <a:pt x="1568276" y="153480"/>
                      </a:cubicBezTo>
                      <a:cubicBezTo>
                        <a:pt x="1586210" y="153480"/>
                        <a:pt x="1595177" y="146150"/>
                        <a:pt x="1595177" y="131490"/>
                      </a:cubicBezTo>
                      <a:cubicBezTo>
                        <a:pt x="1595177" y="126430"/>
                        <a:pt x="1593205" y="122114"/>
                        <a:pt x="1589261" y="118542"/>
                      </a:cubicBezTo>
                      <a:cubicBezTo>
                        <a:pt x="1585317" y="114970"/>
                        <a:pt x="1578917" y="111287"/>
                        <a:pt x="1570062" y="107492"/>
                      </a:cubicBezTo>
                      <a:cubicBezTo>
                        <a:pt x="1559123" y="102729"/>
                        <a:pt x="1551440" y="97799"/>
                        <a:pt x="1547012" y="92702"/>
                      </a:cubicBezTo>
                      <a:cubicBezTo>
                        <a:pt x="1542584" y="87605"/>
                        <a:pt x="1540371" y="81410"/>
                        <a:pt x="1540371" y="74117"/>
                      </a:cubicBezTo>
                      <a:cubicBezTo>
                        <a:pt x="1540371" y="64815"/>
                        <a:pt x="1543924" y="57299"/>
                        <a:pt x="1551030" y="51570"/>
                      </a:cubicBezTo>
                      <a:cubicBezTo>
                        <a:pt x="1558137" y="45840"/>
                        <a:pt x="1566899" y="42975"/>
                        <a:pt x="1577317" y="42975"/>
                      </a:cubicBezTo>
                      <a:close/>
                      <a:moveTo>
                        <a:pt x="1369739" y="42975"/>
                      </a:moveTo>
                      <a:cubicBezTo>
                        <a:pt x="1383952" y="42975"/>
                        <a:pt x="1394854" y="47960"/>
                        <a:pt x="1402444" y="57932"/>
                      </a:cubicBezTo>
                      <a:cubicBezTo>
                        <a:pt x="1410034" y="67903"/>
                        <a:pt x="1413830" y="81521"/>
                        <a:pt x="1413830" y="98785"/>
                      </a:cubicBezTo>
                      <a:lnTo>
                        <a:pt x="1413830" y="103362"/>
                      </a:lnTo>
                      <a:lnTo>
                        <a:pt x="1329221" y="103362"/>
                      </a:lnTo>
                      <a:cubicBezTo>
                        <a:pt x="1329221" y="119063"/>
                        <a:pt x="1332848" y="131341"/>
                        <a:pt x="1340104" y="140197"/>
                      </a:cubicBezTo>
                      <a:cubicBezTo>
                        <a:pt x="1347359" y="149052"/>
                        <a:pt x="1357312" y="153480"/>
                        <a:pt x="1369962" y="153480"/>
                      </a:cubicBezTo>
                      <a:cubicBezTo>
                        <a:pt x="1382762" y="153480"/>
                        <a:pt x="1395263" y="148754"/>
                        <a:pt x="1407467" y="139304"/>
                      </a:cubicBezTo>
                      <a:lnTo>
                        <a:pt x="1407467" y="150243"/>
                      </a:lnTo>
                      <a:cubicBezTo>
                        <a:pt x="1395635" y="158651"/>
                        <a:pt x="1382427" y="162856"/>
                        <a:pt x="1367842" y="162856"/>
                      </a:cubicBezTo>
                      <a:cubicBezTo>
                        <a:pt x="1353108" y="162856"/>
                        <a:pt x="1341201" y="157572"/>
                        <a:pt x="1332123" y="147006"/>
                      </a:cubicBezTo>
                      <a:cubicBezTo>
                        <a:pt x="1323044" y="136439"/>
                        <a:pt x="1318505" y="121519"/>
                        <a:pt x="1318505" y="102246"/>
                      </a:cubicBezTo>
                      <a:cubicBezTo>
                        <a:pt x="1318505" y="85577"/>
                        <a:pt x="1323249" y="71531"/>
                        <a:pt x="1332737" y="60109"/>
                      </a:cubicBezTo>
                      <a:cubicBezTo>
                        <a:pt x="1342225" y="48686"/>
                        <a:pt x="1354559" y="42975"/>
                        <a:pt x="1369739" y="42975"/>
                      </a:cubicBezTo>
                      <a:close/>
                      <a:moveTo>
                        <a:pt x="926194" y="42975"/>
                      </a:moveTo>
                      <a:cubicBezTo>
                        <a:pt x="942491" y="42975"/>
                        <a:pt x="955364" y="48295"/>
                        <a:pt x="964815" y="58937"/>
                      </a:cubicBezTo>
                      <a:cubicBezTo>
                        <a:pt x="974266" y="69578"/>
                        <a:pt x="978991" y="84312"/>
                        <a:pt x="978991" y="103138"/>
                      </a:cubicBezTo>
                      <a:cubicBezTo>
                        <a:pt x="978991" y="120923"/>
                        <a:pt x="974173" y="135323"/>
                        <a:pt x="964536" y="146336"/>
                      </a:cubicBezTo>
                      <a:cubicBezTo>
                        <a:pt x="954899" y="157349"/>
                        <a:pt x="941709" y="162856"/>
                        <a:pt x="924966" y="162856"/>
                      </a:cubicBezTo>
                      <a:cubicBezTo>
                        <a:pt x="908298" y="162856"/>
                        <a:pt x="895108" y="157368"/>
                        <a:pt x="885397" y="146392"/>
                      </a:cubicBezTo>
                      <a:cubicBezTo>
                        <a:pt x="875686" y="135416"/>
                        <a:pt x="870830" y="121147"/>
                        <a:pt x="870830" y="103585"/>
                      </a:cubicBezTo>
                      <a:cubicBezTo>
                        <a:pt x="870830" y="84609"/>
                        <a:pt x="875909" y="69764"/>
                        <a:pt x="886066" y="59048"/>
                      </a:cubicBezTo>
                      <a:cubicBezTo>
                        <a:pt x="896224" y="48333"/>
                        <a:pt x="909600" y="42975"/>
                        <a:pt x="926194" y="42975"/>
                      </a:cubicBezTo>
                      <a:close/>
                      <a:moveTo>
                        <a:pt x="693464" y="42975"/>
                      </a:moveTo>
                      <a:cubicBezTo>
                        <a:pt x="707677" y="42975"/>
                        <a:pt x="718579" y="47960"/>
                        <a:pt x="726169" y="57932"/>
                      </a:cubicBezTo>
                      <a:cubicBezTo>
                        <a:pt x="733759" y="67903"/>
                        <a:pt x="737555" y="81521"/>
                        <a:pt x="737555" y="98785"/>
                      </a:cubicBezTo>
                      <a:lnTo>
                        <a:pt x="737555" y="103362"/>
                      </a:lnTo>
                      <a:lnTo>
                        <a:pt x="652946" y="103362"/>
                      </a:lnTo>
                      <a:cubicBezTo>
                        <a:pt x="652946" y="119063"/>
                        <a:pt x="656573" y="131341"/>
                        <a:pt x="663829" y="140197"/>
                      </a:cubicBezTo>
                      <a:cubicBezTo>
                        <a:pt x="671084" y="149052"/>
                        <a:pt x="681037" y="153480"/>
                        <a:pt x="693687" y="153480"/>
                      </a:cubicBezTo>
                      <a:cubicBezTo>
                        <a:pt x="706487" y="153480"/>
                        <a:pt x="718988" y="148754"/>
                        <a:pt x="731192" y="139304"/>
                      </a:cubicBezTo>
                      <a:lnTo>
                        <a:pt x="731192" y="150243"/>
                      </a:lnTo>
                      <a:cubicBezTo>
                        <a:pt x="719360" y="158651"/>
                        <a:pt x="706152" y="162856"/>
                        <a:pt x="691567" y="162856"/>
                      </a:cubicBezTo>
                      <a:cubicBezTo>
                        <a:pt x="676833" y="162856"/>
                        <a:pt x="664926" y="157572"/>
                        <a:pt x="655848" y="147006"/>
                      </a:cubicBezTo>
                      <a:cubicBezTo>
                        <a:pt x="646769" y="136439"/>
                        <a:pt x="642230" y="121519"/>
                        <a:pt x="642230" y="102246"/>
                      </a:cubicBezTo>
                      <a:cubicBezTo>
                        <a:pt x="642230" y="85577"/>
                        <a:pt x="646974" y="71531"/>
                        <a:pt x="656462" y="60109"/>
                      </a:cubicBezTo>
                      <a:cubicBezTo>
                        <a:pt x="665950" y="48686"/>
                        <a:pt x="678284" y="42975"/>
                        <a:pt x="693464" y="42975"/>
                      </a:cubicBezTo>
                      <a:close/>
                      <a:moveTo>
                        <a:pt x="497569" y="42975"/>
                      </a:moveTo>
                      <a:cubicBezTo>
                        <a:pt x="513866" y="42975"/>
                        <a:pt x="526739" y="48295"/>
                        <a:pt x="536190" y="58937"/>
                      </a:cubicBezTo>
                      <a:cubicBezTo>
                        <a:pt x="545641" y="69578"/>
                        <a:pt x="550366" y="84312"/>
                        <a:pt x="550366" y="103138"/>
                      </a:cubicBezTo>
                      <a:cubicBezTo>
                        <a:pt x="550366" y="120923"/>
                        <a:pt x="545548" y="135323"/>
                        <a:pt x="535911" y="146336"/>
                      </a:cubicBezTo>
                      <a:cubicBezTo>
                        <a:pt x="526274" y="157349"/>
                        <a:pt x="513085" y="162856"/>
                        <a:pt x="496341" y="162856"/>
                      </a:cubicBezTo>
                      <a:cubicBezTo>
                        <a:pt x="479673" y="162856"/>
                        <a:pt x="466483" y="157368"/>
                        <a:pt x="456772" y="146392"/>
                      </a:cubicBezTo>
                      <a:cubicBezTo>
                        <a:pt x="447061" y="135416"/>
                        <a:pt x="442205" y="121147"/>
                        <a:pt x="442205" y="103585"/>
                      </a:cubicBezTo>
                      <a:cubicBezTo>
                        <a:pt x="442205" y="84609"/>
                        <a:pt x="447284" y="69764"/>
                        <a:pt x="457441" y="59048"/>
                      </a:cubicBezTo>
                      <a:cubicBezTo>
                        <a:pt x="467599" y="48333"/>
                        <a:pt x="480975" y="42975"/>
                        <a:pt x="497569" y="42975"/>
                      </a:cubicBezTo>
                      <a:close/>
                      <a:moveTo>
                        <a:pt x="1252723" y="42974"/>
                      </a:moveTo>
                      <a:cubicBezTo>
                        <a:pt x="1265076" y="42974"/>
                        <a:pt x="1274526" y="47085"/>
                        <a:pt x="1281075" y="55308"/>
                      </a:cubicBezTo>
                      <a:cubicBezTo>
                        <a:pt x="1287623" y="63531"/>
                        <a:pt x="1290897" y="75269"/>
                        <a:pt x="1290897" y="90524"/>
                      </a:cubicBezTo>
                      <a:lnTo>
                        <a:pt x="1290897" y="160064"/>
                      </a:lnTo>
                      <a:lnTo>
                        <a:pt x="1280628" y="160064"/>
                      </a:lnTo>
                      <a:lnTo>
                        <a:pt x="1280628" y="93538"/>
                      </a:lnTo>
                      <a:cubicBezTo>
                        <a:pt x="1280628" y="66079"/>
                        <a:pt x="1270731" y="52350"/>
                        <a:pt x="1250937" y="52350"/>
                      </a:cubicBezTo>
                      <a:cubicBezTo>
                        <a:pt x="1239924" y="52350"/>
                        <a:pt x="1230883" y="56387"/>
                        <a:pt x="1223813" y="64461"/>
                      </a:cubicBezTo>
                      <a:cubicBezTo>
                        <a:pt x="1216744" y="72535"/>
                        <a:pt x="1213209" y="82525"/>
                        <a:pt x="1213209" y="94431"/>
                      </a:cubicBezTo>
                      <a:lnTo>
                        <a:pt x="1213209" y="160064"/>
                      </a:lnTo>
                      <a:lnTo>
                        <a:pt x="1202940" y="160064"/>
                      </a:lnTo>
                      <a:lnTo>
                        <a:pt x="1202940" y="45764"/>
                      </a:lnTo>
                      <a:lnTo>
                        <a:pt x="1213209" y="45764"/>
                      </a:lnTo>
                      <a:lnTo>
                        <a:pt x="1213209" y="66526"/>
                      </a:lnTo>
                      <a:lnTo>
                        <a:pt x="1213656" y="66526"/>
                      </a:lnTo>
                      <a:cubicBezTo>
                        <a:pt x="1221990" y="50824"/>
                        <a:pt x="1235013" y="42974"/>
                        <a:pt x="1252723" y="42974"/>
                      </a:cubicBezTo>
                      <a:close/>
                      <a:moveTo>
                        <a:pt x="1808038" y="0"/>
                      </a:moveTo>
                      <a:cubicBezTo>
                        <a:pt x="1810345" y="0"/>
                        <a:pt x="1812373" y="744"/>
                        <a:pt x="1814121" y="2232"/>
                      </a:cubicBezTo>
                      <a:cubicBezTo>
                        <a:pt x="1815870" y="3720"/>
                        <a:pt x="1816744" y="5729"/>
                        <a:pt x="1816744" y="8260"/>
                      </a:cubicBezTo>
                      <a:cubicBezTo>
                        <a:pt x="1816744" y="10641"/>
                        <a:pt x="1815889" y="12687"/>
                        <a:pt x="1814177" y="14399"/>
                      </a:cubicBezTo>
                      <a:cubicBezTo>
                        <a:pt x="1812466" y="16110"/>
                        <a:pt x="1810419" y="16966"/>
                        <a:pt x="1808038" y="16966"/>
                      </a:cubicBezTo>
                      <a:cubicBezTo>
                        <a:pt x="1805806" y="16966"/>
                        <a:pt x="1803834" y="16147"/>
                        <a:pt x="1802122" y="14510"/>
                      </a:cubicBezTo>
                      <a:cubicBezTo>
                        <a:pt x="1800410" y="12873"/>
                        <a:pt x="1799555" y="10790"/>
                        <a:pt x="1799555" y="8260"/>
                      </a:cubicBezTo>
                      <a:cubicBezTo>
                        <a:pt x="1799555" y="5804"/>
                        <a:pt x="1800429" y="3813"/>
                        <a:pt x="1802178" y="2288"/>
                      </a:cubicBezTo>
                      <a:cubicBezTo>
                        <a:pt x="1803927" y="762"/>
                        <a:pt x="1805880" y="0"/>
                        <a:pt x="1808038" y="0"/>
                      </a:cubicBezTo>
                      <a:close/>
                      <a:moveTo>
                        <a:pt x="836488" y="0"/>
                      </a:moveTo>
                      <a:cubicBezTo>
                        <a:pt x="838795" y="0"/>
                        <a:pt x="840823" y="744"/>
                        <a:pt x="842571" y="2232"/>
                      </a:cubicBezTo>
                      <a:cubicBezTo>
                        <a:pt x="844320" y="3720"/>
                        <a:pt x="845194" y="5729"/>
                        <a:pt x="845194" y="8260"/>
                      </a:cubicBezTo>
                      <a:cubicBezTo>
                        <a:pt x="845194" y="10641"/>
                        <a:pt x="844339" y="12687"/>
                        <a:pt x="842627" y="14399"/>
                      </a:cubicBezTo>
                      <a:cubicBezTo>
                        <a:pt x="840916" y="16110"/>
                        <a:pt x="838869" y="16966"/>
                        <a:pt x="836488" y="16966"/>
                      </a:cubicBezTo>
                      <a:cubicBezTo>
                        <a:pt x="834256" y="16966"/>
                        <a:pt x="832284" y="16147"/>
                        <a:pt x="830572" y="14510"/>
                      </a:cubicBezTo>
                      <a:cubicBezTo>
                        <a:pt x="828861" y="12873"/>
                        <a:pt x="828005" y="10790"/>
                        <a:pt x="828005" y="8260"/>
                      </a:cubicBezTo>
                      <a:cubicBezTo>
                        <a:pt x="828005" y="5804"/>
                        <a:pt x="828879" y="3813"/>
                        <a:pt x="830628" y="2288"/>
                      </a:cubicBezTo>
                      <a:cubicBezTo>
                        <a:pt x="832377" y="762"/>
                        <a:pt x="834330" y="0"/>
                        <a:pt x="836488" y="0"/>
                      </a:cubicBezTo>
                      <a:close/>
                      <a:moveTo>
                        <a:pt x="262198" y="0"/>
                      </a:moveTo>
                      <a:lnTo>
                        <a:pt x="272467" y="0"/>
                      </a:lnTo>
                      <a:lnTo>
                        <a:pt x="332184" y="128922"/>
                      </a:lnTo>
                      <a:cubicBezTo>
                        <a:pt x="332556" y="129666"/>
                        <a:pt x="332965" y="130671"/>
                        <a:pt x="333412" y="131936"/>
                      </a:cubicBezTo>
                      <a:cubicBezTo>
                        <a:pt x="333858" y="133201"/>
                        <a:pt x="334342" y="134466"/>
                        <a:pt x="334863" y="135731"/>
                      </a:cubicBezTo>
                      <a:cubicBezTo>
                        <a:pt x="335607" y="137666"/>
                        <a:pt x="336388" y="139824"/>
                        <a:pt x="337207" y="142205"/>
                      </a:cubicBezTo>
                      <a:lnTo>
                        <a:pt x="337877" y="142205"/>
                      </a:lnTo>
                      <a:lnTo>
                        <a:pt x="339104" y="138633"/>
                      </a:lnTo>
                      <a:cubicBezTo>
                        <a:pt x="339179" y="138335"/>
                        <a:pt x="340444" y="134801"/>
                        <a:pt x="342900" y="128029"/>
                      </a:cubicBezTo>
                      <a:lnTo>
                        <a:pt x="401724" y="0"/>
                      </a:lnTo>
                      <a:lnTo>
                        <a:pt x="411547" y="0"/>
                      </a:lnTo>
                      <a:lnTo>
                        <a:pt x="411547" y="160064"/>
                      </a:lnTo>
                      <a:lnTo>
                        <a:pt x="400943" y="160064"/>
                      </a:lnTo>
                      <a:lnTo>
                        <a:pt x="400943" y="46434"/>
                      </a:lnTo>
                      <a:cubicBezTo>
                        <a:pt x="400943" y="43681"/>
                        <a:pt x="401352" y="35830"/>
                        <a:pt x="402170" y="22882"/>
                      </a:cubicBezTo>
                      <a:lnTo>
                        <a:pt x="401724" y="22882"/>
                      </a:lnTo>
                      <a:cubicBezTo>
                        <a:pt x="399417" y="28909"/>
                        <a:pt x="397482" y="33560"/>
                        <a:pt x="395920" y="36835"/>
                      </a:cubicBezTo>
                      <a:lnTo>
                        <a:pt x="338993" y="160064"/>
                      </a:lnTo>
                      <a:lnTo>
                        <a:pt x="335421" y="160064"/>
                      </a:lnTo>
                      <a:lnTo>
                        <a:pt x="278271" y="37504"/>
                      </a:lnTo>
                      <a:cubicBezTo>
                        <a:pt x="276411" y="33560"/>
                        <a:pt x="274662" y="28537"/>
                        <a:pt x="273025" y="22435"/>
                      </a:cubicBezTo>
                      <a:lnTo>
                        <a:pt x="272467" y="22435"/>
                      </a:lnTo>
                      <a:cubicBezTo>
                        <a:pt x="272988" y="29579"/>
                        <a:pt x="273248" y="36686"/>
                        <a:pt x="273248" y="43755"/>
                      </a:cubicBezTo>
                      <a:lnTo>
                        <a:pt x="273248" y="160064"/>
                      </a:lnTo>
                      <a:lnTo>
                        <a:pt x="262198" y="160064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Текст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433" name="glasses"/>
              <p:cNvGrpSpPr/>
              <p:nvPr/>
            </p:nvGrpSpPr>
            <p:grpSpPr>
              <a:xfrm>
                <a:off x="42064065" y="2556128"/>
                <a:ext cx="3031033" cy="1737035"/>
                <a:chOff x="4436497" y="4838184"/>
                <a:chExt cx="3031033" cy="1737035"/>
              </a:xfrm>
            </p:grpSpPr>
            <p:grpSp>
              <p:nvGrpSpPr>
                <p:cNvPr id="517" name="Group 516"/>
                <p:cNvGrpSpPr/>
                <p:nvPr/>
              </p:nvGrpSpPr>
              <p:grpSpPr>
                <a:xfrm>
                  <a:off x="5195829" y="4838184"/>
                  <a:ext cx="1512372" cy="986892"/>
                  <a:chOff x="7966155" y="3552174"/>
                  <a:chExt cx="2157439" cy="1407828"/>
                </a:xfrm>
              </p:grpSpPr>
              <p:grpSp>
                <p:nvGrpSpPr>
                  <p:cNvPr id="519" name="Group 518"/>
                  <p:cNvGrpSpPr/>
                  <p:nvPr/>
                </p:nvGrpSpPr>
                <p:grpSpPr>
                  <a:xfrm>
                    <a:off x="8502628" y="3552174"/>
                    <a:ext cx="1084492" cy="632284"/>
                    <a:chOff x="6815446" y="3235516"/>
                    <a:chExt cx="641899" cy="374242"/>
                  </a:xfrm>
                  <a:solidFill>
                    <a:schemeClr val="bg1"/>
                  </a:solidFill>
                </p:grpSpPr>
                <p:sp>
                  <p:nvSpPr>
                    <p:cNvPr id="521" name="Freeform 36"/>
                    <p:cNvSpPr>
                      <a:spLocks/>
                    </p:cNvSpPr>
                    <p:nvPr/>
                  </p:nvSpPr>
                  <p:spPr bwMode="auto">
                    <a:xfrm>
                      <a:off x="7010982" y="3504777"/>
                      <a:ext cx="252432" cy="104981"/>
                    </a:xfrm>
                    <a:custGeom>
                      <a:avLst/>
                      <a:gdLst>
                        <a:gd name="T0" fmla="*/ 12 w 168"/>
                        <a:gd name="T1" fmla="*/ 22 h 70"/>
                        <a:gd name="T2" fmla="*/ 1 w 168"/>
                        <a:gd name="T3" fmla="*/ 41 h 70"/>
                        <a:gd name="T4" fmla="*/ 8 w 168"/>
                        <a:gd name="T5" fmla="*/ 61 h 70"/>
                        <a:gd name="T6" fmla="*/ 9 w 168"/>
                        <a:gd name="T7" fmla="*/ 61 h 70"/>
                        <a:gd name="T8" fmla="*/ 39 w 168"/>
                        <a:gd name="T9" fmla="*/ 64 h 70"/>
                        <a:gd name="T10" fmla="*/ 84 w 168"/>
                        <a:gd name="T11" fmla="*/ 50 h 70"/>
                        <a:gd name="T12" fmla="*/ 129 w 168"/>
                        <a:gd name="T13" fmla="*/ 64 h 70"/>
                        <a:gd name="T14" fmla="*/ 159 w 168"/>
                        <a:gd name="T15" fmla="*/ 61 h 70"/>
                        <a:gd name="T16" fmla="*/ 159 w 168"/>
                        <a:gd name="T17" fmla="*/ 61 h 70"/>
                        <a:gd name="T18" fmla="*/ 167 w 168"/>
                        <a:gd name="T19" fmla="*/ 41 h 70"/>
                        <a:gd name="T20" fmla="*/ 156 w 168"/>
                        <a:gd name="T21" fmla="*/ 22 h 70"/>
                        <a:gd name="T22" fmla="*/ 84 w 168"/>
                        <a:gd name="T23" fmla="*/ 0 h 70"/>
                        <a:gd name="T24" fmla="*/ 12 w 168"/>
                        <a:gd name="T25" fmla="*/ 22 h 7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168" h="70">
                          <a:moveTo>
                            <a:pt x="12" y="22"/>
                          </a:moveTo>
                          <a:cubicBezTo>
                            <a:pt x="5" y="26"/>
                            <a:pt x="1" y="33"/>
                            <a:pt x="1" y="41"/>
                          </a:cubicBezTo>
                          <a:cubicBezTo>
                            <a:pt x="0" y="48"/>
                            <a:pt x="3" y="56"/>
                            <a:pt x="8" y="61"/>
                          </a:cubicBezTo>
                          <a:cubicBezTo>
                            <a:pt x="9" y="61"/>
                            <a:pt x="9" y="61"/>
                            <a:pt x="9" y="61"/>
                          </a:cubicBezTo>
                          <a:cubicBezTo>
                            <a:pt x="17" y="69"/>
                            <a:pt x="29" y="70"/>
                            <a:pt x="39" y="64"/>
                          </a:cubicBezTo>
                          <a:cubicBezTo>
                            <a:pt x="53" y="55"/>
                            <a:pt x="68" y="50"/>
                            <a:pt x="84" y="50"/>
                          </a:cubicBezTo>
                          <a:cubicBezTo>
                            <a:pt x="100" y="50"/>
                            <a:pt x="115" y="55"/>
                            <a:pt x="129" y="64"/>
                          </a:cubicBezTo>
                          <a:cubicBezTo>
                            <a:pt x="138" y="70"/>
                            <a:pt x="151" y="69"/>
                            <a:pt x="159" y="61"/>
                          </a:cubicBezTo>
                          <a:cubicBezTo>
                            <a:pt x="159" y="61"/>
                            <a:pt x="159" y="61"/>
                            <a:pt x="159" y="61"/>
                          </a:cubicBezTo>
                          <a:cubicBezTo>
                            <a:pt x="165" y="56"/>
                            <a:pt x="168" y="48"/>
                            <a:pt x="167" y="41"/>
                          </a:cubicBezTo>
                          <a:cubicBezTo>
                            <a:pt x="166" y="33"/>
                            <a:pt x="162" y="26"/>
                            <a:pt x="156" y="22"/>
                          </a:cubicBezTo>
                          <a:cubicBezTo>
                            <a:pt x="134" y="8"/>
                            <a:pt x="109" y="0"/>
                            <a:pt x="84" y="0"/>
                          </a:cubicBezTo>
                          <a:cubicBezTo>
                            <a:pt x="58" y="0"/>
                            <a:pt x="34" y="8"/>
                            <a:pt x="12" y="2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22" name="Freeform 37"/>
                    <p:cNvSpPr>
                      <a:spLocks/>
                    </p:cNvSpPr>
                    <p:nvPr/>
                  </p:nvSpPr>
                  <p:spPr bwMode="auto">
                    <a:xfrm>
                      <a:off x="6913215" y="3370948"/>
                      <a:ext cx="446365" cy="149056"/>
                    </a:xfrm>
                    <a:custGeom>
                      <a:avLst/>
                      <a:gdLst>
                        <a:gd name="T0" fmla="*/ 149 w 297"/>
                        <a:gd name="T1" fmla="*/ 0 h 99"/>
                        <a:gd name="T2" fmla="*/ 9 w 297"/>
                        <a:gd name="T3" fmla="*/ 53 h 99"/>
                        <a:gd name="T4" fmla="*/ 0 w 297"/>
                        <a:gd name="T5" fmla="*/ 71 h 99"/>
                        <a:gd name="T6" fmla="*/ 8 w 297"/>
                        <a:gd name="T7" fmla="*/ 90 h 99"/>
                        <a:gd name="T8" fmla="*/ 8 w 297"/>
                        <a:gd name="T9" fmla="*/ 90 h 99"/>
                        <a:gd name="T10" fmla="*/ 41 w 297"/>
                        <a:gd name="T11" fmla="*/ 91 h 99"/>
                        <a:gd name="T12" fmla="*/ 149 w 297"/>
                        <a:gd name="T13" fmla="*/ 49 h 99"/>
                        <a:gd name="T14" fmla="*/ 256 w 297"/>
                        <a:gd name="T15" fmla="*/ 91 h 99"/>
                        <a:gd name="T16" fmla="*/ 289 w 297"/>
                        <a:gd name="T17" fmla="*/ 90 h 99"/>
                        <a:gd name="T18" fmla="*/ 289 w 297"/>
                        <a:gd name="T19" fmla="*/ 90 h 99"/>
                        <a:gd name="T20" fmla="*/ 297 w 297"/>
                        <a:gd name="T21" fmla="*/ 71 h 99"/>
                        <a:gd name="T22" fmla="*/ 288 w 297"/>
                        <a:gd name="T23" fmla="*/ 53 h 99"/>
                        <a:gd name="T24" fmla="*/ 149 w 297"/>
                        <a:gd name="T25" fmla="*/ 0 h 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97" h="99">
                          <a:moveTo>
                            <a:pt x="149" y="0"/>
                          </a:moveTo>
                          <a:cubicBezTo>
                            <a:pt x="98" y="0"/>
                            <a:pt x="50" y="18"/>
                            <a:pt x="9" y="53"/>
                          </a:cubicBezTo>
                          <a:cubicBezTo>
                            <a:pt x="4" y="57"/>
                            <a:pt x="1" y="64"/>
                            <a:pt x="0" y="71"/>
                          </a:cubicBezTo>
                          <a:cubicBezTo>
                            <a:pt x="0" y="78"/>
                            <a:pt x="3" y="85"/>
                            <a:pt x="8" y="90"/>
                          </a:cubicBezTo>
                          <a:cubicBezTo>
                            <a:pt x="8" y="90"/>
                            <a:pt x="8" y="90"/>
                            <a:pt x="8" y="90"/>
                          </a:cubicBezTo>
                          <a:cubicBezTo>
                            <a:pt x="18" y="98"/>
                            <a:pt x="32" y="99"/>
                            <a:pt x="41" y="91"/>
                          </a:cubicBezTo>
                          <a:cubicBezTo>
                            <a:pt x="73" y="64"/>
                            <a:pt x="110" y="49"/>
                            <a:pt x="149" y="49"/>
                          </a:cubicBezTo>
                          <a:cubicBezTo>
                            <a:pt x="188" y="49"/>
                            <a:pt x="225" y="64"/>
                            <a:pt x="256" y="91"/>
                          </a:cubicBezTo>
                          <a:cubicBezTo>
                            <a:pt x="266" y="99"/>
                            <a:pt x="280" y="98"/>
                            <a:pt x="289" y="90"/>
                          </a:cubicBezTo>
                          <a:cubicBezTo>
                            <a:pt x="289" y="90"/>
                            <a:pt x="289" y="90"/>
                            <a:pt x="289" y="90"/>
                          </a:cubicBezTo>
                          <a:cubicBezTo>
                            <a:pt x="295" y="85"/>
                            <a:pt x="297" y="78"/>
                            <a:pt x="297" y="71"/>
                          </a:cubicBezTo>
                          <a:cubicBezTo>
                            <a:pt x="297" y="64"/>
                            <a:pt x="294" y="57"/>
                            <a:pt x="288" y="53"/>
                          </a:cubicBezTo>
                          <a:cubicBezTo>
                            <a:pt x="248" y="18"/>
                            <a:pt x="200" y="0"/>
                            <a:pt x="149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523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6815446" y="3235516"/>
                      <a:ext cx="641899" cy="193933"/>
                    </a:xfrm>
                    <a:custGeom>
                      <a:avLst/>
                      <a:gdLst>
                        <a:gd name="T0" fmla="*/ 214 w 427"/>
                        <a:gd name="T1" fmla="*/ 0 h 129"/>
                        <a:gd name="T2" fmla="*/ 8 w 427"/>
                        <a:gd name="T3" fmla="*/ 84 h 129"/>
                        <a:gd name="T4" fmla="*/ 0 w 427"/>
                        <a:gd name="T5" fmla="*/ 102 h 129"/>
                        <a:gd name="T6" fmla="*/ 8 w 427"/>
                        <a:gd name="T7" fmla="*/ 120 h 129"/>
                        <a:gd name="T8" fmla="*/ 9 w 427"/>
                        <a:gd name="T9" fmla="*/ 120 h 129"/>
                        <a:gd name="T10" fmla="*/ 43 w 427"/>
                        <a:gd name="T11" fmla="*/ 120 h 129"/>
                        <a:gd name="T12" fmla="*/ 214 w 427"/>
                        <a:gd name="T13" fmla="*/ 50 h 129"/>
                        <a:gd name="T14" fmla="*/ 385 w 427"/>
                        <a:gd name="T15" fmla="*/ 120 h 129"/>
                        <a:gd name="T16" fmla="*/ 419 w 427"/>
                        <a:gd name="T17" fmla="*/ 120 h 129"/>
                        <a:gd name="T18" fmla="*/ 419 w 427"/>
                        <a:gd name="T19" fmla="*/ 120 h 129"/>
                        <a:gd name="T20" fmla="*/ 427 w 427"/>
                        <a:gd name="T21" fmla="*/ 102 h 129"/>
                        <a:gd name="T22" fmla="*/ 419 w 427"/>
                        <a:gd name="T23" fmla="*/ 84 h 129"/>
                        <a:gd name="T24" fmla="*/ 214 w 427"/>
                        <a:gd name="T25" fmla="*/ 0 h 1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427" h="129">
                          <a:moveTo>
                            <a:pt x="214" y="0"/>
                          </a:moveTo>
                          <a:cubicBezTo>
                            <a:pt x="131" y="0"/>
                            <a:pt x="55" y="40"/>
                            <a:pt x="8" y="84"/>
                          </a:cubicBezTo>
                          <a:cubicBezTo>
                            <a:pt x="3" y="88"/>
                            <a:pt x="0" y="95"/>
                            <a:pt x="0" y="102"/>
                          </a:cubicBezTo>
                          <a:cubicBezTo>
                            <a:pt x="1" y="109"/>
                            <a:pt x="3" y="115"/>
                            <a:pt x="8" y="120"/>
                          </a:cubicBezTo>
                          <a:cubicBezTo>
                            <a:pt x="9" y="120"/>
                            <a:pt x="9" y="120"/>
                            <a:pt x="9" y="120"/>
                          </a:cubicBezTo>
                          <a:cubicBezTo>
                            <a:pt x="18" y="129"/>
                            <a:pt x="33" y="129"/>
                            <a:pt x="43" y="120"/>
                          </a:cubicBezTo>
                          <a:cubicBezTo>
                            <a:pt x="78" y="87"/>
                            <a:pt x="141" y="50"/>
                            <a:pt x="214" y="50"/>
                          </a:cubicBezTo>
                          <a:cubicBezTo>
                            <a:pt x="286" y="50"/>
                            <a:pt x="349" y="87"/>
                            <a:pt x="385" y="120"/>
                          </a:cubicBezTo>
                          <a:cubicBezTo>
                            <a:pt x="395" y="129"/>
                            <a:pt x="409" y="129"/>
                            <a:pt x="419" y="120"/>
                          </a:cubicBezTo>
                          <a:cubicBezTo>
                            <a:pt x="419" y="120"/>
                            <a:pt x="419" y="120"/>
                            <a:pt x="419" y="120"/>
                          </a:cubicBezTo>
                          <a:cubicBezTo>
                            <a:pt x="424" y="115"/>
                            <a:pt x="427" y="109"/>
                            <a:pt x="427" y="102"/>
                          </a:cubicBezTo>
                          <a:cubicBezTo>
                            <a:pt x="427" y="95"/>
                            <a:pt x="424" y="88"/>
                            <a:pt x="419" y="84"/>
                          </a:cubicBezTo>
                          <a:cubicBezTo>
                            <a:pt x="372" y="40"/>
                            <a:pt x="297" y="0"/>
                            <a:pt x="214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520" name="Freeform 20"/>
                  <p:cNvSpPr>
                    <a:spLocks noEditPoints="1"/>
                  </p:cNvSpPr>
                  <p:nvPr/>
                </p:nvSpPr>
                <p:spPr bwMode="auto">
                  <a:xfrm>
                    <a:off x="7966155" y="4233993"/>
                    <a:ext cx="2157439" cy="726009"/>
                  </a:xfrm>
                  <a:custGeom>
                    <a:avLst/>
                    <a:gdLst>
                      <a:gd name="T0" fmla="*/ 755 w 1902"/>
                      <a:gd name="T1" fmla="*/ 54 h 639"/>
                      <a:gd name="T2" fmla="*/ 952 w 1902"/>
                      <a:gd name="T3" fmla="*/ 103 h 639"/>
                      <a:gd name="T4" fmla="*/ 1147 w 1902"/>
                      <a:gd name="T5" fmla="*/ 54 h 639"/>
                      <a:gd name="T6" fmla="*/ 1872 w 1902"/>
                      <a:gd name="T7" fmla="*/ 43 h 639"/>
                      <a:gd name="T8" fmla="*/ 1900 w 1902"/>
                      <a:gd name="T9" fmla="*/ 76 h 639"/>
                      <a:gd name="T10" fmla="*/ 1886 w 1902"/>
                      <a:gd name="T11" fmla="*/ 173 h 639"/>
                      <a:gd name="T12" fmla="*/ 1852 w 1902"/>
                      <a:gd name="T13" fmla="*/ 201 h 639"/>
                      <a:gd name="T14" fmla="*/ 1812 w 1902"/>
                      <a:gd name="T15" fmla="*/ 241 h 639"/>
                      <a:gd name="T16" fmla="*/ 1752 w 1902"/>
                      <a:gd name="T17" fmla="*/ 499 h 639"/>
                      <a:gd name="T18" fmla="*/ 1661 w 1902"/>
                      <a:gd name="T19" fmla="*/ 597 h 639"/>
                      <a:gd name="T20" fmla="*/ 1269 w 1902"/>
                      <a:gd name="T21" fmla="*/ 609 h 639"/>
                      <a:gd name="T22" fmla="*/ 1140 w 1902"/>
                      <a:gd name="T23" fmla="*/ 527 h 639"/>
                      <a:gd name="T24" fmla="*/ 1032 w 1902"/>
                      <a:gd name="T25" fmla="*/ 280 h 639"/>
                      <a:gd name="T26" fmla="*/ 951 w 1902"/>
                      <a:gd name="T27" fmla="*/ 233 h 639"/>
                      <a:gd name="T28" fmla="*/ 870 w 1902"/>
                      <a:gd name="T29" fmla="*/ 280 h 639"/>
                      <a:gd name="T30" fmla="*/ 762 w 1902"/>
                      <a:gd name="T31" fmla="*/ 527 h 639"/>
                      <a:gd name="T32" fmla="*/ 633 w 1902"/>
                      <a:gd name="T33" fmla="*/ 609 h 639"/>
                      <a:gd name="T34" fmla="*/ 241 w 1902"/>
                      <a:gd name="T35" fmla="*/ 597 h 639"/>
                      <a:gd name="T36" fmla="*/ 150 w 1902"/>
                      <a:gd name="T37" fmla="*/ 499 h 639"/>
                      <a:gd name="T38" fmla="*/ 90 w 1902"/>
                      <a:gd name="T39" fmla="*/ 241 h 639"/>
                      <a:gd name="T40" fmla="*/ 50 w 1902"/>
                      <a:gd name="T41" fmla="*/ 201 h 639"/>
                      <a:gd name="T42" fmla="*/ 16 w 1902"/>
                      <a:gd name="T43" fmla="*/ 173 h 639"/>
                      <a:gd name="T44" fmla="*/ 2 w 1902"/>
                      <a:gd name="T45" fmla="*/ 76 h 639"/>
                      <a:gd name="T46" fmla="*/ 30 w 1902"/>
                      <a:gd name="T47" fmla="*/ 43 h 639"/>
                      <a:gd name="T48" fmla="*/ 755 w 1902"/>
                      <a:gd name="T49" fmla="*/ 54 h 639"/>
                      <a:gd name="T50" fmla="*/ 252 w 1902"/>
                      <a:gd name="T51" fmla="*/ 117 h 639"/>
                      <a:gd name="T52" fmla="*/ 177 w 1902"/>
                      <a:gd name="T53" fmla="*/ 225 h 639"/>
                      <a:gd name="T54" fmla="*/ 208 w 1902"/>
                      <a:gd name="T55" fmla="*/ 471 h 639"/>
                      <a:gd name="T56" fmla="*/ 287 w 1902"/>
                      <a:gd name="T57" fmla="*/ 547 h 639"/>
                      <a:gd name="T58" fmla="*/ 605 w 1902"/>
                      <a:gd name="T59" fmla="*/ 554 h 639"/>
                      <a:gd name="T60" fmla="*/ 777 w 1902"/>
                      <a:gd name="T61" fmla="*/ 252 h 639"/>
                      <a:gd name="T62" fmla="*/ 702 w 1902"/>
                      <a:gd name="T63" fmla="*/ 125 h 639"/>
                      <a:gd name="T64" fmla="*/ 252 w 1902"/>
                      <a:gd name="T65" fmla="*/ 117 h 639"/>
                      <a:gd name="T66" fmla="*/ 1650 w 1902"/>
                      <a:gd name="T67" fmla="*/ 117 h 639"/>
                      <a:gd name="T68" fmla="*/ 1200 w 1902"/>
                      <a:gd name="T69" fmla="*/ 125 h 639"/>
                      <a:gd name="T70" fmla="*/ 1125 w 1902"/>
                      <a:gd name="T71" fmla="*/ 252 h 639"/>
                      <a:gd name="T72" fmla="*/ 1297 w 1902"/>
                      <a:gd name="T73" fmla="*/ 554 h 639"/>
                      <a:gd name="T74" fmla="*/ 1615 w 1902"/>
                      <a:gd name="T75" fmla="*/ 547 h 639"/>
                      <a:gd name="T76" fmla="*/ 1694 w 1902"/>
                      <a:gd name="T77" fmla="*/ 471 h 639"/>
                      <a:gd name="T78" fmla="*/ 1725 w 1902"/>
                      <a:gd name="T79" fmla="*/ 225 h 639"/>
                      <a:gd name="T80" fmla="*/ 1650 w 1902"/>
                      <a:gd name="T81" fmla="*/ 117 h 6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</a:cxnLst>
                    <a:rect l="0" t="0" r="r" b="b"/>
                    <a:pathLst>
                      <a:path w="1902" h="639">
                        <a:moveTo>
                          <a:pt x="755" y="54"/>
                        </a:moveTo>
                        <a:cubicBezTo>
                          <a:pt x="833" y="73"/>
                          <a:pt x="853" y="102"/>
                          <a:pt x="952" y="103"/>
                        </a:cubicBezTo>
                        <a:cubicBezTo>
                          <a:pt x="1051" y="103"/>
                          <a:pt x="1070" y="73"/>
                          <a:pt x="1147" y="54"/>
                        </a:cubicBezTo>
                        <a:cubicBezTo>
                          <a:pt x="1362" y="0"/>
                          <a:pt x="1746" y="22"/>
                          <a:pt x="1872" y="43"/>
                        </a:cubicBezTo>
                        <a:cubicBezTo>
                          <a:pt x="1889" y="46"/>
                          <a:pt x="1902" y="60"/>
                          <a:pt x="1900" y="76"/>
                        </a:cubicBezTo>
                        <a:cubicBezTo>
                          <a:pt x="1886" y="173"/>
                          <a:pt x="1886" y="173"/>
                          <a:pt x="1886" y="173"/>
                        </a:cubicBezTo>
                        <a:cubicBezTo>
                          <a:pt x="1883" y="193"/>
                          <a:pt x="1871" y="202"/>
                          <a:pt x="1852" y="201"/>
                        </a:cubicBezTo>
                        <a:cubicBezTo>
                          <a:pt x="1829" y="201"/>
                          <a:pt x="1816" y="219"/>
                          <a:pt x="1812" y="241"/>
                        </a:cubicBezTo>
                        <a:cubicBezTo>
                          <a:pt x="1796" y="324"/>
                          <a:pt x="1776" y="433"/>
                          <a:pt x="1752" y="499"/>
                        </a:cubicBezTo>
                        <a:cubicBezTo>
                          <a:pt x="1733" y="551"/>
                          <a:pt x="1702" y="582"/>
                          <a:pt x="1661" y="597"/>
                        </a:cubicBezTo>
                        <a:cubicBezTo>
                          <a:pt x="1575" y="632"/>
                          <a:pt x="1378" y="639"/>
                          <a:pt x="1269" y="609"/>
                        </a:cubicBezTo>
                        <a:cubicBezTo>
                          <a:pt x="1217" y="595"/>
                          <a:pt x="1175" y="569"/>
                          <a:pt x="1140" y="527"/>
                        </a:cubicBezTo>
                        <a:cubicBezTo>
                          <a:pt x="1095" y="473"/>
                          <a:pt x="1055" y="371"/>
                          <a:pt x="1032" y="280"/>
                        </a:cubicBezTo>
                        <a:cubicBezTo>
                          <a:pt x="1022" y="246"/>
                          <a:pt x="983" y="233"/>
                          <a:pt x="951" y="233"/>
                        </a:cubicBezTo>
                        <a:cubicBezTo>
                          <a:pt x="919" y="233"/>
                          <a:pt x="880" y="246"/>
                          <a:pt x="870" y="280"/>
                        </a:cubicBezTo>
                        <a:cubicBezTo>
                          <a:pt x="847" y="371"/>
                          <a:pt x="807" y="473"/>
                          <a:pt x="762" y="527"/>
                        </a:cubicBezTo>
                        <a:cubicBezTo>
                          <a:pt x="727" y="569"/>
                          <a:pt x="685" y="595"/>
                          <a:pt x="633" y="609"/>
                        </a:cubicBezTo>
                        <a:cubicBezTo>
                          <a:pt x="524" y="639"/>
                          <a:pt x="327" y="632"/>
                          <a:pt x="241" y="597"/>
                        </a:cubicBezTo>
                        <a:cubicBezTo>
                          <a:pt x="200" y="582"/>
                          <a:pt x="169" y="551"/>
                          <a:pt x="150" y="499"/>
                        </a:cubicBezTo>
                        <a:cubicBezTo>
                          <a:pt x="126" y="433"/>
                          <a:pt x="106" y="324"/>
                          <a:pt x="90" y="241"/>
                        </a:cubicBezTo>
                        <a:cubicBezTo>
                          <a:pt x="86" y="219"/>
                          <a:pt x="73" y="201"/>
                          <a:pt x="50" y="201"/>
                        </a:cubicBezTo>
                        <a:cubicBezTo>
                          <a:pt x="31" y="202"/>
                          <a:pt x="19" y="193"/>
                          <a:pt x="16" y="173"/>
                        </a:cubicBezTo>
                        <a:cubicBezTo>
                          <a:pt x="2" y="76"/>
                          <a:pt x="2" y="76"/>
                          <a:pt x="2" y="76"/>
                        </a:cubicBezTo>
                        <a:cubicBezTo>
                          <a:pt x="0" y="60"/>
                          <a:pt x="13" y="46"/>
                          <a:pt x="30" y="43"/>
                        </a:cubicBezTo>
                        <a:cubicBezTo>
                          <a:pt x="156" y="22"/>
                          <a:pt x="540" y="0"/>
                          <a:pt x="755" y="54"/>
                        </a:cubicBezTo>
                        <a:close/>
                        <a:moveTo>
                          <a:pt x="252" y="117"/>
                        </a:moveTo>
                        <a:cubicBezTo>
                          <a:pt x="200" y="135"/>
                          <a:pt x="182" y="176"/>
                          <a:pt x="177" y="225"/>
                        </a:cubicBezTo>
                        <a:cubicBezTo>
                          <a:pt x="171" y="307"/>
                          <a:pt x="185" y="404"/>
                          <a:pt x="208" y="471"/>
                        </a:cubicBezTo>
                        <a:cubicBezTo>
                          <a:pt x="222" y="512"/>
                          <a:pt x="249" y="533"/>
                          <a:pt x="287" y="547"/>
                        </a:cubicBezTo>
                        <a:cubicBezTo>
                          <a:pt x="369" y="577"/>
                          <a:pt x="515" y="579"/>
                          <a:pt x="605" y="554"/>
                        </a:cubicBezTo>
                        <a:cubicBezTo>
                          <a:pt x="716" y="522"/>
                          <a:pt x="763" y="374"/>
                          <a:pt x="777" y="252"/>
                        </a:cubicBezTo>
                        <a:cubicBezTo>
                          <a:pt x="782" y="196"/>
                          <a:pt x="761" y="150"/>
                          <a:pt x="702" y="125"/>
                        </a:cubicBezTo>
                        <a:cubicBezTo>
                          <a:pt x="596" y="84"/>
                          <a:pt x="388" y="67"/>
                          <a:pt x="252" y="117"/>
                        </a:cubicBezTo>
                        <a:close/>
                        <a:moveTo>
                          <a:pt x="1650" y="117"/>
                        </a:moveTo>
                        <a:cubicBezTo>
                          <a:pt x="1514" y="67"/>
                          <a:pt x="1306" y="84"/>
                          <a:pt x="1200" y="125"/>
                        </a:cubicBezTo>
                        <a:cubicBezTo>
                          <a:pt x="1141" y="150"/>
                          <a:pt x="1120" y="196"/>
                          <a:pt x="1125" y="252"/>
                        </a:cubicBezTo>
                        <a:cubicBezTo>
                          <a:pt x="1139" y="374"/>
                          <a:pt x="1186" y="522"/>
                          <a:pt x="1297" y="554"/>
                        </a:cubicBezTo>
                        <a:cubicBezTo>
                          <a:pt x="1387" y="579"/>
                          <a:pt x="1533" y="577"/>
                          <a:pt x="1615" y="547"/>
                        </a:cubicBezTo>
                        <a:cubicBezTo>
                          <a:pt x="1653" y="533"/>
                          <a:pt x="1680" y="512"/>
                          <a:pt x="1694" y="471"/>
                        </a:cubicBezTo>
                        <a:cubicBezTo>
                          <a:pt x="1717" y="404"/>
                          <a:pt x="1731" y="307"/>
                          <a:pt x="1725" y="225"/>
                        </a:cubicBezTo>
                        <a:cubicBezTo>
                          <a:pt x="1720" y="176"/>
                          <a:pt x="1702" y="135"/>
                          <a:pt x="1650" y="117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18" name="Freeform: Shape 517"/>
                <p:cNvSpPr>
                  <a:spLocks noChangeAspect="1"/>
                </p:cNvSpPr>
                <p:nvPr/>
              </p:nvSpPr>
              <p:spPr>
                <a:xfrm>
                  <a:off x="4436497" y="6072299"/>
                  <a:ext cx="3031033" cy="502920"/>
                </a:xfrm>
                <a:custGeom>
                  <a:avLst/>
                  <a:gdLst>
                    <a:gd name="connsiteX0" fmla="*/ 2595227 w 2712206"/>
                    <a:gd name="connsiteY0" fmla="*/ 339514 h 450019"/>
                    <a:gd name="connsiteX1" fmla="*/ 2568605 w 2712206"/>
                    <a:gd name="connsiteY1" fmla="*/ 350285 h 450019"/>
                    <a:gd name="connsiteX2" fmla="*/ 2555601 w 2712206"/>
                    <a:gd name="connsiteY2" fmla="*/ 381149 h 450019"/>
                    <a:gd name="connsiteX3" fmla="*/ 2629048 w 2712206"/>
                    <a:gd name="connsiteY3" fmla="*/ 381149 h 450019"/>
                    <a:gd name="connsiteX4" fmla="*/ 2619560 w 2712206"/>
                    <a:gd name="connsiteY4" fmla="*/ 350453 h 450019"/>
                    <a:gd name="connsiteX5" fmla="*/ 2595227 w 2712206"/>
                    <a:gd name="connsiteY5" fmla="*/ 339514 h 450019"/>
                    <a:gd name="connsiteX6" fmla="*/ 2280902 w 2712206"/>
                    <a:gd name="connsiteY6" fmla="*/ 339514 h 450019"/>
                    <a:gd name="connsiteX7" fmla="*/ 2254280 w 2712206"/>
                    <a:gd name="connsiteY7" fmla="*/ 350285 h 450019"/>
                    <a:gd name="connsiteX8" fmla="*/ 2241277 w 2712206"/>
                    <a:gd name="connsiteY8" fmla="*/ 381149 h 450019"/>
                    <a:gd name="connsiteX9" fmla="*/ 2314723 w 2712206"/>
                    <a:gd name="connsiteY9" fmla="*/ 381149 h 450019"/>
                    <a:gd name="connsiteX10" fmla="*/ 2305235 w 2712206"/>
                    <a:gd name="connsiteY10" fmla="*/ 350453 h 450019"/>
                    <a:gd name="connsiteX11" fmla="*/ 2280902 w 2712206"/>
                    <a:gd name="connsiteY11" fmla="*/ 339514 h 450019"/>
                    <a:gd name="connsiteX12" fmla="*/ 1861802 w 2712206"/>
                    <a:gd name="connsiteY12" fmla="*/ 339514 h 450019"/>
                    <a:gd name="connsiteX13" fmla="*/ 1835180 w 2712206"/>
                    <a:gd name="connsiteY13" fmla="*/ 350285 h 450019"/>
                    <a:gd name="connsiteX14" fmla="*/ 1822177 w 2712206"/>
                    <a:gd name="connsiteY14" fmla="*/ 381149 h 450019"/>
                    <a:gd name="connsiteX15" fmla="*/ 1895623 w 2712206"/>
                    <a:gd name="connsiteY15" fmla="*/ 381149 h 450019"/>
                    <a:gd name="connsiteX16" fmla="*/ 1886135 w 2712206"/>
                    <a:gd name="connsiteY16" fmla="*/ 350453 h 450019"/>
                    <a:gd name="connsiteX17" fmla="*/ 1861802 w 2712206"/>
                    <a:gd name="connsiteY17" fmla="*/ 339514 h 450019"/>
                    <a:gd name="connsiteX18" fmla="*/ 1484932 w 2712206"/>
                    <a:gd name="connsiteY18" fmla="*/ 339514 h 450019"/>
                    <a:gd name="connsiteX19" fmla="*/ 1452729 w 2712206"/>
                    <a:gd name="connsiteY19" fmla="*/ 353132 h 450019"/>
                    <a:gd name="connsiteX20" fmla="*/ 1440730 w 2712206"/>
                    <a:gd name="connsiteY20" fmla="*/ 390971 h 450019"/>
                    <a:gd name="connsiteX21" fmla="*/ 1452450 w 2712206"/>
                    <a:gd name="connsiteY21" fmla="*/ 427025 h 450019"/>
                    <a:gd name="connsiteX22" fmla="*/ 1484486 w 2712206"/>
                    <a:gd name="connsiteY22" fmla="*/ 440643 h 450019"/>
                    <a:gd name="connsiteX23" fmla="*/ 1516298 w 2712206"/>
                    <a:gd name="connsiteY23" fmla="*/ 427248 h 450019"/>
                    <a:gd name="connsiteX24" fmla="*/ 1527460 w 2712206"/>
                    <a:gd name="connsiteY24" fmla="*/ 390078 h 450019"/>
                    <a:gd name="connsiteX25" fmla="*/ 1516353 w 2712206"/>
                    <a:gd name="connsiteY25" fmla="*/ 352574 h 450019"/>
                    <a:gd name="connsiteX26" fmla="*/ 1484932 w 2712206"/>
                    <a:gd name="connsiteY26" fmla="*/ 339514 h 450019"/>
                    <a:gd name="connsiteX27" fmla="*/ 1109326 w 2712206"/>
                    <a:gd name="connsiteY27" fmla="*/ 339514 h 450019"/>
                    <a:gd name="connsiteX28" fmla="*/ 1082705 w 2712206"/>
                    <a:gd name="connsiteY28" fmla="*/ 350285 h 450019"/>
                    <a:gd name="connsiteX29" fmla="*/ 1069701 w 2712206"/>
                    <a:gd name="connsiteY29" fmla="*/ 381149 h 450019"/>
                    <a:gd name="connsiteX30" fmla="*/ 1143147 w 2712206"/>
                    <a:gd name="connsiteY30" fmla="*/ 381149 h 450019"/>
                    <a:gd name="connsiteX31" fmla="*/ 1133660 w 2712206"/>
                    <a:gd name="connsiteY31" fmla="*/ 350453 h 450019"/>
                    <a:gd name="connsiteX32" fmla="*/ 1109326 w 2712206"/>
                    <a:gd name="connsiteY32" fmla="*/ 339514 h 450019"/>
                    <a:gd name="connsiteX33" fmla="*/ 823576 w 2712206"/>
                    <a:gd name="connsiteY33" fmla="*/ 339514 h 450019"/>
                    <a:gd name="connsiteX34" fmla="*/ 796955 w 2712206"/>
                    <a:gd name="connsiteY34" fmla="*/ 350285 h 450019"/>
                    <a:gd name="connsiteX35" fmla="*/ 783951 w 2712206"/>
                    <a:gd name="connsiteY35" fmla="*/ 381149 h 450019"/>
                    <a:gd name="connsiteX36" fmla="*/ 857397 w 2712206"/>
                    <a:gd name="connsiteY36" fmla="*/ 381149 h 450019"/>
                    <a:gd name="connsiteX37" fmla="*/ 847910 w 2712206"/>
                    <a:gd name="connsiteY37" fmla="*/ 350453 h 450019"/>
                    <a:gd name="connsiteX38" fmla="*/ 823576 w 2712206"/>
                    <a:gd name="connsiteY38" fmla="*/ 339514 h 450019"/>
                    <a:gd name="connsiteX39" fmla="*/ 456232 w 2712206"/>
                    <a:gd name="connsiteY39" fmla="*/ 339514 h 450019"/>
                    <a:gd name="connsiteX40" fmla="*/ 424030 w 2712206"/>
                    <a:gd name="connsiteY40" fmla="*/ 353132 h 450019"/>
                    <a:gd name="connsiteX41" fmla="*/ 412030 w 2712206"/>
                    <a:gd name="connsiteY41" fmla="*/ 390971 h 450019"/>
                    <a:gd name="connsiteX42" fmla="*/ 423751 w 2712206"/>
                    <a:gd name="connsiteY42" fmla="*/ 427025 h 450019"/>
                    <a:gd name="connsiteX43" fmla="*/ 455786 w 2712206"/>
                    <a:gd name="connsiteY43" fmla="*/ 440643 h 450019"/>
                    <a:gd name="connsiteX44" fmla="*/ 487598 w 2712206"/>
                    <a:gd name="connsiteY44" fmla="*/ 427248 h 450019"/>
                    <a:gd name="connsiteX45" fmla="*/ 498760 w 2712206"/>
                    <a:gd name="connsiteY45" fmla="*/ 390078 h 450019"/>
                    <a:gd name="connsiteX46" fmla="*/ 487654 w 2712206"/>
                    <a:gd name="connsiteY46" fmla="*/ 352574 h 450019"/>
                    <a:gd name="connsiteX47" fmla="*/ 456232 w 2712206"/>
                    <a:gd name="connsiteY47" fmla="*/ 339514 h 450019"/>
                    <a:gd name="connsiteX48" fmla="*/ 166351 w 2712206"/>
                    <a:gd name="connsiteY48" fmla="*/ 339514 h 450019"/>
                    <a:gd name="connsiteX49" fmla="*/ 139730 w 2712206"/>
                    <a:gd name="connsiteY49" fmla="*/ 350285 h 450019"/>
                    <a:gd name="connsiteX50" fmla="*/ 126726 w 2712206"/>
                    <a:gd name="connsiteY50" fmla="*/ 381149 h 450019"/>
                    <a:gd name="connsiteX51" fmla="*/ 200172 w 2712206"/>
                    <a:gd name="connsiteY51" fmla="*/ 381149 h 450019"/>
                    <a:gd name="connsiteX52" fmla="*/ 190685 w 2712206"/>
                    <a:gd name="connsiteY52" fmla="*/ 350453 h 450019"/>
                    <a:gd name="connsiteX53" fmla="*/ 166351 w 2712206"/>
                    <a:gd name="connsiteY53" fmla="*/ 339514 h 450019"/>
                    <a:gd name="connsiteX54" fmla="*/ 1224967 w 2712206"/>
                    <a:gd name="connsiteY54" fmla="*/ 339513 h 450019"/>
                    <a:gd name="connsiteX55" fmla="*/ 1195275 w 2712206"/>
                    <a:gd name="connsiteY55" fmla="*/ 353298 h 450019"/>
                    <a:gd name="connsiteX56" fmla="*/ 1183555 w 2712206"/>
                    <a:gd name="connsiteY56" fmla="*/ 391193 h 450019"/>
                    <a:gd name="connsiteX57" fmla="*/ 1194103 w 2712206"/>
                    <a:gd name="connsiteY57" fmla="*/ 427749 h 450019"/>
                    <a:gd name="connsiteX58" fmla="*/ 1221283 w 2712206"/>
                    <a:gd name="connsiteY58" fmla="*/ 440642 h 450019"/>
                    <a:gd name="connsiteX59" fmla="*/ 1251532 w 2712206"/>
                    <a:gd name="connsiteY59" fmla="*/ 428531 h 450019"/>
                    <a:gd name="connsiteX60" fmla="*/ 1262248 w 2712206"/>
                    <a:gd name="connsiteY60" fmla="*/ 399007 h 450019"/>
                    <a:gd name="connsiteX61" fmla="*/ 1262248 w 2712206"/>
                    <a:gd name="connsiteY61" fmla="*/ 377687 h 450019"/>
                    <a:gd name="connsiteX62" fmla="*/ 1252146 w 2712206"/>
                    <a:gd name="connsiteY62" fmla="*/ 350619 h 450019"/>
                    <a:gd name="connsiteX63" fmla="*/ 1224967 w 2712206"/>
                    <a:gd name="connsiteY63" fmla="*/ 339513 h 450019"/>
                    <a:gd name="connsiteX64" fmla="*/ 52127 w 2712206"/>
                    <a:gd name="connsiteY64" fmla="*/ 339513 h 450019"/>
                    <a:gd name="connsiteX65" fmla="*/ 21208 w 2712206"/>
                    <a:gd name="connsiteY65" fmla="*/ 352907 h 450019"/>
                    <a:gd name="connsiteX66" fmla="*/ 10269 w 2712206"/>
                    <a:gd name="connsiteY66" fmla="*/ 384385 h 450019"/>
                    <a:gd name="connsiteX67" fmla="*/ 10269 w 2712206"/>
                    <a:gd name="connsiteY67" fmla="*/ 398784 h 450019"/>
                    <a:gd name="connsiteX68" fmla="*/ 21096 w 2712206"/>
                    <a:gd name="connsiteY68" fmla="*/ 428307 h 450019"/>
                    <a:gd name="connsiteX69" fmla="*/ 49559 w 2712206"/>
                    <a:gd name="connsiteY69" fmla="*/ 440642 h 450019"/>
                    <a:gd name="connsiteX70" fmla="*/ 78023 w 2712206"/>
                    <a:gd name="connsiteY70" fmla="*/ 425629 h 450019"/>
                    <a:gd name="connsiteX71" fmla="*/ 88962 w 2712206"/>
                    <a:gd name="connsiteY71" fmla="*/ 386170 h 450019"/>
                    <a:gd name="connsiteX72" fmla="*/ 78916 w 2712206"/>
                    <a:gd name="connsiteY72" fmla="*/ 352126 h 450019"/>
                    <a:gd name="connsiteX73" fmla="*/ 52127 w 2712206"/>
                    <a:gd name="connsiteY73" fmla="*/ 339513 h 450019"/>
                    <a:gd name="connsiteX74" fmla="*/ 2395202 w 2712206"/>
                    <a:gd name="connsiteY74" fmla="*/ 330695 h 450019"/>
                    <a:gd name="connsiteX75" fmla="*/ 2406587 w 2712206"/>
                    <a:gd name="connsiteY75" fmla="*/ 332704 h 450019"/>
                    <a:gd name="connsiteX76" fmla="*/ 2406587 w 2712206"/>
                    <a:gd name="connsiteY76" fmla="*/ 343643 h 450019"/>
                    <a:gd name="connsiteX77" fmla="*/ 2394532 w 2712206"/>
                    <a:gd name="connsiteY77" fmla="*/ 339959 h 450019"/>
                    <a:gd name="connsiteX78" fmla="*/ 2371873 w 2712206"/>
                    <a:gd name="connsiteY78" fmla="*/ 353912 h 450019"/>
                    <a:gd name="connsiteX79" fmla="*/ 2362720 w 2712206"/>
                    <a:gd name="connsiteY79" fmla="*/ 393537 h 450019"/>
                    <a:gd name="connsiteX80" fmla="*/ 2362720 w 2712206"/>
                    <a:gd name="connsiteY80" fmla="*/ 447227 h 450019"/>
                    <a:gd name="connsiteX81" fmla="*/ 2352674 w 2712206"/>
                    <a:gd name="connsiteY81" fmla="*/ 447227 h 450019"/>
                    <a:gd name="connsiteX82" fmla="*/ 2352674 w 2712206"/>
                    <a:gd name="connsiteY82" fmla="*/ 332927 h 450019"/>
                    <a:gd name="connsiteX83" fmla="*/ 2362720 w 2712206"/>
                    <a:gd name="connsiteY83" fmla="*/ 332927 h 450019"/>
                    <a:gd name="connsiteX84" fmla="*/ 2362720 w 2712206"/>
                    <a:gd name="connsiteY84" fmla="*/ 358265 h 450019"/>
                    <a:gd name="connsiteX85" fmla="*/ 2363167 w 2712206"/>
                    <a:gd name="connsiteY85" fmla="*/ 358265 h 450019"/>
                    <a:gd name="connsiteX86" fmla="*/ 2375557 w 2712206"/>
                    <a:gd name="connsiteY86" fmla="*/ 337950 h 450019"/>
                    <a:gd name="connsiteX87" fmla="*/ 2395202 w 2712206"/>
                    <a:gd name="connsiteY87" fmla="*/ 330695 h 450019"/>
                    <a:gd name="connsiteX88" fmla="*/ 2595673 w 2712206"/>
                    <a:gd name="connsiteY88" fmla="*/ 330138 h 450019"/>
                    <a:gd name="connsiteX89" fmla="*/ 2628379 w 2712206"/>
                    <a:gd name="connsiteY89" fmla="*/ 345095 h 450019"/>
                    <a:gd name="connsiteX90" fmla="*/ 2639764 w 2712206"/>
                    <a:gd name="connsiteY90" fmla="*/ 385948 h 450019"/>
                    <a:gd name="connsiteX91" fmla="*/ 2639764 w 2712206"/>
                    <a:gd name="connsiteY91" fmla="*/ 390525 h 450019"/>
                    <a:gd name="connsiteX92" fmla="*/ 2555155 w 2712206"/>
                    <a:gd name="connsiteY92" fmla="*/ 390525 h 450019"/>
                    <a:gd name="connsiteX93" fmla="*/ 2566038 w 2712206"/>
                    <a:gd name="connsiteY93" fmla="*/ 427360 h 450019"/>
                    <a:gd name="connsiteX94" fmla="*/ 2595897 w 2712206"/>
                    <a:gd name="connsiteY94" fmla="*/ 440643 h 450019"/>
                    <a:gd name="connsiteX95" fmla="*/ 2633401 w 2712206"/>
                    <a:gd name="connsiteY95" fmla="*/ 426467 h 450019"/>
                    <a:gd name="connsiteX96" fmla="*/ 2633401 w 2712206"/>
                    <a:gd name="connsiteY96" fmla="*/ 437406 h 450019"/>
                    <a:gd name="connsiteX97" fmla="*/ 2593776 w 2712206"/>
                    <a:gd name="connsiteY97" fmla="*/ 450019 h 450019"/>
                    <a:gd name="connsiteX98" fmla="*/ 2558057 w 2712206"/>
                    <a:gd name="connsiteY98" fmla="*/ 434169 h 450019"/>
                    <a:gd name="connsiteX99" fmla="*/ 2544439 w 2712206"/>
                    <a:gd name="connsiteY99" fmla="*/ 389409 h 450019"/>
                    <a:gd name="connsiteX100" fmla="*/ 2558671 w 2712206"/>
                    <a:gd name="connsiteY100" fmla="*/ 347272 h 450019"/>
                    <a:gd name="connsiteX101" fmla="*/ 2595673 w 2712206"/>
                    <a:gd name="connsiteY101" fmla="*/ 330138 h 450019"/>
                    <a:gd name="connsiteX102" fmla="*/ 2281349 w 2712206"/>
                    <a:gd name="connsiteY102" fmla="*/ 330138 h 450019"/>
                    <a:gd name="connsiteX103" fmla="*/ 2314053 w 2712206"/>
                    <a:gd name="connsiteY103" fmla="*/ 345095 h 450019"/>
                    <a:gd name="connsiteX104" fmla="*/ 2325439 w 2712206"/>
                    <a:gd name="connsiteY104" fmla="*/ 385948 h 450019"/>
                    <a:gd name="connsiteX105" fmla="*/ 2325439 w 2712206"/>
                    <a:gd name="connsiteY105" fmla="*/ 390525 h 450019"/>
                    <a:gd name="connsiteX106" fmla="*/ 2240830 w 2712206"/>
                    <a:gd name="connsiteY106" fmla="*/ 390525 h 450019"/>
                    <a:gd name="connsiteX107" fmla="*/ 2251713 w 2712206"/>
                    <a:gd name="connsiteY107" fmla="*/ 427360 h 450019"/>
                    <a:gd name="connsiteX108" fmla="*/ 2281572 w 2712206"/>
                    <a:gd name="connsiteY108" fmla="*/ 440643 h 450019"/>
                    <a:gd name="connsiteX109" fmla="*/ 2319076 w 2712206"/>
                    <a:gd name="connsiteY109" fmla="*/ 426467 h 450019"/>
                    <a:gd name="connsiteX110" fmla="*/ 2319076 w 2712206"/>
                    <a:gd name="connsiteY110" fmla="*/ 437406 h 450019"/>
                    <a:gd name="connsiteX111" fmla="*/ 2279451 w 2712206"/>
                    <a:gd name="connsiteY111" fmla="*/ 450019 h 450019"/>
                    <a:gd name="connsiteX112" fmla="*/ 2243732 w 2712206"/>
                    <a:gd name="connsiteY112" fmla="*/ 434169 h 450019"/>
                    <a:gd name="connsiteX113" fmla="*/ 2230114 w 2712206"/>
                    <a:gd name="connsiteY113" fmla="*/ 389409 h 450019"/>
                    <a:gd name="connsiteX114" fmla="*/ 2244346 w 2712206"/>
                    <a:gd name="connsiteY114" fmla="*/ 347272 h 450019"/>
                    <a:gd name="connsiteX115" fmla="*/ 2281349 w 2712206"/>
                    <a:gd name="connsiteY115" fmla="*/ 330138 h 450019"/>
                    <a:gd name="connsiteX116" fmla="*/ 1862249 w 2712206"/>
                    <a:gd name="connsiteY116" fmla="*/ 330138 h 450019"/>
                    <a:gd name="connsiteX117" fmla="*/ 1894954 w 2712206"/>
                    <a:gd name="connsiteY117" fmla="*/ 345095 h 450019"/>
                    <a:gd name="connsiteX118" fmla="*/ 1906339 w 2712206"/>
                    <a:gd name="connsiteY118" fmla="*/ 385948 h 450019"/>
                    <a:gd name="connsiteX119" fmla="*/ 1906339 w 2712206"/>
                    <a:gd name="connsiteY119" fmla="*/ 390525 h 450019"/>
                    <a:gd name="connsiteX120" fmla="*/ 1821730 w 2712206"/>
                    <a:gd name="connsiteY120" fmla="*/ 390525 h 450019"/>
                    <a:gd name="connsiteX121" fmla="*/ 1832613 w 2712206"/>
                    <a:gd name="connsiteY121" fmla="*/ 427360 h 450019"/>
                    <a:gd name="connsiteX122" fmla="*/ 1862472 w 2712206"/>
                    <a:gd name="connsiteY122" fmla="*/ 440643 h 450019"/>
                    <a:gd name="connsiteX123" fmla="*/ 1899976 w 2712206"/>
                    <a:gd name="connsiteY123" fmla="*/ 426467 h 450019"/>
                    <a:gd name="connsiteX124" fmla="*/ 1899976 w 2712206"/>
                    <a:gd name="connsiteY124" fmla="*/ 437406 h 450019"/>
                    <a:gd name="connsiteX125" fmla="*/ 1860351 w 2712206"/>
                    <a:gd name="connsiteY125" fmla="*/ 450019 h 450019"/>
                    <a:gd name="connsiteX126" fmla="*/ 1824632 w 2712206"/>
                    <a:gd name="connsiteY126" fmla="*/ 434169 h 450019"/>
                    <a:gd name="connsiteX127" fmla="*/ 1811014 w 2712206"/>
                    <a:gd name="connsiteY127" fmla="*/ 389409 h 450019"/>
                    <a:gd name="connsiteX128" fmla="*/ 1825246 w 2712206"/>
                    <a:gd name="connsiteY128" fmla="*/ 347272 h 450019"/>
                    <a:gd name="connsiteX129" fmla="*/ 1862249 w 2712206"/>
                    <a:gd name="connsiteY129" fmla="*/ 330138 h 450019"/>
                    <a:gd name="connsiteX130" fmla="*/ 1485379 w 2712206"/>
                    <a:gd name="connsiteY130" fmla="*/ 330138 h 450019"/>
                    <a:gd name="connsiteX131" fmla="*/ 1523999 w 2712206"/>
                    <a:gd name="connsiteY131" fmla="*/ 346100 h 450019"/>
                    <a:gd name="connsiteX132" fmla="*/ 1538175 w 2712206"/>
                    <a:gd name="connsiteY132" fmla="*/ 390301 h 450019"/>
                    <a:gd name="connsiteX133" fmla="*/ 1523720 w 2712206"/>
                    <a:gd name="connsiteY133" fmla="*/ 433499 h 450019"/>
                    <a:gd name="connsiteX134" fmla="*/ 1484151 w 2712206"/>
                    <a:gd name="connsiteY134" fmla="*/ 450019 h 450019"/>
                    <a:gd name="connsiteX135" fmla="*/ 1444581 w 2712206"/>
                    <a:gd name="connsiteY135" fmla="*/ 433555 h 450019"/>
                    <a:gd name="connsiteX136" fmla="*/ 1430014 w 2712206"/>
                    <a:gd name="connsiteY136" fmla="*/ 390748 h 450019"/>
                    <a:gd name="connsiteX137" fmla="*/ 1445251 w 2712206"/>
                    <a:gd name="connsiteY137" fmla="*/ 346211 h 450019"/>
                    <a:gd name="connsiteX138" fmla="*/ 1485379 w 2712206"/>
                    <a:gd name="connsiteY138" fmla="*/ 330138 h 450019"/>
                    <a:gd name="connsiteX139" fmla="*/ 1109773 w 2712206"/>
                    <a:gd name="connsiteY139" fmla="*/ 330138 h 450019"/>
                    <a:gd name="connsiteX140" fmla="*/ 1142478 w 2712206"/>
                    <a:gd name="connsiteY140" fmla="*/ 345095 h 450019"/>
                    <a:gd name="connsiteX141" fmla="*/ 1153863 w 2712206"/>
                    <a:gd name="connsiteY141" fmla="*/ 385948 h 450019"/>
                    <a:gd name="connsiteX142" fmla="*/ 1153863 w 2712206"/>
                    <a:gd name="connsiteY142" fmla="*/ 390525 h 450019"/>
                    <a:gd name="connsiteX143" fmla="*/ 1069254 w 2712206"/>
                    <a:gd name="connsiteY143" fmla="*/ 390525 h 450019"/>
                    <a:gd name="connsiteX144" fmla="*/ 1080137 w 2712206"/>
                    <a:gd name="connsiteY144" fmla="*/ 427360 h 450019"/>
                    <a:gd name="connsiteX145" fmla="*/ 1109996 w 2712206"/>
                    <a:gd name="connsiteY145" fmla="*/ 440643 h 450019"/>
                    <a:gd name="connsiteX146" fmla="*/ 1147501 w 2712206"/>
                    <a:gd name="connsiteY146" fmla="*/ 426467 h 450019"/>
                    <a:gd name="connsiteX147" fmla="*/ 1147501 w 2712206"/>
                    <a:gd name="connsiteY147" fmla="*/ 437406 h 450019"/>
                    <a:gd name="connsiteX148" fmla="*/ 1107875 w 2712206"/>
                    <a:gd name="connsiteY148" fmla="*/ 450019 h 450019"/>
                    <a:gd name="connsiteX149" fmla="*/ 1072156 w 2712206"/>
                    <a:gd name="connsiteY149" fmla="*/ 434169 h 450019"/>
                    <a:gd name="connsiteX150" fmla="*/ 1058539 w 2712206"/>
                    <a:gd name="connsiteY150" fmla="*/ 389409 h 450019"/>
                    <a:gd name="connsiteX151" fmla="*/ 1072770 w 2712206"/>
                    <a:gd name="connsiteY151" fmla="*/ 347272 h 450019"/>
                    <a:gd name="connsiteX152" fmla="*/ 1109773 w 2712206"/>
                    <a:gd name="connsiteY152" fmla="*/ 330138 h 450019"/>
                    <a:gd name="connsiteX153" fmla="*/ 944463 w 2712206"/>
                    <a:gd name="connsiteY153" fmla="*/ 330138 h 450019"/>
                    <a:gd name="connsiteX154" fmla="*/ 969801 w 2712206"/>
                    <a:gd name="connsiteY154" fmla="*/ 335496 h 450019"/>
                    <a:gd name="connsiteX155" fmla="*/ 969801 w 2712206"/>
                    <a:gd name="connsiteY155" fmla="*/ 347104 h 450019"/>
                    <a:gd name="connsiteX156" fmla="*/ 942900 w 2712206"/>
                    <a:gd name="connsiteY156" fmla="*/ 339514 h 450019"/>
                    <a:gd name="connsiteX157" fmla="*/ 910307 w 2712206"/>
                    <a:gd name="connsiteY157" fmla="*/ 353969 h 450019"/>
                    <a:gd name="connsiteX158" fmla="*/ 897805 w 2712206"/>
                    <a:gd name="connsiteY158" fmla="*/ 391418 h 450019"/>
                    <a:gd name="connsiteX159" fmla="*/ 909246 w 2712206"/>
                    <a:gd name="connsiteY159" fmla="*/ 427136 h 450019"/>
                    <a:gd name="connsiteX160" fmla="*/ 939440 w 2712206"/>
                    <a:gd name="connsiteY160" fmla="*/ 440643 h 450019"/>
                    <a:gd name="connsiteX161" fmla="*/ 969354 w 2712206"/>
                    <a:gd name="connsiteY161" fmla="*/ 431490 h 450019"/>
                    <a:gd name="connsiteX162" fmla="*/ 969354 w 2712206"/>
                    <a:gd name="connsiteY162" fmla="*/ 442205 h 450019"/>
                    <a:gd name="connsiteX163" fmla="*/ 938993 w 2712206"/>
                    <a:gd name="connsiteY163" fmla="*/ 450019 h 450019"/>
                    <a:gd name="connsiteX164" fmla="*/ 901377 w 2712206"/>
                    <a:gd name="connsiteY164" fmla="*/ 434001 h 450019"/>
                    <a:gd name="connsiteX165" fmla="*/ 887090 w 2712206"/>
                    <a:gd name="connsiteY165" fmla="*/ 392087 h 450019"/>
                    <a:gd name="connsiteX166" fmla="*/ 903163 w 2712206"/>
                    <a:gd name="connsiteY166" fmla="*/ 347495 h 450019"/>
                    <a:gd name="connsiteX167" fmla="*/ 944463 w 2712206"/>
                    <a:gd name="connsiteY167" fmla="*/ 330138 h 450019"/>
                    <a:gd name="connsiteX168" fmla="*/ 824023 w 2712206"/>
                    <a:gd name="connsiteY168" fmla="*/ 330138 h 450019"/>
                    <a:gd name="connsiteX169" fmla="*/ 856728 w 2712206"/>
                    <a:gd name="connsiteY169" fmla="*/ 345095 h 450019"/>
                    <a:gd name="connsiteX170" fmla="*/ 868113 w 2712206"/>
                    <a:gd name="connsiteY170" fmla="*/ 385948 h 450019"/>
                    <a:gd name="connsiteX171" fmla="*/ 868113 w 2712206"/>
                    <a:gd name="connsiteY171" fmla="*/ 390525 h 450019"/>
                    <a:gd name="connsiteX172" fmla="*/ 783504 w 2712206"/>
                    <a:gd name="connsiteY172" fmla="*/ 390525 h 450019"/>
                    <a:gd name="connsiteX173" fmla="*/ 794387 w 2712206"/>
                    <a:gd name="connsiteY173" fmla="*/ 427360 h 450019"/>
                    <a:gd name="connsiteX174" fmla="*/ 824246 w 2712206"/>
                    <a:gd name="connsiteY174" fmla="*/ 440643 h 450019"/>
                    <a:gd name="connsiteX175" fmla="*/ 861751 w 2712206"/>
                    <a:gd name="connsiteY175" fmla="*/ 426467 h 450019"/>
                    <a:gd name="connsiteX176" fmla="*/ 861751 w 2712206"/>
                    <a:gd name="connsiteY176" fmla="*/ 437406 h 450019"/>
                    <a:gd name="connsiteX177" fmla="*/ 822125 w 2712206"/>
                    <a:gd name="connsiteY177" fmla="*/ 450019 h 450019"/>
                    <a:gd name="connsiteX178" fmla="*/ 786406 w 2712206"/>
                    <a:gd name="connsiteY178" fmla="*/ 434169 h 450019"/>
                    <a:gd name="connsiteX179" fmla="*/ 772789 w 2712206"/>
                    <a:gd name="connsiteY179" fmla="*/ 389409 h 450019"/>
                    <a:gd name="connsiteX180" fmla="*/ 787020 w 2712206"/>
                    <a:gd name="connsiteY180" fmla="*/ 347272 h 450019"/>
                    <a:gd name="connsiteX181" fmla="*/ 824023 w 2712206"/>
                    <a:gd name="connsiteY181" fmla="*/ 330138 h 450019"/>
                    <a:gd name="connsiteX182" fmla="*/ 456679 w 2712206"/>
                    <a:gd name="connsiteY182" fmla="*/ 330138 h 450019"/>
                    <a:gd name="connsiteX183" fmla="*/ 495300 w 2712206"/>
                    <a:gd name="connsiteY183" fmla="*/ 346100 h 450019"/>
                    <a:gd name="connsiteX184" fmla="*/ 509476 w 2712206"/>
                    <a:gd name="connsiteY184" fmla="*/ 390301 h 450019"/>
                    <a:gd name="connsiteX185" fmla="*/ 495021 w 2712206"/>
                    <a:gd name="connsiteY185" fmla="*/ 433499 h 450019"/>
                    <a:gd name="connsiteX186" fmla="*/ 455451 w 2712206"/>
                    <a:gd name="connsiteY186" fmla="*/ 450019 h 450019"/>
                    <a:gd name="connsiteX187" fmla="*/ 415881 w 2712206"/>
                    <a:gd name="connsiteY187" fmla="*/ 433555 h 450019"/>
                    <a:gd name="connsiteX188" fmla="*/ 401315 w 2712206"/>
                    <a:gd name="connsiteY188" fmla="*/ 390748 h 450019"/>
                    <a:gd name="connsiteX189" fmla="*/ 416551 w 2712206"/>
                    <a:gd name="connsiteY189" fmla="*/ 346211 h 450019"/>
                    <a:gd name="connsiteX190" fmla="*/ 456679 w 2712206"/>
                    <a:gd name="connsiteY190" fmla="*/ 330138 h 450019"/>
                    <a:gd name="connsiteX191" fmla="*/ 353913 w 2712206"/>
                    <a:gd name="connsiteY191" fmla="*/ 330138 h 450019"/>
                    <a:gd name="connsiteX192" fmla="*/ 379251 w 2712206"/>
                    <a:gd name="connsiteY192" fmla="*/ 335496 h 450019"/>
                    <a:gd name="connsiteX193" fmla="*/ 379251 w 2712206"/>
                    <a:gd name="connsiteY193" fmla="*/ 347104 h 450019"/>
                    <a:gd name="connsiteX194" fmla="*/ 352350 w 2712206"/>
                    <a:gd name="connsiteY194" fmla="*/ 339514 h 450019"/>
                    <a:gd name="connsiteX195" fmla="*/ 319757 w 2712206"/>
                    <a:gd name="connsiteY195" fmla="*/ 353969 h 450019"/>
                    <a:gd name="connsiteX196" fmla="*/ 307255 w 2712206"/>
                    <a:gd name="connsiteY196" fmla="*/ 391418 h 450019"/>
                    <a:gd name="connsiteX197" fmla="*/ 318696 w 2712206"/>
                    <a:gd name="connsiteY197" fmla="*/ 427136 h 450019"/>
                    <a:gd name="connsiteX198" fmla="*/ 348890 w 2712206"/>
                    <a:gd name="connsiteY198" fmla="*/ 440643 h 450019"/>
                    <a:gd name="connsiteX199" fmla="*/ 378804 w 2712206"/>
                    <a:gd name="connsiteY199" fmla="*/ 431490 h 450019"/>
                    <a:gd name="connsiteX200" fmla="*/ 378804 w 2712206"/>
                    <a:gd name="connsiteY200" fmla="*/ 442205 h 450019"/>
                    <a:gd name="connsiteX201" fmla="*/ 348443 w 2712206"/>
                    <a:gd name="connsiteY201" fmla="*/ 450019 h 450019"/>
                    <a:gd name="connsiteX202" fmla="*/ 310827 w 2712206"/>
                    <a:gd name="connsiteY202" fmla="*/ 434001 h 450019"/>
                    <a:gd name="connsiteX203" fmla="*/ 296540 w 2712206"/>
                    <a:gd name="connsiteY203" fmla="*/ 392087 h 450019"/>
                    <a:gd name="connsiteX204" fmla="*/ 312613 w 2712206"/>
                    <a:gd name="connsiteY204" fmla="*/ 347495 h 450019"/>
                    <a:gd name="connsiteX205" fmla="*/ 353913 w 2712206"/>
                    <a:gd name="connsiteY205" fmla="*/ 330138 h 450019"/>
                    <a:gd name="connsiteX206" fmla="*/ 166798 w 2712206"/>
                    <a:gd name="connsiteY206" fmla="*/ 330138 h 450019"/>
                    <a:gd name="connsiteX207" fmla="*/ 199503 w 2712206"/>
                    <a:gd name="connsiteY207" fmla="*/ 345095 h 450019"/>
                    <a:gd name="connsiteX208" fmla="*/ 210888 w 2712206"/>
                    <a:gd name="connsiteY208" fmla="*/ 385948 h 450019"/>
                    <a:gd name="connsiteX209" fmla="*/ 210888 w 2712206"/>
                    <a:gd name="connsiteY209" fmla="*/ 390525 h 450019"/>
                    <a:gd name="connsiteX210" fmla="*/ 126279 w 2712206"/>
                    <a:gd name="connsiteY210" fmla="*/ 390525 h 450019"/>
                    <a:gd name="connsiteX211" fmla="*/ 137162 w 2712206"/>
                    <a:gd name="connsiteY211" fmla="*/ 427360 h 450019"/>
                    <a:gd name="connsiteX212" fmla="*/ 167021 w 2712206"/>
                    <a:gd name="connsiteY212" fmla="*/ 440643 h 450019"/>
                    <a:gd name="connsiteX213" fmla="*/ 204526 w 2712206"/>
                    <a:gd name="connsiteY213" fmla="*/ 426467 h 450019"/>
                    <a:gd name="connsiteX214" fmla="*/ 204526 w 2712206"/>
                    <a:gd name="connsiteY214" fmla="*/ 437406 h 450019"/>
                    <a:gd name="connsiteX215" fmla="*/ 164900 w 2712206"/>
                    <a:gd name="connsiteY215" fmla="*/ 450019 h 450019"/>
                    <a:gd name="connsiteX216" fmla="*/ 129181 w 2712206"/>
                    <a:gd name="connsiteY216" fmla="*/ 434169 h 450019"/>
                    <a:gd name="connsiteX217" fmla="*/ 115564 w 2712206"/>
                    <a:gd name="connsiteY217" fmla="*/ 389409 h 450019"/>
                    <a:gd name="connsiteX218" fmla="*/ 129795 w 2712206"/>
                    <a:gd name="connsiteY218" fmla="*/ 347272 h 450019"/>
                    <a:gd name="connsiteX219" fmla="*/ 166798 w 2712206"/>
                    <a:gd name="connsiteY219" fmla="*/ 330138 h 450019"/>
                    <a:gd name="connsiteX220" fmla="*/ 2478656 w 2712206"/>
                    <a:gd name="connsiteY220" fmla="*/ 330137 h 450019"/>
                    <a:gd name="connsiteX221" fmla="*/ 2507008 w 2712206"/>
                    <a:gd name="connsiteY221" fmla="*/ 342471 h 450019"/>
                    <a:gd name="connsiteX222" fmla="*/ 2516831 w 2712206"/>
                    <a:gd name="connsiteY222" fmla="*/ 377687 h 450019"/>
                    <a:gd name="connsiteX223" fmla="*/ 2516831 w 2712206"/>
                    <a:gd name="connsiteY223" fmla="*/ 447227 h 450019"/>
                    <a:gd name="connsiteX224" fmla="*/ 2506562 w 2712206"/>
                    <a:gd name="connsiteY224" fmla="*/ 447227 h 450019"/>
                    <a:gd name="connsiteX225" fmla="*/ 2506562 w 2712206"/>
                    <a:gd name="connsiteY225" fmla="*/ 380701 h 450019"/>
                    <a:gd name="connsiteX226" fmla="*/ 2476870 w 2712206"/>
                    <a:gd name="connsiteY226" fmla="*/ 339513 h 450019"/>
                    <a:gd name="connsiteX227" fmla="*/ 2449746 w 2712206"/>
                    <a:gd name="connsiteY227" fmla="*/ 351624 h 450019"/>
                    <a:gd name="connsiteX228" fmla="*/ 2439142 w 2712206"/>
                    <a:gd name="connsiteY228" fmla="*/ 381594 h 450019"/>
                    <a:gd name="connsiteX229" fmla="*/ 2439142 w 2712206"/>
                    <a:gd name="connsiteY229" fmla="*/ 447227 h 450019"/>
                    <a:gd name="connsiteX230" fmla="*/ 2428873 w 2712206"/>
                    <a:gd name="connsiteY230" fmla="*/ 447227 h 450019"/>
                    <a:gd name="connsiteX231" fmla="*/ 2428873 w 2712206"/>
                    <a:gd name="connsiteY231" fmla="*/ 332927 h 450019"/>
                    <a:gd name="connsiteX232" fmla="*/ 2439142 w 2712206"/>
                    <a:gd name="connsiteY232" fmla="*/ 332927 h 450019"/>
                    <a:gd name="connsiteX233" fmla="*/ 2439142 w 2712206"/>
                    <a:gd name="connsiteY233" fmla="*/ 353689 h 450019"/>
                    <a:gd name="connsiteX234" fmla="*/ 2439589 w 2712206"/>
                    <a:gd name="connsiteY234" fmla="*/ 353689 h 450019"/>
                    <a:gd name="connsiteX235" fmla="*/ 2478656 w 2712206"/>
                    <a:gd name="connsiteY235" fmla="*/ 330137 h 450019"/>
                    <a:gd name="connsiteX236" fmla="*/ 2097656 w 2712206"/>
                    <a:gd name="connsiteY236" fmla="*/ 330137 h 450019"/>
                    <a:gd name="connsiteX237" fmla="*/ 2126008 w 2712206"/>
                    <a:gd name="connsiteY237" fmla="*/ 342471 h 450019"/>
                    <a:gd name="connsiteX238" fmla="*/ 2135831 w 2712206"/>
                    <a:gd name="connsiteY238" fmla="*/ 377687 h 450019"/>
                    <a:gd name="connsiteX239" fmla="*/ 2135831 w 2712206"/>
                    <a:gd name="connsiteY239" fmla="*/ 447227 h 450019"/>
                    <a:gd name="connsiteX240" fmla="*/ 2125562 w 2712206"/>
                    <a:gd name="connsiteY240" fmla="*/ 447227 h 450019"/>
                    <a:gd name="connsiteX241" fmla="*/ 2125562 w 2712206"/>
                    <a:gd name="connsiteY241" fmla="*/ 380701 h 450019"/>
                    <a:gd name="connsiteX242" fmla="*/ 2095871 w 2712206"/>
                    <a:gd name="connsiteY242" fmla="*/ 339513 h 450019"/>
                    <a:gd name="connsiteX243" fmla="*/ 2068747 w 2712206"/>
                    <a:gd name="connsiteY243" fmla="*/ 351624 h 450019"/>
                    <a:gd name="connsiteX244" fmla="*/ 2058143 w 2712206"/>
                    <a:gd name="connsiteY244" fmla="*/ 381594 h 450019"/>
                    <a:gd name="connsiteX245" fmla="*/ 2058143 w 2712206"/>
                    <a:gd name="connsiteY245" fmla="*/ 447227 h 450019"/>
                    <a:gd name="connsiteX246" fmla="*/ 2047873 w 2712206"/>
                    <a:gd name="connsiteY246" fmla="*/ 447227 h 450019"/>
                    <a:gd name="connsiteX247" fmla="*/ 2047873 w 2712206"/>
                    <a:gd name="connsiteY247" fmla="*/ 332927 h 450019"/>
                    <a:gd name="connsiteX248" fmla="*/ 2058143 w 2712206"/>
                    <a:gd name="connsiteY248" fmla="*/ 332927 h 450019"/>
                    <a:gd name="connsiteX249" fmla="*/ 2058143 w 2712206"/>
                    <a:gd name="connsiteY249" fmla="*/ 353689 h 450019"/>
                    <a:gd name="connsiteX250" fmla="*/ 2058589 w 2712206"/>
                    <a:gd name="connsiteY250" fmla="*/ 353689 h 450019"/>
                    <a:gd name="connsiteX251" fmla="*/ 2097656 w 2712206"/>
                    <a:gd name="connsiteY251" fmla="*/ 330137 h 450019"/>
                    <a:gd name="connsiteX252" fmla="*/ 707008 w 2712206"/>
                    <a:gd name="connsiteY252" fmla="*/ 330137 h 450019"/>
                    <a:gd name="connsiteX253" fmla="*/ 735359 w 2712206"/>
                    <a:gd name="connsiteY253" fmla="*/ 342471 h 450019"/>
                    <a:gd name="connsiteX254" fmla="*/ 745182 w 2712206"/>
                    <a:gd name="connsiteY254" fmla="*/ 377687 h 450019"/>
                    <a:gd name="connsiteX255" fmla="*/ 745182 w 2712206"/>
                    <a:gd name="connsiteY255" fmla="*/ 447227 h 450019"/>
                    <a:gd name="connsiteX256" fmla="*/ 734913 w 2712206"/>
                    <a:gd name="connsiteY256" fmla="*/ 447227 h 450019"/>
                    <a:gd name="connsiteX257" fmla="*/ 734913 w 2712206"/>
                    <a:gd name="connsiteY257" fmla="*/ 380701 h 450019"/>
                    <a:gd name="connsiteX258" fmla="*/ 705222 w 2712206"/>
                    <a:gd name="connsiteY258" fmla="*/ 339513 h 450019"/>
                    <a:gd name="connsiteX259" fmla="*/ 678098 w 2712206"/>
                    <a:gd name="connsiteY259" fmla="*/ 351624 h 450019"/>
                    <a:gd name="connsiteX260" fmla="*/ 667494 w 2712206"/>
                    <a:gd name="connsiteY260" fmla="*/ 381594 h 450019"/>
                    <a:gd name="connsiteX261" fmla="*/ 667494 w 2712206"/>
                    <a:gd name="connsiteY261" fmla="*/ 447227 h 450019"/>
                    <a:gd name="connsiteX262" fmla="*/ 657225 w 2712206"/>
                    <a:gd name="connsiteY262" fmla="*/ 447227 h 450019"/>
                    <a:gd name="connsiteX263" fmla="*/ 657225 w 2712206"/>
                    <a:gd name="connsiteY263" fmla="*/ 332927 h 450019"/>
                    <a:gd name="connsiteX264" fmla="*/ 667494 w 2712206"/>
                    <a:gd name="connsiteY264" fmla="*/ 332927 h 450019"/>
                    <a:gd name="connsiteX265" fmla="*/ 667494 w 2712206"/>
                    <a:gd name="connsiteY265" fmla="*/ 353689 h 450019"/>
                    <a:gd name="connsiteX266" fmla="*/ 667940 w 2712206"/>
                    <a:gd name="connsiteY266" fmla="*/ 353689 h 450019"/>
                    <a:gd name="connsiteX267" fmla="*/ 707008 w 2712206"/>
                    <a:gd name="connsiteY267" fmla="*/ 330137 h 450019"/>
                    <a:gd name="connsiteX268" fmla="*/ 583183 w 2712206"/>
                    <a:gd name="connsiteY268" fmla="*/ 330137 h 450019"/>
                    <a:gd name="connsiteX269" fmla="*/ 611534 w 2712206"/>
                    <a:gd name="connsiteY269" fmla="*/ 342471 h 450019"/>
                    <a:gd name="connsiteX270" fmla="*/ 621357 w 2712206"/>
                    <a:gd name="connsiteY270" fmla="*/ 377687 h 450019"/>
                    <a:gd name="connsiteX271" fmla="*/ 621357 w 2712206"/>
                    <a:gd name="connsiteY271" fmla="*/ 447227 h 450019"/>
                    <a:gd name="connsiteX272" fmla="*/ 611088 w 2712206"/>
                    <a:gd name="connsiteY272" fmla="*/ 447227 h 450019"/>
                    <a:gd name="connsiteX273" fmla="*/ 611088 w 2712206"/>
                    <a:gd name="connsiteY273" fmla="*/ 380701 h 450019"/>
                    <a:gd name="connsiteX274" fmla="*/ 581397 w 2712206"/>
                    <a:gd name="connsiteY274" fmla="*/ 339513 h 450019"/>
                    <a:gd name="connsiteX275" fmla="*/ 554273 w 2712206"/>
                    <a:gd name="connsiteY275" fmla="*/ 351624 h 450019"/>
                    <a:gd name="connsiteX276" fmla="*/ 543669 w 2712206"/>
                    <a:gd name="connsiteY276" fmla="*/ 381594 h 450019"/>
                    <a:gd name="connsiteX277" fmla="*/ 543669 w 2712206"/>
                    <a:gd name="connsiteY277" fmla="*/ 447227 h 450019"/>
                    <a:gd name="connsiteX278" fmla="*/ 533400 w 2712206"/>
                    <a:gd name="connsiteY278" fmla="*/ 447227 h 450019"/>
                    <a:gd name="connsiteX279" fmla="*/ 533400 w 2712206"/>
                    <a:gd name="connsiteY279" fmla="*/ 332927 h 450019"/>
                    <a:gd name="connsiteX280" fmla="*/ 543669 w 2712206"/>
                    <a:gd name="connsiteY280" fmla="*/ 332927 h 450019"/>
                    <a:gd name="connsiteX281" fmla="*/ 543669 w 2712206"/>
                    <a:gd name="connsiteY281" fmla="*/ 353689 h 450019"/>
                    <a:gd name="connsiteX282" fmla="*/ 544115 w 2712206"/>
                    <a:gd name="connsiteY282" fmla="*/ 353689 h 450019"/>
                    <a:gd name="connsiteX283" fmla="*/ 583183 w 2712206"/>
                    <a:gd name="connsiteY283" fmla="*/ 330137 h 450019"/>
                    <a:gd name="connsiteX284" fmla="*/ 2682068 w 2712206"/>
                    <a:gd name="connsiteY284" fmla="*/ 299776 h 450019"/>
                    <a:gd name="connsiteX285" fmla="*/ 2682068 w 2712206"/>
                    <a:gd name="connsiteY285" fmla="*/ 332927 h 450019"/>
                    <a:gd name="connsiteX286" fmla="*/ 2712206 w 2712206"/>
                    <a:gd name="connsiteY286" fmla="*/ 332927 h 450019"/>
                    <a:gd name="connsiteX287" fmla="*/ 2712206 w 2712206"/>
                    <a:gd name="connsiteY287" fmla="*/ 342303 h 450019"/>
                    <a:gd name="connsiteX288" fmla="*/ 2682068 w 2712206"/>
                    <a:gd name="connsiteY288" fmla="*/ 342303 h 450019"/>
                    <a:gd name="connsiteX289" fmla="*/ 2682068 w 2712206"/>
                    <a:gd name="connsiteY289" fmla="*/ 417759 h 450019"/>
                    <a:gd name="connsiteX290" fmla="*/ 2685807 w 2712206"/>
                    <a:gd name="connsiteY290" fmla="*/ 434893 h 450019"/>
                    <a:gd name="connsiteX291" fmla="*/ 2698477 w 2712206"/>
                    <a:gd name="connsiteY291" fmla="*/ 440195 h 450019"/>
                    <a:gd name="connsiteX292" fmla="*/ 2712206 w 2712206"/>
                    <a:gd name="connsiteY292" fmla="*/ 436065 h 450019"/>
                    <a:gd name="connsiteX293" fmla="*/ 2712206 w 2712206"/>
                    <a:gd name="connsiteY293" fmla="*/ 445665 h 450019"/>
                    <a:gd name="connsiteX294" fmla="*/ 2697137 w 2712206"/>
                    <a:gd name="connsiteY294" fmla="*/ 449460 h 450019"/>
                    <a:gd name="connsiteX295" fmla="*/ 2671799 w 2712206"/>
                    <a:gd name="connsiteY295" fmla="*/ 419099 h 450019"/>
                    <a:gd name="connsiteX296" fmla="*/ 2671799 w 2712206"/>
                    <a:gd name="connsiteY296" fmla="*/ 342303 h 450019"/>
                    <a:gd name="connsiteX297" fmla="*/ 2651261 w 2712206"/>
                    <a:gd name="connsiteY297" fmla="*/ 342303 h 450019"/>
                    <a:gd name="connsiteX298" fmla="*/ 2651261 w 2712206"/>
                    <a:gd name="connsiteY298" fmla="*/ 332927 h 450019"/>
                    <a:gd name="connsiteX299" fmla="*/ 2671799 w 2712206"/>
                    <a:gd name="connsiteY299" fmla="*/ 332927 h 450019"/>
                    <a:gd name="connsiteX300" fmla="*/ 2671799 w 2712206"/>
                    <a:gd name="connsiteY300" fmla="*/ 303236 h 450019"/>
                    <a:gd name="connsiteX301" fmla="*/ 2676933 w 2712206"/>
                    <a:gd name="connsiteY301" fmla="*/ 301450 h 450019"/>
                    <a:gd name="connsiteX302" fmla="*/ 2682068 w 2712206"/>
                    <a:gd name="connsiteY302" fmla="*/ 299776 h 450019"/>
                    <a:gd name="connsiteX303" fmla="*/ 2186768 w 2712206"/>
                    <a:gd name="connsiteY303" fmla="*/ 299776 h 450019"/>
                    <a:gd name="connsiteX304" fmla="*/ 2186768 w 2712206"/>
                    <a:gd name="connsiteY304" fmla="*/ 332927 h 450019"/>
                    <a:gd name="connsiteX305" fmla="*/ 2216906 w 2712206"/>
                    <a:gd name="connsiteY305" fmla="*/ 332927 h 450019"/>
                    <a:gd name="connsiteX306" fmla="*/ 2216906 w 2712206"/>
                    <a:gd name="connsiteY306" fmla="*/ 342303 h 450019"/>
                    <a:gd name="connsiteX307" fmla="*/ 2186768 w 2712206"/>
                    <a:gd name="connsiteY307" fmla="*/ 342303 h 450019"/>
                    <a:gd name="connsiteX308" fmla="*/ 2186768 w 2712206"/>
                    <a:gd name="connsiteY308" fmla="*/ 417759 h 450019"/>
                    <a:gd name="connsiteX309" fmla="*/ 2190508 w 2712206"/>
                    <a:gd name="connsiteY309" fmla="*/ 434893 h 450019"/>
                    <a:gd name="connsiteX310" fmla="*/ 2203177 w 2712206"/>
                    <a:gd name="connsiteY310" fmla="*/ 440195 h 450019"/>
                    <a:gd name="connsiteX311" fmla="*/ 2216906 w 2712206"/>
                    <a:gd name="connsiteY311" fmla="*/ 436065 h 450019"/>
                    <a:gd name="connsiteX312" fmla="*/ 2216906 w 2712206"/>
                    <a:gd name="connsiteY312" fmla="*/ 445665 h 450019"/>
                    <a:gd name="connsiteX313" fmla="*/ 2201837 w 2712206"/>
                    <a:gd name="connsiteY313" fmla="*/ 449460 h 450019"/>
                    <a:gd name="connsiteX314" fmla="*/ 2176499 w 2712206"/>
                    <a:gd name="connsiteY314" fmla="*/ 419099 h 450019"/>
                    <a:gd name="connsiteX315" fmla="*/ 2176499 w 2712206"/>
                    <a:gd name="connsiteY315" fmla="*/ 342303 h 450019"/>
                    <a:gd name="connsiteX316" fmla="*/ 2155961 w 2712206"/>
                    <a:gd name="connsiteY316" fmla="*/ 342303 h 450019"/>
                    <a:gd name="connsiteX317" fmla="*/ 2155961 w 2712206"/>
                    <a:gd name="connsiteY317" fmla="*/ 332927 h 450019"/>
                    <a:gd name="connsiteX318" fmla="*/ 2176499 w 2712206"/>
                    <a:gd name="connsiteY318" fmla="*/ 332927 h 450019"/>
                    <a:gd name="connsiteX319" fmla="*/ 2176499 w 2712206"/>
                    <a:gd name="connsiteY319" fmla="*/ 303236 h 450019"/>
                    <a:gd name="connsiteX320" fmla="*/ 2181634 w 2712206"/>
                    <a:gd name="connsiteY320" fmla="*/ 301450 h 450019"/>
                    <a:gd name="connsiteX321" fmla="*/ 2186768 w 2712206"/>
                    <a:gd name="connsiteY321" fmla="*/ 299776 h 450019"/>
                    <a:gd name="connsiteX322" fmla="*/ 1643843 w 2712206"/>
                    <a:gd name="connsiteY322" fmla="*/ 299776 h 450019"/>
                    <a:gd name="connsiteX323" fmla="*/ 1643843 w 2712206"/>
                    <a:gd name="connsiteY323" fmla="*/ 332927 h 450019"/>
                    <a:gd name="connsiteX324" fmla="*/ 1673981 w 2712206"/>
                    <a:gd name="connsiteY324" fmla="*/ 332927 h 450019"/>
                    <a:gd name="connsiteX325" fmla="*/ 1673981 w 2712206"/>
                    <a:gd name="connsiteY325" fmla="*/ 342303 h 450019"/>
                    <a:gd name="connsiteX326" fmla="*/ 1643843 w 2712206"/>
                    <a:gd name="connsiteY326" fmla="*/ 342303 h 450019"/>
                    <a:gd name="connsiteX327" fmla="*/ 1643843 w 2712206"/>
                    <a:gd name="connsiteY327" fmla="*/ 417759 h 450019"/>
                    <a:gd name="connsiteX328" fmla="*/ 1647583 w 2712206"/>
                    <a:gd name="connsiteY328" fmla="*/ 434893 h 450019"/>
                    <a:gd name="connsiteX329" fmla="*/ 1660252 w 2712206"/>
                    <a:gd name="connsiteY329" fmla="*/ 440195 h 450019"/>
                    <a:gd name="connsiteX330" fmla="*/ 1673981 w 2712206"/>
                    <a:gd name="connsiteY330" fmla="*/ 436065 h 450019"/>
                    <a:gd name="connsiteX331" fmla="*/ 1673981 w 2712206"/>
                    <a:gd name="connsiteY331" fmla="*/ 445665 h 450019"/>
                    <a:gd name="connsiteX332" fmla="*/ 1658912 w 2712206"/>
                    <a:gd name="connsiteY332" fmla="*/ 449460 h 450019"/>
                    <a:gd name="connsiteX333" fmla="*/ 1633574 w 2712206"/>
                    <a:gd name="connsiteY333" fmla="*/ 419099 h 450019"/>
                    <a:gd name="connsiteX334" fmla="*/ 1633574 w 2712206"/>
                    <a:gd name="connsiteY334" fmla="*/ 342303 h 450019"/>
                    <a:gd name="connsiteX335" fmla="*/ 1613036 w 2712206"/>
                    <a:gd name="connsiteY335" fmla="*/ 342303 h 450019"/>
                    <a:gd name="connsiteX336" fmla="*/ 1613036 w 2712206"/>
                    <a:gd name="connsiteY336" fmla="*/ 332927 h 450019"/>
                    <a:gd name="connsiteX337" fmla="*/ 1633574 w 2712206"/>
                    <a:gd name="connsiteY337" fmla="*/ 332927 h 450019"/>
                    <a:gd name="connsiteX338" fmla="*/ 1633574 w 2712206"/>
                    <a:gd name="connsiteY338" fmla="*/ 303236 h 450019"/>
                    <a:gd name="connsiteX339" fmla="*/ 1638709 w 2712206"/>
                    <a:gd name="connsiteY339" fmla="*/ 301450 h 450019"/>
                    <a:gd name="connsiteX340" fmla="*/ 1643843 w 2712206"/>
                    <a:gd name="connsiteY340" fmla="*/ 299776 h 450019"/>
                    <a:gd name="connsiteX341" fmla="*/ 1386668 w 2712206"/>
                    <a:gd name="connsiteY341" fmla="*/ 299776 h 450019"/>
                    <a:gd name="connsiteX342" fmla="*/ 1386668 w 2712206"/>
                    <a:gd name="connsiteY342" fmla="*/ 332927 h 450019"/>
                    <a:gd name="connsiteX343" fmla="*/ 1416806 w 2712206"/>
                    <a:gd name="connsiteY343" fmla="*/ 332927 h 450019"/>
                    <a:gd name="connsiteX344" fmla="*/ 1416806 w 2712206"/>
                    <a:gd name="connsiteY344" fmla="*/ 342303 h 450019"/>
                    <a:gd name="connsiteX345" fmla="*/ 1386668 w 2712206"/>
                    <a:gd name="connsiteY345" fmla="*/ 342303 h 450019"/>
                    <a:gd name="connsiteX346" fmla="*/ 1386668 w 2712206"/>
                    <a:gd name="connsiteY346" fmla="*/ 417759 h 450019"/>
                    <a:gd name="connsiteX347" fmla="*/ 1390408 w 2712206"/>
                    <a:gd name="connsiteY347" fmla="*/ 434893 h 450019"/>
                    <a:gd name="connsiteX348" fmla="*/ 1403077 w 2712206"/>
                    <a:gd name="connsiteY348" fmla="*/ 440195 h 450019"/>
                    <a:gd name="connsiteX349" fmla="*/ 1416806 w 2712206"/>
                    <a:gd name="connsiteY349" fmla="*/ 436065 h 450019"/>
                    <a:gd name="connsiteX350" fmla="*/ 1416806 w 2712206"/>
                    <a:gd name="connsiteY350" fmla="*/ 445665 h 450019"/>
                    <a:gd name="connsiteX351" fmla="*/ 1401737 w 2712206"/>
                    <a:gd name="connsiteY351" fmla="*/ 449460 h 450019"/>
                    <a:gd name="connsiteX352" fmla="*/ 1376399 w 2712206"/>
                    <a:gd name="connsiteY352" fmla="*/ 419099 h 450019"/>
                    <a:gd name="connsiteX353" fmla="*/ 1376399 w 2712206"/>
                    <a:gd name="connsiteY353" fmla="*/ 342303 h 450019"/>
                    <a:gd name="connsiteX354" fmla="*/ 1355861 w 2712206"/>
                    <a:gd name="connsiteY354" fmla="*/ 342303 h 450019"/>
                    <a:gd name="connsiteX355" fmla="*/ 1355861 w 2712206"/>
                    <a:gd name="connsiteY355" fmla="*/ 332927 h 450019"/>
                    <a:gd name="connsiteX356" fmla="*/ 1376399 w 2712206"/>
                    <a:gd name="connsiteY356" fmla="*/ 332927 h 450019"/>
                    <a:gd name="connsiteX357" fmla="*/ 1376399 w 2712206"/>
                    <a:gd name="connsiteY357" fmla="*/ 303236 h 450019"/>
                    <a:gd name="connsiteX358" fmla="*/ 1381534 w 2712206"/>
                    <a:gd name="connsiteY358" fmla="*/ 301450 h 450019"/>
                    <a:gd name="connsiteX359" fmla="*/ 1386668 w 2712206"/>
                    <a:gd name="connsiteY359" fmla="*/ 299776 h 450019"/>
                    <a:gd name="connsiteX360" fmla="*/ 1015193 w 2712206"/>
                    <a:gd name="connsiteY360" fmla="*/ 299776 h 450019"/>
                    <a:gd name="connsiteX361" fmla="*/ 1015193 w 2712206"/>
                    <a:gd name="connsiteY361" fmla="*/ 332927 h 450019"/>
                    <a:gd name="connsiteX362" fmla="*/ 1045331 w 2712206"/>
                    <a:gd name="connsiteY362" fmla="*/ 332927 h 450019"/>
                    <a:gd name="connsiteX363" fmla="*/ 1045331 w 2712206"/>
                    <a:gd name="connsiteY363" fmla="*/ 342303 h 450019"/>
                    <a:gd name="connsiteX364" fmla="*/ 1015193 w 2712206"/>
                    <a:gd name="connsiteY364" fmla="*/ 342303 h 450019"/>
                    <a:gd name="connsiteX365" fmla="*/ 1015193 w 2712206"/>
                    <a:gd name="connsiteY365" fmla="*/ 417759 h 450019"/>
                    <a:gd name="connsiteX366" fmla="*/ 1018933 w 2712206"/>
                    <a:gd name="connsiteY366" fmla="*/ 434893 h 450019"/>
                    <a:gd name="connsiteX367" fmla="*/ 1031602 w 2712206"/>
                    <a:gd name="connsiteY367" fmla="*/ 440195 h 450019"/>
                    <a:gd name="connsiteX368" fmla="*/ 1045331 w 2712206"/>
                    <a:gd name="connsiteY368" fmla="*/ 436065 h 450019"/>
                    <a:gd name="connsiteX369" fmla="*/ 1045331 w 2712206"/>
                    <a:gd name="connsiteY369" fmla="*/ 445665 h 450019"/>
                    <a:gd name="connsiteX370" fmla="*/ 1030262 w 2712206"/>
                    <a:gd name="connsiteY370" fmla="*/ 449460 h 450019"/>
                    <a:gd name="connsiteX371" fmla="*/ 1004924 w 2712206"/>
                    <a:gd name="connsiteY371" fmla="*/ 419099 h 450019"/>
                    <a:gd name="connsiteX372" fmla="*/ 1004924 w 2712206"/>
                    <a:gd name="connsiteY372" fmla="*/ 342303 h 450019"/>
                    <a:gd name="connsiteX373" fmla="*/ 984386 w 2712206"/>
                    <a:gd name="connsiteY373" fmla="*/ 342303 h 450019"/>
                    <a:gd name="connsiteX374" fmla="*/ 984386 w 2712206"/>
                    <a:gd name="connsiteY374" fmla="*/ 332927 h 450019"/>
                    <a:gd name="connsiteX375" fmla="*/ 1004924 w 2712206"/>
                    <a:gd name="connsiteY375" fmla="*/ 332927 h 450019"/>
                    <a:gd name="connsiteX376" fmla="*/ 1004924 w 2712206"/>
                    <a:gd name="connsiteY376" fmla="*/ 303236 h 450019"/>
                    <a:gd name="connsiteX377" fmla="*/ 1010059 w 2712206"/>
                    <a:gd name="connsiteY377" fmla="*/ 301450 h 450019"/>
                    <a:gd name="connsiteX378" fmla="*/ 1015193 w 2712206"/>
                    <a:gd name="connsiteY378" fmla="*/ 299776 h 450019"/>
                    <a:gd name="connsiteX379" fmla="*/ 2002481 w 2712206"/>
                    <a:gd name="connsiteY379" fmla="*/ 287163 h 450019"/>
                    <a:gd name="connsiteX380" fmla="*/ 2013531 w 2712206"/>
                    <a:gd name="connsiteY380" fmla="*/ 287163 h 450019"/>
                    <a:gd name="connsiteX381" fmla="*/ 2013531 w 2712206"/>
                    <a:gd name="connsiteY381" fmla="*/ 447227 h 450019"/>
                    <a:gd name="connsiteX382" fmla="*/ 2002481 w 2712206"/>
                    <a:gd name="connsiteY382" fmla="*/ 447227 h 450019"/>
                    <a:gd name="connsiteX383" fmla="*/ 1695448 w 2712206"/>
                    <a:gd name="connsiteY383" fmla="*/ 278011 h 450019"/>
                    <a:gd name="connsiteX384" fmla="*/ 1705718 w 2712206"/>
                    <a:gd name="connsiteY384" fmla="*/ 278011 h 450019"/>
                    <a:gd name="connsiteX385" fmla="*/ 1705718 w 2712206"/>
                    <a:gd name="connsiteY385" fmla="*/ 353467 h 450019"/>
                    <a:gd name="connsiteX386" fmla="*/ 1706164 w 2712206"/>
                    <a:gd name="connsiteY386" fmla="*/ 353467 h 450019"/>
                    <a:gd name="connsiteX387" fmla="*/ 1745455 w 2712206"/>
                    <a:gd name="connsiteY387" fmla="*/ 330138 h 450019"/>
                    <a:gd name="connsiteX388" fmla="*/ 1773695 w 2712206"/>
                    <a:gd name="connsiteY388" fmla="*/ 342081 h 450019"/>
                    <a:gd name="connsiteX389" fmla="*/ 1783406 w 2712206"/>
                    <a:gd name="connsiteY389" fmla="*/ 376349 h 450019"/>
                    <a:gd name="connsiteX390" fmla="*/ 1783406 w 2712206"/>
                    <a:gd name="connsiteY390" fmla="*/ 447228 h 450019"/>
                    <a:gd name="connsiteX391" fmla="*/ 1773137 w 2712206"/>
                    <a:gd name="connsiteY391" fmla="*/ 447228 h 450019"/>
                    <a:gd name="connsiteX392" fmla="*/ 1773137 w 2712206"/>
                    <a:gd name="connsiteY392" fmla="*/ 378693 h 450019"/>
                    <a:gd name="connsiteX393" fmla="*/ 1765770 w 2712206"/>
                    <a:gd name="connsiteY393" fmla="*/ 348946 h 450019"/>
                    <a:gd name="connsiteX394" fmla="*/ 1742776 w 2712206"/>
                    <a:gd name="connsiteY394" fmla="*/ 339514 h 450019"/>
                    <a:gd name="connsiteX395" fmla="*/ 1716880 w 2712206"/>
                    <a:gd name="connsiteY395" fmla="*/ 351011 h 450019"/>
                    <a:gd name="connsiteX396" fmla="*/ 1705718 w 2712206"/>
                    <a:gd name="connsiteY396" fmla="*/ 383939 h 450019"/>
                    <a:gd name="connsiteX397" fmla="*/ 1705718 w 2712206"/>
                    <a:gd name="connsiteY397" fmla="*/ 447228 h 450019"/>
                    <a:gd name="connsiteX398" fmla="*/ 1695448 w 2712206"/>
                    <a:gd name="connsiteY398" fmla="*/ 447228 h 450019"/>
                    <a:gd name="connsiteX399" fmla="*/ 1262248 w 2712206"/>
                    <a:gd name="connsiteY399" fmla="*/ 278010 h 450019"/>
                    <a:gd name="connsiteX400" fmla="*/ 1272517 w 2712206"/>
                    <a:gd name="connsiteY400" fmla="*/ 278010 h 450019"/>
                    <a:gd name="connsiteX401" fmla="*/ 1272517 w 2712206"/>
                    <a:gd name="connsiteY401" fmla="*/ 447227 h 450019"/>
                    <a:gd name="connsiteX402" fmla="*/ 1262248 w 2712206"/>
                    <a:gd name="connsiteY402" fmla="*/ 447227 h 450019"/>
                    <a:gd name="connsiteX403" fmla="*/ 1262248 w 2712206"/>
                    <a:gd name="connsiteY403" fmla="*/ 426466 h 450019"/>
                    <a:gd name="connsiteX404" fmla="*/ 1261801 w 2712206"/>
                    <a:gd name="connsiteY404" fmla="*/ 426466 h 450019"/>
                    <a:gd name="connsiteX405" fmla="*/ 1245282 w 2712206"/>
                    <a:gd name="connsiteY405" fmla="*/ 443655 h 450019"/>
                    <a:gd name="connsiteX406" fmla="*/ 1220613 w 2712206"/>
                    <a:gd name="connsiteY406" fmla="*/ 450018 h 450019"/>
                    <a:gd name="connsiteX407" fmla="*/ 1186178 w 2712206"/>
                    <a:gd name="connsiteY407" fmla="*/ 434614 h 450019"/>
                    <a:gd name="connsiteX408" fmla="*/ 1172840 w 2712206"/>
                    <a:gd name="connsiteY408" fmla="*/ 392086 h 450019"/>
                    <a:gd name="connsiteX409" fmla="*/ 1187406 w 2712206"/>
                    <a:gd name="connsiteY409" fmla="*/ 347271 h 450019"/>
                    <a:gd name="connsiteX410" fmla="*/ 1225190 w 2712206"/>
                    <a:gd name="connsiteY410" fmla="*/ 330137 h 450019"/>
                    <a:gd name="connsiteX411" fmla="*/ 1261801 w 2712206"/>
                    <a:gd name="connsiteY411" fmla="*/ 351233 h 450019"/>
                    <a:gd name="connsiteX412" fmla="*/ 1262248 w 2712206"/>
                    <a:gd name="connsiteY412" fmla="*/ 351233 h 450019"/>
                    <a:gd name="connsiteX413" fmla="*/ 0 w 2712206"/>
                    <a:gd name="connsiteY413" fmla="*/ 278010 h 450019"/>
                    <a:gd name="connsiteX414" fmla="*/ 10269 w 2712206"/>
                    <a:gd name="connsiteY414" fmla="*/ 278010 h 450019"/>
                    <a:gd name="connsiteX415" fmla="*/ 10269 w 2712206"/>
                    <a:gd name="connsiteY415" fmla="*/ 356479 h 450019"/>
                    <a:gd name="connsiteX416" fmla="*/ 10715 w 2712206"/>
                    <a:gd name="connsiteY416" fmla="*/ 356479 h 450019"/>
                    <a:gd name="connsiteX417" fmla="*/ 28296 w 2712206"/>
                    <a:gd name="connsiteY417" fmla="*/ 337001 h 450019"/>
                    <a:gd name="connsiteX418" fmla="*/ 53466 w 2712206"/>
                    <a:gd name="connsiteY418" fmla="*/ 330137 h 450019"/>
                    <a:gd name="connsiteX419" fmla="*/ 87455 w 2712206"/>
                    <a:gd name="connsiteY419" fmla="*/ 345150 h 450019"/>
                    <a:gd name="connsiteX420" fmla="*/ 99677 w 2712206"/>
                    <a:gd name="connsiteY420" fmla="*/ 385947 h 450019"/>
                    <a:gd name="connsiteX421" fmla="*/ 85501 w 2712206"/>
                    <a:gd name="connsiteY421" fmla="*/ 432326 h 450019"/>
                    <a:gd name="connsiteX422" fmla="*/ 48666 w 2712206"/>
                    <a:gd name="connsiteY422" fmla="*/ 450018 h 450019"/>
                    <a:gd name="connsiteX423" fmla="*/ 10715 w 2712206"/>
                    <a:gd name="connsiteY423" fmla="*/ 426912 h 450019"/>
                    <a:gd name="connsiteX424" fmla="*/ 10269 w 2712206"/>
                    <a:gd name="connsiteY424" fmla="*/ 426912 h 450019"/>
                    <a:gd name="connsiteX425" fmla="*/ 10269 w 2712206"/>
                    <a:gd name="connsiteY425" fmla="*/ 447227 h 450019"/>
                    <a:gd name="connsiteX426" fmla="*/ 0 w 2712206"/>
                    <a:gd name="connsiteY426" fmla="*/ 447227 h 450019"/>
                    <a:gd name="connsiteX427" fmla="*/ 1830436 w 2712206"/>
                    <a:gd name="connsiteY427" fmla="*/ 109500 h 450019"/>
                    <a:gd name="connsiteX428" fmla="*/ 1798958 w 2712206"/>
                    <a:gd name="connsiteY428" fmla="*/ 114076 h 450019"/>
                    <a:gd name="connsiteX429" fmla="*/ 1773732 w 2712206"/>
                    <a:gd name="connsiteY429" fmla="*/ 122392 h 450019"/>
                    <a:gd name="connsiteX430" fmla="*/ 1766477 w 2712206"/>
                    <a:gd name="connsiteY430" fmla="*/ 141089 h 450019"/>
                    <a:gd name="connsiteX431" fmla="*/ 1773230 w 2712206"/>
                    <a:gd name="connsiteY431" fmla="*/ 157832 h 450019"/>
                    <a:gd name="connsiteX432" fmla="*/ 1792038 w 2712206"/>
                    <a:gd name="connsiteY432" fmla="*/ 164418 h 450019"/>
                    <a:gd name="connsiteX433" fmla="*/ 1819497 w 2712206"/>
                    <a:gd name="connsiteY433" fmla="*/ 152195 h 450019"/>
                    <a:gd name="connsiteX434" fmla="*/ 1830436 w 2712206"/>
                    <a:gd name="connsiteY434" fmla="*/ 120662 h 450019"/>
                    <a:gd name="connsiteX435" fmla="*/ 1058912 w 2712206"/>
                    <a:gd name="connsiteY435" fmla="*/ 109500 h 450019"/>
                    <a:gd name="connsiteX436" fmla="*/ 1027435 w 2712206"/>
                    <a:gd name="connsiteY436" fmla="*/ 114076 h 450019"/>
                    <a:gd name="connsiteX437" fmla="*/ 1002208 w 2712206"/>
                    <a:gd name="connsiteY437" fmla="*/ 122392 h 450019"/>
                    <a:gd name="connsiteX438" fmla="*/ 994953 w 2712206"/>
                    <a:gd name="connsiteY438" fmla="*/ 141089 h 450019"/>
                    <a:gd name="connsiteX439" fmla="*/ 1001706 w 2712206"/>
                    <a:gd name="connsiteY439" fmla="*/ 157832 h 450019"/>
                    <a:gd name="connsiteX440" fmla="*/ 1020514 w 2712206"/>
                    <a:gd name="connsiteY440" fmla="*/ 164418 h 450019"/>
                    <a:gd name="connsiteX441" fmla="*/ 1047973 w 2712206"/>
                    <a:gd name="connsiteY441" fmla="*/ 152195 h 450019"/>
                    <a:gd name="connsiteX442" fmla="*/ 1058912 w 2712206"/>
                    <a:gd name="connsiteY442" fmla="*/ 120662 h 450019"/>
                    <a:gd name="connsiteX443" fmla="*/ 430634 w 2712206"/>
                    <a:gd name="connsiteY443" fmla="*/ 101016 h 450019"/>
                    <a:gd name="connsiteX444" fmla="*/ 410430 w 2712206"/>
                    <a:gd name="connsiteY444" fmla="*/ 109722 h 450019"/>
                    <a:gd name="connsiteX445" fmla="*/ 402952 w 2712206"/>
                    <a:gd name="connsiteY445" fmla="*/ 133498 h 450019"/>
                    <a:gd name="connsiteX446" fmla="*/ 410151 w 2712206"/>
                    <a:gd name="connsiteY446" fmla="*/ 156380 h 450019"/>
                    <a:gd name="connsiteX447" fmla="*/ 429964 w 2712206"/>
                    <a:gd name="connsiteY447" fmla="*/ 164863 h 450019"/>
                    <a:gd name="connsiteX448" fmla="*/ 450000 w 2712206"/>
                    <a:gd name="connsiteY448" fmla="*/ 156212 h 450019"/>
                    <a:gd name="connsiteX449" fmla="*/ 457200 w 2712206"/>
                    <a:gd name="connsiteY449" fmla="*/ 132828 h 450019"/>
                    <a:gd name="connsiteX450" fmla="*/ 450056 w 2712206"/>
                    <a:gd name="connsiteY450" fmla="*/ 109053 h 450019"/>
                    <a:gd name="connsiteX451" fmla="*/ 430634 w 2712206"/>
                    <a:gd name="connsiteY451" fmla="*/ 101016 h 450019"/>
                    <a:gd name="connsiteX452" fmla="*/ 430857 w 2712206"/>
                    <a:gd name="connsiteY452" fmla="*/ 91863 h 450019"/>
                    <a:gd name="connsiteX453" fmla="*/ 457423 w 2712206"/>
                    <a:gd name="connsiteY453" fmla="*/ 102802 h 450019"/>
                    <a:gd name="connsiteX454" fmla="*/ 467246 w 2712206"/>
                    <a:gd name="connsiteY454" fmla="*/ 133051 h 450019"/>
                    <a:gd name="connsiteX455" fmla="*/ 457032 w 2712206"/>
                    <a:gd name="connsiteY455" fmla="*/ 162128 h 450019"/>
                    <a:gd name="connsiteX456" fmla="*/ 429741 w 2712206"/>
                    <a:gd name="connsiteY456" fmla="*/ 173793 h 450019"/>
                    <a:gd name="connsiteX457" fmla="*/ 402673 w 2712206"/>
                    <a:gd name="connsiteY457" fmla="*/ 162519 h 450019"/>
                    <a:gd name="connsiteX458" fmla="*/ 392683 w 2712206"/>
                    <a:gd name="connsiteY458" fmla="*/ 133274 h 450019"/>
                    <a:gd name="connsiteX459" fmla="*/ 403398 w 2712206"/>
                    <a:gd name="connsiteY459" fmla="*/ 102690 h 450019"/>
                    <a:gd name="connsiteX460" fmla="*/ 430857 w 2712206"/>
                    <a:gd name="connsiteY460" fmla="*/ 91863 h 450019"/>
                    <a:gd name="connsiteX461" fmla="*/ 2090402 w 2712206"/>
                    <a:gd name="connsiteY461" fmla="*/ 63289 h 450019"/>
                    <a:gd name="connsiteX462" fmla="*/ 2063780 w 2712206"/>
                    <a:gd name="connsiteY462" fmla="*/ 74060 h 450019"/>
                    <a:gd name="connsiteX463" fmla="*/ 2050777 w 2712206"/>
                    <a:gd name="connsiteY463" fmla="*/ 104924 h 450019"/>
                    <a:gd name="connsiteX464" fmla="*/ 2124223 w 2712206"/>
                    <a:gd name="connsiteY464" fmla="*/ 104924 h 450019"/>
                    <a:gd name="connsiteX465" fmla="*/ 2114735 w 2712206"/>
                    <a:gd name="connsiteY465" fmla="*/ 74228 h 450019"/>
                    <a:gd name="connsiteX466" fmla="*/ 2090402 w 2712206"/>
                    <a:gd name="connsiteY466" fmla="*/ 63289 h 450019"/>
                    <a:gd name="connsiteX467" fmla="*/ 918826 w 2712206"/>
                    <a:gd name="connsiteY467" fmla="*/ 63289 h 450019"/>
                    <a:gd name="connsiteX468" fmla="*/ 892205 w 2712206"/>
                    <a:gd name="connsiteY468" fmla="*/ 74060 h 450019"/>
                    <a:gd name="connsiteX469" fmla="*/ 879201 w 2712206"/>
                    <a:gd name="connsiteY469" fmla="*/ 104924 h 450019"/>
                    <a:gd name="connsiteX470" fmla="*/ 952647 w 2712206"/>
                    <a:gd name="connsiteY470" fmla="*/ 104924 h 450019"/>
                    <a:gd name="connsiteX471" fmla="*/ 943160 w 2712206"/>
                    <a:gd name="connsiteY471" fmla="*/ 74228 h 450019"/>
                    <a:gd name="connsiteX472" fmla="*/ 918826 w 2712206"/>
                    <a:gd name="connsiteY472" fmla="*/ 63289 h 450019"/>
                    <a:gd name="connsiteX473" fmla="*/ 599107 w 2712206"/>
                    <a:gd name="connsiteY473" fmla="*/ 63289 h 450019"/>
                    <a:gd name="connsiteX474" fmla="*/ 566905 w 2712206"/>
                    <a:gd name="connsiteY474" fmla="*/ 76907 h 450019"/>
                    <a:gd name="connsiteX475" fmla="*/ 554905 w 2712206"/>
                    <a:gd name="connsiteY475" fmla="*/ 114746 h 450019"/>
                    <a:gd name="connsiteX476" fmla="*/ 566626 w 2712206"/>
                    <a:gd name="connsiteY476" fmla="*/ 150800 h 450019"/>
                    <a:gd name="connsiteX477" fmla="*/ 598661 w 2712206"/>
                    <a:gd name="connsiteY477" fmla="*/ 164418 h 450019"/>
                    <a:gd name="connsiteX478" fmla="*/ 630473 w 2712206"/>
                    <a:gd name="connsiteY478" fmla="*/ 151023 h 450019"/>
                    <a:gd name="connsiteX479" fmla="*/ 641635 w 2712206"/>
                    <a:gd name="connsiteY479" fmla="*/ 113853 h 450019"/>
                    <a:gd name="connsiteX480" fmla="*/ 630529 w 2712206"/>
                    <a:gd name="connsiteY480" fmla="*/ 76349 h 450019"/>
                    <a:gd name="connsiteX481" fmla="*/ 599107 w 2712206"/>
                    <a:gd name="connsiteY481" fmla="*/ 63289 h 450019"/>
                    <a:gd name="connsiteX482" fmla="*/ 1634987 w 2712206"/>
                    <a:gd name="connsiteY482" fmla="*/ 63288 h 450019"/>
                    <a:gd name="connsiteX483" fmla="*/ 1604626 w 2712206"/>
                    <a:gd name="connsiteY483" fmla="*/ 77464 h 450019"/>
                    <a:gd name="connsiteX484" fmla="*/ 1593129 w 2712206"/>
                    <a:gd name="connsiteY484" fmla="*/ 114968 h 450019"/>
                    <a:gd name="connsiteX485" fmla="*/ 1603677 w 2712206"/>
                    <a:gd name="connsiteY485" fmla="*/ 151413 h 450019"/>
                    <a:gd name="connsiteX486" fmla="*/ 1631527 w 2712206"/>
                    <a:gd name="connsiteY486" fmla="*/ 164417 h 450019"/>
                    <a:gd name="connsiteX487" fmla="*/ 1660883 w 2712206"/>
                    <a:gd name="connsiteY487" fmla="*/ 152473 h 450019"/>
                    <a:gd name="connsiteX488" fmla="*/ 1671822 w 2712206"/>
                    <a:gd name="connsiteY488" fmla="*/ 123228 h 450019"/>
                    <a:gd name="connsiteX489" fmla="*/ 1671822 w 2712206"/>
                    <a:gd name="connsiteY489" fmla="*/ 100569 h 450019"/>
                    <a:gd name="connsiteX490" fmla="*/ 1661609 w 2712206"/>
                    <a:gd name="connsiteY490" fmla="*/ 74338 h 450019"/>
                    <a:gd name="connsiteX491" fmla="*/ 1634987 w 2712206"/>
                    <a:gd name="connsiteY491" fmla="*/ 63288 h 450019"/>
                    <a:gd name="connsiteX492" fmla="*/ 1444487 w 2712206"/>
                    <a:gd name="connsiteY492" fmla="*/ 63288 h 450019"/>
                    <a:gd name="connsiteX493" fmla="*/ 1414126 w 2712206"/>
                    <a:gd name="connsiteY493" fmla="*/ 77464 h 450019"/>
                    <a:gd name="connsiteX494" fmla="*/ 1402629 w 2712206"/>
                    <a:gd name="connsiteY494" fmla="*/ 114968 h 450019"/>
                    <a:gd name="connsiteX495" fmla="*/ 1413177 w 2712206"/>
                    <a:gd name="connsiteY495" fmla="*/ 151413 h 450019"/>
                    <a:gd name="connsiteX496" fmla="*/ 1441027 w 2712206"/>
                    <a:gd name="connsiteY496" fmla="*/ 164417 h 450019"/>
                    <a:gd name="connsiteX497" fmla="*/ 1470383 w 2712206"/>
                    <a:gd name="connsiteY497" fmla="*/ 152473 h 450019"/>
                    <a:gd name="connsiteX498" fmla="*/ 1481322 w 2712206"/>
                    <a:gd name="connsiteY498" fmla="*/ 123228 h 450019"/>
                    <a:gd name="connsiteX499" fmla="*/ 1481322 w 2712206"/>
                    <a:gd name="connsiteY499" fmla="*/ 100569 h 450019"/>
                    <a:gd name="connsiteX500" fmla="*/ 1471109 w 2712206"/>
                    <a:gd name="connsiteY500" fmla="*/ 74338 h 450019"/>
                    <a:gd name="connsiteX501" fmla="*/ 1444487 w 2712206"/>
                    <a:gd name="connsiteY501" fmla="*/ 63288 h 450019"/>
                    <a:gd name="connsiteX502" fmla="*/ 1148767 w 2712206"/>
                    <a:gd name="connsiteY502" fmla="*/ 63288 h 450019"/>
                    <a:gd name="connsiteX503" fmla="*/ 1119075 w 2712206"/>
                    <a:gd name="connsiteY503" fmla="*/ 77073 h 450019"/>
                    <a:gd name="connsiteX504" fmla="*/ 1107355 w 2712206"/>
                    <a:gd name="connsiteY504" fmla="*/ 114968 h 450019"/>
                    <a:gd name="connsiteX505" fmla="*/ 1117904 w 2712206"/>
                    <a:gd name="connsiteY505" fmla="*/ 151524 h 450019"/>
                    <a:gd name="connsiteX506" fmla="*/ 1145083 w 2712206"/>
                    <a:gd name="connsiteY506" fmla="*/ 164417 h 450019"/>
                    <a:gd name="connsiteX507" fmla="*/ 1175332 w 2712206"/>
                    <a:gd name="connsiteY507" fmla="*/ 152306 h 450019"/>
                    <a:gd name="connsiteX508" fmla="*/ 1186048 w 2712206"/>
                    <a:gd name="connsiteY508" fmla="*/ 122782 h 450019"/>
                    <a:gd name="connsiteX509" fmla="*/ 1186048 w 2712206"/>
                    <a:gd name="connsiteY509" fmla="*/ 101462 h 450019"/>
                    <a:gd name="connsiteX510" fmla="*/ 1175946 w 2712206"/>
                    <a:gd name="connsiteY510" fmla="*/ 74394 h 450019"/>
                    <a:gd name="connsiteX511" fmla="*/ 1148767 w 2712206"/>
                    <a:gd name="connsiteY511" fmla="*/ 63288 h 450019"/>
                    <a:gd name="connsiteX512" fmla="*/ 2476498 w 2712206"/>
                    <a:gd name="connsiteY512" fmla="*/ 56702 h 450019"/>
                    <a:gd name="connsiteX513" fmla="*/ 2486768 w 2712206"/>
                    <a:gd name="connsiteY513" fmla="*/ 56702 h 450019"/>
                    <a:gd name="connsiteX514" fmla="*/ 2486768 w 2712206"/>
                    <a:gd name="connsiteY514" fmla="*/ 171002 h 450019"/>
                    <a:gd name="connsiteX515" fmla="*/ 2476498 w 2712206"/>
                    <a:gd name="connsiteY515" fmla="*/ 171002 h 450019"/>
                    <a:gd name="connsiteX516" fmla="*/ 2309923 w 2712206"/>
                    <a:gd name="connsiteY516" fmla="*/ 56702 h 450019"/>
                    <a:gd name="connsiteX517" fmla="*/ 2321309 w 2712206"/>
                    <a:gd name="connsiteY517" fmla="*/ 56702 h 450019"/>
                    <a:gd name="connsiteX518" fmla="*/ 2347875 w 2712206"/>
                    <a:gd name="connsiteY518" fmla="*/ 147897 h 450019"/>
                    <a:gd name="connsiteX519" fmla="*/ 2349437 w 2712206"/>
                    <a:gd name="connsiteY519" fmla="*/ 157496 h 450019"/>
                    <a:gd name="connsiteX520" fmla="*/ 2350330 w 2712206"/>
                    <a:gd name="connsiteY520" fmla="*/ 157496 h 450019"/>
                    <a:gd name="connsiteX521" fmla="*/ 2352451 w 2712206"/>
                    <a:gd name="connsiteY521" fmla="*/ 147897 h 450019"/>
                    <a:gd name="connsiteX522" fmla="*/ 2381473 w 2712206"/>
                    <a:gd name="connsiteY522" fmla="*/ 56702 h 450019"/>
                    <a:gd name="connsiteX523" fmla="*/ 2388505 w 2712206"/>
                    <a:gd name="connsiteY523" fmla="*/ 56702 h 450019"/>
                    <a:gd name="connsiteX524" fmla="*/ 2414401 w 2712206"/>
                    <a:gd name="connsiteY524" fmla="*/ 147897 h 450019"/>
                    <a:gd name="connsiteX525" fmla="*/ 2415963 w 2712206"/>
                    <a:gd name="connsiteY525" fmla="*/ 157496 h 450019"/>
                    <a:gd name="connsiteX526" fmla="*/ 2416857 w 2712206"/>
                    <a:gd name="connsiteY526" fmla="*/ 157496 h 450019"/>
                    <a:gd name="connsiteX527" fmla="*/ 2418754 w 2712206"/>
                    <a:gd name="connsiteY527" fmla="*/ 147897 h 450019"/>
                    <a:gd name="connsiteX528" fmla="*/ 2445878 w 2712206"/>
                    <a:gd name="connsiteY528" fmla="*/ 56702 h 450019"/>
                    <a:gd name="connsiteX529" fmla="*/ 2456482 w 2712206"/>
                    <a:gd name="connsiteY529" fmla="*/ 56702 h 450019"/>
                    <a:gd name="connsiteX530" fmla="*/ 2420987 w 2712206"/>
                    <a:gd name="connsiteY530" fmla="*/ 171002 h 450019"/>
                    <a:gd name="connsiteX531" fmla="*/ 2411387 w 2712206"/>
                    <a:gd name="connsiteY531" fmla="*/ 171002 h 450019"/>
                    <a:gd name="connsiteX532" fmla="*/ 2386495 w 2712206"/>
                    <a:gd name="connsiteY532" fmla="*/ 84831 h 450019"/>
                    <a:gd name="connsiteX533" fmla="*/ 2384709 w 2712206"/>
                    <a:gd name="connsiteY533" fmla="*/ 75231 h 450019"/>
                    <a:gd name="connsiteX534" fmla="*/ 2384151 w 2712206"/>
                    <a:gd name="connsiteY534" fmla="*/ 75231 h 450019"/>
                    <a:gd name="connsiteX535" fmla="*/ 2381919 w 2712206"/>
                    <a:gd name="connsiteY535" fmla="*/ 84608 h 450019"/>
                    <a:gd name="connsiteX536" fmla="*/ 2354014 w 2712206"/>
                    <a:gd name="connsiteY536" fmla="*/ 171002 h 450019"/>
                    <a:gd name="connsiteX537" fmla="*/ 2344414 w 2712206"/>
                    <a:gd name="connsiteY537" fmla="*/ 171002 h 450019"/>
                    <a:gd name="connsiteX538" fmla="*/ 1228723 w 2712206"/>
                    <a:gd name="connsiteY538" fmla="*/ 56702 h 450019"/>
                    <a:gd name="connsiteX539" fmla="*/ 1238993 w 2712206"/>
                    <a:gd name="connsiteY539" fmla="*/ 56702 h 450019"/>
                    <a:gd name="connsiteX540" fmla="*/ 1238993 w 2712206"/>
                    <a:gd name="connsiteY540" fmla="*/ 171002 h 450019"/>
                    <a:gd name="connsiteX541" fmla="*/ 1228723 w 2712206"/>
                    <a:gd name="connsiteY541" fmla="*/ 171002 h 450019"/>
                    <a:gd name="connsiteX542" fmla="*/ 842627 w 2712206"/>
                    <a:gd name="connsiteY542" fmla="*/ 54470 h 450019"/>
                    <a:gd name="connsiteX543" fmla="*/ 854013 w 2712206"/>
                    <a:gd name="connsiteY543" fmla="*/ 56479 h 450019"/>
                    <a:gd name="connsiteX544" fmla="*/ 854013 w 2712206"/>
                    <a:gd name="connsiteY544" fmla="*/ 67418 h 450019"/>
                    <a:gd name="connsiteX545" fmla="*/ 841957 w 2712206"/>
                    <a:gd name="connsiteY545" fmla="*/ 63734 h 450019"/>
                    <a:gd name="connsiteX546" fmla="*/ 819298 w 2712206"/>
                    <a:gd name="connsiteY546" fmla="*/ 77687 h 450019"/>
                    <a:gd name="connsiteX547" fmla="*/ 810146 w 2712206"/>
                    <a:gd name="connsiteY547" fmla="*/ 117312 h 450019"/>
                    <a:gd name="connsiteX548" fmla="*/ 810146 w 2712206"/>
                    <a:gd name="connsiteY548" fmla="*/ 171002 h 450019"/>
                    <a:gd name="connsiteX549" fmla="*/ 800100 w 2712206"/>
                    <a:gd name="connsiteY549" fmla="*/ 171002 h 450019"/>
                    <a:gd name="connsiteX550" fmla="*/ 800100 w 2712206"/>
                    <a:gd name="connsiteY550" fmla="*/ 56702 h 450019"/>
                    <a:gd name="connsiteX551" fmla="*/ 810146 w 2712206"/>
                    <a:gd name="connsiteY551" fmla="*/ 56702 h 450019"/>
                    <a:gd name="connsiteX552" fmla="*/ 810146 w 2712206"/>
                    <a:gd name="connsiteY552" fmla="*/ 82040 h 450019"/>
                    <a:gd name="connsiteX553" fmla="*/ 810592 w 2712206"/>
                    <a:gd name="connsiteY553" fmla="*/ 82040 h 450019"/>
                    <a:gd name="connsiteX554" fmla="*/ 822982 w 2712206"/>
                    <a:gd name="connsiteY554" fmla="*/ 61725 h 450019"/>
                    <a:gd name="connsiteX555" fmla="*/ 842627 w 2712206"/>
                    <a:gd name="connsiteY555" fmla="*/ 54470 h 450019"/>
                    <a:gd name="connsiteX556" fmla="*/ 2193651 w 2712206"/>
                    <a:gd name="connsiteY556" fmla="*/ 53913 h 450019"/>
                    <a:gd name="connsiteX557" fmla="*/ 2218877 w 2712206"/>
                    <a:gd name="connsiteY557" fmla="*/ 59940 h 450019"/>
                    <a:gd name="connsiteX558" fmla="*/ 2218877 w 2712206"/>
                    <a:gd name="connsiteY558" fmla="*/ 71549 h 450019"/>
                    <a:gd name="connsiteX559" fmla="*/ 2192534 w 2712206"/>
                    <a:gd name="connsiteY559" fmla="*/ 63289 h 450019"/>
                    <a:gd name="connsiteX560" fmla="*/ 2174340 w 2712206"/>
                    <a:gd name="connsiteY560" fmla="*/ 69149 h 450019"/>
                    <a:gd name="connsiteX561" fmla="*/ 2167420 w 2712206"/>
                    <a:gd name="connsiteY561" fmla="*/ 84385 h 450019"/>
                    <a:gd name="connsiteX562" fmla="*/ 2171773 w 2712206"/>
                    <a:gd name="connsiteY562" fmla="*/ 97612 h 450019"/>
                    <a:gd name="connsiteX563" fmla="*/ 2190972 w 2712206"/>
                    <a:gd name="connsiteY563" fmla="*/ 109277 h 450019"/>
                    <a:gd name="connsiteX564" fmla="*/ 2215528 w 2712206"/>
                    <a:gd name="connsiteY564" fmla="*/ 124178 h 450019"/>
                    <a:gd name="connsiteX565" fmla="*/ 2222226 w 2712206"/>
                    <a:gd name="connsiteY565" fmla="*/ 142428 h 450019"/>
                    <a:gd name="connsiteX566" fmla="*/ 2212012 w 2712206"/>
                    <a:gd name="connsiteY566" fmla="*/ 164920 h 450019"/>
                    <a:gd name="connsiteX567" fmla="*/ 2183828 w 2712206"/>
                    <a:gd name="connsiteY567" fmla="*/ 173794 h 450019"/>
                    <a:gd name="connsiteX568" fmla="*/ 2156258 w 2712206"/>
                    <a:gd name="connsiteY568" fmla="*/ 165980 h 450019"/>
                    <a:gd name="connsiteX569" fmla="*/ 2156258 w 2712206"/>
                    <a:gd name="connsiteY569" fmla="*/ 153590 h 450019"/>
                    <a:gd name="connsiteX570" fmla="*/ 2170322 w 2712206"/>
                    <a:gd name="connsiteY570" fmla="*/ 161515 h 450019"/>
                    <a:gd name="connsiteX571" fmla="*/ 2184609 w 2712206"/>
                    <a:gd name="connsiteY571" fmla="*/ 164418 h 450019"/>
                    <a:gd name="connsiteX572" fmla="*/ 2211510 w 2712206"/>
                    <a:gd name="connsiteY572" fmla="*/ 142428 h 450019"/>
                    <a:gd name="connsiteX573" fmla="*/ 2205594 w 2712206"/>
                    <a:gd name="connsiteY573" fmla="*/ 129480 h 450019"/>
                    <a:gd name="connsiteX574" fmla="*/ 2186395 w 2712206"/>
                    <a:gd name="connsiteY574" fmla="*/ 118430 h 450019"/>
                    <a:gd name="connsiteX575" fmla="*/ 2163345 w 2712206"/>
                    <a:gd name="connsiteY575" fmla="*/ 103640 h 450019"/>
                    <a:gd name="connsiteX576" fmla="*/ 2156704 w 2712206"/>
                    <a:gd name="connsiteY576" fmla="*/ 85055 h 450019"/>
                    <a:gd name="connsiteX577" fmla="*/ 2167364 w 2712206"/>
                    <a:gd name="connsiteY577" fmla="*/ 62508 h 450019"/>
                    <a:gd name="connsiteX578" fmla="*/ 2193651 w 2712206"/>
                    <a:gd name="connsiteY578" fmla="*/ 53913 h 450019"/>
                    <a:gd name="connsiteX579" fmla="*/ 2090849 w 2712206"/>
                    <a:gd name="connsiteY579" fmla="*/ 53913 h 450019"/>
                    <a:gd name="connsiteX580" fmla="*/ 2123554 w 2712206"/>
                    <a:gd name="connsiteY580" fmla="*/ 68870 h 450019"/>
                    <a:gd name="connsiteX581" fmla="*/ 2134939 w 2712206"/>
                    <a:gd name="connsiteY581" fmla="*/ 109723 h 450019"/>
                    <a:gd name="connsiteX582" fmla="*/ 2134939 w 2712206"/>
                    <a:gd name="connsiteY582" fmla="*/ 114300 h 450019"/>
                    <a:gd name="connsiteX583" fmla="*/ 2050330 w 2712206"/>
                    <a:gd name="connsiteY583" fmla="*/ 114300 h 450019"/>
                    <a:gd name="connsiteX584" fmla="*/ 2061213 w 2712206"/>
                    <a:gd name="connsiteY584" fmla="*/ 151135 h 450019"/>
                    <a:gd name="connsiteX585" fmla="*/ 2091072 w 2712206"/>
                    <a:gd name="connsiteY585" fmla="*/ 164418 h 450019"/>
                    <a:gd name="connsiteX586" fmla="*/ 2128576 w 2712206"/>
                    <a:gd name="connsiteY586" fmla="*/ 150242 h 450019"/>
                    <a:gd name="connsiteX587" fmla="*/ 2128576 w 2712206"/>
                    <a:gd name="connsiteY587" fmla="*/ 161181 h 450019"/>
                    <a:gd name="connsiteX588" fmla="*/ 2088951 w 2712206"/>
                    <a:gd name="connsiteY588" fmla="*/ 173794 h 450019"/>
                    <a:gd name="connsiteX589" fmla="*/ 2053232 w 2712206"/>
                    <a:gd name="connsiteY589" fmla="*/ 157944 h 450019"/>
                    <a:gd name="connsiteX590" fmla="*/ 2039614 w 2712206"/>
                    <a:gd name="connsiteY590" fmla="*/ 113184 h 450019"/>
                    <a:gd name="connsiteX591" fmla="*/ 2053846 w 2712206"/>
                    <a:gd name="connsiteY591" fmla="*/ 71047 h 450019"/>
                    <a:gd name="connsiteX592" fmla="*/ 2090849 w 2712206"/>
                    <a:gd name="connsiteY592" fmla="*/ 53913 h 450019"/>
                    <a:gd name="connsiteX593" fmla="*/ 1993626 w 2712206"/>
                    <a:gd name="connsiteY593" fmla="*/ 53913 h 450019"/>
                    <a:gd name="connsiteX594" fmla="*/ 2018852 w 2712206"/>
                    <a:gd name="connsiteY594" fmla="*/ 59940 h 450019"/>
                    <a:gd name="connsiteX595" fmla="*/ 2018852 w 2712206"/>
                    <a:gd name="connsiteY595" fmla="*/ 71549 h 450019"/>
                    <a:gd name="connsiteX596" fmla="*/ 1992509 w 2712206"/>
                    <a:gd name="connsiteY596" fmla="*/ 63289 h 450019"/>
                    <a:gd name="connsiteX597" fmla="*/ 1974315 w 2712206"/>
                    <a:gd name="connsiteY597" fmla="*/ 69149 h 450019"/>
                    <a:gd name="connsiteX598" fmla="*/ 1967395 w 2712206"/>
                    <a:gd name="connsiteY598" fmla="*/ 84385 h 450019"/>
                    <a:gd name="connsiteX599" fmla="*/ 1971748 w 2712206"/>
                    <a:gd name="connsiteY599" fmla="*/ 97612 h 450019"/>
                    <a:gd name="connsiteX600" fmla="*/ 1990947 w 2712206"/>
                    <a:gd name="connsiteY600" fmla="*/ 109277 h 450019"/>
                    <a:gd name="connsiteX601" fmla="*/ 2015503 w 2712206"/>
                    <a:gd name="connsiteY601" fmla="*/ 124178 h 450019"/>
                    <a:gd name="connsiteX602" fmla="*/ 2022201 w 2712206"/>
                    <a:gd name="connsiteY602" fmla="*/ 142428 h 450019"/>
                    <a:gd name="connsiteX603" fmla="*/ 2011987 w 2712206"/>
                    <a:gd name="connsiteY603" fmla="*/ 164920 h 450019"/>
                    <a:gd name="connsiteX604" fmla="*/ 1983803 w 2712206"/>
                    <a:gd name="connsiteY604" fmla="*/ 173794 h 450019"/>
                    <a:gd name="connsiteX605" fmla="*/ 1956233 w 2712206"/>
                    <a:gd name="connsiteY605" fmla="*/ 165980 h 450019"/>
                    <a:gd name="connsiteX606" fmla="*/ 1956233 w 2712206"/>
                    <a:gd name="connsiteY606" fmla="*/ 153590 h 450019"/>
                    <a:gd name="connsiteX607" fmla="*/ 1970297 w 2712206"/>
                    <a:gd name="connsiteY607" fmla="*/ 161515 h 450019"/>
                    <a:gd name="connsiteX608" fmla="*/ 1984584 w 2712206"/>
                    <a:gd name="connsiteY608" fmla="*/ 164418 h 450019"/>
                    <a:gd name="connsiteX609" fmla="*/ 2011485 w 2712206"/>
                    <a:gd name="connsiteY609" fmla="*/ 142428 h 450019"/>
                    <a:gd name="connsiteX610" fmla="*/ 2005569 w 2712206"/>
                    <a:gd name="connsiteY610" fmla="*/ 129480 h 450019"/>
                    <a:gd name="connsiteX611" fmla="*/ 1986370 w 2712206"/>
                    <a:gd name="connsiteY611" fmla="*/ 118430 h 450019"/>
                    <a:gd name="connsiteX612" fmla="*/ 1963320 w 2712206"/>
                    <a:gd name="connsiteY612" fmla="*/ 103640 h 450019"/>
                    <a:gd name="connsiteX613" fmla="*/ 1956679 w 2712206"/>
                    <a:gd name="connsiteY613" fmla="*/ 85055 h 450019"/>
                    <a:gd name="connsiteX614" fmla="*/ 1967339 w 2712206"/>
                    <a:gd name="connsiteY614" fmla="*/ 62508 h 450019"/>
                    <a:gd name="connsiteX615" fmla="*/ 1993626 w 2712206"/>
                    <a:gd name="connsiteY615" fmla="*/ 53913 h 450019"/>
                    <a:gd name="connsiteX616" fmla="*/ 1907901 w 2712206"/>
                    <a:gd name="connsiteY616" fmla="*/ 53913 h 450019"/>
                    <a:gd name="connsiteX617" fmla="*/ 1933127 w 2712206"/>
                    <a:gd name="connsiteY617" fmla="*/ 59940 h 450019"/>
                    <a:gd name="connsiteX618" fmla="*/ 1933127 w 2712206"/>
                    <a:gd name="connsiteY618" fmla="*/ 71549 h 450019"/>
                    <a:gd name="connsiteX619" fmla="*/ 1906784 w 2712206"/>
                    <a:gd name="connsiteY619" fmla="*/ 63289 h 450019"/>
                    <a:gd name="connsiteX620" fmla="*/ 1888590 w 2712206"/>
                    <a:gd name="connsiteY620" fmla="*/ 69149 h 450019"/>
                    <a:gd name="connsiteX621" fmla="*/ 1881670 w 2712206"/>
                    <a:gd name="connsiteY621" fmla="*/ 84385 h 450019"/>
                    <a:gd name="connsiteX622" fmla="*/ 1886023 w 2712206"/>
                    <a:gd name="connsiteY622" fmla="*/ 97612 h 450019"/>
                    <a:gd name="connsiteX623" fmla="*/ 1905222 w 2712206"/>
                    <a:gd name="connsiteY623" fmla="*/ 109277 h 450019"/>
                    <a:gd name="connsiteX624" fmla="*/ 1929778 w 2712206"/>
                    <a:gd name="connsiteY624" fmla="*/ 124178 h 450019"/>
                    <a:gd name="connsiteX625" fmla="*/ 1936476 w 2712206"/>
                    <a:gd name="connsiteY625" fmla="*/ 142428 h 450019"/>
                    <a:gd name="connsiteX626" fmla="*/ 1926262 w 2712206"/>
                    <a:gd name="connsiteY626" fmla="*/ 164920 h 450019"/>
                    <a:gd name="connsiteX627" fmla="*/ 1898078 w 2712206"/>
                    <a:gd name="connsiteY627" fmla="*/ 173794 h 450019"/>
                    <a:gd name="connsiteX628" fmla="*/ 1870508 w 2712206"/>
                    <a:gd name="connsiteY628" fmla="*/ 165980 h 450019"/>
                    <a:gd name="connsiteX629" fmla="*/ 1870508 w 2712206"/>
                    <a:gd name="connsiteY629" fmla="*/ 153590 h 450019"/>
                    <a:gd name="connsiteX630" fmla="*/ 1884572 w 2712206"/>
                    <a:gd name="connsiteY630" fmla="*/ 161515 h 450019"/>
                    <a:gd name="connsiteX631" fmla="*/ 1898859 w 2712206"/>
                    <a:gd name="connsiteY631" fmla="*/ 164418 h 450019"/>
                    <a:gd name="connsiteX632" fmla="*/ 1925760 w 2712206"/>
                    <a:gd name="connsiteY632" fmla="*/ 142428 h 450019"/>
                    <a:gd name="connsiteX633" fmla="*/ 1919844 w 2712206"/>
                    <a:gd name="connsiteY633" fmla="*/ 129480 h 450019"/>
                    <a:gd name="connsiteX634" fmla="*/ 1900645 w 2712206"/>
                    <a:gd name="connsiteY634" fmla="*/ 118430 h 450019"/>
                    <a:gd name="connsiteX635" fmla="*/ 1877595 w 2712206"/>
                    <a:gd name="connsiteY635" fmla="*/ 103640 h 450019"/>
                    <a:gd name="connsiteX636" fmla="*/ 1870954 w 2712206"/>
                    <a:gd name="connsiteY636" fmla="*/ 85055 h 450019"/>
                    <a:gd name="connsiteX637" fmla="*/ 1881614 w 2712206"/>
                    <a:gd name="connsiteY637" fmla="*/ 62508 h 450019"/>
                    <a:gd name="connsiteX638" fmla="*/ 1907901 w 2712206"/>
                    <a:gd name="connsiteY638" fmla="*/ 53913 h 450019"/>
                    <a:gd name="connsiteX639" fmla="*/ 1803758 w 2712206"/>
                    <a:gd name="connsiteY639" fmla="*/ 53913 h 450019"/>
                    <a:gd name="connsiteX640" fmla="*/ 1831049 w 2712206"/>
                    <a:gd name="connsiteY640" fmla="*/ 64852 h 450019"/>
                    <a:gd name="connsiteX641" fmla="*/ 1840705 w 2712206"/>
                    <a:gd name="connsiteY641" fmla="*/ 96664 h 450019"/>
                    <a:gd name="connsiteX642" fmla="*/ 1840705 w 2712206"/>
                    <a:gd name="connsiteY642" fmla="*/ 171003 h 450019"/>
                    <a:gd name="connsiteX643" fmla="*/ 1830436 w 2712206"/>
                    <a:gd name="connsiteY643" fmla="*/ 171003 h 450019"/>
                    <a:gd name="connsiteX644" fmla="*/ 1830436 w 2712206"/>
                    <a:gd name="connsiteY644" fmla="*/ 148121 h 450019"/>
                    <a:gd name="connsiteX645" fmla="*/ 1829989 w 2712206"/>
                    <a:gd name="connsiteY645" fmla="*/ 148121 h 450019"/>
                    <a:gd name="connsiteX646" fmla="*/ 1814083 w 2712206"/>
                    <a:gd name="connsiteY646" fmla="*/ 166817 h 450019"/>
                    <a:gd name="connsiteX647" fmla="*/ 1790922 w 2712206"/>
                    <a:gd name="connsiteY647" fmla="*/ 173794 h 450019"/>
                    <a:gd name="connsiteX648" fmla="*/ 1765137 w 2712206"/>
                    <a:gd name="connsiteY648" fmla="*/ 164641 h 450019"/>
                    <a:gd name="connsiteX649" fmla="*/ 1755649 w 2712206"/>
                    <a:gd name="connsiteY649" fmla="*/ 141535 h 450019"/>
                    <a:gd name="connsiteX650" fmla="*/ 1795275 w 2712206"/>
                    <a:gd name="connsiteY650" fmla="*/ 105370 h 450019"/>
                    <a:gd name="connsiteX651" fmla="*/ 1830436 w 2712206"/>
                    <a:gd name="connsiteY651" fmla="*/ 100124 h 450019"/>
                    <a:gd name="connsiteX652" fmla="*/ 1802754 w 2712206"/>
                    <a:gd name="connsiteY652" fmla="*/ 63289 h 450019"/>
                    <a:gd name="connsiteX653" fmla="*/ 1766030 w 2712206"/>
                    <a:gd name="connsiteY653" fmla="*/ 78469 h 450019"/>
                    <a:gd name="connsiteX654" fmla="*/ 1766030 w 2712206"/>
                    <a:gd name="connsiteY654" fmla="*/ 66079 h 450019"/>
                    <a:gd name="connsiteX655" fmla="*/ 1783276 w 2712206"/>
                    <a:gd name="connsiteY655" fmla="*/ 57485 h 450019"/>
                    <a:gd name="connsiteX656" fmla="*/ 1803758 w 2712206"/>
                    <a:gd name="connsiteY656" fmla="*/ 53913 h 450019"/>
                    <a:gd name="connsiteX657" fmla="*/ 1032234 w 2712206"/>
                    <a:gd name="connsiteY657" fmla="*/ 53913 h 450019"/>
                    <a:gd name="connsiteX658" fmla="*/ 1059526 w 2712206"/>
                    <a:gd name="connsiteY658" fmla="*/ 64852 h 450019"/>
                    <a:gd name="connsiteX659" fmla="*/ 1069181 w 2712206"/>
                    <a:gd name="connsiteY659" fmla="*/ 96664 h 450019"/>
                    <a:gd name="connsiteX660" fmla="*/ 1069181 w 2712206"/>
                    <a:gd name="connsiteY660" fmla="*/ 171003 h 450019"/>
                    <a:gd name="connsiteX661" fmla="*/ 1058912 w 2712206"/>
                    <a:gd name="connsiteY661" fmla="*/ 171003 h 450019"/>
                    <a:gd name="connsiteX662" fmla="*/ 1058912 w 2712206"/>
                    <a:gd name="connsiteY662" fmla="*/ 148121 h 450019"/>
                    <a:gd name="connsiteX663" fmla="*/ 1058465 w 2712206"/>
                    <a:gd name="connsiteY663" fmla="*/ 148121 h 450019"/>
                    <a:gd name="connsiteX664" fmla="*/ 1042559 w 2712206"/>
                    <a:gd name="connsiteY664" fmla="*/ 166817 h 450019"/>
                    <a:gd name="connsiteX665" fmla="*/ 1019398 w 2712206"/>
                    <a:gd name="connsiteY665" fmla="*/ 173794 h 450019"/>
                    <a:gd name="connsiteX666" fmla="*/ 993613 w 2712206"/>
                    <a:gd name="connsiteY666" fmla="*/ 164641 h 450019"/>
                    <a:gd name="connsiteX667" fmla="*/ 984126 w 2712206"/>
                    <a:gd name="connsiteY667" fmla="*/ 141535 h 450019"/>
                    <a:gd name="connsiteX668" fmla="*/ 1023751 w 2712206"/>
                    <a:gd name="connsiteY668" fmla="*/ 105370 h 450019"/>
                    <a:gd name="connsiteX669" fmla="*/ 1058912 w 2712206"/>
                    <a:gd name="connsiteY669" fmla="*/ 100124 h 450019"/>
                    <a:gd name="connsiteX670" fmla="*/ 1031230 w 2712206"/>
                    <a:gd name="connsiteY670" fmla="*/ 63289 h 450019"/>
                    <a:gd name="connsiteX671" fmla="*/ 994506 w 2712206"/>
                    <a:gd name="connsiteY671" fmla="*/ 78469 h 450019"/>
                    <a:gd name="connsiteX672" fmla="*/ 994506 w 2712206"/>
                    <a:gd name="connsiteY672" fmla="*/ 66079 h 450019"/>
                    <a:gd name="connsiteX673" fmla="*/ 1011752 w 2712206"/>
                    <a:gd name="connsiteY673" fmla="*/ 57485 h 450019"/>
                    <a:gd name="connsiteX674" fmla="*/ 1032234 w 2712206"/>
                    <a:gd name="connsiteY674" fmla="*/ 53913 h 450019"/>
                    <a:gd name="connsiteX675" fmla="*/ 919273 w 2712206"/>
                    <a:gd name="connsiteY675" fmla="*/ 53913 h 450019"/>
                    <a:gd name="connsiteX676" fmla="*/ 951978 w 2712206"/>
                    <a:gd name="connsiteY676" fmla="*/ 68870 h 450019"/>
                    <a:gd name="connsiteX677" fmla="*/ 963363 w 2712206"/>
                    <a:gd name="connsiteY677" fmla="*/ 109723 h 450019"/>
                    <a:gd name="connsiteX678" fmla="*/ 963363 w 2712206"/>
                    <a:gd name="connsiteY678" fmla="*/ 114300 h 450019"/>
                    <a:gd name="connsiteX679" fmla="*/ 878754 w 2712206"/>
                    <a:gd name="connsiteY679" fmla="*/ 114300 h 450019"/>
                    <a:gd name="connsiteX680" fmla="*/ 889637 w 2712206"/>
                    <a:gd name="connsiteY680" fmla="*/ 151135 h 450019"/>
                    <a:gd name="connsiteX681" fmla="*/ 919496 w 2712206"/>
                    <a:gd name="connsiteY681" fmla="*/ 164418 h 450019"/>
                    <a:gd name="connsiteX682" fmla="*/ 957001 w 2712206"/>
                    <a:gd name="connsiteY682" fmla="*/ 150242 h 450019"/>
                    <a:gd name="connsiteX683" fmla="*/ 957001 w 2712206"/>
                    <a:gd name="connsiteY683" fmla="*/ 161181 h 450019"/>
                    <a:gd name="connsiteX684" fmla="*/ 917375 w 2712206"/>
                    <a:gd name="connsiteY684" fmla="*/ 173794 h 450019"/>
                    <a:gd name="connsiteX685" fmla="*/ 881656 w 2712206"/>
                    <a:gd name="connsiteY685" fmla="*/ 157944 h 450019"/>
                    <a:gd name="connsiteX686" fmla="*/ 868039 w 2712206"/>
                    <a:gd name="connsiteY686" fmla="*/ 113184 h 450019"/>
                    <a:gd name="connsiteX687" fmla="*/ 882270 w 2712206"/>
                    <a:gd name="connsiteY687" fmla="*/ 71047 h 450019"/>
                    <a:gd name="connsiteX688" fmla="*/ 919273 w 2712206"/>
                    <a:gd name="connsiteY688" fmla="*/ 53913 h 450019"/>
                    <a:gd name="connsiteX689" fmla="*/ 599554 w 2712206"/>
                    <a:gd name="connsiteY689" fmla="*/ 53913 h 450019"/>
                    <a:gd name="connsiteX690" fmla="*/ 638175 w 2712206"/>
                    <a:gd name="connsiteY690" fmla="*/ 69875 h 450019"/>
                    <a:gd name="connsiteX691" fmla="*/ 652351 w 2712206"/>
                    <a:gd name="connsiteY691" fmla="*/ 114076 h 450019"/>
                    <a:gd name="connsiteX692" fmla="*/ 637896 w 2712206"/>
                    <a:gd name="connsiteY692" fmla="*/ 157274 h 450019"/>
                    <a:gd name="connsiteX693" fmla="*/ 598326 w 2712206"/>
                    <a:gd name="connsiteY693" fmla="*/ 173794 h 450019"/>
                    <a:gd name="connsiteX694" fmla="*/ 558756 w 2712206"/>
                    <a:gd name="connsiteY694" fmla="*/ 157330 h 450019"/>
                    <a:gd name="connsiteX695" fmla="*/ 544190 w 2712206"/>
                    <a:gd name="connsiteY695" fmla="*/ 114523 h 450019"/>
                    <a:gd name="connsiteX696" fmla="*/ 559426 w 2712206"/>
                    <a:gd name="connsiteY696" fmla="*/ 69986 h 450019"/>
                    <a:gd name="connsiteX697" fmla="*/ 599554 w 2712206"/>
                    <a:gd name="connsiteY697" fmla="*/ 53913 h 450019"/>
                    <a:gd name="connsiteX698" fmla="*/ 1634764 w 2712206"/>
                    <a:gd name="connsiteY698" fmla="*/ 53912 h 450019"/>
                    <a:gd name="connsiteX699" fmla="*/ 1671375 w 2712206"/>
                    <a:gd name="connsiteY699" fmla="*/ 74785 h 450019"/>
                    <a:gd name="connsiteX700" fmla="*/ 1671822 w 2712206"/>
                    <a:gd name="connsiteY700" fmla="*/ 74785 h 450019"/>
                    <a:gd name="connsiteX701" fmla="*/ 1671822 w 2712206"/>
                    <a:gd name="connsiteY701" fmla="*/ 56702 h 450019"/>
                    <a:gd name="connsiteX702" fmla="*/ 1682091 w 2712206"/>
                    <a:gd name="connsiteY702" fmla="*/ 56702 h 450019"/>
                    <a:gd name="connsiteX703" fmla="*/ 1682091 w 2712206"/>
                    <a:gd name="connsiteY703" fmla="*/ 162519 h 450019"/>
                    <a:gd name="connsiteX704" fmla="*/ 1668027 w 2712206"/>
                    <a:gd name="connsiteY704" fmla="*/ 209735 h 450019"/>
                    <a:gd name="connsiteX705" fmla="*/ 1624271 w 2712206"/>
                    <a:gd name="connsiteY705" fmla="*/ 224692 h 450019"/>
                    <a:gd name="connsiteX706" fmla="*/ 1590227 w 2712206"/>
                    <a:gd name="connsiteY706" fmla="*/ 215986 h 450019"/>
                    <a:gd name="connsiteX707" fmla="*/ 1590227 w 2712206"/>
                    <a:gd name="connsiteY707" fmla="*/ 205270 h 450019"/>
                    <a:gd name="connsiteX708" fmla="*/ 1624495 w 2712206"/>
                    <a:gd name="connsiteY708" fmla="*/ 215316 h 450019"/>
                    <a:gd name="connsiteX709" fmla="*/ 1671822 w 2712206"/>
                    <a:gd name="connsiteY709" fmla="*/ 165310 h 450019"/>
                    <a:gd name="connsiteX710" fmla="*/ 1671822 w 2712206"/>
                    <a:gd name="connsiteY710" fmla="*/ 150464 h 450019"/>
                    <a:gd name="connsiteX711" fmla="*/ 1671375 w 2712206"/>
                    <a:gd name="connsiteY711" fmla="*/ 150464 h 450019"/>
                    <a:gd name="connsiteX712" fmla="*/ 1630187 w 2712206"/>
                    <a:gd name="connsiteY712" fmla="*/ 173793 h 450019"/>
                    <a:gd name="connsiteX713" fmla="*/ 1595752 w 2712206"/>
                    <a:gd name="connsiteY713" fmla="*/ 158501 h 450019"/>
                    <a:gd name="connsiteX714" fmla="*/ 1582413 w 2712206"/>
                    <a:gd name="connsiteY714" fmla="*/ 115861 h 450019"/>
                    <a:gd name="connsiteX715" fmla="*/ 1596813 w 2712206"/>
                    <a:gd name="connsiteY715" fmla="*/ 71213 h 450019"/>
                    <a:gd name="connsiteX716" fmla="*/ 1634764 w 2712206"/>
                    <a:gd name="connsiteY716" fmla="*/ 53912 h 450019"/>
                    <a:gd name="connsiteX717" fmla="*/ 1444264 w 2712206"/>
                    <a:gd name="connsiteY717" fmla="*/ 53912 h 450019"/>
                    <a:gd name="connsiteX718" fmla="*/ 1480875 w 2712206"/>
                    <a:gd name="connsiteY718" fmla="*/ 74785 h 450019"/>
                    <a:gd name="connsiteX719" fmla="*/ 1481322 w 2712206"/>
                    <a:gd name="connsiteY719" fmla="*/ 74785 h 450019"/>
                    <a:gd name="connsiteX720" fmla="*/ 1481322 w 2712206"/>
                    <a:gd name="connsiteY720" fmla="*/ 56702 h 450019"/>
                    <a:gd name="connsiteX721" fmla="*/ 1491591 w 2712206"/>
                    <a:gd name="connsiteY721" fmla="*/ 56702 h 450019"/>
                    <a:gd name="connsiteX722" fmla="*/ 1491591 w 2712206"/>
                    <a:gd name="connsiteY722" fmla="*/ 162519 h 450019"/>
                    <a:gd name="connsiteX723" fmla="*/ 1477527 w 2712206"/>
                    <a:gd name="connsiteY723" fmla="*/ 209735 h 450019"/>
                    <a:gd name="connsiteX724" fmla="*/ 1433771 w 2712206"/>
                    <a:gd name="connsiteY724" fmla="*/ 224692 h 450019"/>
                    <a:gd name="connsiteX725" fmla="*/ 1399727 w 2712206"/>
                    <a:gd name="connsiteY725" fmla="*/ 215986 h 450019"/>
                    <a:gd name="connsiteX726" fmla="*/ 1399727 w 2712206"/>
                    <a:gd name="connsiteY726" fmla="*/ 205270 h 450019"/>
                    <a:gd name="connsiteX727" fmla="*/ 1433995 w 2712206"/>
                    <a:gd name="connsiteY727" fmla="*/ 215316 h 450019"/>
                    <a:gd name="connsiteX728" fmla="*/ 1481322 w 2712206"/>
                    <a:gd name="connsiteY728" fmla="*/ 165310 h 450019"/>
                    <a:gd name="connsiteX729" fmla="*/ 1481322 w 2712206"/>
                    <a:gd name="connsiteY729" fmla="*/ 150464 h 450019"/>
                    <a:gd name="connsiteX730" fmla="*/ 1480875 w 2712206"/>
                    <a:gd name="connsiteY730" fmla="*/ 150464 h 450019"/>
                    <a:gd name="connsiteX731" fmla="*/ 1439687 w 2712206"/>
                    <a:gd name="connsiteY731" fmla="*/ 173793 h 450019"/>
                    <a:gd name="connsiteX732" fmla="*/ 1405252 w 2712206"/>
                    <a:gd name="connsiteY732" fmla="*/ 158501 h 450019"/>
                    <a:gd name="connsiteX733" fmla="*/ 1391913 w 2712206"/>
                    <a:gd name="connsiteY733" fmla="*/ 115861 h 450019"/>
                    <a:gd name="connsiteX734" fmla="*/ 1406313 w 2712206"/>
                    <a:gd name="connsiteY734" fmla="*/ 71213 h 450019"/>
                    <a:gd name="connsiteX735" fmla="*/ 1444264 w 2712206"/>
                    <a:gd name="connsiteY735" fmla="*/ 53912 h 450019"/>
                    <a:gd name="connsiteX736" fmla="*/ 1326131 w 2712206"/>
                    <a:gd name="connsiteY736" fmla="*/ 53912 h 450019"/>
                    <a:gd name="connsiteX737" fmla="*/ 1354483 w 2712206"/>
                    <a:gd name="connsiteY737" fmla="*/ 66246 h 450019"/>
                    <a:gd name="connsiteX738" fmla="*/ 1364306 w 2712206"/>
                    <a:gd name="connsiteY738" fmla="*/ 101462 h 450019"/>
                    <a:gd name="connsiteX739" fmla="*/ 1364306 w 2712206"/>
                    <a:gd name="connsiteY739" fmla="*/ 171002 h 450019"/>
                    <a:gd name="connsiteX740" fmla="*/ 1354037 w 2712206"/>
                    <a:gd name="connsiteY740" fmla="*/ 171002 h 450019"/>
                    <a:gd name="connsiteX741" fmla="*/ 1354037 w 2712206"/>
                    <a:gd name="connsiteY741" fmla="*/ 104476 h 450019"/>
                    <a:gd name="connsiteX742" fmla="*/ 1324346 w 2712206"/>
                    <a:gd name="connsiteY742" fmla="*/ 63288 h 450019"/>
                    <a:gd name="connsiteX743" fmla="*/ 1297222 w 2712206"/>
                    <a:gd name="connsiteY743" fmla="*/ 75399 h 450019"/>
                    <a:gd name="connsiteX744" fmla="*/ 1286618 w 2712206"/>
                    <a:gd name="connsiteY744" fmla="*/ 105369 h 450019"/>
                    <a:gd name="connsiteX745" fmla="*/ 1286618 w 2712206"/>
                    <a:gd name="connsiteY745" fmla="*/ 171002 h 450019"/>
                    <a:gd name="connsiteX746" fmla="*/ 1276348 w 2712206"/>
                    <a:gd name="connsiteY746" fmla="*/ 171002 h 450019"/>
                    <a:gd name="connsiteX747" fmla="*/ 1276348 w 2712206"/>
                    <a:gd name="connsiteY747" fmla="*/ 56702 h 450019"/>
                    <a:gd name="connsiteX748" fmla="*/ 1286618 w 2712206"/>
                    <a:gd name="connsiteY748" fmla="*/ 56702 h 450019"/>
                    <a:gd name="connsiteX749" fmla="*/ 1286618 w 2712206"/>
                    <a:gd name="connsiteY749" fmla="*/ 77464 h 450019"/>
                    <a:gd name="connsiteX750" fmla="*/ 1287064 w 2712206"/>
                    <a:gd name="connsiteY750" fmla="*/ 77464 h 450019"/>
                    <a:gd name="connsiteX751" fmla="*/ 1326131 w 2712206"/>
                    <a:gd name="connsiteY751" fmla="*/ 53912 h 450019"/>
                    <a:gd name="connsiteX752" fmla="*/ 241881 w 2712206"/>
                    <a:gd name="connsiteY752" fmla="*/ 17635 h 450019"/>
                    <a:gd name="connsiteX753" fmla="*/ 213195 w 2712206"/>
                    <a:gd name="connsiteY753" fmla="*/ 36499 h 450019"/>
                    <a:gd name="connsiteX754" fmla="*/ 202926 w 2712206"/>
                    <a:gd name="connsiteY754" fmla="*/ 93091 h 450019"/>
                    <a:gd name="connsiteX755" fmla="*/ 212748 w 2712206"/>
                    <a:gd name="connsiteY755" fmla="*/ 145943 h 450019"/>
                    <a:gd name="connsiteX756" fmla="*/ 240654 w 2712206"/>
                    <a:gd name="connsiteY756" fmla="*/ 164417 h 450019"/>
                    <a:gd name="connsiteX757" fmla="*/ 268280 w 2712206"/>
                    <a:gd name="connsiteY757" fmla="*/ 145608 h 450019"/>
                    <a:gd name="connsiteX758" fmla="*/ 278158 w 2712206"/>
                    <a:gd name="connsiteY758" fmla="*/ 91863 h 450019"/>
                    <a:gd name="connsiteX759" fmla="*/ 241881 w 2712206"/>
                    <a:gd name="connsiteY759" fmla="*/ 17635 h 450019"/>
                    <a:gd name="connsiteX760" fmla="*/ 343123 w 2712206"/>
                    <a:gd name="connsiteY760" fmla="*/ 16965 h 450019"/>
                    <a:gd name="connsiteX761" fmla="*/ 322864 w 2712206"/>
                    <a:gd name="connsiteY761" fmla="*/ 25504 h 450019"/>
                    <a:gd name="connsiteX762" fmla="*/ 315441 w 2712206"/>
                    <a:gd name="connsiteY762" fmla="*/ 49335 h 450019"/>
                    <a:gd name="connsiteX763" fmla="*/ 322640 w 2712206"/>
                    <a:gd name="connsiteY763" fmla="*/ 72218 h 450019"/>
                    <a:gd name="connsiteX764" fmla="*/ 342453 w 2712206"/>
                    <a:gd name="connsiteY764" fmla="*/ 80701 h 450019"/>
                    <a:gd name="connsiteX765" fmla="*/ 362378 w 2712206"/>
                    <a:gd name="connsiteY765" fmla="*/ 71994 h 450019"/>
                    <a:gd name="connsiteX766" fmla="*/ 369577 w 2712206"/>
                    <a:gd name="connsiteY766" fmla="*/ 48666 h 450019"/>
                    <a:gd name="connsiteX767" fmla="*/ 362433 w 2712206"/>
                    <a:gd name="connsiteY767" fmla="*/ 24946 h 450019"/>
                    <a:gd name="connsiteX768" fmla="*/ 343123 w 2712206"/>
                    <a:gd name="connsiteY768" fmla="*/ 16965 h 450019"/>
                    <a:gd name="connsiteX769" fmla="*/ 427731 w 2712206"/>
                    <a:gd name="connsiteY769" fmla="*/ 11162 h 450019"/>
                    <a:gd name="connsiteX770" fmla="*/ 438446 w 2712206"/>
                    <a:gd name="connsiteY770" fmla="*/ 11162 h 450019"/>
                    <a:gd name="connsiteX771" fmla="*/ 342452 w 2712206"/>
                    <a:gd name="connsiteY771" fmla="*/ 174687 h 450019"/>
                    <a:gd name="connsiteX772" fmla="*/ 331402 w 2712206"/>
                    <a:gd name="connsiteY772" fmla="*/ 174687 h 450019"/>
                    <a:gd name="connsiteX773" fmla="*/ 2481521 w 2712206"/>
                    <a:gd name="connsiteY773" fmla="*/ 10938 h 450019"/>
                    <a:gd name="connsiteX774" fmla="*/ 2487604 w 2712206"/>
                    <a:gd name="connsiteY774" fmla="*/ 13170 h 450019"/>
                    <a:gd name="connsiteX775" fmla="*/ 2490228 w 2712206"/>
                    <a:gd name="connsiteY775" fmla="*/ 19198 h 450019"/>
                    <a:gd name="connsiteX776" fmla="*/ 2487660 w 2712206"/>
                    <a:gd name="connsiteY776" fmla="*/ 25337 h 450019"/>
                    <a:gd name="connsiteX777" fmla="*/ 2481521 w 2712206"/>
                    <a:gd name="connsiteY777" fmla="*/ 27904 h 450019"/>
                    <a:gd name="connsiteX778" fmla="*/ 2475605 w 2712206"/>
                    <a:gd name="connsiteY778" fmla="*/ 25448 h 450019"/>
                    <a:gd name="connsiteX779" fmla="*/ 2473038 w 2712206"/>
                    <a:gd name="connsiteY779" fmla="*/ 19198 h 450019"/>
                    <a:gd name="connsiteX780" fmla="*/ 2475661 w 2712206"/>
                    <a:gd name="connsiteY780" fmla="*/ 13226 h 450019"/>
                    <a:gd name="connsiteX781" fmla="*/ 2481521 w 2712206"/>
                    <a:gd name="connsiteY781" fmla="*/ 10938 h 450019"/>
                    <a:gd name="connsiteX782" fmla="*/ 1233746 w 2712206"/>
                    <a:gd name="connsiteY782" fmla="*/ 10938 h 450019"/>
                    <a:gd name="connsiteX783" fmla="*/ 1239830 w 2712206"/>
                    <a:gd name="connsiteY783" fmla="*/ 13170 h 450019"/>
                    <a:gd name="connsiteX784" fmla="*/ 1242453 w 2712206"/>
                    <a:gd name="connsiteY784" fmla="*/ 19198 h 450019"/>
                    <a:gd name="connsiteX785" fmla="*/ 1239886 w 2712206"/>
                    <a:gd name="connsiteY785" fmla="*/ 25337 h 450019"/>
                    <a:gd name="connsiteX786" fmla="*/ 1233746 w 2712206"/>
                    <a:gd name="connsiteY786" fmla="*/ 27904 h 450019"/>
                    <a:gd name="connsiteX787" fmla="*/ 1227831 w 2712206"/>
                    <a:gd name="connsiteY787" fmla="*/ 25448 h 450019"/>
                    <a:gd name="connsiteX788" fmla="*/ 1225263 w 2712206"/>
                    <a:gd name="connsiteY788" fmla="*/ 19198 h 450019"/>
                    <a:gd name="connsiteX789" fmla="*/ 1227886 w 2712206"/>
                    <a:gd name="connsiteY789" fmla="*/ 13226 h 450019"/>
                    <a:gd name="connsiteX790" fmla="*/ 1233746 w 2712206"/>
                    <a:gd name="connsiteY790" fmla="*/ 10938 h 450019"/>
                    <a:gd name="connsiteX791" fmla="*/ 242774 w 2712206"/>
                    <a:gd name="connsiteY791" fmla="*/ 8259 h 450019"/>
                    <a:gd name="connsiteX792" fmla="*/ 288986 w 2712206"/>
                    <a:gd name="connsiteY792" fmla="*/ 90300 h 450019"/>
                    <a:gd name="connsiteX793" fmla="*/ 275926 w 2712206"/>
                    <a:gd name="connsiteY793" fmla="*/ 152473 h 450019"/>
                    <a:gd name="connsiteX794" fmla="*/ 239314 w 2712206"/>
                    <a:gd name="connsiteY794" fmla="*/ 173793 h 450019"/>
                    <a:gd name="connsiteX795" fmla="*/ 204712 w 2712206"/>
                    <a:gd name="connsiteY795" fmla="*/ 153478 h 450019"/>
                    <a:gd name="connsiteX796" fmla="*/ 192210 w 2712206"/>
                    <a:gd name="connsiteY796" fmla="*/ 94430 h 450019"/>
                    <a:gd name="connsiteX797" fmla="*/ 205326 w 2712206"/>
                    <a:gd name="connsiteY797" fmla="*/ 29969 h 450019"/>
                    <a:gd name="connsiteX798" fmla="*/ 242774 w 2712206"/>
                    <a:gd name="connsiteY798" fmla="*/ 8259 h 450019"/>
                    <a:gd name="connsiteX799" fmla="*/ 343346 w 2712206"/>
                    <a:gd name="connsiteY799" fmla="*/ 7812 h 450019"/>
                    <a:gd name="connsiteX800" fmla="*/ 369912 w 2712206"/>
                    <a:gd name="connsiteY800" fmla="*/ 18639 h 450019"/>
                    <a:gd name="connsiteX801" fmla="*/ 379735 w 2712206"/>
                    <a:gd name="connsiteY801" fmla="*/ 48889 h 450019"/>
                    <a:gd name="connsiteX802" fmla="*/ 369521 w 2712206"/>
                    <a:gd name="connsiteY802" fmla="*/ 77966 h 450019"/>
                    <a:gd name="connsiteX803" fmla="*/ 342230 w 2712206"/>
                    <a:gd name="connsiteY803" fmla="*/ 89630 h 450019"/>
                    <a:gd name="connsiteX804" fmla="*/ 315106 w 2712206"/>
                    <a:gd name="connsiteY804" fmla="*/ 78357 h 450019"/>
                    <a:gd name="connsiteX805" fmla="*/ 305172 w 2712206"/>
                    <a:gd name="connsiteY805" fmla="*/ 49112 h 450019"/>
                    <a:gd name="connsiteX806" fmla="*/ 315720 w 2712206"/>
                    <a:gd name="connsiteY806" fmla="*/ 18695 h 450019"/>
                    <a:gd name="connsiteX807" fmla="*/ 343346 w 2712206"/>
                    <a:gd name="connsiteY807" fmla="*/ 7812 h 450019"/>
                    <a:gd name="connsiteX808" fmla="*/ 151134 w 2712206"/>
                    <a:gd name="connsiteY808" fmla="*/ 7366 h 450019"/>
                    <a:gd name="connsiteX809" fmla="*/ 154705 w 2712206"/>
                    <a:gd name="connsiteY809" fmla="*/ 7366 h 450019"/>
                    <a:gd name="connsiteX810" fmla="*/ 154705 w 2712206"/>
                    <a:gd name="connsiteY810" fmla="*/ 171002 h 450019"/>
                    <a:gd name="connsiteX811" fmla="*/ 144436 w 2712206"/>
                    <a:gd name="connsiteY811" fmla="*/ 171002 h 450019"/>
                    <a:gd name="connsiteX812" fmla="*/ 144436 w 2712206"/>
                    <a:gd name="connsiteY812" fmla="*/ 23551 h 450019"/>
                    <a:gd name="connsiteX813" fmla="*/ 126856 w 2712206"/>
                    <a:gd name="connsiteY813" fmla="*/ 36276 h 450019"/>
                    <a:gd name="connsiteX814" fmla="*/ 105257 w 2712206"/>
                    <a:gd name="connsiteY814" fmla="*/ 45763 h 450019"/>
                    <a:gd name="connsiteX815" fmla="*/ 105257 w 2712206"/>
                    <a:gd name="connsiteY815" fmla="*/ 36387 h 450019"/>
                    <a:gd name="connsiteX816" fmla="*/ 118317 w 2712206"/>
                    <a:gd name="connsiteY816" fmla="*/ 31085 h 450019"/>
                    <a:gd name="connsiteX817" fmla="*/ 129870 w 2712206"/>
                    <a:gd name="connsiteY817" fmla="*/ 24555 h 450019"/>
                    <a:gd name="connsiteX818" fmla="*/ 140585 w 2712206"/>
                    <a:gd name="connsiteY818" fmla="*/ 16686 h 450019"/>
                    <a:gd name="connsiteX819" fmla="*/ 151134 w 2712206"/>
                    <a:gd name="connsiteY819" fmla="*/ 7366 h 450019"/>
                    <a:gd name="connsiteX820" fmla="*/ 2571748 w 2712206"/>
                    <a:gd name="connsiteY820" fmla="*/ 1786 h 450019"/>
                    <a:gd name="connsiteX821" fmla="*/ 2582018 w 2712206"/>
                    <a:gd name="connsiteY821" fmla="*/ 1786 h 450019"/>
                    <a:gd name="connsiteX822" fmla="*/ 2582018 w 2712206"/>
                    <a:gd name="connsiteY822" fmla="*/ 171003 h 450019"/>
                    <a:gd name="connsiteX823" fmla="*/ 2571748 w 2712206"/>
                    <a:gd name="connsiteY823" fmla="*/ 171003 h 450019"/>
                    <a:gd name="connsiteX824" fmla="*/ 2524124 w 2712206"/>
                    <a:gd name="connsiteY824" fmla="*/ 1786 h 450019"/>
                    <a:gd name="connsiteX825" fmla="*/ 2534393 w 2712206"/>
                    <a:gd name="connsiteY825" fmla="*/ 1786 h 450019"/>
                    <a:gd name="connsiteX826" fmla="*/ 2534393 w 2712206"/>
                    <a:gd name="connsiteY826" fmla="*/ 171003 h 450019"/>
                    <a:gd name="connsiteX827" fmla="*/ 2524124 w 2712206"/>
                    <a:gd name="connsiteY827" fmla="*/ 171003 h 450019"/>
                    <a:gd name="connsiteX828" fmla="*/ 1714498 w 2712206"/>
                    <a:gd name="connsiteY828" fmla="*/ 1786 h 450019"/>
                    <a:gd name="connsiteX829" fmla="*/ 1724768 w 2712206"/>
                    <a:gd name="connsiteY829" fmla="*/ 1786 h 450019"/>
                    <a:gd name="connsiteX830" fmla="*/ 1724768 w 2712206"/>
                    <a:gd name="connsiteY830" fmla="*/ 171003 h 450019"/>
                    <a:gd name="connsiteX831" fmla="*/ 1714498 w 2712206"/>
                    <a:gd name="connsiteY831" fmla="*/ 171003 h 450019"/>
                    <a:gd name="connsiteX832" fmla="*/ 1186048 w 2712206"/>
                    <a:gd name="connsiteY832" fmla="*/ 1785 h 450019"/>
                    <a:gd name="connsiteX833" fmla="*/ 1196317 w 2712206"/>
                    <a:gd name="connsiteY833" fmla="*/ 1785 h 450019"/>
                    <a:gd name="connsiteX834" fmla="*/ 1196317 w 2712206"/>
                    <a:gd name="connsiteY834" fmla="*/ 171002 h 450019"/>
                    <a:gd name="connsiteX835" fmla="*/ 1186048 w 2712206"/>
                    <a:gd name="connsiteY835" fmla="*/ 171002 h 450019"/>
                    <a:gd name="connsiteX836" fmla="*/ 1186048 w 2712206"/>
                    <a:gd name="connsiteY836" fmla="*/ 150241 h 450019"/>
                    <a:gd name="connsiteX837" fmla="*/ 1185602 w 2712206"/>
                    <a:gd name="connsiteY837" fmla="*/ 150241 h 450019"/>
                    <a:gd name="connsiteX838" fmla="*/ 1169082 w 2712206"/>
                    <a:gd name="connsiteY838" fmla="*/ 167430 h 450019"/>
                    <a:gd name="connsiteX839" fmla="*/ 1144414 w 2712206"/>
                    <a:gd name="connsiteY839" fmla="*/ 173793 h 450019"/>
                    <a:gd name="connsiteX840" fmla="*/ 1109978 w 2712206"/>
                    <a:gd name="connsiteY840" fmla="*/ 158389 h 450019"/>
                    <a:gd name="connsiteX841" fmla="*/ 1096640 w 2712206"/>
                    <a:gd name="connsiteY841" fmla="*/ 115861 h 450019"/>
                    <a:gd name="connsiteX842" fmla="*/ 1111206 w 2712206"/>
                    <a:gd name="connsiteY842" fmla="*/ 71046 h 450019"/>
                    <a:gd name="connsiteX843" fmla="*/ 1148990 w 2712206"/>
                    <a:gd name="connsiteY843" fmla="*/ 53912 h 450019"/>
                    <a:gd name="connsiteX844" fmla="*/ 1185602 w 2712206"/>
                    <a:gd name="connsiteY844" fmla="*/ 75008 h 450019"/>
                    <a:gd name="connsiteX845" fmla="*/ 1186048 w 2712206"/>
                    <a:gd name="connsiteY845" fmla="*/ 75008 h 450019"/>
                    <a:gd name="connsiteX846" fmla="*/ 704701 w 2712206"/>
                    <a:gd name="connsiteY846" fmla="*/ 0 h 450019"/>
                    <a:gd name="connsiteX847" fmla="*/ 716756 w 2712206"/>
                    <a:gd name="connsiteY847" fmla="*/ 2121 h 450019"/>
                    <a:gd name="connsiteX848" fmla="*/ 716756 w 2712206"/>
                    <a:gd name="connsiteY848" fmla="*/ 12613 h 450019"/>
                    <a:gd name="connsiteX849" fmla="*/ 704254 w 2712206"/>
                    <a:gd name="connsiteY849" fmla="*/ 9376 h 450019"/>
                    <a:gd name="connsiteX850" fmla="*/ 683158 w 2712206"/>
                    <a:gd name="connsiteY850" fmla="*/ 37728 h 450019"/>
                    <a:gd name="connsiteX851" fmla="*/ 683158 w 2712206"/>
                    <a:gd name="connsiteY851" fmla="*/ 56703 h 450019"/>
                    <a:gd name="connsiteX852" fmla="*/ 713407 w 2712206"/>
                    <a:gd name="connsiteY852" fmla="*/ 56703 h 450019"/>
                    <a:gd name="connsiteX853" fmla="*/ 713407 w 2712206"/>
                    <a:gd name="connsiteY853" fmla="*/ 66079 h 450019"/>
                    <a:gd name="connsiteX854" fmla="*/ 683158 w 2712206"/>
                    <a:gd name="connsiteY854" fmla="*/ 66079 h 450019"/>
                    <a:gd name="connsiteX855" fmla="*/ 683158 w 2712206"/>
                    <a:gd name="connsiteY855" fmla="*/ 171003 h 450019"/>
                    <a:gd name="connsiteX856" fmla="*/ 672889 w 2712206"/>
                    <a:gd name="connsiteY856" fmla="*/ 171003 h 450019"/>
                    <a:gd name="connsiteX857" fmla="*/ 672889 w 2712206"/>
                    <a:gd name="connsiteY857" fmla="*/ 66079 h 450019"/>
                    <a:gd name="connsiteX858" fmla="*/ 652351 w 2712206"/>
                    <a:gd name="connsiteY858" fmla="*/ 66079 h 450019"/>
                    <a:gd name="connsiteX859" fmla="*/ 652351 w 2712206"/>
                    <a:gd name="connsiteY859" fmla="*/ 56703 h 450019"/>
                    <a:gd name="connsiteX860" fmla="*/ 672889 w 2712206"/>
                    <a:gd name="connsiteY860" fmla="*/ 56703 h 450019"/>
                    <a:gd name="connsiteX861" fmla="*/ 672889 w 2712206"/>
                    <a:gd name="connsiteY861" fmla="*/ 36835 h 450019"/>
                    <a:gd name="connsiteX862" fmla="*/ 681986 w 2712206"/>
                    <a:gd name="connsiteY862" fmla="*/ 9376 h 450019"/>
                    <a:gd name="connsiteX863" fmla="*/ 704701 w 2712206"/>
                    <a:gd name="connsiteY863" fmla="*/ 0 h 4500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  <a:cxn ang="0">
                      <a:pos x="connsiteX851" y="connsiteY851"/>
                    </a:cxn>
                    <a:cxn ang="0">
                      <a:pos x="connsiteX852" y="connsiteY852"/>
                    </a:cxn>
                    <a:cxn ang="0">
                      <a:pos x="connsiteX853" y="connsiteY853"/>
                    </a:cxn>
                    <a:cxn ang="0">
                      <a:pos x="connsiteX854" y="connsiteY854"/>
                    </a:cxn>
                    <a:cxn ang="0">
                      <a:pos x="connsiteX855" y="connsiteY855"/>
                    </a:cxn>
                    <a:cxn ang="0">
                      <a:pos x="connsiteX856" y="connsiteY856"/>
                    </a:cxn>
                    <a:cxn ang="0">
                      <a:pos x="connsiteX857" y="connsiteY857"/>
                    </a:cxn>
                    <a:cxn ang="0">
                      <a:pos x="connsiteX858" y="connsiteY858"/>
                    </a:cxn>
                    <a:cxn ang="0">
                      <a:pos x="connsiteX859" y="connsiteY859"/>
                    </a:cxn>
                    <a:cxn ang="0">
                      <a:pos x="connsiteX860" y="connsiteY860"/>
                    </a:cxn>
                    <a:cxn ang="0">
                      <a:pos x="connsiteX861" y="connsiteY861"/>
                    </a:cxn>
                    <a:cxn ang="0">
                      <a:pos x="connsiteX862" y="connsiteY862"/>
                    </a:cxn>
                    <a:cxn ang="0">
                      <a:pos x="connsiteX863" y="connsiteY863"/>
                    </a:cxn>
                  </a:cxnLst>
                  <a:rect l="l" t="t" r="r" b="b"/>
                  <a:pathLst>
                    <a:path w="2712206" h="450019">
                      <a:moveTo>
                        <a:pt x="2595227" y="339514"/>
                      </a:moveTo>
                      <a:cubicBezTo>
                        <a:pt x="2584511" y="339514"/>
                        <a:pt x="2575637" y="343104"/>
                        <a:pt x="2568605" y="350285"/>
                      </a:cubicBezTo>
                      <a:cubicBezTo>
                        <a:pt x="2561573" y="357466"/>
                        <a:pt x="2557239" y="367754"/>
                        <a:pt x="2555601" y="381149"/>
                      </a:cubicBezTo>
                      <a:lnTo>
                        <a:pt x="2629048" y="381149"/>
                      </a:lnTo>
                      <a:cubicBezTo>
                        <a:pt x="2628602" y="367977"/>
                        <a:pt x="2625439" y="357745"/>
                        <a:pt x="2619560" y="350453"/>
                      </a:cubicBezTo>
                      <a:cubicBezTo>
                        <a:pt x="2613682" y="343160"/>
                        <a:pt x="2605571" y="339514"/>
                        <a:pt x="2595227" y="339514"/>
                      </a:cubicBezTo>
                      <a:close/>
                      <a:moveTo>
                        <a:pt x="2280902" y="339514"/>
                      </a:moveTo>
                      <a:cubicBezTo>
                        <a:pt x="2270186" y="339514"/>
                        <a:pt x="2261313" y="343104"/>
                        <a:pt x="2254280" y="350285"/>
                      </a:cubicBezTo>
                      <a:cubicBezTo>
                        <a:pt x="2247248" y="357466"/>
                        <a:pt x="2242914" y="367754"/>
                        <a:pt x="2241277" y="381149"/>
                      </a:cubicBezTo>
                      <a:lnTo>
                        <a:pt x="2314723" y="381149"/>
                      </a:lnTo>
                      <a:cubicBezTo>
                        <a:pt x="2314277" y="367977"/>
                        <a:pt x="2311114" y="357745"/>
                        <a:pt x="2305235" y="350453"/>
                      </a:cubicBezTo>
                      <a:cubicBezTo>
                        <a:pt x="2299357" y="343160"/>
                        <a:pt x="2291245" y="339514"/>
                        <a:pt x="2280902" y="339514"/>
                      </a:cubicBezTo>
                      <a:close/>
                      <a:moveTo>
                        <a:pt x="1861802" y="339514"/>
                      </a:moveTo>
                      <a:cubicBezTo>
                        <a:pt x="1851086" y="339514"/>
                        <a:pt x="1842213" y="343104"/>
                        <a:pt x="1835180" y="350285"/>
                      </a:cubicBezTo>
                      <a:cubicBezTo>
                        <a:pt x="1828148" y="357466"/>
                        <a:pt x="1823814" y="367754"/>
                        <a:pt x="1822177" y="381149"/>
                      </a:cubicBezTo>
                      <a:lnTo>
                        <a:pt x="1895623" y="381149"/>
                      </a:lnTo>
                      <a:cubicBezTo>
                        <a:pt x="1895177" y="367977"/>
                        <a:pt x="1892014" y="357745"/>
                        <a:pt x="1886135" y="350453"/>
                      </a:cubicBezTo>
                      <a:cubicBezTo>
                        <a:pt x="1880257" y="343160"/>
                        <a:pt x="1872146" y="339514"/>
                        <a:pt x="1861802" y="339514"/>
                      </a:cubicBezTo>
                      <a:close/>
                      <a:moveTo>
                        <a:pt x="1484932" y="339514"/>
                      </a:moveTo>
                      <a:cubicBezTo>
                        <a:pt x="1471463" y="339514"/>
                        <a:pt x="1460729" y="344053"/>
                        <a:pt x="1452729" y="353132"/>
                      </a:cubicBezTo>
                      <a:cubicBezTo>
                        <a:pt x="1444730" y="362210"/>
                        <a:pt x="1440730" y="374823"/>
                        <a:pt x="1440730" y="390971"/>
                      </a:cubicBezTo>
                      <a:cubicBezTo>
                        <a:pt x="1440730" y="405928"/>
                        <a:pt x="1444637" y="417946"/>
                        <a:pt x="1452450" y="427025"/>
                      </a:cubicBezTo>
                      <a:cubicBezTo>
                        <a:pt x="1460264" y="436103"/>
                        <a:pt x="1470942" y="440643"/>
                        <a:pt x="1484486" y="440643"/>
                      </a:cubicBezTo>
                      <a:cubicBezTo>
                        <a:pt x="1498252" y="440643"/>
                        <a:pt x="1508856" y="436178"/>
                        <a:pt x="1516298" y="427248"/>
                      </a:cubicBezTo>
                      <a:cubicBezTo>
                        <a:pt x="1523739" y="418318"/>
                        <a:pt x="1527460" y="405928"/>
                        <a:pt x="1527460" y="390078"/>
                      </a:cubicBezTo>
                      <a:cubicBezTo>
                        <a:pt x="1527460" y="373782"/>
                        <a:pt x="1523758" y="361280"/>
                        <a:pt x="1516353" y="352574"/>
                      </a:cubicBezTo>
                      <a:cubicBezTo>
                        <a:pt x="1508949" y="343867"/>
                        <a:pt x="1498475" y="339514"/>
                        <a:pt x="1484932" y="339514"/>
                      </a:cubicBezTo>
                      <a:close/>
                      <a:moveTo>
                        <a:pt x="1109326" y="339514"/>
                      </a:moveTo>
                      <a:cubicBezTo>
                        <a:pt x="1098611" y="339514"/>
                        <a:pt x="1089737" y="343104"/>
                        <a:pt x="1082705" y="350285"/>
                      </a:cubicBezTo>
                      <a:cubicBezTo>
                        <a:pt x="1075673" y="357466"/>
                        <a:pt x="1071338" y="367754"/>
                        <a:pt x="1069701" y="381149"/>
                      </a:cubicBezTo>
                      <a:lnTo>
                        <a:pt x="1143147" y="381149"/>
                      </a:lnTo>
                      <a:cubicBezTo>
                        <a:pt x="1142701" y="367977"/>
                        <a:pt x="1139538" y="357745"/>
                        <a:pt x="1133660" y="350453"/>
                      </a:cubicBezTo>
                      <a:cubicBezTo>
                        <a:pt x="1127781" y="343160"/>
                        <a:pt x="1119670" y="339514"/>
                        <a:pt x="1109326" y="339514"/>
                      </a:cubicBezTo>
                      <a:close/>
                      <a:moveTo>
                        <a:pt x="823576" y="339514"/>
                      </a:moveTo>
                      <a:cubicBezTo>
                        <a:pt x="812861" y="339514"/>
                        <a:pt x="803987" y="343104"/>
                        <a:pt x="796955" y="350285"/>
                      </a:cubicBezTo>
                      <a:cubicBezTo>
                        <a:pt x="789922" y="357466"/>
                        <a:pt x="785588" y="367754"/>
                        <a:pt x="783951" y="381149"/>
                      </a:cubicBezTo>
                      <a:lnTo>
                        <a:pt x="857397" y="381149"/>
                      </a:lnTo>
                      <a:cubicBezTo>
                        <a:pt x="856951" y="367977"/>
                        <a:pt x="853788" y="357745"/>
                        <a:pt x="847910" y="350453"/>
                      </a:cubicBezTo>
                      <a:cubicBezTo>
                        <a:pt x="842031" y="343160"/>
                        <a:pt x="833920" y="339514"/>
                        <a:pt x="823576" y="339514"/>
                      </a:cubicBezTo>
                      <a:close/>
                      <a:moveTo>
                        <a:pt x="456232" y="339514"/>
                      </a:moveTo>
                      <a:cubicBezTo>
                        <a:pt x="442763" y="339514"/>
                        <a:pt x="432029" y="344053"/>
                        <a:pt x="424030" y="353132"/>
                      </a:cubicBezTo>
                      <a:cubicBezTo>
                        <a:pt x="416030" y="362210"/>
                        <a:pt x="412030" y="374823"/>
                        <a:pt x="412030" y="390971"/>
                      </a:cubicBezTo>
                      <a:cubicBezTo>
                        <a:pt x="412030" y="405928"/>
                        <a:pt x="415937" y="417946"/>
                        <a:pt x="423751" y="427025"/>
                      </a:cubicBezTo>
                      <a:cubicBezTo>
                        <a:pt x="431564" y="436103"/>
                        <a:pt x="442242" y="440643"/>
                        <a:pt x="455786" y="440643"/>
                      </a:cubicBezTo>
                      <a:cubicBezTo>
                        <a:pt x="469552" y="440643"/>
                        <a:pt x="480156" y="436178"/>
                        <a:pt x="487598" y="427248"/>
                      </a:cubicBezTo>
                      <a:cubicBezTo>
                        <a:pt x="495039" y="418318"/>
                        <a:pt x="498760" y="405928"/>
                        <a:pt x="498760" y="390078"/>
                      </a:cubicBezTo>
                      <a:cubicBezTo>
                        <a:pt x="498760" y="373782"/>
                        <a:pt x="495058" y="361280"/>
                        <a:pt x="487654" y="352574"/>
                      </a:cubicBezTo>
                      <a:cubicBezTo>
                        <a:pt x="480249" y="343867"/>
                        <a:pt x="469776" y="339514"/>
                        <a:pt x="456232" y="339514"/>
                      </a:cubicBezTo>
                      <a:close/>
                      <a:moveTo>
                        <a:pt x="166351" y="339514"/>
                      </a:moveTo>
                      <a:cubicBezTo>
                        <a:pt x="155636" y="339514"/>
                        <a:pt x="146762" y="343104"/>
                        <a:pt x="139730" y="350285"/>
                      </a:cubicBezTo>
                      <a:cubicBezTo>
                        <a:pt x="132697" y="357466"/>
                        <a:pt x="128363" y="367754"/>
                        <a:pt x="126726" y="381149"/>
                      </a:cubicBezTo>
                      <a:lnTo>
                        <a:pt x="200172" y="381149"/>
                      </a:lnTo>
                      <a:cubicBezTo>
                        <a:pt x="199726" y="367977"/>
                        <a:pt x="196563" y="357745"/>
                        <a:pt x="190685" y="350453"/>
                      </a:cubicBezTo>
                      <a:cubicBezTo>
                        <a:pt x="184806" y="343160"/>
                        <a:pt x="176695" y="339514"/>
                        <a:pt x="166351" y="339514"/>
                      </a:cubicBezTo>
                      <a:close/>
                      <a:moveTo>
                        <a:pt x="1224967" y="339513"/>
                      </a:moveTo>
                      <a:cubicBezTo>
                        <a:pt x="1212986" y="339513"/>
                        <a:pt x="1203089" y="344108"/>
                        <a:pt x="1195275" y="353298"/>
                      </a:cubicBezTo>
                      <a:cubicBezTo>
                        <a:pt x="1187462" y="362488"/>
                        <a:pt x="1183555" y="375120"/>
                        <a:pt x="1183555" y="391193"/>
                      </a:cubicBezTo>
                      <a:cubicBezTo>
                        <a:pt x="1183555" y="406969"/>
                        <a:pt x="1187071" y="419155"/>
                        <a:pt x="1194103" y="427749"/>
                      </a:cubicBezTo>
                      <a:cubicBezTo>
                        <a:pt x="1201135" y="436344"/>
                        <a:pt x="1210195" y="440642"/>
                        <a:pt x="1221283" y="440642"/>
                      </a:cubicBezTo>
                      <a:cubicBezTo>
                        <a:pt x="1234305" y="440642"/>
                        <a:pt x="1244389" y="436605"/>
                        <a:pt x="1251532" y="428531"/>
                      </a:cubicBezTo>
                      <a:cubicBezTo>
                        <a:pt x="1258676" y="420457"/>
                        <a:pt x="1262248" y="410616"/>
                        <a:pt x="1262248" y="399007"/>
                      </a:cubicBezTo>
                      <a:lnTo>
                        <a:pt x="1262248" y="377687"/>
                      </a:lnTo>
                      <a:cubicBezTo>
                        <a:pt x="1262248" y="367046"/>
                        <a:pt x="1258881" y="358023"/>
                        <a:pt x="1252146" y="350619"/>
                      </a:cubicBezTo>
                      <a:cubicBezTo>
                        <a:pt x="1245412" y="343215"/>
                        <a:pt x="1236352" y="339513"/>
                        <a:pt x="1224967" y="339513"/>
                      </a:cubicBezTo>
                      <a:close/>
                      <a:moveTo>
                        <a:pt x="52127" y="339513"/>
                      </a:moveTo>
                      <a:cubicBezTo>
                        <a:pt x="38807" y="339513"/>
                        <a:pt x="28500" y="343978"/>
                        <a:pt x="21208" y="352907"/>
                      </a:cubicBezTo>
                      <a:cubicBezTo>
                        <a:pt x="13915" y="361837"/>
                        <a:pt x="10269" y="372329"/>
                        <a:pt x="10269" y="384385"/>
                      </a:cubicBezTo>
                      <a:lnTo>
                        <a:pt x="10269" y="398784"/>
                      </a:lnTo>
                      <a:cubicBezTo>
                        <a:pt x="10269" y="410243"/>
                        <a:pt x="13878" y="420085"/>
                        <a:pt x="21096" y="428307"/>
                      </a:cubicBezTo>
                      <a:cubicBezTo>
                        <a:pt x="28314" y="436530"/>
                        <a:pt x="37802" y="440642"/>
                        <a:pt x="49559" y="440642"/>
                      </a:cubicBezTo>
                      <a:cubicBezTo>
                        <a:pt x="61242" y="440642"/>
                        <a:pt x="70730" y="435637"/>
                        <a:pt x="78023" y="425629"/>
                      </a:cubicBezTo>
                      <a:cubicBezTo>
                        <a:pt x="85315" y="415620"/>
                        <a:pt x="88962" y="402467"/>
                        <a:pt x="88962" y="386170"/>
                      </a:cubicBezTo>
                      <a:cubicBezTo>
                        <a:pt x="88962" y="371883"/>
                        <a:pt x="85613" y="360535"/>
                        <a:pt x="78916" y="352126"/>
                      </a:cubicBezTo>
                      <a:cubicBezTo>
                        <a:pt x="72218" y="343717"/>
                        <a:pt x="63289" y="339513"/>
                        <a:pt x="52127" y="339513"/>
                      </a:cubicBezTo>
                      <a:close/>
                      <a:moveTo>
                        <a:pt x="2395202" y="330695"/>
                      </a:moveTo>
                      <a:cubicBezTo>
                        <a:pt x="2399443" y="330695"/>
                        <a:pt x="2403239" y="331365"/>
                        <a:pt x="2406587" y="332704"/>
                      </a:cubicBezTo>
                      <a:lnTo>
                        <a:pt x="2406587" y="343643"/>
                      </a:lnTo>
                      <a:cubicBezTo>
                        <a:pt x="2403164" y="341187"/>
                        <a:pt x="2399146" y="339959"/>
                        <a:pt x="2394532" y="339959"/>
                      </a:cubicBezTo>
                      <a:cubicBezTo>
                        <a:pt x="2385528" y="339959"/>
                        <a:pt x="2377975" y="344610"/>
                        <a:pt x="2371873" y="353912"/>
                      </a:cubicBezTo>
                      <a:cubicBezTo>
                        <a:pt x="2365771" y="363214"/>
                        <a:pt x="2362720" y="376422"/>
                        <a:pt x="2362720" y="393537"/>
                      </a:cubicBezTo>
                      <a:lnTo>
                        <a:pt x="2362720" y="447227"/>
                      </a:lnTo>
                      <a:lnTo>
                        <a:pt x="2352674" y="447227"/>
                      </a:lnTo>
                      <a:lnTo>
                        <a:pt x="2352674" y="332927"/>
                      </a:lnTo>
                      <a:lnTo>
                        <a:pt x="2362720" y="332927"/>
                      </a:lnTo>
                      <a:lnTo>
                        <a:pt x="2362720" y="358265"/>
                      </a:lnTo>
                      <a:lnTo>
                        <a:pt x="2363167" y="358265"/>
                      </a:lnTo>
                      <a:cubicBezTo>
                        <a:pt x="2365771" y="349559"/>
                        <a:pt x="2369901" y="342787"/>
                        <a:pt x="2375557" y="337950"/>
                      </a:cubicBezTo>
                      <a:cubicBezTo>
                        <a:pt x="2381212" y="333113"/>
                        <a:pt x="2387761" y="330695"/>
                        <a:pt x="2395202" y="330695"/>
                      </a:cubicBezTo>
                      <a:close/>
                      <a:moveTo>
                        <a:pt x="2595673" y="330138"/>
                      </a:moveTo>
                      <a:cubicBezTo>
                        <a:pt x="2609887" y="330138"/>
                        <a:pt x="2620788" y="335123"/>
                        <a:pt x="2628379" y="345095"/>
                      </a:cubicBezTo>
                      <a:cubicBezTo>
                        <a:pt x="2635969" y="355066"/>
                        <a:pt x="2639764" y="368684"/>
                        <a:pt x="2639764" y="385948"/>
                      </a:cubicBezTo>
                      <a:lnTo>
                        <a:pt x="2639764" y="390525"/>
                      </a:lnTo>
                      <a:lnTo>
                        <a:pt x="2555155" y="390525"/>
                      </a:lnTo>
                      <a:cubicBezTo>
                        <a:pt x="2555155" y="406226"/>
                        <a:pt x="2558783" y="418504"/>
                        <a:pt x="2566038" y="427360"/>
                      </a:cubicBezTo>
                      <a:cubicBezTo>
                        <a:pt x="2573293" y="436215"/>
                        <a:pt x="2583246" y="440643"/>
                        <a:pt x="2595897" y="440643"/>
                      </a:cubicBezTo>
                      <a:cubicBezTo>
                        <a:pt x="2608696" y="440643"/>
                        <a:pt x="2621197" y="435917"/>
                        <a:pt x="2633401" y="426467"/>
                      </a:cubicBezTo>
                      <a:lnTo>
                        <a:pt x="2633401" y="437406"/>
                      </a:lnTo>
                      <a:cubicBezTo>
                        <a:pt x="2621569" y="445814"/>
                        <a:pt x="2608361" y="450019"/>
                        <a:pt x="2593776" y="450019"/>
                      </a:cubicBezTo>
                      <a:cubicBezTo>
                        <a:pt x="2579042" y="450019"/>
                        <a:pt x="2567136" y="444735"/>
                        <a:pt x="2558057" y="434169"/>
                      </a:cubicBezTo>
                      <a:cubicBezTo>
                        <a:pt x="2548979" y="423602"/>
                        <a:pt x="2544439" y="408682"/>
                        <a:pt x="2544439" y="389409"/>
                      </a:cubicBezTo>
                      <a:cubicBezTo>
                        <a:pt x="2544439" y="372740"/>
                        <a:pt x="2549183" y="358694"/>
                        <a:pt x="2558671" y="347272"/>
                      </a:cubicBezTo>
                      <a:cubicBezTo>
                        <a:pt x="2568159" y="335849"/>
                        <a:pt x="2580493" y="330138"/>
                        <a:pt x="2595673" y="330138"/>
                      </a:cubicBezTo>
                      <a:close/>
                      <a:moveTo>
                        <a:pt x="2281349" y="330138"/>
                      </a:moveTo>
                      <a:cubicBezTo>
                        <a:pt x="2295561" y="330138"/>
                        <a:pt x="2306463" y="335123"/>
                        <a:pt x="2314053" y="345095"/>
                      </a:cubicBezTo>
                      <a:cubicBezTo>
                        <a:pt x="2321644" y="355066"/>
                        <a:pt x="2325439" y="368684"/>
                        <a:pt x="2325439" y="385948"/>
                      </a:cubicBezTo>
                      <a:lnTo>
                        <a:pt x="2325439" y="390525"/>
                      </a:lnTo>
                      <a:lnTo>
                        <a:pt x="2240830" y="390525"/>
                      </a:lnTo>
                      <a:cubicBezTo>
                        <a:pt x="2240830" y="406226"/>
                        <a:pt x="2244458" y="418504"/>
                        <a:pt x="2251713" y="427360"/>
                      </a:cubicBezTo>
                      <a:cubicBezTo>
                        <a:pt x="2258969" y="436215"/>
                        <a:pt x="2268921" y="440643"/>
                        <a:pt x="2281572" y="440643"/>
                      </a:cubicBezTo>
                      <a:cubicBezTo>
                        <a:pt x="2294371" y="440643"/>
                        <a:pt x="2306873" y="435917"/>
                        <a:pt x="2319076" y="426467"/>
                      </a:cubicBezTo>
                      <a:lnTo>
                        <a:pt x="2319076" y="437406"/>
                      </a:lnTo>
                      <a:cubicBezTo>
                        <a:pt x="2307245" y="445814"/>
                        <a:pt x="2294036" y="450019"/>
                        <a:pt x="2279451" y="450019"/>
                      </a:cubicBezTo>
                      <a:cubicBezTo>
                        <a:pt x="2264717" y="450019"/>
                        <a:pt x="2252811" y="444735"/>
                        <a:pt x="2243732" y="434169"/>
                      </a:cubicBezTo>
                      <a:cubicBezTo>
                        <a:pt x="2234654" y="423602"/>
                        <a:pt x="2230114" y="408682"/>
                        <a:pt x="2230114" y="389409"/>
                      </a:cubicBezTo>
                      <a:cubicBezTo>
                        <a:pt x="2230114" y="372740"/>
                        <a:pt x="2234858" y="358694"/>
                        <a:pt x="2244346" y="347272"/>
                      </a:cubicBezTo>
                      <a:cubicBezTo>
                        <a:pt x="2253834" y="335849"/>
                        <a:pt x="2266168" y="330138"/>
                        <a:pt x="2281349" y="330138"/>
                      </a:cubicBezTo>
                      <a:close/>
                      <a:moveTo>
                        <a:pt x="1862249" y="330138"/>
                      </a:moveTo>
                      <a:cubicBezTo>
                        <a:pt x="1876462" y="330138"/>
                        <a:pt x="1887363" y="335123"/>
                        <a:pt x="1894954" y="345095"/>
                      </a:cubicBezTo>
                      <a:cubicBezTo>
                        <a:pt x="1902544" y="355066"/>
                        <a:pt x="1906339" y="368684"/>
                        <a:pt x="1906339" y="385948"/>
                      </a:cubicBezTo>
                      <a:lnTo>
                        <a:pt x="1906339" y="390525"/>
                      </a:lnTo>
                      <a:lnTo>
                        <a:pt x="1821730" y="390525"/>
                      </a:lnTo>
                      <a:cubicBezTo>
                        <a:pt x="1821730" y="406226"/>
                        <a:pt x="1825358" y="418504"/>
                        <a:pt x="1832613" y="427360"/>
                      </a:cubicBezTo>
                      <a:cubicBezTo>
                        <a:pt x="1839869" y="436215"/>
                        <a:pt x="1849821" y="440643"/>
                        <a:pt x="1862472" y="440643"/>
                      </a:cubicBezTo>
                      <a:cubicBezTo>
                        <a:pt x="1875271" y="440643"/>
                        <a:pt x="1887773" y="435917"/>
                        <a:pt x="1899976" y="426467"/>
                      </a:cubicBezTo>
                      <a:lnTo>
                        <a:pt x="1899976" y="437406"/>
                      </a:lnTo>
                      <a:cubicBezTo>
                        <a:pt x="1888145" y="445814"/>
                        <a:pt x="1874936" y="450019"/>
                        <a:pt x="1860351" y="450019"/>
                      </a:cubicBezTo>
                      <a:cubicBezTo>
                        <a:pt x="1845617" y="450019"/>
                        <a:pt x="1833711" y="444735"/>
                        <a:pt x="1824632" y="434169"/>
                      </a:cubicBezTo>
                      <a:cubicBezTo>
                        <a:pt x="1815554" y="423602"/>
                        <a:pt x="1811014" y="408682"/>
                        <a:pt x="1811014" y="389409"/>
                      </a:cubicBezTo>
                      <a:cubicBezTo>
                        <a:pt x="1811014" y="372740"/>
                        <a:pt x="1815758" y="358694"/>
                        <a:pt x="1825246" y="347272"/>
                      </a:cubicBezTo>
                      <a:cubicBezTo>
                        <a:pt x="1834734" y="335849"/>
                        <a:pt x="1847068" y="330138"/>
                        <a:pt x="1862249" y="330138"/>
                      </a:cubicBezTo>
                      <a:close/>
                      <a:moveTo>
                        <a:pt x="1485379" y="330138"/>
                      </a:moveTo>
                      <a:cubicBezTo>
                        <a:pt x="1501675" y="330138"/>
                        <a:pt x="1514549" y="335458"/>
                        <a:pt x="1523999" y="346100"/>
                      </a:cubicBezTo>
                      <a:cubicBezTo>
                        <a:pt x="1533450" y="356741"/>
                        <a:pt x="1538175" y="371475"/>
                        <a:pt x="1538175" y="390301"/>
                      </a:cubicBezTo>
                      <a:cubicBezTo>
                        <a:pt x="1538175" y="408086"/>
                        <a:pt x="1533357" y="422486"/>
                        <a:pt x="1523720" y="433499"/>
                      </a:cubicBezTo>
                      <a:cubicBezTo>
                        <a:pt x="1514084" y="444512"/>
                        <a:pt x="1500894" y="450019"/>
                        <a:pt x="1484151" y="450019"/>
                      </a:cubicBezTo>
                      <a:cubicBezTo>
                        <a:pt x="1467482" y="450019"/>
                        <a:pt x="1454292" y="444531"/>
                        <a:pt x="1444581" y="433555"/>
                      </a:cubicBezTo>
                      <a:cubicBezTo>
                        <a:pt x="1434870" y="422579"/>
                        <a:pt x="1430014" y="408310"/>
                        <a:pt x="1430014" y="390748"/>
                      </a:cubicBezTo>
                      <a:cubicBezTo>
                        <a:pt x="1430014" y="371772"/>
                        <a:pt x="1435093" y="356927"/>
                        <a:pt x="1445251" y="346211"/>
                      </a:cubicBezTo>
                      <a:cubicBezTo>
                        <a:pt x="1455408" y="335496"/>
                        <a:pt x="1468784" y="330138"/>
                        <a:pt x="1485379" y="330138"/>
                      </a:cubicBezTo>
                      <a:close/>
                      <a:moveTo>
                        <a:pt x="1109773" y="330138"/>
                      </a:moveTo>
                      <a:cubicBezTo>
                        <a:pt x="1123986" y="330138"/>
                        <a:pt x="1134888" y="335123"/>
                        <a:pt x="1142478" y="345095"/>
                      </a:cubicBezTo>
                      <a:cubicBezTo>
                        <a:pt x="1150068" y="355066"/>
                        <a:pt x="1153863" y="368684"/>
                        <a:pt x="1153863" y="385948"/>
                      </a:cubicBezTo>
                      <a:lnTo>
                        <a:pt x="1153863" y="390525"/>
                      </a:lnTo>
                      <a:lnTo>
                        <a:pt x="1069254" y="390525"/>
                      </a:lnTo>
                      <a:cubicBezTo>
                        <a:pt x="1069254" y="406226"/>
                        <a:pt x="1072882" y="418504"/>
                        <a:pt x="1080137" y="427360"/>
                      </a:cubicBezTo>
                      <a:cubicBezTo>
                        <a:pt x="1087393" y="436215"/>
                        <a:pt x="1097345" y="440643"/>
                        <a:pt x="1109996" y="440643"/>
                      </a:cubicBezTo>
                      <a:cubicBezTo>
                        <a:pt x="1122795" y="440643"/>
                        <a:pt x="1135297" y="435917"/>
                        <a:pt x="1147501" y="426467"/>
                      </a:cubicBezTo>
                      <a:lnTo>
                        <a:pt x="1147501" y="437406"/>
                      </a:lnTo>
                      <a:cubicBezTo>
                        <a:pt x="1135669" y="445814"/>
                        <a:pt x="1122460" y="450019"/>
                        <a:pt x="1107875" y="450019"/>
                      </a:cubicBezTo>
                      <a:cubicBezTo>
                        <a:pt x="1093141" y="450019"/>
                        <a:pt x="1081235" y="444735"/>
                        <a:pt x="1072156" y="434169"/>
                      </a:cubicBezTo>
                      <a:cubicBezTo>
                        <a:pt x="1063078" y="423602"/>
                        <a:pt x="1058539" y="408682"/>
                        <a:pt x="1058539" y="389409"/>
                      </a:cubicBezTo>
                      <a:cubicBezTo>
                        <a:pt x="1058539" y="372740"/>
                        <a:pt x="1063282" y="358694"/>
                        <a:pt x="1072770" y="347272"/>
                      </a:cubicBezTo>
                      <a:cubicBezTo>
                        <a:pt x="1082258" y="335849"/>
                        <a:pt x="1094592" y="330138"/>
                        <a:pt x="1109773" y="330138"/>
                      </a:cubicBezTo>
                      <a:close/>
                      <a:moveTo>
                        <a:pt x="944463" y="330138"/>
                      </a:moveTo>
                      <a:cubicBezTo>
                        <a:pt x="953169" y="330138"/>
                        <a:pt x="961615" y="331924"/>
                        <a:pt x="969801" y="335496"/>
                      </a:cubicBezTo>
                      <a:lnTo>
                        <a:pt x="969801" y="347104"/>
                      </a:lnTo>
                      <a:cubicBezTo>
                        <a:pt x="961615" y="342044"/>
                        <a:pt x="952648" y="339514"/>
                        <a:pt x="942900" y="339514"/>
                      </a:cubicBezTo>
                      <a:cubicBezTo>
                        <a:pt x="929506" y="339514"/>
                        <a:pt x="918641" y="344332"/>
                        <a:pt x="910307" y="353969"/>
                      </a:cubicBezTo>
                      <a:cubicBezTo>
                        <a:pt x="901972" y="363605"/>
                        <a:pt x="897805" y="376088"/>
                        <a:pt x="897805" y="391418"/>
                      </a:cubicBezTo>
                      <a:cubicBezTo>
                        <a:pt x="897805" y="406226"/>
                        <a:pt x="901619" y="418132"/>
                        <a:pt x="909246" y="427136"/>
                      </a:cubicBezTo>
                      <a:cubicBezTo>
                        <a:pt x="916874" y="436141"/>
                        <a:pt x="926938" y="440643"/>
                        <a:pt x="939440" y="440643"/>
                      </a:cubicBezTo>
                      <a:cubicBezTo>
                        <a:pt x="950900" y="440643"/>
                        <a:pt x="960871" y="437592"/>
                        <a:pt x="969354" y="431490"/>
                      </a:cubicBezTo>
                      <a:lnTo>
                        <a:pt x="969354" y="442205"/>
                      </a:lnTo>
                      <a:cubicBezTo>
                        <a:pt x="960871" y="447414"/>
                        <a:pt x="950751" y="450019"/>
                        <a:pt x="938993" y="450019"/>
                      </a:cubicBezTo>
                      <a:cubicBezTo>
                        <a:pt x="923441" y="450019"/>
                        <a:pt x="910902" y="444680"/>
                        <a:pt x="901377" y="434001"/>
                      </a:cubicBezTo>
                      <a:cubicBezTo>
                        <a:pt x="891852" y="423323"/>
                        <a:pt x="887090" y="409351"/>
                        <a:pt x="887090" y="392087"/>
                      </a:cubicBezTo>
                      <a:cubicBezTo>
                        <a:pt x="887090" y="373930"/>
                        <a:pt x="892447" y="359066"/>
                        <a:pt x="903163" y="347495"/>
                      </a:cubicBezTo>
                      <a:cubicBezTo>
                        <a:pt x="913879" y="335923"/>
                        <a:pt x="927645" y="330138"/>
                        <a:pt x="944463" y="330138"/>
                      </a:cubicBezTo>
                      <a:close/>
                      <a:moveTo>
                        <a:pt x="824023" y="330138"/>
                      </a:moveTo>
                      <a:cubicBezTo>
                        <a:pt x="838236" y="330138"/>
                        <a:pt x="849138" y="335123"/>
                        <a:pt x="856728" y="345095"/>
                      </a:cubicBezTo>
                      <a:cubicBezTo>
                        <a:pt x="864318" y="355066"/>
                        <a:pt x="868113" y="368684"/>
                        <a:pt x="868113" y="385948"/>
                      </a:cubicBezTo>
                      <a:lnTo>
                        <a:pt x="868113" y="390525"/>
                      </a:lnTo>
                      <a:lnTo>
                        <a:pt x="783504" y="390525"/>
                      </a:lnTo>
                      <a:cubicBezTo>
                        <a:pt x="783504" y="406226"/>
                        <a:pt x="787132" y="418504"/>
                        <a:pt x="794387" y="427360"/>
                      </a:cubicBezTo>
                      <a:cubicBezTo>
                        <a:pt x="801643" y="436215"/>
                        <a:pt x="811595" y="440643"/>
                        <a:pt x="824246" y="440643"/>
                      </a:cubicBezTo>
                      <a:cubicBezTo>
                        <a:pt x="837045" y="440643"/>
                        <a:pt x="849547" y="435917"/>
                        <a:pt x="861751" y="426467"/>
                      </a:cubicBezTo>
                      <a:lnTo>
                        <a:pt x="861751" y="437406"/>
                      </a:lnTo>
                      <a:cubicBezTo>
                        <a:pt x="849919" y="445814"/>
                        <a:pt x="836710" y="450019"/>
                        <a:pt x="822125" y="450019"/>
                      </a:cubicBezTo>
                      <a:cubicBezTo>
                        <a:pt x="807391" y="450019"/>
                        <a:pt x="795485" y="444735"/>
                        <a:pt x="786406" y="434169"/>
                      </a:cubicBezTo>
                      <a:cubicBezTo>
                        <a:pt x="777328" y="423602"/>
                        <a:pt x="772789" y="408682"/>
                        <a:pt x="772789" y="389409"/>
                      </a:cubicBezTo>
                      <a:cubicBezTo>
                        <a:pt x="772789" y="372740"/>
                        <a:pt x="777532" y="358694"/>
                        <a:pt x="787020" y="347272"/>
                      </a:cubicBezTo>
                      <a:cubicBezTo>
                        <a:pt x="796508" y="335849"/>
                        <a:pt x="808842" y="330138"/>
                        <a:pt x="824023" y="330138"/>
                      </a:cubicBezTo>
                      <a:close/>
                      <a:moveTo>
                        <a:pt x="456679" y="330138"/>
                      </a:moveTo>
                      <a:cubicBezTo>
                        <a:pt x="472975" y="330138"/>
                        <a:pt x="485849" y="335458"/>
                        <a:pt x="495300" y="346100"/>
                      </a:cubicBezTo>
                      <a:cubicBezTo>
                        <a:pt x="504750" y="356741"/>
                        <a:pt x="509476" y="371475"/>
                        <a:pt x="509476" y="390301"/>
                      </a:cubicBezTo>
                      <a:cubicBezTo>
                        <a:pt x="509476" y="408086"/>
                        <a:pt x="504657" y="422486"/>
                        <a:pt x="495021" y="433499"/>
                      </a:cubicBezTo>
                      <a:cubicBezTo>
                        <a:pt x="485384" y="444512"/>
                        <a:pt x="472194" y="450019"/>
                        <a:pt x="455451" y="450019"/>
                      </a:cubicBezTo>
                      <a:cubicBezTo>
                        <a:pt x="438782" y="450019"/>
                        <a:pt x="425592" y="444531"/>
                        <a:pt x="415881" y="433555"/>
                      </a:cubicBezTo>
                      <a:cubicBezTo>
                        <a:pt x="406170" y="422579"/>
                        <a:pt x="401315" y="408310"/>
                        <a:pt x="401315" y="390748"/>
                      </a:cubicBezTo>
                      <a:cubicBezTo>
                        <a:pt x="401315" y="371772"/>
                        <a:pt x="406393" y="356927"/>
                        <a:pt x="416551" y="346211"/>
                      </a:cubicBezTo>
                      <a:cubicBezTo>
                        <a:pt x="426708" y="335496"/>
                        <a:pt x="440084" y="330138"/>
                        <a:pt x="456679" y="330138"/>
                      </a:cubicBezTo>
                      <a:close/>
                      <a:moveTo>
                        <a:pt x="353913" y="330138"/>
                      </a:moveTo>
                      <a:cubicBezTo>
                        <a:pt x="362619" y="330138"/>
                        <a:pt x="371065" y="331924"/>
                        <a:pt x="379251" y="335496"/>
                      </a:cubicBezTo>
                      <a:lnTo>
                        <a:pt x="379251" y="347104"/>
                      </a:lnTo>
                      <a:cubicBezTo>
                        <a:pt x="371065" y="342044"/>
                        <a:pt x="362098" y="339514"/>
                        <a:pt x="352350" y="339514"/>
                      </a:cubicBezTo>
                      <a:cubicBezTo>
                        <a:pt x="338956" y="339514"/>
                        <a:pt x="328091" y="344332"/>
                        <a:pt x="319757" y="353969"/>
                      </a:cubicBezTo>
                      <a:cubicBezTo>
                        <a:pt x="311422" y="363605"/>
                        <a:pt x="307255" y="376088"/>
                        <a:pt x="307255" y="391418"/>
                      </a:cubicBezTo>
                      <a:cubicBezTo>
                        <a:pt x="307255" y="406226"/>
                        <a:pt x="311069" y="418132"/>
                        <a:pt x="318696" y="427136"/>
                      </a:cubicBezTo>
                      <a:cubicBezTo>
                        <a:pt x="326324" y="436141"/>
                        <a:pt x="336388" y="440643"/>
                        <a:pt x="348890" y="440643"/>
                      </a:cubicBezTo>
                      <a:cubicBezTo>
                        <a:pt x="360350" y="440643"/>
                        <a:pt x="370321" y="437592"/>
                        <a:pt x="378804" y="431490"/>
                      </a:cubicBezTo>
                      <a:lnTo>
                        <a:pt x="378804" y="442205"/>
                      </a:lnTo>
                      <a:cubicBezTo>
                        <a:pt x="370321" y="447414"/>
                        <a:pt x="360201" y="450019"/>
                        <a:pt x="348443" y="450019"/>
                      </a:cubicBezTo>
                      <a:cubicBezTo>
                        <a:pt x="332891" y="450019"/>
                        <a:pt x="320352" y="444680"/>
                        <a:pt x="310827" y="434001"/>
                      </a:cubicBezTo>
                      <a:cubicBezTo>
                        <a:pt x="301302" y="423323"/>
                        <a:pt x="296540" y="409351"/>
                        <a:pt x="296540" y="392087"/>
                      </a:cubicBezTo>
                      <a:cubicBezTo>
                        <a:pt x="296540" y="373930"/>
                        <a:pt x="301897" y="359066"/>
                        <a:pt x="312613" y="347495"/>
                      </a:cubicBezTo>
                      <a:cubicBezTo>
                        <a:pt x="323329" y="335923"/>
                        <a:pt x="337095" y="330138"/>
                        <a:pt x="353913" y="330138"/>
                      </a:cubicBezTo>
                      <a:close/>
                      <a:moveTo>
                        <a:pt x="166798" y="330138"/>
                      </a:moveTo>
                      <a:cubicBezTo>
                        <a:pt x="181011" y="330138"/>
                        <a:pt x="191912" y="335123"/>
                        <a:pt x="199503" y="345095"/>
                      </a:cubicBezTo>
                      <a:cubicBezTo>
                        <a:pt x="207093" y="355066"/>
                        <a:pt x="210888" y="368684"/>
                        <a:pt x="210888" y="385948"/>
                      </a:cubicBezTo>
                      <a:lnTo>
                        <a:pt x="210888" y="390525"/>
                      </a:lnTo>
                      <a:lnTo>
                        <a:pt x="126279" y="390525"/>
                      </a:lnTo>
                      <a:cubicBezTo>
                        <a:pt x="126279" y="406226"/>
                        <a:pt x="129907" y="418504"/>
                        <a:pt x="137162" y="427360"/>
                      </a:cubicBezTo>
                      <a:cubicBezTo>
                        <a:pt x="144418" y="436215"/>
                        <a:pt x="154371" y="440643"/>
                        <a:pt x="167021" y="440643"/>
                      </a:cubicBezTo>
                      <a:cubicBezTo>
                        <a:pt x="179820" y="440643"/>
                        <a:pt x="192322" y="435917"/>
                        <a:pt x="204526" y="426467"/>
                      </a:cubicBezTo>
                      <a:lnTo>
                        <a:pt x="204526" y="437406"/>
                      </a:lnTo>
                      <a:cubicBezTo>
                        <a:pt x="192694" y="445814"/>
                        <a:pt x="179485" y="450019"/>
                        <a:pt x="164900" y="450019"/>
                      </a:cubicBezTo>
                      <a:cubicBezTo>
                        <a:pt x="150166" y="450019"/>
                        <a:pt x="138260" y="444735"/>
                        <a:pt x="129181" y="434169"/>
                      </a:cubicBezTo>
                      <a:cubicBezTo>
                        <a:pt x="120103" y="423602"/>
                        <a:pt x="115564" y="408682"/>
                        <a:pt x="115564" y="389409"/>
                      </a:cubicBezTo>
                      <a:cubicBezTo>
                        <a:pt x="115564" y="372740"/>
                        <a:pt x="120308" y="358694"/>
                        <a:pt x="129795" y="347272"/>
                      </a:cubicBezTo>
                      <a:cubicBezTo>
                        <a:pt x="139283" y="335849"/>
                        <a:pt x="151617" y="330138"/>
                        <a:pt x="166798" y="330138"/>
                      </a:cubicBezTo>
                      <a:close/>
                      <a:moveTo>
                        <a:pt x="2478656" y="330137"/>
                      </a:moveTo>
                      <a:cubicBezTo>
                        <a:pt x="2491009" y="330137"/>
                        <a:pt x="2500460" y="334248"/>
                        <a:pt x="2507008" y="342471"/>
                      </a:cubicBezTo>
                      <a:cubicBezTo>
                        <a:pt x="2513556" y="350694"/>
                        <a:pt x="2516831" y="362432"/>
                        <a:pt x="2516831" y="377687"/>
                      </a:cubicBezTo>
                      <a:lnTo>
                        <a:pt x="2516831" y="447227"/>
                      </a:lnTo>
                      <a:lnTo>
                        <a:pt x="2506562" y="447227"/>
                      </a:lnTo>
                      <a:lnTo>
                        <a:pt x="2506562" y="380701"/>
                      </a:lnTo>
                      <a:cubicBezTo>
                        <a:pt x="2506562" y="353242"/>
                        <a:pt x="2496664" y="339513"/>
                        <a:pt x="2476870" y="339513"/>
                      </a:cubicBezTo>
                      <a:cubicBezTo>
                        <a:pt x="2465857" y="339513"/>
                        <a:pt x="2456816" y="343550"/>
                        <a:pt x="2449746" y="351624"/>
                      </a:cubicBezTo>
                      <a:cubicBezTo>
                        <a:pt x="2442677" y="359698"/>
                        <a:pt x="2439142" y="369688"/>
                        <a:pt x="2439142" y="381594"/>
                      </a:cubicBezTo>
                      <a:lnTo>
                        <a:pt x="2439142" y="447227"/>
                      </a:lnTo>
                      <a:lnTo>
                        <a:pt x="2428873" y="447227"/>
                      </a:lnTo>
                      <a:lnTo>
                        <a:pt x="2428873" y="332927"/>
                      </a:lnTo>
                      <a:lnTo>
                        <a:pt x="2439142" y="332927"/>
                      </a:lnTo>
                      <a:lnTo>
                        <a:pt x="2439142" y="353689"/>
                      </a:lnTo>
                      <a:lnTo>
                        <a:pt x="2439589" y="353689"/>
                      </a:lnTo>
                      <a:cubicBezTo>
                        <a:pt x="2447923" y="337987"/>
                        <a:pt x="2460946" y="330137"/>
                        <a:pt x="2478656" y="330137"/>
                      </a:cubicBezTo>
                      <a:close/>
                      <a:moveTo>
                        <a:pt x="2097656" y="330137"/>
                      </a:moveTo>
                      <a:cubicBezTo>
                        <a:pt x="2110009" y="330137"/>
                        <a:pt x="2119460" y="334248"/>
                        <a:pt x="2126008" y="342471"/>
                      </a:cubicBezTo>
                      <a:cubicBezTo>
                        <a:pt x="2132557" y="350694"/>
                        <a:pt x="2135831" y="362432"/>
                        <a:pt x="2135831" y="377687"/>
                      </a:cubicBezTo>
                      <a:lnTo>
                        <a:pt x="2135831" y="447227"/>
                      </a:lnTo>
                      <a:lnTo>
                        <a:pt x="2125562" y="447227"/>
                      </a:lnTo>
                      <a:lnTo>
                        <a:pt x="2125562" y="380701"/>
                      </a:lnTo>
                      <a:cubicBezTo>
                        <a:pt x="2125562" y="353242"/>
                        <a:pt x="2115665" y="339513"/>
                        <a:pt x="2095871" y="339513"/>
                      </a:cubicBezTo>
                      <a:cubicBezTo>
                        <a:pt x="2084857" y="339513"/>
                        <a:pt x="2075816" y="343550"/>
                        <a:pt x="2068747" y="351624"/>
                      </a:cubicBezTo>
                      <a:cubicBezTo>
                        <a:pt x="2061677" y="359698"/>
                        <a:pt x="2058143" y="369688"/>
                        <a:pt x="2058143" y="381594"/>
                      </a:cubicBezTo>
                      <a:lnTo>
                        <a:pt x="2058143" y="447227"/>
                      </a:lnTo>
                      <a:lnTo>
                        <a:pt x="2047873" y="447227"/>
                      </a:lnTo>
                      <a:lnTo>
                        <a:pt x="2047873" y="332927"/>
                      </a:lnTo>
                      <a:lnTo>
                        <a:pt x="2058143" y="332927"/>
                      </a:lnTo>
                      <a:lnTo>
                        <a:pt x="2058143" y="353689"/>
                      </a:lnTo>
                      <a:lnTo>
                        <a:pt x="2058589" y="353689"/>
                      </a:lnTo>
                      <a:cubicBezTo>
                        <a:pt x="2066923" y="337987"/>
                        <a:pt x="2079946" y="330137"/>
                        <a:pt x="2097656" y="330137"/>
                      </a:cubicBezTo>
                      <a:close/>
                      <a:moveTo>
                        <a:pt x="707008" y="330137"/>
                      </a:moveTo>
                      <a:cubicBezTo>
                        <a:pt x="719360" y="330137"/>
                        <a:pt x="728811" y="334248"/>
                        <a:pt x="735359" y="342471"/>
                      </a:cubicBezTo>
                      <a:cubicBezTo>
                        <a:pt x="741908" y="350694"/>
                        <a:pt x="745182" y="362432"/>
                        <a:pt x="745182" y="377687"/>
                      </a:cubicBezTo>
                      <a:lnTo>
                        <a:pt x="745182" y="447227"/>
                      </a:lnTo>
                      <a:lnTo>
                        <a:pt x="734913" y="447227"/>
                      </a:lnTo>
                      <a:lnTo>
                        <a:pt x="734913" y="380701"/>
                      </a:lnTo>
                      <a:cubicBezTo>
                        <a:pt x="734913" y="353242"/>
                        <a:pt x="725016" y="339513"/>
                        <a:pt x="705222" y="339513"/>
                      </a:cubicBezTo>
                      <a:cubicBezTo>
                        <a:pt x="694208" y="339513"/>
                        <a:pt x="685167" y="343550"/>
                        <a:pt x="678098" y="351624"/>
                      </a:cubicBezTo>
                      <a:cubicBezTo>
                        <a:pt x="671028" y="359698"/>
                        <a:pt x="667494" y="369688"/>
                        <a:pt x="667494" y="381594"/>
                      </a:cubicBezTo>
                      <a:lnTo>
                        <a:pt x="667494" y="447227"/>
                      </a:lnTo>
                      <a:lnTo>
                        <a:pt x="657225" y="447227"/>
                      </a:lnTo>
                      <a:lnTo>
                        <a:pt x="657225" y="332927"/>
                      </a:lnTo>
                      <a:lnTo>
                        <a:pt x="667494" y="332927"/>
                      </a:lnTo>
                      <a:lnTo>
                        <a:pt x="667494" y="353689"/>
                      </a:lnTo>
                      <a:lnTo>
                        <a:pt x="667940" y="353689"/>
                      </a:lnTo>
                      <a:cubicBezTo>
                        <a:pt x="676275" y="337987"/>
                        <a:pt x="689297" y="330137"/>
                        <a:pt x="707008" y="330137"/>
                      </a:cubicBezTo>
                      <a:close/>
                      <a:moveTo>
                        <a:pt x="583183" y="330137"/>
                      </a:moveTo>
                      <a:cubicBezTo>
                        <a:pt x="595535" y="330137"/>
                        <a:pt x="604986" y="334248"/>
                        <a:pt x="611534" y="342471"/>
                      </a:cubicBezTo>
                      <a:cubicBezTo>
                        <a:pt x="618083" y="350694"/>
                        <a:pt x="621357" y="362432"/>
                        <a:pt x="621357" y="377687"/>
                      </a:cubicBezTo>
                      <a:lnTo>
                        <a:pt x="621357" y="447227"/>
                      </a:lnTo>
                      <a:lnTo>
                        <a:pt x="611088" y="447227"/>
                      </a:lnTo>
                      <a:lnTo>
                        <a:pt x="611088" y="380701"/>
                      </a:lnTo>
                      <a:cubicBezTo>
                        <a:pt x="611088" y="353242"/>
                        <a:pt x="601191" y="339513"/>
                        <a:pt x="581397" y="339513"/>
                      </a:cubicBezTo>
                      <a:cubicBezTo>
                        <a:pt x="570383" y="339513"/>
                        <a:pt x="561342" y="343550"/>
                        <a:pt x="554273" y="351624"/>
                      </a:cubicBezTo>
                      <a:cubicBezTo>
                        <a:pt x="547203" y="359698"/>
                        <a:pt x="543669" y="369688"/>
                        <a:pt x="543669" y="381594"/>
                      </a:cubicBezTo>
                      <a:lnTo>
                        <a:pt x="543669" y="447227"/>
                      </a:lnTo>
                      <a:lnTo>
                        <a:pt x="533400" y="447227"/>
                      </a:lnTo>
                      <a:lnTo>
                        <a:pt x="533400" y="332927"/>
                      </a:lnTo>
                      <a:lnTo>
                        <a:pt x="543669" y="332927"/>
                      </a:lnTo>
                      <a:lnTo>
                        <a:pt x="543669" y="353689"/>
                      </a:lnTo>
                      <a:lnTo>
                        <a:pt x="544115" y="353689"/>
                      </a:lnTo>
                      <a:cubicBezTo>
                        <a:pt x="552450" y="337987"/>
                        <a:pt x="565472" y="330137"/>
                        <a:pt x="583183" y="330137"/>
                      </a:cubicBezTo>
                      <a:close/>
                      <a:moveTo>
                        <a:pt x="2682068" y="299776"/>
                      </a:moveTo>
                      <a:lnTo>
                        <a:pt x="2682068" y="332927"/>
                      </a:lnTo>
                      <a:lnTo>
                        <a:pt x="2712206" y="332927"/>
                      </a:lnTo>
                      <a:lnTo>
                        <a:pt x="2712206" y="342303"/>
                      </a:lnTo>
                      <a:lnTo>
                        <a:pt x="2682068" y="342303"/>
                      </a:lnTo>
                      <a:lnTo>
                        <a:pt x="2682068" y="417759"/>
                      </a:lnTo>
                      <a:cubicBezTo>
                        <a:pt x="2682068" y="425647"/>
                        <a:pt x="2683315" y="431358"/>
                        <a:pt x="2685807" y="434893"/>
                      </a:cubicBezTo>
                      <a:cubicBezTo>
                        <a:pt x="2688300" y="438428"/>
                        <a:pt x="2692523" y="440195"/>
                        <a:pt x="2698477" y="440195"/>
                      </a:cubicBezTo>
                      <a:cubicBezTo>
                        <a:pt x="2702718" y="440195"/>
                        <a:pt x="2707295" y="438818"/>
                        <a:pt x="2712206" y="436065"/>
                      </a:cubicBezTo>
                      <a:lnTo>
                        <a:pt x="2712206" y="445665"/>
                      </a:lnTo>
                      <a:cubicBezTo>
                        <a:pt x="2706848" y="448195"/>
                        <a:pt x="2701825" y="449460"/>
                        <a:pt x="2697137" y="449460"/>
                      </a:cubicBezTo>
                      <a:cubicBezTo>
                        <a:pt x="2680245" y="449460"/>
                        <a:pt x="2671799" y="439339"/>
                        <a:pt x="2671799" y="419099"/>
                      </a:cubicBezTo>
                      <a:lnTo>
                        <a:pt x="2671799" y="342303"/>
                      </a:lnTo>
                      <a:lnTo>
                        <a:pt x="2651261" y="342303"/>
                      </a:lnTo>
                      <a:lnTo>
                        <a:pt x="2651261" y="332927"/>
                      </a:lnTo>
                      <a:lnTo>
                        <a:pt x="2671799" y="332927"/>
                      </a:lnTo>
                      <a:lnTo>
                        <a:pt x="2671799" y="303236"/>
                      </a:lnTo>
                      <a:cubicBezTo>
                        <a:pt x="2673436" y="302641"/>
                        <a:pt x="2675148" y="302045"/>
                        <a:pt x="2676933" y="301450"/>
                      </a:cubicBezTo>
                      <a:cubicBezTo>
                        <a:pt x="2678719" y="300929"/>
                        <a:pt x="2680431" y="300371"/>
                        <a:pt x="2682068" y="299776"/>
                      </a:cubicBezTo>
                      <a:close/>
                      <a:moveTo>
                        <a:pt x="2186768" y="299776"/>
                      </a:moveTo>
                      <a:lnTo>
                        <a:pt x="2186768" y="332927"/>
                      </a:lnTo>
                      <a:lnTo>
                        <a:pt x="2216906" y="332927"/>
                      </a:lnTo>
                      <a:lnTo>
                        <a:pt x="2216906" y="342303"/>
                      </a:lnTo>
                      <a:lnTo>
                        <a:pt x="2186768" y="342303"/>
                      </a:lnTo>
                      <a:lnTo>
                        <a:pt x="2186768" y="417759"/>
                      </a:lnTo>
                      <a:cubicBezTo>
                        <a:pt x="2186768" y="425647"/>
                        <a:pt x="2188015" y="431358"/>
                        <a:pt x="2190508" y="434893"/>
                      </a:cubicBezTo>
                      <a:cubicBezTo>
                        <a:pt x="2193000" y="438428"/>
                        <a:pt x="2197223" y="440195"/>
                        <a:pt x="2203177" y="440195"/>
                      </a:cubicBezTo>
                      <a:cubicBezTo>
                        <a:pt x="2207418" y="440195"/>
                        <a:pt x="2211995" y="438818"/>
                        <a:pt x="2216906" y="436065"/>
                      </a:cubicBezTo>
                      <a:lnTo>
                        <a:pt x="2216906" y="445665"/>
                      </a:lnTo>
                      <a:cubicBezTo>
                        <a:pt x="2211548" y="448195"/>
                        <a:pt x="2206525" y="449460"/>
                        <a:pt x="2201837" y="449460"/>
                      </a:cubicBezTo>
                      <a:cubicBezTo>
                        <a:pt x="2184945" y="449460"/>
                        <a:pt x="2176499" y="439339"/>
                        <a:pt x="2176499" y="419099"/>
                      </a:cubicBezTo>
                      <a:lnTo>
                        <a:pt x="2176499" y="342303"/>
                      </a:lnTo>
                      <a:lnTo>
                        <a:pt x="2155961" y="342303"/>
                      </a:lnTo>
                      <a:lnTo>
                        <a:pt x="2155961" y="332927"/>
                      </a:lnTo>
                      <a:lnTo>
                        <a:pt x="2176499" y="332927"/>
                      </a:lnTo>
                      <a:lnTo>
                        <a:pt x="2176499" y="303236"/>
                      </a:lnTo>
                      <a:cubicBezTo>
                        <a:pt x="2178136" y="302641"/>
                        <a:pt x="2179848" y="302045"/>
                        <a:pt x="2181634" y="301450"/>
                      </a:cubicBezTo>
                      <a:cubicBezTo>
                        <a:pt x="2183420" y="300929"/>
                        <a:pt x="2185131" y="300371"/>
                        <a:pt x="2186768" y="299776"/>
                      </a:cubicBezTo>
                      <a:close/>
                      <a:moveTo>
                        <a:pt x="1643843" y="299776"/>
                      </a:moveTo>
                      <a:lnTo>
                        <a:pt x="1643843" y="332927"/>
                      </a:lnTo>
                      <a:lnTo>
                        <a:pt x="1673981" y="332927"/>
                      </a:lnTo>
                      <a:lnTo>
                        <a:pt x="1673981" y="342303"/>
                      </a:lnTo>
                      <a:lnTo>
                        <a:pt x="1643843" y="342303"/>
                      </a:lnTo>
                      <a:lnTo>
                        <a:pt x="1643843" y="417759"/>
                      </a:lnTo>
                      <a:cubicBezTo>
                        <a:pt x="1643843" y="425647"/>
                        <a:pt x="1645090" y="431358"/>
                        <a:pt x="1647583" y="434893"/>
                      </a:cubicBezTo>
                      <a:cubicBezTo>
                        <a:pt x="1650075" y="438428"/>
                        <a:pt x="1654298" y="440195"/>
                        <a:pt x="1660252" y="440195"/>
                      </a:cubicBezTo>
                      <a:cubicBezTo>
                        <a:pt x="1664493" y="440195"/>
                        <a:pt x="1669070" y="438818"/>
                        <a:pt x="1673981" y="436065"/>
                      </a:cubicBezTo>
                      <a:lnTo>
                        <a:pt x="1673981" y="445665"/>
                      </a:lnTo>
                      <a:cubicBezTo>
                        <a:pt x="1668623" y="448195"/>
                        <a:pt x="1663600" y="449460"/>
                        <a:pt x="1658912" y="449460"/>
                      </a:cubicBezTo>
                      <a:cubicBezTo>
                        <a:pt x="1642020" y="449460"/>
                        <a:pt x="1633574" y="439339"/>
                        <a:pt x="1633574" y="419099"/>
                      </a:cubicBezTo>
                      <a:lnTo>
                        <a:pt x="1633574" y="342303"/>
                      </a:lnTo>
                      <a:lnTo>
                        <a:pt x="1613036" y="342303"/>
                      </a:lnTo>
                      <a:lnTo>
                        <a:pt x="1613036" y="332927"/>
                      </a:lnTo>
                      <a:lnTo>
                        <a:pt x="1633574" y="332927"/>
                      </a:lnTo>
                      <a:lnTo>
                        <a:pt x="1633574" y="303236"/>
                      </a:lnTo>
                      <a:cubicBezTo>
                        <a:pt x="1635211" y="302641"/>
                        <a:pt x="1636923" y="302045"/>
                        <a:pt x="1638709" y="301450"/>
                      </a:cubicBezTo>
                      <a:cubicBezTo>
                        <a:pt x="1640495" y="300929"/>
                        <a:pt x="1642206" y="300371"/>
                        <a:pt x="1643843" y="299776"/>
                      </a:cubicBezTo>
                      <a:close/>
                      <a:moveTo>
                        <a:pt x="1386668" y="299776"/>
                      </a:moveTo>
                      <a:lnTo>
                        <a:pt x="1386668" y="332927"/>
                      </a:lnTo>
                      <a:lnTo>
                        <a:pt x="1416806" y="332927"/>
                      </a:lnTo>
                      <a:lnTo>
                        <a:pt x="1416806" y="342303"/>
                      </a:lnTo>
                      <a:lnTo>
                        <a:pt x="1386668" y="342303"/>
                      </a:lnTo>
                      <a:lnTo>
                        <a:pt x="1386668" y="417759"/>
                      </a:lnTo>
                      <a:cubicBezTo>
                        <a:pt x="1386668" y="425647"/>
                        <a:pt x="1387915" y="431358"/>
                        <a:pt x="1390408" y="434893"/>
                      </a:cubicBezTo>
                      <a:cubicBezTo>
                        <a:pt x="1392900" y="438428"/>
                        <a:pt x="1397123" y="440195"/>
                        <a:pt x="1403077" y="440195"/>
                      </a:cubicBezTo>
                      <a:cubicBezTo>
                        <a:pt x="1407318" y="440195"/>
                        <a:pt x="1411895" y="438818"/>
                        <a:pt x="1416806" y="436065"/>
                      </a:cubicBezTo>
                      <a:lnTo>
                        <a:pt x="1416806" y="445665"/>
                      </a:lnTo>
                      <a:cubicBezTo>
                        <a:pt x="1411448" y="448195"/>
                        <a:pt x="1406425" y="449460"/>
                        <a:pt x="1401737" y="449460"/>
                      </a:cubicBezTo>
                      <a:cubicBezTo>
                        <a:pt x="1384845" y="449460"/>
                        <a:pt x="1376399" y="439339"/>
                        <a:pt x="1376399" y="419099"/>
                      </a:cubicBezTo>
                      <a:lnTo>
                        <a:pt x="1376399" y="342303"/>
                      </a:lnTo>
                      <a:lnTo>
                        <a:pt x="1355861" y="342303"/>
                      </a:lnTo>
                      <a:lnTo>
                        <a:pt x="1355861" y="332927"/>
                      </a:lnTo>
                      <a:lnTo>
                        <a:pt x="1376399" y="332927"/>
                      </a:lnTo>
                      <a:lnTo>
                        <a:pt x="1376399" y="303236"/>
                      </a:lnTo>
                      <a:cubicBezTo>
                        <a:pt x="1378036" y="302641"/>
                        <a:pt x="1379748" y="302045"/>
                        <a:pt x="1381534" y="301450"/>
                      </a:cubicBezTo>
                      <a:cubicBezTo>
                        <a:pt x="1383320" y="300929"/>
                        <a:pt x="1385031" y="300371"/>
                        <a:pt x="1386668" y="299776"/>
                      </a:cubicBezTo>
                      <a:close/>
                      <a:moveTo>
                        <a:pt x="1015193" y="299776"/>
                      </a:moveTo>
                      <a:lnTo>
                        <a:pt x="1015193" y="332927"/>
                      </a:lnTo>
                      <a:lnTo>
                        <a:pt x="1045331" y="332927"/>
                      </a:lnTo>
                      <a:lnTo>
                        <a:pt x="1045331" y="342303"/>
                      </a:lnTo>
                      <a:lnTo>
                        <a:pt x="1015193" y="342303"/>
                      </a:lnTo>
                      <a:lnTo>
                        <a:pt x="1015193" y="417759"/>
                      </a:lnTo>
                      <a:cubicBezTo>
                        <a:pt x="1015193" y="425647"/>
                        <a:pt x="1016440" y="431358"/>
                        <a:pt x="1018933" y="434893"/>
                      </a:cubicBezTo>
                      <a:cubicBezTo>
                        <a:pt x="1021426" y="438428"/>
                        <a:pt x="1025649" y="440195"/>
                        <a:pt x="1031602" y="440195"/>
                      </a:cubicBezTo>
                      <a:cubicBezTo>
                        <a:pt x="1035843" y="440195"/>
                        <a:pt x="1040420" y="438818"/>
                        <a:pt x="1045331" y="436065"/>
                      </a:cubicBezTo>
                      <a:lnTo>
                        <a:pt x="1045331" y="445665"/>
                      </a:lnTo>
                      <a:cubicBezTo>
                        <a:pt x="1039973" y="448195"/>
                        <a:pt x="1034950" y="449460"/>
                        <a:pt x="1030262" y="449460"/>
                      </a:cubicBezTo>
                      <a:cubicBezTo>
                        <a:pt x="1013370" y="449460"/>
                        <a:pt x="1004924" y="439339"/>
                        <a:pt x="1004924" y="419099"/>
                      </a:cubicBezTo>
                      <a:lnTo>
                        <a:pt x="1004924" y="342303"/>
                      </a:lnTo>
                      <a:lnTo>
                        <a:pt x="984386" y="342303"/>
                      </a:lnTo>
                      <a:lnTo>
                        <a:pt x="984386" y="332927"/>
                      </a:lnTo>
                      <a:lnTo>
                        <a:pt x="1004924" y="332927"/>
                      </a:lnTo>
                      <a:lnTo>
                        <a:pt x="1004924" y="303236"/>
                      </a:lnTo>
                      <a:cubicBezTo>
                        <a:pt x="1006561" y="302641"/>
                        <a:pt x="1008273" y="302045"/>
                        <a:pt x="1010059" y="301450"/>
                      </a:cubicBezTo>
                      <a:cubicBezTo>
                        <a:pt x="1011845" y="300929"/>
                        <a:pt x="1013556" y="300371"/>
                        <a:pt x="1015193" y="299776"/>
                      </a:cubicBezTo>
                      <a:close/>
                      <a:moveTo>
                        <a:pt x="2002481" y="287163"/>
                      </a:moveTo>
                      <a:lnTo>
                        <a:pt x="2013531" y="287163"/>
                      </a:lnTo>
                      <a:lnTo>
                        <a:pt x="2013531" y="447227"/>
                      </a:lnTo>
                      <a:lnTo>
                        <a:pt x="2002481" y="447227"/>
                      </a:lnTo>
                      <a:close/>
                      <a:moveTo>
                        <a:pt x="1695448" y="278011"/>
                      </a:moveTo>
                      <a:lnTo>
                        <a:pt x="1705718" y="278011"/>
                      </a:lnTo>
                      <a:lnTo>
                        <a:pt x="1705718" y="353467"/>
                      </a:lnTo>
                      <a:lnTo>
                        <a:pt x="1706164" y="353467"/>
                      </a:lnTo>
                      <a:cubicBezTo>
                        <a:pt x="1715168" y="337914"/>
                        <a:pt x="1728265" y="330138"/>
                        <a:pt x="1745455" y="330138"/>
                      </a:cubicBezTo>
                      <a:cubicBezTo>
                        <a:pt x="1757807" y="330138"/>
                        <a:pt x="1767221" y="334119"/>
                        <a:pt x="1773695" y="342081"/>
                      </a:cubicBezTo>
                      <a:cubicBezTo>
                        <a:pt x="1780169" y="350043"/>
                        <a:pt x="1783406" y="361466"/>
                        <a:pt x="1783406" y="376349"/>
                      </a:cubicBezTo>
                      <a:lnTo>
                        <a:pt x="1783406" y="447228"/>
                      </a:lnTo>
                      <a:lnTo>
                        <a:pt x="1773137" y="447228"/>
                      </a:lnTo>
                      <a:lnTo>
                        <a:pt x="1773137" y="378693"/>
                      </a:lnTo>
                      <a:cubicBezTo>
                        <a:pt x="1773137" y="365150"/>
                        <a:pt x="1770681" y="355234"/>
                        <a:pt x="1765770" y="348946"/>
                      </a:cubicBezTo>
                      <a:cubicBezTo>
                        <a:pt x="1760858" y="342658"/>
                        <a:pt x="1753194" y="339514"/>
                        <a:pt x="1742776" y="339514"/>
                      </a:cubicBezTo>
                      <a:cubicBezTo>
                        <a:pt x="1732953" y="339514"/>
                        <a:pt x="1724321" y="343346"/>
                        <a:pt x="1716880" y="351011"/>
                      </a:cubicBezTo>
                      <a:cubicBezTo>
                        <a:pt x="1709438" y="358675"/>
                        <a:pt x="1705718" y="369652"/>
                        <a:pt x="1705718" y="383939"/>
                      </a:cubicBezTo>
                      <a:lnTo>
                        <a:pt x="1705718" y="447228"/>
                      </a:lnTo>
                      <a:lnTo>
                        <a:pt x="1695448" y="447228"/>
                      </a:lnTo>
                      <a:close/>
                      <a:moveTo>
                        <a:pt x="1262248" y="278010"/>
                      </a:moveTo>
                      <a:lnTo>
                        <a:pt x="1272517" y="278010"/>
                      </a:lnTo>
                      <a:lnTo>
                        <a:pt x="1272517" y="447227"/>
                      </a:lnTo>
                      <a:lnTo>
                        <a:pt x="1262248" y="447227"/>
                      </a:lnTo>
                      <a:lnTo>
                        <a:pt x="1262248" y="426466"/>
                      </a:lnTo>
                      <a:lnTo>
                        <a:pt x="1261801" y="426466"/>
                      </a:lnTo>
                      <a:cubicBezTo>
                        <a:pt x="1258081" y="433684"/>
                        <a:pt x="1252574" y="439414"/>
                        <a:pt x="1245282" y="443655"/>
                      </a:cubicBezTo>
                      <a:cubicBezTo>
                        <a:pt x="1237989" y="447897"/>
                        <a:pt x="1229766" y="450018"/>
                        <a:pt x="1220613" y="450018"/>
                      </a:cubicBezTo>
                      <a:cubicBezTo>
                        <a:pt x="1206549" y="450018"/>
                        <a:pt x="1195071" y="444883"/>
                        <a:pt x="1186178" y="434614"/>
                      </a:cubicBezTo>
                      <a:cubicBezTo>
                        <a:pt x="1177286" y="424345"/>
                        <a:pt x="1172840" y="410169"/>
                        <a:pt x="1172840" y="392086"/>
                      </a:cubicBezTo>
                      <a:cubicBezTo>
                        <a:pt x="1172840" y="373632"/>
                        <a:pt x="1177695" y="358693"/>
                        <a:pt x="1187406" y="347271"/>
                      </a:cubicBezTo>
                      <a:cubicBezTo>
                        <a:pt x="1197117" y="335848"/>
                        <a:pt x="1209712" y="330137"/>
                        <a:pt x="1225190" y="330137"/>
                      </a:cubicBezTo>
                      <a:cubicBezTo>
                        <a:pt x="1242305" y="330137"/>
                        <a:pt x="1254509" y="337169"/>
                        <a:pt x="1261801" y="351233"/>
                      </a:cubicBezTo>
                      <a:lnTo>
                        <a:pt x="1262248" y="351233"/>
                      </a:lnTo>
                      <a:close/>
                      <a:moveTo>
                        <a:pt x="0" y="278010"/>
                      </a:moveTo>
                      <a:lnTo>
                        <a:pt x="10269" y="278010"/>
                      </a:lnTo>
                      <a:lnTo>
                        <a:pt x="10269" y="356479"/>
                      </a:lnTo>
                      <a:lnTo>
                        <a:pt x="10715" y="356479"/>
                      </a:lnTo>
                      <a:cubicBezTo>
                        <a:pt x="14808" y="348070"/>
                        <a:pt x="20668" y="341578"/>
                        <a:pt x="28296" y="337001"/>
                      </a:cubicBezTo>
                      <a:cubicBezTo>
                        <a:pt x="35923" y="332425"/>
                        <a:pt x="44313" y="330137"/>
                        <a:pt x="53466" y="330137"/>
                      </a:cubicBezTo>
                      <a:cubicBezTo>
                        <a:pt x="67977" y="330137"/>
                        <a:pt x="79306" y="335141"/>
                        <a:pt x="87455" y="345150"/>
                      </a:cubicBezTo>
                      <a:cubicBezTo>
                        <a:pt x="95603" y="355158"/>
                        <a:pt x="99677" y="368758"/>
                        <a:pt x="99677" y="385947"/>
                      </a:cubicBezTo>
                      <a:cubicBezTo>
                        <a:pt x="99677" y="405072"/>
                        <a:pt x="94952" y="420531"/>
                        <a:pt x="85501" y="432326"/>
                      </a:cubicBezTo>
                      <a:cubicBezTo>
                        <a:pt x="76051" y="444120"/>
                        <a:pt x="63772" y="450018"/>
                        <a:pt x="48666" y="450018"/>
                      </a:cubicBezTo>
                      <a:cubicBezTo>
                        <a:pt x="31551" y="450018"/>
                        <a:pt x="18901" y="442316"/>
                        <a:pt x="10715" y="426912"/>
                      </a:cubicBezTo>
                      <a:lnTo>
                        <a:pt x="10269" y="426912"/>
                      </a:lnTo>
                      <a:lnTo>
                        <a:pt x="10269" y="447227"/>
                      </a:lnTo>
                      <a:lnTo>
                        <a:pt x="0" y="447227"/>
                      </a:lnTo>
                      <a:close/>
                      <a:moveTo>
                        <a:pt x="1830436" y="109500"/>
                      </a:moveTo>
                      <a:lnTo>
                        <a:pt x="1798958" y="114076"/>
                      </a:lnTo>
                      <a:cubicBezTo>
                        <a:pt x="1786978" y="115788"/>
                        <a:pt x="1778569" y="118560"/>
                        <a:pt x="1773732" y="122392"/>
                      </a:cubicBezTo>
                      <a:cubicBezTo>
                        <a:pt x="1768895" y="126225"/>
                        <a:pt x="1766477" y="132457"/>
                        <a:pt x="1766477" y="141089"/>
                      </a:cubicBezTo>
                      <a:cubicBezTo>
                        <a:pt x="1766477" y="147860"/>
                        <a:pt x="1768728" y="153442"/>
                        <a:pt x="1773230" y="157832"/>
                      </a:cubicBezTo>
                      <a:cubicBezTo>
                        <a:pt x="1777732" y="162222"/>
                        <a:pt x="1784001" y="164418"/>
                        <a:pt x="1792038" y="164418"/>
                      </a:cubicBezTo>
                      <a:cubicBezTo>
                        <a:pt x="1803051" y="164418"/>
                        <a:pt x="1812204" y="160343"/>
                        <a:pt x="1819497" y="152195"/>
                      </a:cubicBezTo>
                      <a:cubicBezTo>
                        <a:pt x="1826789" y="144047"/>
                        <a:pt x="1830436" y="133536"/>
                        <a:pt x="1830436" y="120662"/>
                      </a:cubicBezTo>
                      <a:close/>
                      <a:moveTo>
                        <a:pt x="1058912" y="109500"/>
                      </a:moveTo>
                      <a:lnTo>
                        <a:pt x="1027435" y="114076"/>
                      </a:lnTo>
                      <a:cubicBezTo>
                        <a:pt x="1015454" y="115788"/>
                        <a:pt x="1007045" y="118560"/>
                        <a:pt x="1002208" y="122392"/>
                      </a:cubicBezTo>
                      <a:cubicBezTo>
                        <a:pt x="997371" y="126225"/>
                        <a:pt x="994953" y="132457"/>
                        <a:pt x="994953" y="141089"/>
                      </a:cubicBezTo>
                      <a:cubicBezTo>
                        <a:pt x="994953" y="147860"/>
                        <a:pt x="997204" y="153442"/>
                        <a:pt x="1001706" y="157832"/>
                      </a:cubicBezTo>
                      <a:cubicBezTo>
                        <a:pt x="1006208" y="162222"/>
                        <a:pt x="1012477" y="164418"/>
                        <a:pt x="1020514" y="164418"/>
                      </a:cubicBezTo>
                      <a:cubicBezTo>
                        <a:pt x="1031527" y="164418"/>
                        <a:pt x="1040680" y="160343"/>
                        <a:pt x="1047973" y="152195"/>
                      </a:cubicBezTo>
                      <a:cubicBezTo>
                        <a:pt x="1055265" y="144047"/>
                        <a:pt x="1058912" y="133536"/>
                        <a:pt x="1058912" y="120662"/>
                      </a:cubicBezTo>
                      <a:close/>
                      <a:moveTo>
                        <a:pt x="430634" y="101016"/>
                      </a:moveTo>
                      <a:cubicBezTo>
                        <a:pt x="422151" y="101016"/>
                        <a:pt x="415416" y="103918"/>
                        <a:pt x="410430" y="109722"/>
                      </a:cubicBezTo>
                      <a:cubicBezTo>
                        <a:pt x="405445" y="115527"/>
                        <a:pt x="402952" y="123452"/>
                        <a:pt x="402952" y="133498"/>
                      </a:cubicBezTo>
                      <a:cubicBezTo>
                        <a:pt x="402952" y="143097"/>
                        <a:pt x="405352" y="150724"/>
                        <a:pt x="410151" y="156380"/>
                      </a:cubicBezTo>
                      <a:cubicBezTo>
                        <a:pt x="414951" y="162035"/>
                        <a:pt x="421555" y="164863"/>
                        <a:pt x="429964" y="164863"/>
                      </a:cubicBezTo>
                      <a:cubicBezTo>
                        <a:pt x="438522" y="164863"/>
                        <a:pt x="445200" y="161980"/>
                        <a:pt x="450000" y="156212"/>
                      </a:cubicBezTo>
                      <a:cubicBezTo>
                        <a:pt x="454800" y="150445"/>
                        <a:pt x="457200" y="142650"/>
                        <a:pt x="457200" y="132828"/>
                      </a:cubicBezTo>
                      <a:cubicBezTo>
                        <a:pt x="457200" y="122335"/>
                        <a:pt x="454818" y="114410"/>
                        <a:pt x="450056" y="109053"/>
                      </a:cubicBezTo>
                      <a:cubicBezTo>
                        <a:pt x="445293" y="103695"/>
                        <a:pt x="438819" y="101016"/>
                        <a:pt x="430634" y="101016"/>
                      </a:cubicBezTo>
                      <a:close/>
                      <a:moveTo>
                        <a:pt x="430857" y="91863"/>
                      </a:moveTo>
                      <a:cubicBezTo>
                        <a:pt x="442019" y="91863"/>
                        <a:pt x="450874" y="95509"/>
                        <a:pt x="457423" y="102802"/>
                      </a:cubicBezTo>
                      <a:cubicBezTo>
                        <a:pt x="463971" y="110094"/>
                        <a:pt x="467246" y="120177"/>
                        <a:pt x="467246" y="133051"/>
                      </a:cubicBezTo>
                      <a:cubicBezTo>
                        <a:pt x="467246" y="144660"/>
                        <a:pt x="463841" y="154352"/>
                        <a:pt x="457032" y="162128"/>
                      </a:cubicBezTo>
                      <a:cubicBezTo>
                        <a:pt x="450223" y="169905"/>
                        <a:pt x="441126" y="173793"/>
                        <a:pt x="429741" y="173793"/>
                      </a:cubicBezTo>
                      <a:cubicBezTo>
                        <a:pt x="418356" y="173793"/>
                        <a:pt x="409333" y="170035"/>
                        <a:pt x="402673" y="162519"/>
                      </a:cubicBezTo>
                      <a:cubicBezTo>
                        <a:pt x="396013" y="155003"/>
                        <a:pt x="392683" y="145255"/>
                        <a:pt x="392683" y="133274"/>
                      </a:cubicBezTo>
                      <a:cubicBezTo>
                        <a:pt x="392683" y="120103"/>
                        <a:pt x="396255" y="109908"/>
                        <a:pt x="403398" y="102690"/>
                      </a:cubicBezTo>
                      <a:cubicBezTo>
                        <a:pt x="410542" y="95472"/>
                        <a:pt x="419695" y="91863"/>
                        <a:pt x="430857" y="91863"/>
                      </a:cubicBezTo>
                      <a:close/>
                      <a:moveTo>
                        <a:pt x="2090402" y="63289"/>
                      </a:moveTo>
                      <a:cubicBezTo>
                        <a:pt x="2079686" y="63289"/>
                        <a:pt x="2070813" y="66879"/>
                        <a:pt x="2063780" y="74060"/>
                      </a:cubicBezTo>
                      <a:cubicBezTo>
                        <a:pt x="2056748" y="81241"/>
                        <a:pt x="2052414" y="91529"/>
                        <a:pt x="2050777" y="104924"/>
                      </a:cubicBezTo>
                      <a:lnTo>
                        <a:pt x="2124223" y="104924"/>
                      </a:lnTo>
                      <a:cubicBezTo>
                        <a:pt x="2123777" y="91752"/>
                        <a:pt x="2120614" y="81520"/>
                        <a:pt x="2114735" y="74228"/>
                      </a:cubicBezTo>
                      <a:cubicBezTo>
                        <a:pt x="2108857" y="66935"/>
                        <a:pt x="2100746" y="63289"/>
                        <a:pt x="2090402" y="63289"/>
                      </a:cubicBezTo>
                      <a:close/>
                      <a:moveTo>
                        <a:pt x="918826" y="63289"/>
                      </a:moveTo>
                      <a:cubicBezTo>
                        <a:pt x="908111" y="63289"/>
                        <a:pt x="899237" y="66879"/>
                        <a:pt x="892205" y="74060"/>
                      </a:cubicBezTo>
                      <a:cubicBezTo>
                        <a:pt x="885172" y="81241"/>
                        <a:pt x="880838" y="91529"/>
                        <a:pt x="879201" y="104924"/>
                      </a:cubicBezTo>
                      <a:lnTo>
                        <a:pt x="952647" y="104924"/>
                      </a:lnTo>
                      <a:cubicBezTo>
                        <a:pt x="952201" y="91752"/>
                        <a:pt x="949038" y="81520"/>
                        <a:pt x="943160" y="74228"/>
                      </a:cubicBezTo>
                      <a:cubicBezTo>
                        <a:pt x="937281" y="66935"/>
                        <a:pt x="929170" y="63289"/>
                        <a:pt x="918826" y="63289"/>
                      </a:cubicBezTo>
                      <a:close/>
                      <a:moveTo>
                        <a:pt x="599107" y="63289"/>
                      </a:moveTo>
                      <a:cubicBezTo>
                        <a:pt x="585638" y="63289"/>
                        <a:pt x="574904" y="67828"/>
                        <a:pt x="566905" y="76907"/>
                      </a:cubicBezTo>
                      <a:cubicBezTo>
                        <a:pt x="558905" y="85985"/>
                        <a:pt x="554905" y="98598"/>
                        <a:pt x="554905" y="114746"/>
                      </a:cubicBezTo>
                      <a:cubicBezTo>
                        <a:pt x="554905" y="129703"/>
                        <a:pt x="558812" y="141721"/>
                        <a:pt x="566626" y="150800"/>
                      </a:cubicBezTo>
                      <a:cubicBezTo>
                        <a:pt x="574439" y="159878"/>
                        <a:pt x="585117" y="164418"/>
                        <a:pt x="598661" y="164418"/>
                      </a:cubicBezTo>
                      <a:cubicBezTo>
                        <a:pt x="612427" y="164418"/>
                        <a:pt x="623031" y="159953"/>
                        <a:pt x="630473" y="151023"/>
                      </a:cubicBezTo>
                      <a:cubicBezTo>
                        <a:pt x="637914" y="142093"/>
                        <a:pt x="641635" y="129703"/>
                        <a:pt x="641635" y="113853"/>
                      </a:cubicBezTo>
                      <a:cubicBezTo>
                        <a:pt x="641635" y="97557"/>
                        <a:pt x="637933" y="85055"/>
                        <a:pt x="630529" y="76349"/>
                      </a:cubicBezTo>
                      <a:cubicBezTo>
                        <a:pt x="623124" y="67642"/>
                        <a:pt x="612651" y="63289"/>
                        <a:pt x="599107" y="63289"/>
                      </a:cubicBezTo>
                      <a:close/>
                      <a:moveTo>
                        <a:pt x="1634987" y="63288"/>
                      </a:moveTo>
                      <a:cubicBezTo>
                        <a:pt x="1622411" y="63288"/>
                        <a:pt x="1612291" y="68013"/>
                        <a:pt x="1604626" y="77464"/>
                      </a:cubicBezTo>
                      <a:cubicBezTo>
                        <a:pt x="1596961" y="86914"/>
                        <a:pt x="1593129" y="99416"/>
                        <a:pt x="1593129" y="114968"/>
                      </a:cubicBezTo>
                      <a:cubicBezTo>
                        <a:pt x="1593129" y="130595"/>
                        <a:pt x="1596645" y="142743"/>
                        <a:pt x="1603677" y="151413"/>
                      </a:cubicBezTo>
                      <a:cubicBezTo>
                        <a:pt x="1610709" y="160082"/>
                        <a:pt x="1619993" y="164417"/>
                        <a:pt x="1631527" y="164417"/>
                      </a:cubicBezTo>
                      <a:cubicBezTo>
                        <a:pt x="1643805" y="164417"/>
                        <a:pt x="1653591" y="160435"/>
                        <a:pt x="1660883" y="152473"/>
                      </a:cubicBezTo>
                      <a:cubicBezTo>
                        <a:pt x="1668176" y="144511"/>
                        <a:pt x="1671822" y="134763"/>
                        <a:pt x="1671822" y="123228"/>
                      </a:cubicBezTo>
                      <a:lnTo>
                        <a:pt x="1671822" y="100569"/>
                      </a:lnTo>
                      <a:cubicBezTo>
                        <a:pt x="1671822" y="90449"/>
                        <a:pt x="1668418" y="81705"/>
                        <a:pt x="1661609" y="74338"/>
                      </a:cubicBezTo>
                      <a:cubicBezTo>
                        <a:pt x="1654800" y="66971"/>
                        <a:pt x="1645926" y="63288"/>
                        <a:pt x="1634987" y="63288"/>
                      </a:cubicBezTo>
                      <a:close/>
                      <a:moveTo>
                        <a:pt x="1444487" y="63288"/>
                      </a:moveTo>
                      <a:cubicBezTo>
                        <a:pt x="1431911" y="63288"/>
                        <a:pt x="1421791" y="68013"/>
                        <a:pt x="1414126" y="77464"/>
                      </a:cubicBezTo>
                      <a:cubicBezTo>
                        <a:pt x="1406461" y="86914"/>
                        <a:pt x="1402629" y="99416"/>
                        <a:pt x="1402629" y="114968"/>
                      </a:cubicBezTo>
                      <a:cubicBezTo>
                        <a:pt x="1402629" y="130595"/>
                        <a:pt x="1406145" y="142743"/>
                        <a:pt x="1413177" y="151413"/>
                      </a:cubicBezTo>
                      <a:cubicBezTo>
                        <a:pt x="1420209" y="160082"/>
                        <a:pt x="1429493" y="164417"/>
                        <a:pt x="1441027" y="164417"/>
                      </a:cubicBezTo>
                      <a:cubicBezTo>
                        <a:pt x="1453305" y="164417"/>
                        <a:pt x="1463091" y="160435"/>
                        <a:pt x="1470383" y="152473"/>
                      </a:cubicBezTo>
                      <a:cubicBezTo>
                        <a:pt x="1477676" y="144511"/>
                        <a:pt x="1481322" y="134763"/>
                        <a:pt x="1481322" y="123228"/>
                      </a:cubicBezTo>
                      <a:lnTo>
                        <a:pt x="1481322" y="100569"/>
                      </a:lnTo>
                      <a:cubicBezTo>
                        <a:pt x="1481322" y="90449"/>
                        <a:pt x="1477918" y="81705"/>
                        <a:pt x="1471109" y="74338"/>
                      </a:cubicBezTo>
                      <a:cubicBezTo>
                        <a:pt x="1464300" y="66971"/>
                        <a:pt x="1455426" y="63288"/>
                        <a:pt x="1444487" y="63288"/>
                      </a:cubicBezTo>
                      <a:close/>
                      <a:moveTo>
                        <a:pt x="1148767" y="63288"/>
                      </a:moveTo>
                      <a:cubicBezTo>
                        <a:pt x="1136786" y="63288"/>
                        <a:pt x="1126889" y="67883"/>
                        <a:pt x="1119075" y="77073"/>
                      </a:cubicBezTo>
                      <a:cubicBezTo>
                        <a:pt x="1111262" y="86263"/>
                        <a:pt x="1107355" y="98895"/>
                        <a:pt x="1107355" y="114968"/>
                      </a:cubicBezTo>
                      <a:cubicBezTo>
                        <a:pt x="1107355" y="130744"/>
                        <a:pt x="1110871" y="142930"/>
                        <a:pt x="1117904" y="151524"/>
                      </a:cubicBezTo>
                      <a:cubicBezTo>
                        <a:pt x="1124935" y="160119"/>
                        <a:pt x="1133995" y="164417"/>
                        <a:pt x="1145083" y="164417"/>
                      </a:cubicBezTo>
                      <a:cubicBezTo>
                        <a:pt x="1158106" y="164417"/>
                        <a:pt x="1168189" y="160380"/>
                        <a:pt x="1175332" y="152306"/>
                      </a:cubicBezTo>
                      <a:cubicBezTo>
                        <a:pt x="1182476" y="144232"/>
                        <a:pt x="1186048" y="134391"/>
                        <a:pt x="1186048" y="122782"/>
                      </a:cubicBezTo>
                      <a:lnTo>
                        <a:pt x="1186048" y="101462"/>
                      </a:lnTo>
                      <a:cubicBezTo>
                        <a:pt x="1186048" y="90821"/>
                        <a:pt x="1182681" y="81798"/>
                        <a:pt x="1175946" y="74394"/>
                      </a:cubicBezTo>
                      <a:cubicBezTo>
                        <a:pt x="1169212" y="66990"/>
                        <a:pt x="1160152" y="63288"/>
                        <a:pt x="1148767" y="63288"/>
                      </a:cubicBezTo>
                      <a:close/>
                      <a:moveTo>
                        <a:pt x="2476498" y="56702"/>
                      </a:moveTo>
                      <a:lnTo>
                        <a:pt x="2486768" y="56702"/>
                      </a:lnTo>
                      <a:lnTo>
                        <a:pt x="2486768" y="171002"/>
                      </a:lnTo>
                      <a:lnTo>
                        <a:pt x="2476498" y="171002"/>
                      </a:lnTo>
                      <a:close/>
                      <a:moveTo>
                        <a:pt x="2309923" y="56702"/>
                      </a:moveTo>
                      <a:lnTo>
                        <a:pt x="2321309" y="56702"/>
                      </a:lnTo>
                      <a:lnTo>
                        <a:pt x="2347875" y="147897"/>
                      </a:lnTo>
                      <a:cubicBezTo>
                        <a:pt x="2348544" y="150278"/>
                        <a:pt x="2349065" y="153478"/>
                        <a:pt x="2349437" y="157496"/>
                      </a:cubicBezTo>
                      <a:lnTo>
                        <a:pt x="2350330" y="157496"/>
                      </a:lnTo>
                      <a:cubicBezTo>
                        <a:pt x="2350479" y="155338"/>
                        <a:pt x="2351186" y="152138"/>
                        <a:pt x="2352451" y="147897"/>
                      </a:cubicBezTo>
                      <a:lnTo>
                        <a:pt x="2381473" y="56702"/>
                      </a:lnTo>
                      <a:lnTo>
                        <a:pt x="2388505" y="56702"/>
                      </a:lnTo>
                      <a:lnTo>
                        <a:pt x="2414401" y="147897"/>
                      </a:lnTo>
                      <a:cubicBezTo>
                        <a:pt x="2414996" y="150055"/>
                        <a:pt x="2415517" y="153254"/>
                        <a:pt x="2415963" y="157496"/>
                      </a:cubicBezTo>
                      <a:lnTo>
                        <a:pt x="2416857" y="157496"/>
                      </a:lnTo>
                      <a:cubicBezTo>
                        <a:pt x="2416857" y="155338"/>
                        <a:pt x="2417489" y="152138"/>
                        <a:pt x="2418754" y="147897"/>
                      </a:cubicBezTo>
                      <a:lnTo>
                        <a:pt x="2445878" y="56702"/>
                      </a:lnTo>
                      <a:lnTo>
                        <a:pt x="2456482" y="56702"/>
                      </a:lnTo>
                      <a:lnTo>
                        <a:pt x="2420987" y="171002"/>
                      </a:lnTo>
                      <a:lnTo>
                        <a:pt x="2411387" y="171002"/>
                      </a:lnTo>
                      <a:lnTo>
                        <a:pt x="2386495" y="84831"/>
                      </a:lnTo>
                      <a:cubicBezTo>
                        <a:pt x="2385826" y="82450"/>
                        <a:pt x="2385231" y="79250"/>
                        <a:pt x="2384709" y="75231"/>
                      </a:cubicBezTo>
                      <a:lnTo>
                        <a:pt x="2384151" y="75231"/>
                      </a:lnTo>
                      <a:cubicBezTo>
                        <a:pt x="2384003" y="76943"/>
                        <a:pt x="2383259" y="80068"/>
                        <a:pt x="2381919" y="84608"/>
                      </a:cubicBezTo>
                      <a:lnTo>
                        <a:pt x="2354014" y="171002"/>
                      </a:lnTo>
                      <a:lnTo>
                        <a:pt x="2344414" y="171002"/>
                      </a:lnTo>
                      <a:close/>
                      <a:moveTo>
                        <a:pt x="1228723" y="56702"/>
                      </a:moveTo>
                      <a:lnTo>
                        <a:pt x="1238993" y="56702"/>
                      </a:lnTo>
                      <a:lnTo>
                        <a:pt x="1238993" y="171002"/>
                      </a:lnTo>
                      <a:lnTo>
                        <a:pt x="1228723" y="171002"/>
                      </a:lnTo>
                      <a:close/>
                      <a:moveTo>
                        <a:pt x="842627" y="54470"/>
                      </a:moveTo>
                      <a:cubicBezTo>
                        <a:pt x="846869" y="54470"/>
                        <a:pt x="850664" y="55140"/>
                        <a:pt x="854013" y="56479"/>
                      </a:cubicBezTo>
                      <a:lnTo>
                        <a:pt x="854013" y="67418"/>
                      </a:lnTo>
                      <a:cubicBezTo>
                        <a:pt x="850590" y="64962"/>
                        <a:pt x="846571" y="63734"/>
                        <a:pt x="841957" y="63734"/>
                      </a:cubicBezTo>
                      <a:cubicBezTo>
                        <a:pt x="832953" y="63734"/>
                        <a:pt x="825400" y="68385"/>
                        <a:pt x="819298" y="77687"/>
                      </a:cubicBezTo>
                      <a:cubicBezTo>
                        <a:pt x="813196" y="86989"/>
                        <a:pt x="810146" y="100197"/>
                        <a:pt x="810146" y="117312"/>
                      </a:cubicBezTo>
                      <a:lnTo>
                        <a:pt x="810146" y="171002"/>
                      </a:lnTo>
                      <a:lnTo>
                        <a:pt x="800100" y="171002"/>
                      </a:lnTo>
                      <a:lnTo>
                        <a:pt x="800100" y="56702"/>
                      </a:lnTo>
                      <a:lnTo>
                        <a:pt x="810146" y="56702"/>
                      </a:lnTo>
                      <a:lnTo>
                        <a:pt x="810146" y="82040"/>
                      </a:lnTo>
                      <a:lnTo>
                        <a:pt x="810592" y="82040"/>
                      </a:lnTo>
                      <a:cubicBezTo>
                        <a:pt x="813196" y="73334"/>
                        <a:pt x="817327" y="66562"/>
                        <a:pt x="822982" y="61725"/>
                      </a:cubicBezTo>
                      <a:cubicBezTo>
                        <a:pt x="828637" y="56888"/>
                        <a:pt x="835186" y="54470"/>
                        <a:pt x="842627" y="54470"/>
                      </a:cubicBezTo>
                      <a:close/>
                      <a:moveTo>
                        <a:pt x="2193651" y="53913"/>
                      </a:moveTo>
                      <a:cubicBezTo>
                        <a:pt x="2203473" y="53913"/>
                        <a:pt x="2211882" y="55922"/>
                        <a:pt x="2218877" y="59940"/>
                      </a:cubicBezTo>
                      <a:lnTo>
                        <a:pt x="2218877" y="71549"/>
                      </a:lnTo>
                      <a:cubicBezTo>
                        <a:pt x="2210394" y="66042"/>
                        <a:pt x="2201613" y="63289"/>
                        <a:pt x="2192534" y="63289"/>
                      </a:cubicBezTo>
                      <a:cubicBezTo>
                        <a:pt x="2185019" y="63289"/>
                        <a:pt x="2178954" y="65242"/>
                        <a:pt x="2174340" y="69149"/>
                      </a:cubicBezTo>
                      <a:cubicBezTo>
                        <a:pt x="2169726" y="73056"/>
                        <a:pt x="2167420" y="78134"/>
                        <a:pt x="2167420" y="84385"/>
                      </a:cubicBezTo>
                      <a:cubicBezTo>
                        <a:pt x="2167420" y="89817"/>
                        <a:pt x="2168871" y="94227"/>
                        <a:pt x="2171773" y="97612"/>
                      </a:cubicBezTo>
                      <a:cubicBezTo>
                        <a:pt x="2174675" y="100998"/>
                        <a:pt x="2181075" y="104886"/>
                        <a:pt x="2190972" y="109277"/>
                      </a:cubicBezTo>
                      <a:cubicBezTo>
                        <a:pt x="2202878" y="114635"/>
                        <a:pt x="2211063" y="119602"/>
                        <a:pt x="2215528" y="124178"/>
                      </a:cubicBezTo>
                      <a:cubicBezTo>
                        <a:pt x="2219993" y="128755"/>
                        <a:pt x="2222226" y="134838"/>
                        <a:pt x="2222226" y="142428"/>
                      </a:cubicBezTo>
                      <a:cubicBezTo>
                        <a:pt x="2222226" y="151507"/>
                        <a:pt x="2218821" y="159004"/>
                        <a:pt x="2212012" y="164920"/>
                      </a:cubicBezTo>
                      <a:cubicBezTo>
                        <a:pt x="2205203" y="170836"/>
                        <a:pt x="2195809" y="173794"/>
                        <a:pt x="2183828" y="173794"/>
                      </a:cubicBezTo>
                      <a:cubicBezTo>
                        <a:pt x="2172815" y="173794"/>
                        <a:pt x="2163625" y="171189"/>
                        <a:pt x="2156258" y="165980"/>
                      </a:cubicBezTo>
                      <a:lnTo>
                        <a:pt x="2156258" y="153590"/>
                      </a:lnTo>
                      <a:cubicBezTo>
                        <a:pt x="2160127" y="156939"/>
                        <a:pt x="2164815" y="159581"/>
                        <a:pt x="2170322" y="161515"/>
                      </a:cubicBezTo>
                      <a:cubicBezTo>
                        <a:pt x="2175828" y="163450"/>
                        <a:pt x="2180591" y="164418"/>
                        <a:pt x="2184609" y="164418"/>
                      </a:cubicBezTo>
                      <a:cubicBezTo>
                        <a:pt x="2202543" y="164418"/>
                        <a:pt x="2211510" y="157088"/>
                        <a:pt x="2211510" y="142428"/>
                      </a:cubicBezTo>
                      <a:cubicBezTo>
                        <a:pt x="2211510" y="137368"/>
                        <a:pt x="2209538" y="133052"/>
                        <a:pt x="2205594" y="129480"/>
                      </a:cubicBezTo>
                      <a:cubicBezTo>
                        <a:pt x="2201650" y="125908"/>
                        <a:pt x="2195250" y="122225"/>
                        <a:pt x="2186395" y="118430"/>
                      </a:cubicBezTo>
                      <a:cubicBezTo>
                        <a:pt x="2175456" y="113667"/>
                        <a:pt x="2167773" y="108737"/>
                        <a:pt x="2163345" y="103640"/>
                      </a:cubicBezTo>
                      <a:cubicBezTo>
                        <a:pt x="2158918" y="98543"/>
                        <a:pt x="2156704" y="92348"/>
                        <a:pt x="2156704" y="85055"/>
                      </a:cubicBezTo>
                      <a:cubicBezTo>
                        <a:pt x="2156704" y="75753"/>
                        <a:pt x="2160257" y="68237"/>
                        <a:pt x="2167364" y="62508"/>
                      </a:cubicBezTo>
                      <a:cubicBezTo>
                        <a:pt x="2174470" y="56778"/>
                        <a:pt x="2183233" y="53913"/>
                        <a:pt x="2193651" y="53913"/>
                      </a:cubicBezTo>
                      <a:close/>
                      <a:moveTo>
                        <a:pt x="2090849" y="53913"/>
                      </a:moveTo>
                      <a:cubicBezTo>
                        <a:pt x="2105062" y="53913"/>
                        <a:pt x="2115963" y="58898"/>
                        <a:pt x="2123554" y="68870"/>
                      </a:cubicBezTo>
                      <a:cubicBezTo>
                        <a:pt x="2131144" y="78841"/>
                        <a:pt x="2134939" y="92459"/>
                        <a:pt x="2134939" y="109723"/>
                      </a:cubicBezTo>
                      <a:lnTo>
                        <a:pt x="2134939" y="114300"/>
                      </a:lnTo>
                      <a:lnTo>
                        <a:pt x="2050330" y="114300"/>
                      </a:lnTo>
                      <a:cubicBezTo>
                        <a:pt x="2050330" y="130001"/>
                        <a:pt x="2053958" y="142279"/>
                        <a:pt x="2061213" y="151135"/>
                      </a:cubicBezTo>
                      <a:cubicBezTo>
                        <a:pt x="2068469" y="159990"/>
                        <a:pt x="2078421" y="164418"/>
                        <a:pt x="2091072" y="164418"/>
                      </a:cubicBezTo>
                      <a:cubicBezTo>
                        <a:pt x="2103871" y="164418"/>
                        <a:pt x="2116373" y="159692"/>
                        <a:pt x="2128576" y="150242"/>
                      </a:cubicBezTo>
                      <a:lnTo>
                        <a:pt x="2128576" y="161181"/>
                      </a:lnTo>
                      <a:cubicBezTo>
                        <a:pt x="2116745" y="169589"/>
                        <a:pt x="2103536" y="173794"/>
                        <a:pt x="2088951" y="173794"/>
                      </a:cubicBezTo>
                      <a:cubicBezTo>
                        <a:pt x="2074217" y="173794"/>
                        <a:pt x="2062311" y="168510"/>
                        <a:pt x="2053232" y="157944"/>
                      </a:cubicBezTo>
                      <a:cubicBezTo>
                        <a:pt x="2044154" y="147377"/>
                        <a:pt x="2039614" y="132457"/>
                        <a:pt x="2039614" y="113184"/>
                      </a:cubicBezTo>
                      <a:cubicBezTo>
                        <a:pt x="2039614" y="96515"/>
                        <a:pt x="2044358" y="82469"/>
                        <a:pt x="2053846" y="71047"/>
                      </a:cubicBezTo>
                      <a:cubicBezTo>
                        <a:pt x="2063334" y="59624"/>
                        <a:pt x="2075668" y="53913"/>
                        <a:pt x="2090849" y="53913"/>
                      </a:cubicBezTo>
                      <a:close/>
                      <a:moveTo>
                        <a:pt x="1993626" y="53913"/>
                      </a:moveTo>
                      <a:cubicBezTo>
                        <a:pt x="2003448" y="53913"/>
                        <a:pt x="2011857" y="55922"/>
                        <a:pt x="2018852" y="59940"/>
                      </a:cubicBezTo>
                      <a:lnTo>
                        <a:pt x="2018852" y="71549"/>
                      </a:lnTo>
                      <a:cubicBezTo>
                        <a:pt x="2010369" y="66042"/>
                        <a:pt x="2001588" y="63289"/>
                        <a:pt x="1992509" y="63289"/>
                      </a:cubicBezTo>
                      <a:cubicBezTo>
                        <a:pt x="1984994" y="63289"/>
                        <a:pt x="1978929" y="65242"/>
                        <a:pt x="1974315" y="69149"/>
                      </a:cubicBezTo>
                      <a:cubicBezTo>
                        <a:pt x="1969701" y="73056"/>
                        <a:pt x="1967395" y="78134"/>
                        <a:pt x="1967395" y="84385"/>
                      </a:cubicBezTo>
                      <a:cubicBezTo>
                        <a:pt x="1967395" y="89817"/>
                        <a:pt x="1968846" y="94227"/>
                        <a:pt x="1971748" y="97612"/>
                      </a:cubicBezTo>
                      <a:cubicBezTo>
                        <a:pt x="1974650" y="100998"/>
                        <a:pt x="1981050" y="104886"/>
                        <a:pt x="1990947" y="109277"/>
                      </a:cubicBezTo>
                      <a:cubicBezTo>
                        <a:pt x="2002853" y="114635"/>
                        <a:pt x="2011038" y="119602"/>
                        <a:pt x="2015503" y="124178"/>
                      </a:cubicBezTo>
                      <a:cubicBezTo>
                        <a:pt x="2019968" y="128755"/>
                        <a:pt x="2022201" y="134838"/>
                        <a:pt x="2022201" y="142428"/>
                      </a:cubicBezTo>
                      <a:cubicBezTo>
                        <a:pt x="2022201" y="151507"/>
                        <a:pt x="2018796" y="159004"/>
                        <a:pt x="2011987" y="164920"/>
                      </a:cubicBezTo>
                      <a:cubicBezTo>
                        <a:pt x="2005178" y="170836"/>
                        <a:pt x="1995784" y="173794"/>
                        <a:pt x="1983803" y="173794"/>
                      </a:cubicBezTo>
                      <a:cubicBezTo>
                        <a:pt x="1972790" y="173794"/>
                        <a:pt x="1963600" y="171189"/>
                        <a:pt x="1956233" y="165980"/>
                      </a:cubicBezTo>
                      <a:lnTo>
                        <a:pt x="1956233" y="153590"/>
                      </a:lnTo>
                      <a:cubicBezTo>
                        <a:pt x="1960102" y="156939"/>
                        <a:pt x="1964790" y="159581"/>
                        <a:pt x="1970297" y="161515"/>
                      </a:cubicBezTo>
                      <a:cubicBezTo>
                        <a:pt x="1975803" y="163450"/>
                        <a:pt x="1980566" y="164418"/>
                        <a:pt x="1984584" y="164418"/>
                      </a:cubicBezTo>
                      <a:cubicBezTo>
                        <a:pt x="2002518" y="164418"/>
                        <a:pt x="2011485" y="157088"/>
                        <a:pt x="2011485" y="142428"/>
                      </a:cubicBezTo>
                      <a:cubicBezTo>
                        <a:pt x="2011485" y="137368"/>
                        <a:pt x="2009513" y="133052"/>
                        <a:pt x="2005569" y="129480"/>
                      </a:cubicBezTo>
                      <a:cubicBezTo>
                        <a:pt x="2001625" y="125908"/>
                        <a:pt x="1995225" y="122225"/>
                        <a:pt x="1986370" y="118430"/>
                      </a:cubicBezTo>
                      <a:cubicBezTo>
                        <a:pt x="1975431" y="113667"/>
                        <a:pt x="1967748" y="108737"/>
                        <a:pt x="1963320" y="103640"/>
                      </a:cubicBezTo>
                      <a:cubicBezTo>
                        <a:pt x="1958893" y="98543"/>
                        <a:pt x="1956679" y="92348"/>
                        <a:pt x="1956679" y="85055"/>
                      </a:cubicBezTo>
                      <a:cubicBezTo>
                        <a:pt x="1956679" y="75753"/>
                        <a:pt x="1960232" y="68237"/>
                        <a:pt x="1967339" y="62508"/>
                      </a:cubicBezTo>
                      <a:cubicBezTo>
                        <a:pt x="1974445" y="56778"/>
                        <a:pt x="1983208" y="53913"/>
                        <a:pt x="1993626" y="53913"/>
                      </a:cubicBezTo>
                      <a:close/>
                      <a:moveTo>
                        <a:pt x="1907901" y="53913"/>
                      </a:moveTo>
                      <a:cubicBezTo>
                        <a:pt x="1917723" y="53913"/>
                        <a:pt x="1926132" y="55922"/>
                        <a:pt x="1933127" y="59940"/>
                      </a:cubicBezTo>
                      <a:lnTo>
                        <a:pt x="1933127" y="71549"/>
                      </a:lnTo>
                      <a:cubicBezTo>
                        <a:pt x="1924644" y="66042"/>
                        <a:pt x="1915863" y="63289"/>
                        <a:pt x="1906784" y="63289"/>
                      </a:cubicBezTo>
                      <a:cubicBezTo>
                        <a:pt x="1899269" y="63289"/>
                        <a:pt x="1893204" y="65242"/>
                        <a:pt x="1888590" y="69149"/>
                      </a:cubicBezTo>
                      <a:cubicBezTo>
                        <a:pt x="1883976" y="73056"/>
                        <a:pt x="1881670" y="78134"/>
                        <a:pt x="1881670" y="84385"/>
                      </a:cubicBezTo>
                      <a:cubicBezTo>
                        <a:pt x="1881670" y="89817"/>
                        <a:pt x="1883121" y="94227"/>
                        <a:pt x="1886023" y="97612"/>
                      </a:cubicBezTo>
                      <a:cubicBezTo>
                        <a:pt x="1888925" y="100998"/>
                        <a:pt x="1895325" y="104886"/>
                        <a:pt x="1905222" y="109277"/>
                      </a:cubicBezTo>
                      <a:cubicBezTo>
                        <a:pt x="1917128" y="114635"/>
                        <a:pt x="1925313" y="119602"/>
                        <a:pt x="1929778" y="124178"/>
                      </a:cubicBezTo>
                      <a:cubicBezTo>
                        <a:pt x="1934243" y="128755"/>
                        <a:pt x="1936476" y="134838"/>
                        <a:pt x="1936476" y="142428"/>
                      </a:cubicBezTo>
                      <a:cubicBezTo>
                        <a:pt x="1936476" y="151507"/>
                        <a:pt x="1933071" y="159004"/>
                        <a:pt x="1926262" y="164920"/>
                      </a:cubicBezTo>
                      <a:cubicBezTo>
                        <a:pt x="1919453" y="170836"/>
                        <a:pt x="1910059" y="173794"/>
                        <a:pt x="1898078" y="173794"/>
                      </a:cubicBezTo>
                      <a:cubicBezTo>
                        <a:pt x="1887065" y="173794"/>
                        <a:pt x="1877875" y="171189"/>
                        <a:pt x="1870508" y="165980"/>
                      </a:cubicBezTo>
                      <a:lnTo>
                        <a:pt x="1870508" y="153590"/>
                      </a:lnTo>
                      <a:cubicBezTo>
                        <a:pt x="1874377" y="156939"/>
                        <a:pt x="1879065" y="159581"/>
                        <a:pt x="1884572" y="161515"/>
                      </a:cubicBezTo>
                      <a:cubicBezTo>
                        <a:pt x="1890078" y="163450"/>
                        <a:pt x="1894841" y="164418"/>
                        <a:pt x="1898859" y="164418"/>
                      </a:cubicBezTo>
                      <a:cubicBezTo>
                        <a:pt x="1916793" y="164418"/>
                        <a:pt x="1925760" y="157088"/>
                        <a:pt x="1925760" y="142428"/>
                      </a:cubicBezTo>
                      <a:cubicBezTo>
                        <a:pt x="1925760" y="137368"/>
                        <a:pt x="1923788" y="133052"/>
                        <a:pt x="1919844" y="129480"/>
                      </a:cubicBezTo>
                      <a:cubicBezTo>
                        <a:pt x="1915900" y="125908"/>
                        <a:pt x="1909500" y="122225"/>
                        <a:pt x="1900645" y="118430"/>
                      </a:cubicBezTo>
                      <a:cubicBezTo>
                        <a:pt x="1889706" y="113667"/>
                        <a:pt x="1882023" y="108737"/>
                        <a:pt x="1877595" y="103640"/>
                      </a:cubicBezTo>
                      <a:cubicBezTo>
                        <a:pt x="1873168" y="98543"/>
                        <a:pt x="1870954" y="92348"/>
                        <a:pt x="1870954" y="85055"/>
                      </a:cubicBezTo>
                      <a:cubicBezTo>
                        <a:pt x="1870954" y="75753"/>
                        <a:pt x="1874507" y="68237"/>
                        <a:pt x="1881614" y="62508"/>
                      </a:cubicBezTo>
                      <a:cubicBezTo>
                        <a:pt x="1888720" y="56778"/>
                        <a:pt x="1897483" y="53913"/>
                        <a:pt x="1907901" y="53913"/>
                      </a:cubicBezTo>
                      <a:close/>
                      <a:moveTo>
                        <a:pt x="1803758" y="53913"/>
                      </a:moveTo>
                      <a:cubicBezTo>
                        <a:pt x="1815516" y="53913"/>
                        <a:pt x="1824613" y="57559"/>
                        <a:pt x="1831049" y="64852"/>
                      </a:cubicBezTo>
                      <a:cubicBezTo>
                        <a:pt x="1837486" y="72144"/>
                        <a:pt x="1840705" y="82748"/>
                        <a:pt x="1840705" y="96664"/>
                      </a:cubicBezTo>
                      <a:lnTo>
                        <a:pt x="1840705" y="171003"/>
                      </a:lnTo>
                      <a:lnTo>
                        <a:pt x="1830436" y="171003"/>
                      </a:lnTo>
                      <a:lnTo>
                        <a:pt x="1830436" y="148121"/>
                      </a:lnTo>
                      <a:lnTo>
                        <a:pt x="1829989" y="148121"/>
                      </a:lnTo>
                      <a:cubicBezTo>
                        <a:pt x="1826343" y="155934"/>
                        <a:pt x="1821041" y="162167"/>
                        <a:pt x="1814083" y="166817"/>
                      </a:cubicBezTo>
                      <a:cubicBezTo>
                        <a:pt x="1807125" y="171468"/>
                        <a:pt x="1799405" y="173794"/>
                        <a:pt x="1790922" y="173794"/>
                      </a:cubicBezTo>
                      <a:cubicBezTo>
                        <a:pt x="1780057" y="173794"/>
                        <a:pt x="1771462" y="170743"/>
                        <a:pt x="1765137" y="164641"/>
                      </a:cubicBezTo>
                      <a:cubicBezTo>
                        <a:pt x="1758812" y="158539"/>
                        <a:pt x="1755649" y="150837"/>
                        <a:pt x="1755649" y="141535"/>
                      </a:cubicBezTo>
                      <a:cubicBezTo>
                        <a:pt x="1755649" y="121592"/>
                        <a:pt x="1768858" y="109537"/>
                        <a:pt x="1795275" y="105370"/>
                      </a:cubicBezTo>
                      <a:lnTo>
                        <a:pt x="1830436" y="100124"/>
                      </a:lnTo>
                      <a:cubicBezTo>
                        <a:pt x="1830436" y="75567"/>
                        <a:pt x="1821208" y="63289"/>
                        <a:pt x="1802754" y="63289"/>
                      </a:cubicBezTo>
                      <a:cubicBezTo>
                        <a:pt x="1790178" y="63289"/>
                        <a:pt x="1777936" y="68349"/>
                        <a:pt x="1766030" y="78469"/>
                      </a:cubicBezTo>
                      <a:lnTo>
                        <a:pt x="1766030" y="66079"/>
                      </a:lnTo>
                      <a:cubicBezTo>
                        <a:pt x="1770272" y="62731"/>
                        <a:pt x="1776020" y="59866"/>
                        <a:pt x="1783276" y="57485"/>
                      </a:cubicBezTo>
                      <a:cubicBezTo>
                        <a:pt x="1790531" y="55103"/>
                        <a:pt x="1797358" y="53913"/>
                        <a:pt x="1803758" y="53913"/>
                      </a:cubicBezTo>
                      <a:close/>
                      <a:moveTo>
                        <a:pt x="1032234" y="53913"/>
                      </a:moveTo>
                      <a:cubicBezTo>
                        <a:pt x="1043992" y="53913"/>
                        <a:pt x="1053089" y="57559"/>
                        <a:pt x="1059526" y="64852"/>
                      </a:cubicBezTo>
                      <a:cubicBezTo>
                        <a:pt x="1065962" y="72144"/>
                        <a:pt x="1069181" y="82748"/>
                        <a:pt x="1069181" y="96664"/>
                      </a:cubicBezTo>
                      <a:lnTo>
                        <a:pt x="1069181" y="171003"/>
                      </a:lnTo>
                      <a:lnTo>
                        <a:pt x="1058912" y="171003"/>
                      </a:lnTo>
                      <a:lnTo>
                        <a:pt x="1058912" y="148121"/>
                      </a:lnTo>
                      <a:lnTo>
                        <a:pt x="1058465" y="148121"/>
                      </a:lnTo>
                      <a:cubicBezTo>
                        <a:pt x="1054819" y="155934"/>
                        <a:pt x="1049517" y="162167"/>
                        <a:pt x="1042559" y="166817"/>
                      </a:cubicBezTo>
                      <a:cubicBezTo>
                        <a:pt x="1035602" y="171468"/>
                        <a:pt x="1027881" y="173794"/>
                        <a:pt x="1019398" y="173794"/>
                      </a:cubicBezTo>
                      <a:cubicBezTo>
                        <a:pt x="1008533" y="173794"/>
                        <a:pt x="999938" y="170743"/>
                        <a:pt x="993613" y="164641"/>
                      </a:cubicBezTo>
                      <a:cubicBezTo>
                        <a:pt x="987288" y="158539"/>
                        <a:pt x="984126" y="150837"/>
                        <a:pt x="984126" y="141535"/>
                      </a:cubicBezTo>
                      <a:cubicBezTo>
                        <a:pt x="984126" y="121592"/>
                        <a:pt x="997334" y="109537"/>
                        <a:pt x="1023751" y="105370"/>
                      </a:cubicBezTo>
                      <a:lnTo>
                        <a:pt x="1058912" y="100124"/>
                      </a:lnTo>
                      <a:cubicBezTo>
                        <a:pt x="1058912" y="75567"/>
                        <a:pt x="1049684" y="63289"/>
                        <a:pt x="1031230" y="63289"/>
                      </a:cubicBezTo>
                      <a:cubicBezTo>
                        <a:pt x="1018654" y="63289"/>
                        <a:pt x="1006413" y="68349"/>
                        <a:pt x="994506" y="78469"/>
                      </a:cubicBezTo>
                      <a:lnTo>
                        <a:pt x="994506" y="66079"/>
                      </a:lnTo>
                      <a:cubicBezTo>
                        <a:pt x="998748" y="62731"/>
                        <a:pt x="1004496" y="59866"/>
                        <a:pt x="1011752" y="57485"/>
                      </a:cubicBezTo>
                      <a:cubicBezTo>
                        <a:pt x="1019007" y="55103"/>
                        <a:pt x="1025835" y="53913"/>
                        <a:pt x="1032234" y="53913"/>
                      </a:cubicBezTo>
                      <a:close/>
                      <a:moveTo>
                        <a:pt x="919273" y="53913"/>
                      </a:moveTo>
                      <a:cubicBezTo>
                        <a:pt x="933486" y="53913"/>
                        <a:pt x="944387" y="58898"/>
                        <a:pt x="951978" y="68870"/>
                      </a:cubicBezTo>
                      <a:cubicBezTo>
                        <a:pt x="959568" y="78841"/>
                        <a:pt x="963363" y="92459"/>
                        <a:pt x="963363" y="109723"/>
                      </a:cubicBezTo>
                      <a:lnTo>
                        <a:pt x="963363" y="114300"/>
                      </a:lnTo>
                      <a:lnTo>
                        <a:pt x="878754" y="114300"/>
                      </a:lnTo>
                      <a:cubicBezTo>
                        <a:pt x="878754" y="130001"/>
                        <a:pt x="882382" y="142279"/>
                        <a:pt x="889637" y="151135"/>
                      </a:cubicBezTo>
                      <a:cubicBezTo>
                        <a:pt x="896893" y="159990"/>
                        <a:pt x="906846" y="164418"/>
                        <a:pt x="919496" y="164418"/>
                      </a:cubicBezTo>
                      <a:cubicBezTo>
                        <a:pt x="932295" y="164418"/>
                        <a:pt x="944797" y="159692"/>
                        <a:pt x="957001" y="150242"/>
                      </a:cubicBezTo>
                      <a:lnTo>
                        <a:pt x="957001" y="161181"/>
                      </a:lnTo>
                      <a:cubicBezTo>
                        <a:pt x="945169" y="169589"/>
                        <a:pt x="931960" y="173794"/>
                        <a:pt x="917375" y="173794"/>
                      </a:cubicBezTo>
                      <a:cubicBezTo>
                        <a:pt x="902641" y="173794"/>
                        <a:pt x="890735" y="168510"/>
                        <a:pt x="881656" y="157944"/>
                      </a:cubicBezTo>
                      <a:cubicBezTo>
                        <a:pt x="872578" y="147377"/>
                        <a:pt x="868039" y="132457"/>
                        <a:pt x="868039" y="113184"/>
                      </a:cubicBezTo>
                      <a:cubicBezTo>
                        <a:pt x="868039" y="96515"/>
                        <a:pt x="872783" y="82469"/>
                        <a:pt x="882270" y="71047"/>
                      </a:cubicBezTo>
                      <a:cubicBezTo>
                        <a:pt x="891758" y="59624"/>
                        <a:pt x="904092" y="53913"/>
                        <a:pt x="919273" y="53913"/>
                      </a:cubicBezTo>
                      <a:close/>
                      <a:moveTo>
                        <a:pt x="599554" y="53913"/>
                      </a:moveTo>
                      <a:cubicBezTo>
                        <a:pt x="615850" y="53913"/>
                        <a:pt x="628724" y="59233"/>
                        <a:pt x="638175" y="69875"/>
                      </a:cubicBezTo>
                      <a:cubicBezTo>
                        <a:pt x="647625" y="80516"/>
                        <a:pt x="652351" y="95250"/>
                        <a:pt x="652351" y="114076"/>
                      </a:cubicBezTo>
                      <a:cubicBezTo>
                        <a:pt x="652351" y="131861"/>
                        <a:pt x="647532" y="146261"/>
                        <a:pt x="637896" y="157274"/>
                      </a:cubicBezTo>
                      <a:cubicBezTo>
                        <a:pt x="628259" y="168287"/>
                        <a:pt x="615069" y="173794"/>
                        <a:pt x="598326" y="173794"/>
                      </a:cubicBezTo>
                      <a:cubicBezTo>
                        <a:pt x="581657" y="173794"/>
                        <a:pt x="568467" y="168306"/>
                        <a:pt x="558756" y="157330"/>
                      </a:cubicBezTo>
                      <a:cubicBezTo>
                        <a:pt x="549045" y="146354"/>
                        <a:pt x="544190" y="132085"/>
                        <a:pt x="544190" y="114523"/>
                      </a:cubicBezTo>
                      <a:cubicBezTo>
                        <a:pt x="544190" y="95547"/>
                        <a:pt x="549268" y="80702"/>
                        <a:pt x="559426" y="69986"/>
                      </a:cubicBezTo>
                      <a:cubicBezTo>
                        <a:pt x="569583" y="59271"/>
                        <a:pt x="582959" y="53913"/>
                        <a:pt x="599554" y="53913"/>
                      </a:cubicBezTo>
                      <a:close/>
                      <a:moveTo>
                        <a:pt x="1634764" y="53912"/>
                      </a:moveTo>
                      <a:cubicBezTo>
                        <a:pt x="1651581" y="53912"/>
                        <a:pt x="1663785" y="60869"/>
                        <a:pt x="1671375" y="74785"/>
                      </a:cubicBezTo>
                      <a:lnTo>
                        <a:pt x="1671822" y="74785"/>
                      </a:lnTo>
                      <a:lnTo>
                        <a:pt x="1671822" y="56702"/>
                      </a:lnTo>
                      <a:lnTo>
                        <a:pt x="1682091" y="56702"/>
                      </a:lnTo>
                      <a:lnTo>
                        <a:pt x="1682091" y="162519"/>
                      </a:lnTo>
                      <a:cubicBezTo>
                        <a:pt x="1682091" y="184025"/>
                        <a:pt x="1677403" y="199763"/>
                        <a:pt x="1668027" y="209735"/>
                      </a:cubicBezTo>
                      <a:cubicBezTo>
                        <a:pt x="1658651" y="219706"/>
                        <a:pt x="1644066" y="224692"/>
                        <a:pt x="1624271" y="224692"/>
                      </a:cubicBezTo>
                      <a:cubicBezTo>
                        <a:pt x="1613258" y="224692"/>
                        <a:pt x="1601910" y="221790"/>
                        <a:pt x="1590227" y="215986"/>
                      </a:cubicBezTo>
                      <a:lnTo>
                        <a:pt x="1590227" y="205270"/>
                      </a:lnTo>
                      <a:cubicBezTo>
                        <a:pt x="1602282" y="211967"/>
                        <a:pt x="1613705" y="215316"/>
                        <a:pt x="1624495" y="215316"/>
                      </a:cubicBezTo>
                      <a:cubicBezTo>
                        <a:pt x="1656046" y="215316"/>
                        <a:pt x="1671822" y="198647"/>
                        <a:pt x="1671822" y="165310"/>
                      </a:cubicBezTo>
                      <a:lnTo>
                        <a:pt x="1671822" y="150464"/>
                      </a:lnTo>
                      <a:lnTo>
                        <a:pt x="1671375" y="150464"/>
                      </a:lnTo>
                      <a:cubicBezTo>
                        <a:pt x="1662371" y="166016"/>
                        <a:pt x="1648642" y="173793"/>
                        <a:pt x="1630187" y="173793"/>
                      </a:cubicBezTo>
                      <a:cubicBezTo>
                        <a:pt x="1616123" y="173793"/>
                        <a:pt x="1604645" y="168695"/>
                        <a:pt x="1595752" y="158501"/>
                      </a:cubicBezTo>
                      <a:cubicBezTo>
                        <a:pt x="1586860" y="148306"/>
                        <a:pt x="1582413" y="134093"/>
                        <a:pt x="1582413" y="115861"/>
                      </a:cubicBezTo>
                      <a:cubicBezTo>
                        <a:pt x="1582413" y="97630"/>
                        <a:pt x="1587213" y="82747"/>
                        <a:pt x="1596813" y="71213"/>
                      </a:cubicBezTo>
                      <a:cubicBezTo>
                        <a:pt x="1606412" y="59679"/>
                        <a:pt x="1619062" y="53912"/>
                        <a:pt x="1634764" y="53912"/>
                      </a:cubicBezTo>
                      <a:close/>
                      <a:moveTo>
                        <a:pt x="1444264" y="53912"/>
                      </a:moveTo>
                      <a:cubicBezTo>
                        <a:pt x="1461081" y="53912"/>
                        <a:pt x="1473285" y="60869"/>
                        <a:pt x="1480875" y="74785"/>
                      </a:cubicBezTo>
                      <a:lnTo>
                        <a:pt x="1481322" y="74785"/>
                      </a:lnTo>
                      <a:lnTo>
                        <a:pt x="1481322" y="56702"/>
                      </a:lnTo>
                      <a:lnTo>
                        <a:pt x="1491591" y="56702"/>
                      </a:lnTo>
                      <a:lnTo>
                        <a:pt x="1491591" y="162519"/>
                      </a:lnTo>
                      <a:cubicBezTo>
                        <a:pt x="1491591" y="184025"/>
                        <a:pt x="1486903" y="199763"/>
                        <a:pt x="1477527" y="209735"/>
                      </a:cubicBezTo>
                      <a:cubicBezTo>
                        <a:pt x="1468151" y="219706"/>
                        <a:pt x="1453566" y="224692"/>
                        <a:pt x="1433771" y="224692"/>
                      </a:cubicBezTo>
                      <a:cubicBezTo>
                        <a:pt x="1422758" y="224692"/>
                        <a:pt x="1411410" y="221790"/>
                        <a:pt x="1399727" y="215986"/>
                      </a:cubicBezTo>
                      <a:lnTo>
                        <a:pt x="1399727" y="205270"/>
                      </a:lnTo>
                      <a:cubicBezTo>
                        <a:pt x="1411782" y="211967"/>
                        <a:pt x="1423205" y="215316"/>
                        <a:pt x="1433995" y="215316"/>
                      </a:cubicBezTo>
                      <a:cubicBezTo>
                        <a:pt x="1465546" y="215316"/>
                        <a:pt x="1481322" y="198647"/>
                        <a:pt x="1481322" y="165310"/>
                      </a:cubicBezTo>
                      <a:lnTo>
                        <a:pt x="1481322" y="150464"/>
                      </a:lnTo>
                      <a:lnTo>
                        <a:pt x="1480875" y="150464"/>
                      </a:lnTo>
                      <a:cubicBezTo>
                        <a:pt x="1471871" y="166016"/>
                        <a:pt x="1458142" y="173793"/>
                        <a:pt x="1439687" y="173793"/>
                      </a:cubicBezTo>
                      <a:cubicBezTo>
                        <a:pt x="1425623" y="173793"/>
                        <a:pt x="1414145" y="168695"/>
                        <a:pt x="1405252" y="158501"/>
                      </a:cubicBezTo>
                      <a:cubicBezTo>
                        <a:pt x="1396360" y="148306"/>
                        <a:pt x="1391913" y="134093"/>
                        <a:pt x="1391913" y="115861"/>
                      </a:cubicBezTo>
                      <a:cubicBezTo>
                        <a:pt x="1391913" y="97630"/>
                        <a:pt x="1396713" y="82747"/>
                        <a:pt x="1406313" y="71213"/>
                      </a:cubicBezTo>
                      <a:cubicBezTo>
                        <a:pt x="1415912" y="59679"/>
                        <a:pt x="1428562" y="53912"/>
                        <a:pt x="1444264" y="53912"/>
                      </a:cubicBezTo>
                      <a:close/>
                      <a:moveTo>
                        <a:pt x="1326131" y="53912"/>
                      </a:moveTo>
                      <a:cubicBezTo>
                        <a:pt x="1338484" y="53912"/>
                        <a:pt x="1347935" y="58023"/>
                        <a:pt x="1354483" y="66246"/>
                      </a:cubicBezTo>
                      <a:cubicBezTo>
                        <a:pt x="1361032" y="74469"/>
                        <a:pt x="1364306" y="86207"/>
                        <a:pt x="1364306" y="101462"/>
                      </a:cubicBezTo>
                      <a:lnTo>
                        <a:pt x="1364306" y="171002"/>
                      </a:lnTo>
                      <a:lnTo>
                        <a:pt x="1354037" y="171002"/>
                      </a:lnTo>
                      <a:lnTo>
                        <a:pt x="1354037" y="104476"/>
                      </a:lnTo>
                      <a:cubicBezTo>
                        <a:pt x="1354037" y="77017"/>
                        <a:pt x="1344140" y="63288"/>
                        <a:pt x="1324346" y="63288"/>
                      </a:cubicBezTo>
                      <a:cubicBezTo>
                        <a:pt x="1313332" y="63288"/>
                        <a:pt x="1304291" y="67325"/>
                        <a:pt x="1297222" y="75399"/>
                      </a:cubicBezTo>
                      <a:cubicBezTo>
                        <a:pt x="1290152" y="83473"/>
                        <a:pt x="1286618" y="93463"/>
                        <a:pt x="1286618" y="105369"/>
                      </a:cubicBezTo>
                      <a:lnTo>
                        <a:pt x="1286618" y="171002"/>
                      </a:lnTo>
                      <a:lnTo>
                        <a:pt x="1276348" y="171002"/>
                      </a:lnTo>
                      <a:lnTo>
                        <a:pt x="1276348" y="56702"/>
                      </a:lnTo>
                      <a:lnTo>
                        <a:pt x="1286618" y="56702"/>
                      </a:lnTo>
                      <a:lnTo>
                        <a:pt x="1286618" y="77464"/>
                      </a:lnTo>
                      <a:lnTo>
                        <a:pt x="1287064" y="77464"/>
                      </a:lnTo>
                      <a:cubicBezTo>
                        <a:pt x="1295398" y="61762"/>
                        <a:pt x="1308421" y="53912"/>
                        <a:pt x="1326131" y="53912"/>
                      </a:cubicBezTo>
                      <a:close/>
                      <a:moveTo>
                        <a:pt x="241881" y="17635"/>
                      </a:moveTo>
                      <a:cubicBezTo>
                        <a:pt x="229603" y="17635"/>
                        <a:pt x="220041" y="23923"/>
                        <a:pt x="213195" y="36499"/>
                      </a:cubicBezTo>
                      <a:cubicBezTo>
                        <a:pt x="206349" y="49075"/>
                        <a:pt x="202926" y="67939"/>
                        <a:pt x="202926" y="93091"/>
                      </a:cubicBezTo>
                      <a:cubicBezTo>
                        <a:pt x="202926" y="116010"/>
                        <a:pt x="206200" y="133628"/>
                        <a:pt x="212748" y="145943"/>
                      </a:cubicBezTo>
                      <a:cubicBezTo>
                        <a:pt x="219297" y="158259"/>
                        <a:pt x="228599" y="164417"/>
                        <a:pt x="240654" y="164417"/>
                      </a:cubicBezTo>
                      <a:cubicBezTo>
                        <a:pt x="252485" y="164417"/>
                        <a:pt x="261694" y="158147"/>
                        <a:pt x="268280" y="145608"/>
                      </a:cubicBezTo>
                      <a:cubicBezTo>
                        <a:pt x="274866" y="133070"/>
                        <a:pt x="278158" y="115154"/>
                        <a:pt x="278158" y="91863"/>
                      </a:cubicBezTo>
                      <a:cubicBezTo>
                        <a:pt x="278158" y="42378"/>
                        <a:pt x="266066" y="17635"/>
                        <a:pt x="241881" y="17635"/>
                      </a:cubicBezTo>
                      <a:close/>
                      <a:moveTo>
                        <a:pt x="343123" y="16965"/>
                      </a:moveTo>
                      <a:cubicBezTo>
                        <a:pt x="334565" y="16965"/>
                        <a:pt x="327812" y="19811"/>
                        <a:pt x="322864" y="25504"/>
                      </a:cubicBezTo>
                      <a:cubicBezTo>
                        <a:pt x="317915" y="31197"/>
                        <a:pt x="315441" y="39141"/>
                        <a:pt x="315441" y="49335"/>
                      </a:cubicBezTo>
                      <a:cubicBezTo>
                        <a:pt x="315441" y="58935"/>
                        <a:pt x="317841" y="66562"/>
                        <a:pt x="322640" y="72218"/>
                      </a:cubicBezTo>
                      <a:cubicBezTo>
                        <a:pt x="327440" y="77873"/>
                        <a:pt x="334044" y="80701"/>
                        <a:pt x="342453" y="80701"/>
                      </a:cubicBezTo>
                      <a:cubicBezTo>
                        <a:pt x="350936" y="80701"/>
                        <a:pt x="357578" y="77799"/>
                        <a:pt x="362378" y="71994"/>
                      </a:cubicBezTo>
                      <a:cubicBezTo>
                        <a:pt x="367177" y="66190"/>
                        <a:pt x="369577" y="58414"/>
                        <a:pt x="369577" y="48666"/>
                      </a:cubicBezTo>
                      <a:cubicBezTo>
                        <a:pt x="369577" y="38173"/>
                        <a:pt x="367196" y="30267"/>
                        <a:pt x="362433" y="24946"/>
                      </a:cubicBezTo>
                      <a:cubicBezTo>
                        <a:pt x="357671" y="19625"/>
                        <a:pt x="351234" y="16965"/>
                        <a:pt x="343123" y="16965"/>
                      </a:cubicBezTo>
                      <a:close/>
                      <a:moveTo>
                        <a:pt x="427731" y="11162"/>
                      </a:moveTo>
                      <a:lnTo>
                        <a:pt x="438446" y="11162"/>
                      </a:lnTo>
                      <a:lnTo>
                        <a:pt x="342452" y="174687"/>
                      </a:lnTo>
                      <a:lnTo>
                        <a:pt x="331402" y="174687"/>
                      </a:lnTo>
                      <a:close/>
                      <a:moveTo>
                        <a:pt x="2481521" y="10938"/>
                      </a:moveTo>
                      <a:cubicBezTo>
                        <a:pt x="2483828" y="10938"/>
                        <a:pt x="2485856" y="11682"/>
                        <a:pt x="2487604" y="13170"/>
                      </a:cubicBezTo>
                      <a:cubicBezTo>
                        <a:pt x="2489353" y="14658"/>
                        <a:pt x="2490228" y="16667"/>
                        <a:pt x="2490228" y="19198"/>
                      </a:cubicBezTo>
                      <a:cubicBezTo>
                        <a:pt x="2490228" y="21579"/>
                        <a:pt x="2489372" y="23625"/>
                        <a:pt x="2487660" y="25337"/>
                      </a:cubicBezTo>
                      <a:cubicBezTo>
                        <a:pt x="2485949" y="27048"/>
                        <a:pt x="2483902" y="27904"/>
                        <a:pt x="2481521" y="27904"/>
                      </a:cubicBezTo>
                      <a:cubicBezTo>
                        <a:pt x="2479289" y="27904"/>
                        <a:pt x="2477317" y="27085"/>
                        <a:pt x="2475605" y="25448"/>
                      </a:cubicBezTo>
                      <a:cubicBezTo>
                        <a:pt x="2473894" y="23811"/>
                        <a:pt x="2473038" y="21728"/>
                        <a:pt x="2473038" y="19198"/>
                      </a:cubicBezTo>
                      <a:cubicBezTo>
                        <a:pt x="2473038" y="16742"/>
                        <a:pt x="2473912" y="14751"/>
                        <a:pt x="2475661" y="13226"/>
                      </a:cubicBezTo>
                      <a:cubicBezTo>
                        <a:pt x="2477410" y="11700"/>
                        <a:pt x="2479363" y="10938"/>
                        <a:pt x="2481521" y="10938"/>
                      </a:cubicBezTo>
                      <a:close/>
                      <a:moveTo>
                        <a:pt x="1233746" y="10938"/>
                      </a:moveTo>
                      <a:cubicBezTo>
                        <a:pt x="1236053" y="10938"/>
                        <a:pt x="1238081" y="11682"/>
                        <a:pt x="1239830" y="13170"/>
                      </a:cubicBezTo>
                      <a:cubicBezTo>
                        <a:pt x="1241579" y="14658"/>
                        <a:pt x="1242453" y="16667"/>
                        <a:pt x="1242453" y="19198"/>
                      </a:cubicBezTo>
                      <a:cubicBezTo>
                        <a:pt x="1242453" y="21579"/>
                        <a:pt x="1241597" y="23625"/>
                        <a:pt x="1239886" y="25337"/>
                      </a:cubicBezTo>
                      <a:cubicBezTo>
                        <a:pt x="1238174" y="27048"/>
                        <a:pt x="1236128" y="27904"/>
                        <a:pt x="1233746" y="27904"/>
                      </a:cubicBezTo>
                      <a:cubicBezTo>
                        <a:pt x="1231514" y="27904"/>
                        <a:pt x="1229542" y="27085"/>
                        <a:pt x="1227831" y="25448"/>
                      </a:cubicBezTo>
                      <a:cubicBezTo>
                        <a:pt x="1226119" y="23811"/>
                        <a:pt x="1225263" y="21728"/>
                        <a:pt x="1225263" y="19198"/>
                      </a:cubicBezTo>
                      <a:cubicBezTo>
                        <a:pt x="1225263" y="16742"/>
                        <a:pt x="1226138" y="14751"/>
                        <a:pt x="1227886" y="13226"/>
                      </a:cubicBezTo>
                      <a:cubicBezTo>
                        <a:pt x="1229635" y="11700"/>
                        <a:pt x="1231589" y="10938"/>
                        <a:pt x="1233746" y="10938"/>
                      </a:cubicBezTo>
                      <a:close/>
                      <a:moveTo>
                        <a:pt x="242774" y="8259"/>
                      </a:moveTo>
                      <a:cubicBezTo>
                        <a:pt x="273582" y="8259"/>
                        <a:pt x="288986" y="35606"/>
                        <a:pt x="288986" y="90300"/>
                      </a:cubicBezTo>
                      <a:cubicBezTo>
                        <a:pt x="288986" y="117536"/>
                        <a:pt x="284632" y="138260"/>
                        <a:pt x="275926" y="152473"/>
                      </a:cubicBezTo>
                      <a:cubicBezTo>
                        <a:pt x="267219" y="166686"/>
                        <a:pt x="255016" y="173793"/>
                        <a:pt x="239314" y="173793"/>
                      </a:cubicBezTo>
                      <a:cubicBezTo>
                        <a:pt x="224580" y="173793"/>
                        <a:pt x="213046" y="167021"/>
                        <a:pt x="204712" y="153478"/>
                      </a:cubicBezTo>
                      <a:cubicBezTo>
                        <a:pt x="196377" y="139934"/>
                        <a:pt x="192210" y="120252"/>
                        <a:pt x="192210" y="94430"/>
                      </a:cubicBezTo>
                      <a:cubicBezTo>
                        <a:pt x="192210" y="65930"/>
                        <a:pt x="196582" y="44443"/>
                        <a:pt x="205326" y="29969"/>
                      </a:cubicBezTo>
                      <a:cubicBezTo>
                        <a:pt x="214069" y="15495"/>
                        <a:pt x="226552" y="8259"/>
                        <a:pt x="242774" y="8259"/>
                      </a:cubicBezTo>
                      <a:close/>
                      <a:moveTo>
                        <a:pt x="343346" y="7812"/>
                      </a:moveTo>
                      <a:cubicBezTo>
                        <a:pt x="354508" y="7812"/>
                        <a:pt x="363364" y="11421"/>
                        <a:pt x="369912" y="18639"/>
                      </a:cubicBezTo>
                      <a:cubicBezTo>
                        <a:pt x="376460" y="25858"/>
                        <a:pt x="379735" y="35941"/>
                        <a:pt x="379735" y="48889"/>
                      </a:cubicBezTo>
                      <a:cubicBezTo>
                        <a:pt x="379735" y="60497"/>
                        <a:pt x="376330" y="70190"/>
                        <a:pt x="369521" y="77966"/>
                      </a:cubicBezTo>
                      <a:cubicBezTo>
                        <a:pt x="362712" y="85742"/>
                        <a:pt x="353615" y="89630"/>
                        <a:pt x="342230" y="89630"/>
                      </a:cubicBezTo>
                      <a:cubicBezTo>
                        <a:pt x="330770" y="89630"/>
                        <a:pt x="321729" y="85873"/>
                        <a:pt x="315106" y="78357"/>
                      </a:cubicBezTo>
                      <a:cubicBezTo>
                        <a:pt x="308483" y="70841"/>
                        <a:pt x="305172" y="61093"/>
                        <a:pt x="305172" y="49112"/>
                      </a:cubicBezTo>
                      <a:cubicBezTo>
                        <a:pt x="305172" y="36090"/>
                        <a:pt x="308688" y="25951"/>
                        <a:pt x="315720" y="18695"/>
                      </a:cubicBezTo>
                      <a:cubicBezTo>
                        <a:pt x="322752" y="11440"/>
                        <a:pt x="331961" y="7812"/>
                        <a:pt x="343346" y="7812"/>
                      </a:cubicBezTo>
                      <a:close/>
                      <a:moveTo>
                        <a:pt x="151134" y="7366"/>
                      </a:moveTo>
                      <a:lnTo>
                        <a:pt x="154705" y="7366"/>
                      </a:lnTo>
                      <a:lnTo>
                        <a:pt x="154705" y="171002"/>
                      </a:lnTo>
                      <a:lnTo>
                        <a:pt x="144436" y="171002"/>
                      </a:lnTo>
                      <a:lnTo>
                        <a:pt x="144436" y="23551"/>
                      </a:lnTo>
                      <a:cubicBezTo>
                        <a:pt x="139302" y="28462"/>
                        <a:pt x="133442" y="32704"/>
                        <a:pt x="126856" y="36276"/>
                      </a:cubicBezTo>
                      <a:cubicBezTo>
                        <a:pt x="120270" y="39847"/>
                        <a:pt x="113071" y="43010"/>
                        <a:pt x="105257" y="45763"/>
                      </a:cubicBezTo>
                      <a:lnTo>
                        <a:pt x="105257" y="36387"/>
                      </a:lnTo>
                      <a:cubicBezTo>
                        <a:pt x="109945" y="34825"/>
                        <a:pt x="114299" y="33057"/>
                        <a:pt x="118317" y="31085"/>
                      </a:cubicBezTo>
                      <a:cubicBezTo>
                        <a:pt x="122335" y="29113"/>
                        <a:pt x="126186" y="26937"/>
                        <a:pt x="129870" y="24555"/>
                      </a:cubicBezTo>
                      <a:cubicBezTo>
                        <a:pt x="133553" y="22174"/>
                        <a:pt x="137125" y="19551"/>
                        <a:pt x="140585" y="16686"/>
                      </a:cubicBezTo>
                      <a:cubicBezTo>
                        <a:pt x="144046" y="13821"/>
                        <a:pt x="147562" y="10714"/>
                        <a:pt x="151134" y="7366"/>
                      </a:cubicBezTo>
                      <a:close/>
                      <a:moveTo>
                        <a:pt x="2571748" y="1786"/>
                      </a:moveTo>
                      <a:lnTo>
                        <a:pt x="2582018" y="1786"/>
                      </a:lnTo>
                      <a:lnTo>
                        <a:pt x="2582018" y="171003"/>
                      </a:lnTo>
                      <a:lnTo>
                        <a:pt x="2571748" y="171003"/>
                      </a:lnTo>
                      <a:close/>
                      <a:moveTo>
                        <a:pt x="2524124" y="1786"/>
                      </a:moveTo>
                      <a:lnTo>
                        <a:pt x="2534393" y="1786"/>
                      </a:lnTo>
                      <a:lnTo>
                        <a:pt x="2534393" y="171003"/>
                      </a:lnTo>
                      <a:lnTo>
                        <a:pt x="2524124" y="171003"/>
                      </a:lnTo>
                      <a:close/>
                      <a:moveTo>
                        <a:pt x="1714498" y="1786"/>
                      </a:moveTo>
                      <a:lnTo>
                        <a:pt x="1724768" y="1786"/>
                      </a:lnTo>
                      <a:lnTo>
                        <a:pt x="1724768" y="171003"/>
                      </a:lnTo>
                      <a:lnTo>
                        <a:pt x="1714498" y="171003"/>
                      </a:lnTo>
                      <a:close/>
                      <a:moveTo>
                        <a:pt x="1186048" y="1785"/>
                      </a:moveTo>
                      <a:lnTo>
                        <a:pt x="1196317" y="1785"/>
                      </a:lnTo>
                      <a:lnTo>
                        <a:pt x="1196317" y="171002"/>
                      </a:lnTo>
                      <a:lnTo>
                        <a:pt x="1186048" y="171002"/>
                      </a:lnTo>
                      <a:lnTo>
                        <a:pt x="1186048" y="150241"/>
                      </a:lnTo>
                      <a:lnTo>
                        <a:pt x="1185602" y="150241"/>
                      </a:lnTo>
                      <a:cubicBezTo>
                        <a:pt x="1181881" y="157459"/>
                        <a:pt x="1176374" y="163189"/>
                        <a:pt x="1169082" y="167430"/>
                      </a:cubicBezTo>
                      <a:cubicBezTo>
                        <a:pt x="1161789" y="171672"/>
                        <a:pt x="1153566" y="173793"/>
                        <a:pt x="1144414" y="173793"/>
                      </a:cubicBezTo>
                      <a:cubicBezTo>
                        <a:pt x="1130349" y="173793"/>
                        <a:pt x="1118871" y="168658"/>
                        <a:pt x="1109978" y="158389"/>
                      </a:cubicBezTo>
                      <a:cubicBezTo>
                        <a:pt x="1101086" y="148120"/>
                        <a:pt x="1096640" y="133944"/>
                        <a:pt x="1096640" y="115861"/>
                      </a:cubicBezTo>
                      <a:cubicBezTo>
                        <a:pt x="1096640" y="97407"/>
                        <a:pt x="1101495" y="82468"/>
                        <a:pt x="1111206" y="71046"/>
                      </a:cubicBezTo>
                      <a:cubicBezTo>
                        <a:pt x="1120917" y="59623"/>
                        <a:pt x="1133512" y="53912"/>
                        <a:pt x="1148990" y="53912"/>
                      </a:cubicBezTo>
                      <a:cubicBezTo>
                        <a:pt x="1166105" y="53912"/>
                        <a:pt x="1178309" y="60944"/>
                        <a:pt x="1185602" y="75008"/>
                      </a:cubicBezTo>
                      <a:lnTo>
                        <a:pt x="1186048" y="75008"/>
                      </a:lnTo>
                      <a:close/>
                      <a:moveTo>
                        <a:pt x="704701" y="0"/>
                      </a:moveTo>
                      <a:cubicBezTo>
                        <a:pt x="709538" y="0"/>
                        <a:pt x="713556" y="707"/>
                        <a:pt x="716756" y="2121"/>
                      </a:cubicBezTo>
                      <a:lnTo>
                        <a:pt x="716756" y="12613"/>
                      </a:lnTo>
                      <a:cubicBezTo>
                        <a:pt x="714003" y="10455"/>
                        <a:pt x="709835" y="9376"/>
                        <a:pt x="704254" y="9376"/>
                      </a:cubicBezTo>
                      <a:cubicBezTo>
                        <a:pt x="690190" y="9376"/>
                        <a:pt x="683158" y="18826"/>
                        <a:pt x="683158" y="37728"/>
                      </a:cubicBezTo>
                      <a:lnTo>
                        <a:pt x="683158" y="56703"/>
                      </a:lnTo>
                      <a:lnTo>
                        <a:pt x="713407" y="56703"/>
                      </a:lnTo>
                      <a:lnTo>
                        <a:pt x="713407" y="66079"/>
                      </a:lnTo>
                      <a:lnTo>
                        <a:pt x="683158" y="66079"/>
                      </a:lnTo>
                      <a:lnTo>
                        <a:pt x="683158" y="171003"/>
                      </a:lnTo>
                      <a:lnTo>
                        <a:pt x="672889" y="171003"/>
                      </a:lnTo>
                      <a:lnTo>
                        <a:pt x="672889" y="66079"/>
                      </a:lnTo>
                      <a:lnTo>
                        <a:pt x="652351" y="66079"/>
                      </a:lnTo>
                      <a:lnTo>
                        <a:pt x="652351" y="56703"/>
                      </a:lnTo>
                      <a:lnTo>
                        <a:pt x="672889" y="56703"/>
                      </a:lnTo>
                      <a:lnTo>
                        <a:pt x="672889" y="36835"/>
                      </a:lnTo>
                      <a:cubicBezTo>
                        <a:pt x="672889" y="24780"/>
                        <a:pt x="675921" y="15627"/>
                        <a:pt x="681986" y="9376"/>
                      </a:cubicBezTo>
                      <a:cubicBezTo>
                        <a:pt x="688051" y="3125"/>
                        <a:pt x="695622" y="0"/>
                        <a:pt x="704701" y="0"/>
                      </a:cubicBez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Текст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434" name="Corporate Audits"/>
              <p:cNvGrpSpPr/>
              <p:nvPr/>
            </p:nvGrpSpPr>
            <p:grpSpPr>
              <a:xfrm>
                <a:off x="5428891" y="2411360"/>
                <a:ext cx="2266653" cy="2026571"/>
                <a:chOff x="7960752" y="4942360"/>
                <a:chExt cx="2266653" cy="2026571"/>
              </a:xfrm>
            </p:grpSpPr>
            <p:grpSp>
              <p:nvGrpSpPr>
                <p:cNvPr id="513" name="Group 512"/>
                <p:cNvGrpSpPr/>
                <p:nvPr/>
              </p:nvGrpSpPr>
              <p:grpSpPr>
                <a:xfrm>
                  <a:off x="8381993" y="4942360"/>
                  <a:ext cx="1419553" cy="1405948"/>
                  <a:chOff x="5407415" y="6858000"/>
                  <a:chExt cx="993775" cy="984250"/>
                </a:xfrm>
              </p:grpSpPr>
              <p:sp>
                <p:nvSpPr>
                  <p:cNvPr id="515" name="Freeform 184"/>
                  <p:cNvSpPr>
                    <a:spLocks noEditPoints="1"/>
                  </p:cNvSpPr>
                  <p:nvPr/>
                </p:nvSpPr>
                <p:spPr bwMode="auto">
                  <a:xfrm>
                    <a:off x="5407415" y="6858000"/>
                    <a:ext cx="993775" cy="984250"/>
                  </a:xfrm>
                  <a:custGeom>
                    <a:avLst/>
                    <a:gdLst>
                      <a:gd name="T0" fmla="*/ 214 w 2294"/>
                      <a:gd name="T1" fmla="*/ 1546 h 2277"/>
                      <a:gd name="T2" fmla="*/ 214 w 2294"/>
                      <a:gd name="T3" fmla="*/ 1546 h 2277"/>
                      <a:gd name="T4" fmla="*/ 214 w 2294"/>
                      <a:gd name="T5" fmla="*/ 97 h 2277"/>
                      <a:gd name="T6" fmla="*/ 214 w 2294"/>
                      <a:gd name="T7" fmla="*/ 97 h 2277"/>
                      <a:gd name="T8" fmla="*/ 2065 w 2294"/>
                      <a:gd name="T9" fmla="*/ 97 h 2277"/>
                      <a:gd name="T10" fmla="*/ 2065 w 2294"/>
                      <a:gd name="T11" fmla="*/ 97 h 2277"/>
                      <a:gd name="T12" fmla="*/ 2065 w 2294"/>
                      <a:gd name="T13" fmla="*/ 1546 h 2277"/>
                      <a:gd name="T14" fmla="*/ 2065 w 2294"/>
                      <a:gd name="T15" fmla="*/ 1546 h 2277"/>
                      <a:gd name="T16" fmla="*/ 1924 w 2294"/>
                      <a:gd name="T17" fmla="*/ 1546 h 2277"/>
                      <a:gd name="T18" fmla="*/ 1917 w 2294"/>
                      <a:gd name="T19" fmla="*/ 1560 h 2277"/>
                      <a:gd name="T20" fmla="*/ 1951 w 2294"/>
                      <a:gd name="T21" fmla="*/ 1588 h 2277"/>
                      <a:gd name="T22" fmla="*/ 2006 w 2294"/>
                      <a:gd name="T23" fmla="*/ 1643 h 2277"/>
                      <a:gd name="T24" fmla="*/ 2074 w 2294"/>
                      <a:gd name="T25" fmla="*/ 1643 h 2277"/>
                      <a:gd name="T26" fmla="*/ 2279 w 2294"/>
                      <a:gd name="T27" fmla="*/ 1438 h 2277"/>
                      <a:gd name="T28" fmla="*/ 2279 w 2294"/>
                      <a:gd name="T29" fmla="*/ 204 h 2277"/>
                      <a:gd name="T30" fmla="*/ 2074 w 2294"/>
                      <a:gd name="T31" fmla="*/ 0 h 2277"/>
                      <a:gd name="T32" fmla="*/ 205 w 2294"/>
                      <a:gd name="T33" fmla="*/ 0 h 2277"/>
                      <a:gd name="T34" fmla="*/ 0 w 2294"/>
                      <a:gd name="T35" fmla="*/ 204 h 2277"/>
                      <a:gd name="T36" fmla="*/ 1 w 2294"/>
                      <a:gd name="T37" fmla="*/ 1438 h 2277"/>
                      <a:gd name="T38" fmla="*/ 205 w 2294"/>
                      <a:gd name="T39" fmla="*/ 1643 h 2277"/>
                      <a:gd name="T40" fmla="*/ 421 w 2294"/>
                      <a:gd name="T41" fmla="*/ 1643 h 2277"/>
                      <a:gd name="T42" fmla="*/ 362 w 2294"/>
                      <a:gd name="T43" fmla="*/ 1546 h 2277"/>
                      <a:gd name="T44" fmla="*/ 214 w 2294"/>
                      <a:gd name="T45" fmla="*/ 1546 h 2277"/>
                      <a:gd name="T46" fmla="*/ 2108 w 2294"/>
                      <a:gd name="T47" fmla="*/ 754 h 2277"/>
                      <a:gd name="T48" fmla="*/ 2148 w 2294"/>
                      <a:gd name="T49" fmla="*/ 714 h 2277"/>
                      <a:gd name="T50" fmla="*/ 2199 w 2294"/>
                      <a:gd name="T51" fmla="*/ 714 h 2277"/>
                      <a:gd name="T52" fmla="*/ 2239 w 2294"/>
                      <a:gd name="T53" fmla="*/ 754 h 2277"/>
                      <a:gd name="T54" fmla="*/ 2239 w 2294"/>
                      <a:gd name="T55" fmla="*/ 889 h 2277"/>
                      <a:gd name="T56" fmla="*/ 2199 w 2294"/>
                      <a:gd name="T57" fmla="*/ 929 h 2277"/>
                      <a:gd name="T58" fmla="*/ 2148 w 2294"/>
                      <a:gd name="T59" fmla="*/ 929 h 2277"/>
                      <a:gd name="T60" fmla="*/ 2108 w 2294"/>
                      <a:gd name="T61" fmla="*/ 889 h 2277"/>
                      <a:gd name="T62" fmla="*/ 2108 w 2294"/>
                      <a:gd name="T63" fmla="*/ 754 h 2277"/>
                      <a:gd name="T64" fmla="*/ 1884 w 2294"/>
                      <a:gd name="T65" fmla="*/ 1655 h 2277"/>
                      <a:gd name="T66" fmla="*/ 1773 w 2294"/>
                      <a:gd name="T67" fmla="*/ 1608 h 2277"/>
                      <a:gd name="T68" fmla="*/ 1930 w 2294"/>
                      <a:gd name="T69" fmla="*/ 1138 h 2277"/>
                      <a:gd name="T70" fmla="*/ 1709 w 2294"/>
                      <a:gd name="T71" fmla="*/ 593 h 2277"/>
                      <a:gd name="T72" fmla="*/ 1698 w 2294"/>
                      <a:gd name="T73" fmla="*/ 580 h 2277"/>
                      <a:gd name="T74" fmla="*/ 1146 w 2294"/>
                      <a:gd name="T75" fmla="*/ 354 h 2277"/>
                      <a:gd name="T76" fmla="*/ 590 w 2294"/>
                      <a:gd name="T77" fmla="*/ 585 h 2277"/>
                      <a:gd name="T78" fmla="*/ 358 w 2294"/>
                      <a:gd name="T79" fmla="*/ 1140 h 2277"/>
                      <a:gd name="T80" fmla="*/ 588 w 2294"/>
                      <a:gd name="T81" fmla="*/ 1696 h 2277"/>
                      <a:gd name="T82" fmla="*/ 1142 w 2294"/>
                      <a:gd name="T83" fmla="*/ 1925 h 2277"/>
                      <a:gd name="T84" fmla="*/ 1609 w 2294"/>
                      <a:gd name="T85" fmla="*/ 1771 h 2277"/>
                      <a:gd name="T86" fmla="*/ 1656 w 2294"/>
                      <a:gd name="T87" fmla="*/ 1883 h 2277"/>
                      <a:gd name="T88" fmla="*/ 2003 w 2294"/>
                      <a:gd name="T89" fmla="*/ 2230 h 2277"/>
                      <a:gd name="T90" fmla="*/ 2117 w 2294"/>
                      <a:gd name="T91" fmla="*/ 2277 h 2277"/>
                      <a:gd name="T92" fmla="*/ 2231 w 2294"/>
                      <a:gd name="T93" fmla="*/ 2229 h 2277"/>
                      <a:gd name="T94" fmla="*/ 2231 w 2294"/>
                      <a:gd name="T95" fmla="*/ 2002 h 2277"/>
                      <a:gd name="T96" fmla="*/ 1884 w 2294"/>
                      <a:gd name="T97" fmla="*/ 1655 h 2277"/>
                      <a:gd name="T98" fmla="*/ 1639 w 2294"/>
                      <a:gd name="T99" fmla="*/ 1634 h 2277"/>
                      <a:gd name="T100" fmla="*/ 1142 w 2294"/>
                      <a:gd name="T101" fmla="*/ 1839 h 2277"/>
                      <a:gd name="T102" fmla="*/ 649 w 2294"/>
                      <a:gd name="T103" fmla="*/ 1635 h 2277"/>
                      <a:gd name="T104" fmla="*/ 444 w 2294"/>
                      <a:gd name="T105" fmla="*/ 1141 h 2277"/>
                      <a:gd name="T106" fmla="*/ 650 w 2294"/>
                      <a:gd name="T107" fmla="*/ 646 h 2277"/>
                      <a:gd name="T108" fmla="*/ 1146 w 2294"/>
                      <a:gd name="T109" fmla="*/ 440 h 2277"/>
                      <a:gd name="T110" fmla="*/ 1635 w 2294"/>
                      <a:gd name="T111" fmla="*/ 639 h 2277"/>
                      <a:gd name="T112" fmla="*/ 1639 w 2294"/>
                      <a:gd name="T113" fmla="*/ 643 h 2277"/>
                      <a:gd name="T114" fmla="*/ 1844 w 2294"/>
                      <a:gd name="T115" fmla="*/ 1138 h 2277"/>
                      <a:gd name="T116" fmla="*/ 1639 w 2294"/>
                      <a:gd name="T117" fmla="*/ 1634 h 227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2294" h="2277">
                        <a:moveTo>
                          <a:pt x="214" y="1546"/>
                        </a:moveTo>
                        <a:cubicBezTo>
                          <a:pt x="214" y="1546"/>
                          <a:pt x="214" y="1546"/>
                          <a:pt x="214" y="1546"/>
                        </a:cubicBezTo>
                        <a:cubicBezTo>
                          <a:pt x="214" y="97"/>
                          <a:pt x="214" y="97"/>
                          <a:pt x="214" y="97"/>
                        </a:cubicBezTo>
                        <a:cubicBezTo>
                          <a:pt x="214" y="97"/>
                          <a:pt x="214" y="97"/>
                          <a:pt x="214" y="97"/>
                        </a:cubicBezTo>
                        <a:cubicBezTo>
                          <a:pt x="2065" y="97"/>
                          <a:pt x="2065" y="97"/>
                          <a:pt x="2065" y="97"/>
                        </a:cubicBezTo>
                        <a:cubicBezTo>
                          <a:pt x="2065" y="97"/>
                          <a:pt x="2065" y="97"/>
                          <a:pt x="2065" y="97"/>
                        </a:cubicBezTo>
                        <a:cubicBezTo>
                          <a:pt x="2065" y="1546"/>
                          <a:pt x="2065" y="1546"/>
                          <a:pt x="2065" y="1546"/>
                        </a:cubicBezTo>
                        <a:cubicBezTo>
                          <a:pt x="2065" y="1546"/>
                          <a:pt x="2065" y="1546"/>
                          <a:pt x="2065" y="1546"/>
                        </a:cubicBezTo>
                        <a:cubicBezTo>
                          <a:pt x="1924" y="1546"/>
                          <a:pt x="1924" y="1546"/>
                          <a:pt x="1924" y="1546"/>
                        </a:cubicBezTo>
                        <a:cubicBezTo>
                          <a:pt x="1922" y="1550"/>
                          <a:pt x="1920" y="1555"/>
                          <a:pt x="1917" y="1560"/>
                        </a:cubicBezTo>
                        <a:cubicBezTo>
                          <a:pt x="1929" y="1568"/>
                          <a:pt x="1940" y="1577"/>
                          <a:pt x="1951" y="1588"/>
                        </a:cubicBezTo>
                        <a:cubicBezTo>
                          <a:pt x="2006" y="1643"/>
                          <a:pt x="2006" y="1643"/>
                          <a:pt x="2006" y="1643"/>
                        </a:cubicBezTo>
                        <a:cubicBezTo>
                          <a:pt x="2074" y="1643"/>
                          <a:pt x="2074" y="1643"/>
                          <a:pt x="2074" y="1643"/>
                        </a:cubicBezTo>
                        <a:cubicBezTo>
                          <a:pt x="2187" y="1643"/>
                          <a:pt x="2279" y="1551"/>
                          <a:pt x="2279" y="1438"/>
                        </a:cubicBezTo>
                        <a:cubicBezTo>
                          <a:pt x="2279" y="204"/>
                          <a:pt x="2279" y="204"/>
                          <a:pt x="2279" y="204"/>
                        </a:cubicBezTo>
                        <a:cubicBezTo>
                          <a:pt x="2279" y="92"/>
                          <a:pt x="2187" y="0"/>
                          <a:pt x="2074" y="0"/>
                        </a:cubicBezTo>
                        <a:cubicBezTo>
                          <a:pt x="205" y="0"/>
                          <a:pt x="205" y="0"/>
                          <a:pt x="205" y="0"/>
                        </a:cubicBezTo>
                        <a:cubicBezTo>
                          <a:pt x="92" y="0"/>
                          <a:pt x="0" y="92"/>
                          <a:pt x="0" y="204"/>
                        </a:cubicBezTo>
                        <a:cubicBezTo>
                          <a:pt x="1" y="1438"/>
                          <a:pt x="1" y="1438"/>
                          <a:pt x="1" y="1438"/>
                        </a:cubicBezTo>
                        <a:cubicBezTo>
                          <a:pt x="1" y="1551"/>
                          <a:pt x="92" y="1643"/>
                          <a:pt x="205" y="1643"/>
                        </a:cubicBezTo>
                        <a:cubicBezTo>
                          <a:pt x="421" y="1643"/>
                          <a:pt x="421" y="1643"/>
                          <a:pt x="421" y="1643"/>
                        </a:cubicBezTo>
                        <a:cubicBezTo>
                          <a:pt x="399" y="1612"/>
                          <a:pt x="379" y="1579"/>
                          <a:pt x="362" y="1546"/>
                        </a:cubicBezTo>
                        <a:lnTo>
                          <a:pt x="214" y="1546"/>
                        </a:lnTo>
                        <a:close/>
                        <a:moveTo>
                          <a:pt x="2108" y="754"/>
                        </a:moveTo>
                        <a:cubicBezTo>
                          <a:pt x="2108" y="732"/>
                          <a:pt x="2126" y="714"/>
                          <a:pt x="2148" y="714"/>
                        </a:cubicBezTo>
                        <a:cubicBezTo>
                          <a:pt x="2199" y="714"/>
                          <a:pt x="2199" y="714"/>
                          <a:pt x="2199" y="714"/>
                        </a:cubicBezTo>
                        <a:cubicBezTo>
                          <a:pt x="2221" y="714"/>
                          <a:pt x="2239" y="732"/>
                          <a:pt x="2239" y="754"/>
                        </a:cubicBezTo>
                        <a:cubicBezTo>
                          <a:pt x="2239" y="889"/>
                          <a:pt x="2239" y="889"/>
                          <a:pt x="2239" y="889"/>
                        </a:cubicBezTo>
                        <a:cubicBezTo>
                          <a:pt x="2239" y="911"/>
                          <a:pt x="2221" y="929"/>
                          <a:pt x="2199" y="929"/>
                        </a:cubicBezTo>
                        <a:cubicBezTo>
                          <a:pt x="2148" y="929"/>
                          <a:pt x="2148" y="929"/>
                          <a:pt x="2148" y="929"/>
                        </a:cubicBezTo>
                        <a:cubicBezTo>
                          <a:pt x="2126" y="929"/>
                          <a:pt x="2108" y="911"/>
                          <a:pt x="2108" y="889"/>
                        </a:cubicBezTo>
                        <a:lnTo>
                          <a:pt x="2108" y="754"/>
                        </a:lnTo>
                        <a:close/>
                        <a:moveTo>
                          <a:pt x="1884" y="1655"/>
                        </a:moveTo>
                        <a:cubicBezTo>
                          <a:pt x="1853" y="1624"/>
                          <a:pt x="1813" y="1609"/>
                          <a:pt x="1773" y="1608"/>
                        </a:cubicBezTo>
                        <a:cubicBezTo>
                          <a:pt x="1874" y="1473"/>
                          <a:pt x="1930" y="1310"/>
                          <a:pt x="1930" y="1138"/>
                        </a:cubicBezTo>
                        <a:cubicBezTo>
                          <a:pt x="1930" y="933"/>
                          <a:pt x="1852" y="740"/>
                          <a:pt x="1709" y="593"/>
                        </a:cubicBezTo>
                        <a:cubicBezTo>
                          <a:pt x="1706" y="588"/>
                          <a:pt x="1702" y="583"/>
                          <a:pt x="1698" y="580"/>
                        </a:cubicBezTo>
                        <a:cubicBezTo>
                          <a:pt x="1550" y="434"/>
                          <a:pt x="1354" y="354"/>
                          <a:pt x="1146" y="354"/>
                        </a:cubicBezTo>
                        <a:cubicBezTo>
                          <a:pt x="936" y="354"/>
                          <a:pt x="738" y="436"/>
                          <a:pt x="590" y="585"/>
                        </a:cubicBezTo>
                        <a:cubicBezTo>
                          <a:pt x="441" y="733"/>
                          <a:pt x="359" y="931"/>
                          <a:pt x="358" y="1140"/>
                        </a:cubicBezTo>
                        <a:cubicBezTo>
                          <a:pt x="358" y="1350"/>
                          <a:pt x="439" y="1548"/>
                          <a:pt x="588" y="1696"/>
                        </a:cubicBezTo>
                        <a:cubicBezTo>
                          <a:pt x="736" y="1844"/>
                          <a:pt x="933" y="1925"/>
                          <a:pt x="1142" y="1925"/>
                        </a:cubicBezTo>
                        <a:cubicBezTo>
                          <a:pt x="1312" y="1925"/>
                          <a:pt x="1474" y="1871"/>
                          <a:pt x="1609" y="1771"/>
                        </a:cubicBezTo>
                        <a:cubicBezTo>
                          <a:pt x="1609" y="1812"/>
                          <a:pt x="1625" y="1852"/>
                          <a:pt x="1656" y="1883"/>
                        </a:cubicBezTo>
                        <a:cubicBezTo>
                          <a:pt x="2003" y="2230"/>
                          <a:pt x="2003" y="2230"/>
                          <a:pt x="2003" y="2230"/>
                        </a:cubicBezTo>
                        <a:cubicBezTo>
                          <a:pt x="2035" y="2261"/>
                          <a:pt x="2076" y="2277"/>
                          <a:pt x="2117" y="2277"/>
                        </a:cubicBezTo>
                        <a:cubicBezTo>
                          <a:pt x="2158" y="2277"/>
                          <a:pt x="2200" y="2261"/>
                          <a:pt x="2231" y="2229"/>
                        </a:cubicBezTo>
                        <a:cubicBezTo>
                          <a:pt x="2294" y="2167"/>
                          <a:pt x="2294" y="2065"/>
                          <a:pt x="2231" y="2002"/>
                        </a:cubicBezTo>
                        <a:lnTo>
                          <a:pt x="1884" y="1655"/>
                        </a:lnTo>
                        <a:close/>
                        <a:moveTo>
                          <a:pt x="1639" y="1634"/>
                        </a:moveTo>
                        <a:cubicBezTo>
                          <a:pt x="1506" y="1766"/>
                          <a:pt x="1330" y="1839"/>
                          <a:pt x="1142" y="1839"/>
                        </a:cubicBezTo>
                        <a:cubicBezTo>
                          <a:pt x="956" y="1839"/>
                          <a:pt x="780" y="1767"/>
                          <a:pt x="649" y="1635"/>
                        </a:cubicBezTo>
                        <a:cubicBezTo>
                          <a:pt x="516" y="1503"/>
                          <a:pt x="444" y="1328"/>
                          <a:pt x="444" y="1141"/>
                        </a:cubicBezTo>
                        <a:cubicBezTo>
                          <a:pt x="445" y="954"/>
                          <a:pt x="518" y="778"/>
                          <a:pt x="650" y="646"/>
                        </a:cubicBezTo>
                        <a:cubicBezTo>
                          <a:pt x="783" y="513"/>
                          <a:pt x="959" y="440"/>
                          <a:pt x="1146" y="440"/>
                        </a:cubicBezTo>
                        <a:cubicBezTo>
                          <a:pt x="1330" y="440"/>
                          <a:pt x="1503" y="511"/>
                          <a:pt x="1635" y="639"/>
                        </a:cubicBezTo>
                        <a:cubicBezTo>
                          <a:pt x="1636" y="640"/>
                          <a:pt x="1637" y="642"/>
                          <a:pt x="1639" y="643"/>
                        </a:cubicBezTo>
                        <a:cubicBezTo>
                          <a:pt x="1771" y="775"/>
                          <a:pt x="1844" y="951"/>
                          <a:pt x="1844" y="1138"/>
                        </a:cubicBezTo>
                        <a:cubicBezTo>
                          <a:pt x="1844" y="1326"/>
                          <a:pt x="1771" y="1501"/>
                          <a:pt x="1639" y="1634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6" name="Freeform 185"/>
                  <p:cNvSpPr>
                    <a:spLocks/>
                  </p:cNvSpPr>
                  <p:nvPr/>
                </p:nvSpPr>
                <p:spPr bwMode="auto">
                  <a:xfrm>
                    <a:off x="5651890" y="7308850"/>
                    <a:ext cx="514350" cy="303213"/>
                  </a:xfrm>
                  <a:custGeom>
                    <a:avLst/>
                    <a:gdLst>
                      <a:gd name="T0" fmla="*/ 1185 w 1185"/>
                      <a:gd name="T1" fmla="*/ 97 h 702"/>
                      <a:gd name="T2" fmla="*/ 1176 w 1185"/>
                      <a:gd name="T3" fmla="*/ 0 h 702"/>
                      <a:gd name="T4" fmla="*/ 1071 w 1185"/>
                      <a:gd name="T5" fmla="*/ 155 h 702"/>
                      <a:gd name="T6" fmla="*/ 610 w 1185"/>
                      <a:gd name="T7" fmla="*/ 94 h 702"/>
                      <a:gd name="T8" fmla="*/ 571 w 1185"/>
                      <a:gd name="T9" fmla="*/ 111 h 702"/>
                      <a:gd name="T10" fmla="*/ 404 w 1185"/>
                      <a:gd name="T11" fmla="*/ 338 h 702"/>
                      <a:gd name="T12" fmla="*/ 52 w 1185"/>
                      <a:gd name="T13" fmla="*/ 251 h 702"/>
                      <a:gd name="T14" fmla="*/ 20 w 1185"/>
                      <a:gd name="T15" fmla="*/ 256 h 702"/>
                      <a:gd name="T16" fmla="*/ 0 w 1185"/>
                      <a:gd name="T17" fmla="*/ 269 h 702"/>
                      <a:gd name="T18" fmla="*/ 85 w 1185"/>
                      <a:gd name="T19" fmla="*/ 445 h 702"/>
                      <a:gd name="T20" fmla="*/ 85 w 1185"/>
                      <a:gd name="T21" fmla="*/ 346 h 702"/>
                      <a:gd name="T22" fmla="*/ 185 w 1185"/>
                      <a:gd name="T23" fmla="*/ 370 h 702"/>
                      <a:gd name="T24" fmla="*/ 185 w 1185"/>
                      <a:gd name="T25" fmla="*/ 554 h 702"/>
                      <a:gd name="T26" fmla="*/ 269 w 1185"/>
                      <a:gd name="T27" fmla="*/ 615 h 702"/>
                      <a:gd name="T28" fmla="*/ 269 w 1185"/>
                      <a:gd name="T29" fmla="*/ 391 h 702"/>
                      <a:gd name="T30" fmla="*/ 368 w 1185"/>
                      <a:gd name="T31" fmla="*/ 415 h 702"/>
                      <a:gd name="T32" fmla="*/ 368 w 1185"/>
                      <a:gd name="T33" fmla="*/ 663 h 702"/>
                      <a:gd name="T34" fmla="*/ 453 w 1185"/>
                      <a:gd name="T35" fmla="*/ 688 h 702"/>
                      <a:gd name="T36" fmla="*/ 453 w 1185"/>
                      <a:gd name="T37" fmla="*/ 412 h 702"/>
                      <a:gd name="T38" fmla="*/ 452 w 1185"/>
                      <a:gd name="T39" fmla="*/ 411 h 702"/>
                      <a:gd name="T40" fmla="*/ 455 w 1185"/>
                      <a:gd name="T41" fmla="*/ 410 h 702"/>
                      <a:gd name="T42" fmla="*/ 552 w 1185"/>
                      <a:gd name="T43" fmla="*/ 278 h 702"/>
                      <a:gd name="T44" fmla="*/ 552 w 1185"/>
                      <a:gd name="T45" fmla="*/ 700 h 702"/>
                      <a:gd name="T46" fmla="*/ 580 w 1185"/>
                      <a:gd name="T47" fmla="*/ 702 h 702"/>
                      <a:gd name="T48" fmla="*/ 636 w 1185"/>
                      <a:gd name="T49" fmla="*/ 699 h 702"/>
                      <a:gd name="T50" fmla="*/ 636 w 1185"/>
                      <a:gd name="T51" fmla="*/ 182 h 702"/>
                      <a:gd name="T52" fmla="*/ 736 w 1185"/>
                      <a:gd name="T53" fmla="*/ 196 h 702"/>
                      <a:gd name="T54" fmla="*/ 736 w 1185"/>
                      <a:gd name="T55" fmla="*/ 681 h 702"/>
                      <a:gd name="T56" fmla="*/ 820 w 1185"/>
                      <a:gd name="T57" fmla="*/ 652 h 702"/>
                      <a:gd name="T58" fmla="*/ 820 w 1185"/>
                      <a:gd name="T59" fmla="*/ 207 h 702"/>
                      <a:gd name="T60" fmla="*/ 919 w 1185"/>
                      <a:gd name="T61" fmla="*/ 220 h 702"/>
                      <a:gd name="T62" fmla="*/ 919 w 1185"/>
                      <a:gd name="T63" fmla="*/ 598 h 702"/>
                      <a:gd name="T64" fmla="*/ 1003 w 1185"/>
                      <a:gd name="T65" fmla="*/ 529 h 702"/>
                      <a:gd name="T66" fmla="*/ 1003 w 1185"/>
                      <a:gd name="T67" fmla="*/ 231 h 702"/>
                      <a:gd name="T68" fmla="*/ 1086 w 1185"/>
                      <a:gd name="T69" fmla="*/ 242 h 702"/>
                      <a:gd name="T70" fmla="*/ 1103 w 1185"/>
                      <a:gd name="T71" fmla="*/ 234 h 702"/>
                      <a:gd name="T72" fmla="*/ 1103 w 1185"/>
                      <a:gd name="T73" fmla="*/ 400 h 702"/>
                      <a:gd name="T74" fmla="*/ 1185 w 1185"/>
                      <a:gd name="T75" fmla="*/ 97 h 7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1185" h="702">
                        <a:moveTo>
                          <a:pt x="1185" y="97"/>
                        </a:moveTo>
                        <a:cubicBezTo>
                          <a:pt x="1185" y="64"/>
                          <a:pt x="1182" y="31"/>
                          <a:pt x="1176" y="0"/>
                        </a:cubicBezTo>
                        <a:cubicBezTo>
                          <a:pt x="1071" y="155"/>
                          <a:pt x="1071" y="155"/>
                          <a:pt x="1071" y="155"/>
                        </a:cubicBezTo>
                        <a:cubicBezTo>
                          <a:pt x="610" y="94"/>
                          <a:pt x="610" y="94"/>
                          <a:pt x="610" y="94"/>
                        </a:cubicBezTo>
                        <a:cubicBezTo>
                          <a:pt x="595" y="92"/>
                          <a:pt x="580" y="99"/>
                          <a:pt x="571" y="111"/>
                        </a:cubicBezTo>
                        <a:cubicBezTo>
                          <a:pt x="404" y="338"/>
                          <a:pt x="404" y="338"/>
                          <a:pt x="404" y="338"/>
                        </a:cubicBezTo>
                        <a:cubicBezTo>
                          <a:pt x="52" y="251"/>
                          <a:pt x="52" y="251"/>
                          <a:pt x="52" y="251"/>
                        </a:cubicBezTo>
                        <a:cubicBezTo>
                          <a:pt x="41" y="248"/>
                          <a:pt x="30" y="250"/>
                          <a:pt x="20" y="256"/>
                        </a:cubicBezTo>
                        <a:cubicBezTo>
                          <a:pt x="0" y="269"/>
                          <a:pt x="0" y="269"/>
                          <a:pt x="0" y="269"/>
                        </a:cubicBezTo>
                        <a:cubicBezTo>
                          <a:pt x="19" y="332"/>
                          <a:pt x="48" y="391"/>
                          <a:pt x="85" y="445"/>
                        </a:cubicBezTo>
                        <a:cubicBezTo>
                          <a:pt x="85" y="346"/>
                          <a:pt x="85" y="346"/>
                          <a:pt x="85" y="346"/>
                        </a:cubicBezTo>
                        <a:cubicBezTo>
                          <a:pt x="185" y="370"/>
                          <a:pt x="185" y="370"/>
                          <a:pt x="185" y="370"/>
                        </a:cubicBezTo>
                        <a:cubicBezTo>
                          <a:pt x="185" y="554"/>
                          <a:pt x="185" y="554"/>
                          <a:pt x="185" y="554"/>
                        </a:cubicBezTo>
                        <a:cubicBezTo>
                          <a:pt x="211" y="577"/>
                          <a:pt x="239" y="597"/>
                          <a:pt x="269" y="615"/>
                        </a:cubicBezTo>
                        <a:cubicBezTo>
                          <a:pt x="269" y="391"/>
                          <a:pt x="269" y="391"/>
                          <a:pt x="269" y="391"/>
                        </a:cubicBezTo>
                        <a:cubicBezTo>
                          <a:pt x="368" y="415"/>
                          <a:pt x="368" y="415"/>
                          <a:pt x="368" y="415"/>
                        </a:cubicBezTo>
                        <a:cubicBezTo>
                          <a:pt x="368" y="663"/>
                          <a:pt x="368" y="663"/>
                          <a:pt x="368" y="663"/>
                        </a:cubicBezTo>
                        <a:cubicBezTo>
                          <a:pt x="396" y="673"/>
                          <a:pt x="424" y="682"/>
                          <a:pt x="453" y="688"/>
                        </a:cubicBezTo>
                        <a:cubicBezTo>
                          <a:pt x="453" y="412"/>
                          <a:pt x="453" y="412"/>
                          <a:pt x="453" y="412"/>
                        </a:cubicBezTo>
                        <a:cubicBezTo>
                          <a:pt x="453" y="412"/>
                          <a:pt x="452" y="412"/>
                          <a:pt x="452" y="411"/>
                        </a:cubicBezTo>
                        <a:cubicBezTo>
                          <a:pt x="453" y="411"/>
                          <a:pt x="455" y="411"/>
                          <a:pt x="455" y="410"/>
                        </a:cubicBezTo>
                        <a:cubicBezTo>
                          <a:pt x="552" y="278"/>
                          <a:pt x="552" y="278"/>
                          <a:pt x="552" y="278"/>
                        </a:cubicBezTo>
                        <a:cubicBezTo>
                          <a:pt x="552" y="700"/>
                          <a:pt x="552" y="700"/>
                          <a:pt x="552" y="700"/>
                        </a:cubicBezTo>
                        <a:cubicBezTo>
                          <a:pt x="561" y="701"/>
                          <a:pt x="570" y="702"/>
                          <a:pt x="580" y="702"/>
                        </a:cubicBezTo>
                        <a:cubicBezTo>
                          <a:pt x="599" y="702"/>
                          <a:pt x="618" y="701"/>
                          <a:pt x="636" y="699"/>
                        </a:cubicBezTo>
                        <a:cubicBezTo>
                          <a:pt x="636" y="182"/>
                          <a:pt x="636" y="182"/>
                          <a:pt x="636" y="182"/>
                        </a:cubicBezTo>
                        <a:cubicBezTo>
                          <a:pt x="736" y="196"/>
                          <a:pt x="736" y="196"/>
                          <a:pt x="736" y="196"/>
                        </a:cubicBezTo>
                        <a:cubicBezTo>
                          <a:pt x="736" y="681"/>
                          <a:pt x="736" y="681"/>
                          <a:pt x="736" y="681"/>
                        </a:cubicBezTo>
                        <a:cubicBezTo>
                          <a:pt x="764" y="673"/>
                          <a:pt x="793" y="664"/>
                          <a:pt x="820" y="652"/>
                        </a:cubicBezTo>
                        <a:cubicBezTo>
                          <a:pt x="820" y="207"/>
                          <a:pt x="820" y="207"/>
                          <a:pt x="820" y="207"/>
                        </a:cubicBezTo>
                        <a:cubicBezTo>
                          <a:pt x="919" y="220"/>
                          <a:pt x="919" y="220"/>
                          <a:pt x="919" y="220"/>
                        </a:cubicBezTo>
                        <a:cubicBezTo>
                          <a:pt x="919" y="598"/>
                          <a:pt x="919" y="598"/>
                          <a:pt x="919" y="598"/>
                        </a:cubicBezTo>
                        <a:cubicBezTo>
                          <a:pt x="949" y="577"/>
                          <a:pt x="977" y="554"/>
                          <a:pt x="1003" y="529"/>
                        </a:cubicBezTo>
                        <a:cubicBezTo>
                          <a:pt x="1003" y="231"/>
                          <a:pt x="1003" y="231"/>
                          <a:pt x="1003" y="231"/>
                        </a:cubicBezTo>
                        <a:cubicBezTo>
                          <a:pt x="1086" y="242"/>
                          <a:pt x="1086" y="242"/>
                          <a:pt x="1086" y="242"/>
                        </a:cubicBezTo>
                        <a:cubicBezTo>
                          <a:pt x="1092" y="243"/>
                          <a:pt x="1097" y="237"/>
                          <a:pt x="1103" y="234"/>
                        </a:cubicBezTo>
                        <a:cubicBezTo>
                          <a:pt x="1103" y="400"/>
                          <a:pt x="1103" y="400"/>
                          <a:pt x="1103" y="400"/>
                        </a:cubicBezTo>
                        <a:cubicBezTo>
                          <a:pt x="1155" y="311"/>
                          <a:pt x="1185" y="208"/>
                          <a:pt x="1185" y="97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14" name="Freeform: Shape 513"/>
                <p:cNvSpPr>
                  <a:spLocks noChangeAspect="1"/>
                </p:cNvSpPr>
                <p:nvPr/>
              </p:nvSpPr>
              <p:spPr>
                <a:xfrm>
                  <a:off x="7960752" y="6468013"/>
                  <a:ext cx="2266653" cy="500918"/>
                </a:xfrm>
                <a:custGeom>
                  <a:avLst/>
                  <a:gdLst>
                    <a:gd name="connsiteX0" fmla="*/ 1867347 w 2266653"/>
                    <a:gd name="connsiteY0" fmla="*/ 339514 h 500918"/>
                    <a:gd name="connsiteX1" fmla="*/ 1836428 w 2266653"/>
                    <a:gd name="connsiteY1" fmla="*/ 352908 h 500918"/>
                    <a:gd name="connsiteX2" fmla="*/ 1825489 w 2266653"/>
                    <a:gd name="connsiteY2" fmla="*/ 384386 h 500918"/>
                    <a:gd name="connsiteX3" fmla="*/ 1825489 w 2266653"/>
                    <a:gd name="connsiteY3" fmla="*/ 398785 h 500918"/>
                    <a:gd name="connsiteX4" fmla="*/ 1836316 w 2266653"/>
                    <a:gd name="connsiteY4" fmla="*/ 428308 h 500918"/>
                    <a:gd name="connsiteX5" fmla="*/ 1864779 w 2266653"/>
                    <a:gd name="connsiteY5" fmla="*/ 440643 h 500918"/>
                    <a:gd name="connsiteX6" fmla="*/ 1893243 w 2266653"/>
                    <a:gd name="connsiteY6" fmla="*/ 425630 h 500918"/>
                    <a:gd name="connsiteX7" fmla="*/ 1904182 w 2266653"/>
                    <a:gd name="connsiteY7" fmla="*/ 386171 h 500918"/>
                    <a:gd name="connsiteX8" fmla="*/ 1894136 w 2266653"/>
                    <a:gd name="connsiteY8" fmla="*/ 352127 h 500918"/>
                    <a:gd name="connsiteX9" fmla="*/ 1867347 w 2266653"/>
                    <a:gd name="connsiteY9" fmla="*/ 339514 h 500918"/>
                    <a:gd name="connsiteX10" fmla="*/ 1668587 w 2266653"/>
                    <a:gd name="connsiteY10" fmla="*/ 339514 h 500918"/>
                    <a:gd name="connsiteX11" fmla="*/ 1638896 w 2266653"/>
                    <a:gd name="connsiteY11" fmla="*/ 353299 h 500918"/>
                    <a:gd name="connsiteX12" fmla="*/ 1627175 w 2266653"/>
                    <a:gd name="connsiteY12" fmla="*/ 391194 h 500918"/>
                    <a:gd name="connsiteX13" fmla="*/ 1637724 w 2266653"/>
                    <a:gd name="connsiteY13" fmla="*/ 427750 h 500918"/>
                    <a:gd name="connsiteX14" fmla="*/ 1664903 w 2266653"/>
                    <a:gd name="connsiteY14" fmla="*/ 440643 h 500918"/>
                    <a:gd name="connsiteX15" fmla="*/ 1695153 w 2266653"/>
                    <a:gd name="connsiteY15" fmla="*/ 428532 h 500918"/>
                    <a:gd name="connsiteX16" fmla="*/ 1705868 w 2266653"/>
                    <a:gd name="connsiteY16" fmla="*/ 399008 h 500918"/>
                    <a:gd name="connsiteX17" fmla="*/ 1705868 w 2266653"/>
                    <a:gd name="connsiteY17" fmla="*/ 377688 h 500918"/>
                    <a:gd name="connsiteX18" fmla="*/ 1695767 w 2266653"/>
                    <a:gd name="connsiteY18" fmla="*/ 350620 h 500918"/>
                    <a:gd name="connsiteX19" fmla="*/ 1668587 w 2266653"/>
                    <a:gd name="connsiteY19" fmla="*/ 339514 h 500918"/>
                    <a:gd name="connsiteX20" fmla="*/ 1552946 w 2266653"/>
                    <a:gd name="connsiteY20" fmla="*/ 339514 h 500918"/>
                    <a:gd name="connsiteX21" fmla="*/ 1526325 w 2266653"/>
                    <a:gd name="connsiteY21" fmla="*/ 350285 h 500918"/>
                    <a:gd name="connsiteX22" fmla="*/ 1513321 w 2266653"/>
                    <a:gd name="connsiteY22" fmla="*/ 381149 h 500918"/>
                    <a:gd name="connsiteX23" fmla="*/ 1586768 w 2266653"/>
                    <a:gd name="connsiteY23" fmla="*/ 381149 h 500918"/>
                    <a:gd name="connsiteX24" fmla="*/ 1577280 w 2266653"/>
                    <a:gd name="connsiteY24" fmla="*/ 350453 h 500918"/>
                    <a:gd name="connsiteX25" fmla="*/ 1552946 w 2266653"/>
                    <a:gd name="connsiteY25" fmla="*/ 339514 h 500918"/>
                    <a:gd name="connsiteX26" fmla="*/ 1166552 w 2266653"/>
                    <a:gd name="connsiteY26" fmla="*/ 339514 h 500918"/>
                    <a:gd name="connsiteX27" fmla="*/ 1134350 w 2266653"/>
                    <a:gd name="connsiteY27" fmla="*/ 353132 h 500918"/>
                    <a:gd name="connsiteX28" fmla="*/ 1122351 w 2266653"/>
                    <a:gd name="connsiteY28" fmla="*/ 390971 h 500918"/>
                    <a:gd name="connsiteX29" fmla="*/ 1134071 w 2266653"/>
                    <a:gd name="connsiteY29" fmla="*/ 427025 h 500918"/>
                    <a:gd name="connsiteX30" fmla="*/ 1166106 w 2266653"/>
                    <a:gd name="connsiteY30" fmla="*/ 440643 h 500918"/>
                    <a:gd name="connsiteX31" fmla="*/ 1197918 w 2266653"/>
                    <a:gd name="connsiteY31" fmla="*/ 427248 h 500918"/>
                    <a:gd name="connsiteX32" fmla="*/ 1209080 w 2266653"/>
                    <a:gd name="connsiteY32" fmla="*/ 390078 h 500918"/>
                    <a:gd name="connsiteX33" fmla="*/ 1197974 w 2266653"/>
                    <a:gd name="connsiteY33" fmla="*/ 352574 h 500918"/>
                    <a:gd name="connsiteX34" fmla="*/ 1166552 w 2266653"/>
                    <a:gd name="connsiteY34" fmla="*/ 339514 h 500918"/>
                    <a:gd name="connsiteX35" fmla="*/ 895722 w 2266653"/>
                    <a:gd name="connsiteY35" fmla="*/ 339514 h 500918"/>
                    <a:gd name="connsiteX36" fmla="*/ 869100 w 2266653"/>
                    <a:gd name="connsiteY36" fmla="*/ 350285 h 500918"/>
                    <a:gd name="connsiteX37" fmla="*/ 856096 w 2266653"/>
                    <a:gd name="connsiteY37" fmla="*/ 381149 h 500918"/>
                    <a:gd name="connsiteX38" fmla="*/ 929543 w 2266653"/>
                    <a:gd name="connsiteY38" fmla="*/ 381149 h 500918"/>
                    <a:gd name="connsiteX39" fmla="*/ 920055 w 2266653"/>
                    <a:gd name="connsiteY39" fmla="*/ 350453 h 500918"/>
                    <a:gd name="connsiteX40" fmla="*/ 895722 w 2266653"/>
                    <a:gd name="connsiteY40" fmla="*/ 339514 h 500918"/>
                    <a:gd name="connsiteX41" fmla="*/ 781497 w 2266653"/>
                    <a:gd name="connsiteY41" fmla="*/ 339514 h 500918"/>
                    <a:gd name="connsiteX42" fmla="*/ 750578 w 2266653"/>
                    <a:gd name="connsiteY42" fmla="*/ 352908 h 500918"/>
                    <a:gd name="connsiteX43" fmla="*/ 739639 w 2266653"/>
                    <a:gd name="connsiteY43" fmla="*/ 384386 h 500918"/>
                    <a:gd name="connsiteX44" fmla="*/ 739639 w 2266653"/>
                    <a:gd name="connsiteY44" fmla="*/ 398785 h 500918"/>
                    <a:gd name="connsiteX45" fmla="*/ 750466 w 2266653"/>
                    <a:gd name="connsiteY45" fmla="*/ 428308 h 500918"/>
                    <a:gd name="connsiteX46" fmla="*/ 778930 w 2266653"/>
                    <a:gd name="connsiteY46" fmla="*/ 440643 h 500918"/>
                    <a:gd name="connsiteX47" fmla="*/ 807393 w 2266653"/>
                    <a:gd name="connsiteY47" fmla="*/ 425630 h 500918"/>
                    <a:gd name="connsiteX48" fmla="*/ 818332 w 2266653"/>
                    <a:gd name="connsiteY48" fmla="*/ 386171 h 500918"/>
                    <a:gd name="connsiteX49" fmla="*/ 808286 w 2266653"/>
                    <a:gd name="connsiteY49" fmla="*/ 352127 h 500918"/>
                    <a:gd name="connsiteX50" fmla="*/ 781497 w 2266653"/>
                    <a:gd name="connsiteY50" fmla="*/ 339514 h 500918"/>
                    <a:gd name="connsiteX51" fmla="*/ 590922 w 2266653"/>
                    <a:gd name="connsiteY51" fmla="*/ 339514 h 500918"/>
                    <a:gd name="connsiteX52" fmla="*/ 564300 w 2266653"/>
                    <a:gd name="connsiteY52" fmla="*/ 350285 h 500918"/>
                    <a:gd name="connsiteX53" fmla="*/ 551296 w 2266653"/>
                    <a:gd name="connsiteY53" fmla="*/ 381149 h 500918"/>
                    <a:gd name="connsiteX54" fmla="*/ 624743 w 2266653"/>
                    <a:gd name="connsiteY54" fmla="*/ 381149 h 500918"/>
                    <a:gd name="connsiteX55" fmla="*/ 615255 w 2266653"/>
                    <a:gd name="connsiteY55" fmla="*/ 350453 h 500918"/>
                    <a:gd name="connsiteX56" fmla="*/ 590922 w 2266653"/>
                    <a:gd name="connsiteY56" fmla="*/ 339514 h 500918"/>
                    <a:gd name="connsiteX57" fmla="*/ 476697 w 2266653"/>
                    <a:gd name="connsiteY57" fmla="*/ 339514 h 500918"/>
                    <a:gd name="connsiteX58" fmla="*/ 445778 w 2266653"/>
                    <a:gd name="connsiteY58" fmla="*/ 352908 h 500918"/>
                    <a:gd name="connsiteX59" fmla="*/ 434839 w 2266653"/>
                    <a:gd name="connsiteY59" fmla="*/ 384386 h 500918"/>
                    <a:gd name="connsiteX60" fmla="*/ 434839 w 2266653"/>
                    <a:gd name="connsiteY60" fmla="*/ 398785 h 500918"/>
                    <a:gd name="connsiteX61" fmla="*/ 445666 w 2266653"/>
                    <a:gd name="connsiteY61" fmla="*/ 428308 h 500918"/>
                    <a:gd name="connsiteX62" fmla="*/ 474130 w 2266653"/>
                    <a:gd name="connsiteY62" fmla="*/ 440643 h 500918"/>
                    <a:gd name="connsiteX63" fmla="*/ 502593 w 2266653"/>
                    <a:gd name="connsiteY63" fmla="*/ 425630 h 500918"/>
                    <a:gd name="connsiteX64" fmla="*/ 513532 w 2266653"/>
                    <a:gd name="connsiteY64" fmla="*/ 386171 h 500918"/>
                    <a:gd name="connsiteX65" fmla="*/ 503486 w 2266653"/>
                    <a:gd name="connsiteY65" fmla="*/ 352127 h 500918"/>
                    <a:gd name="connsiteX66" fmla="*/ 476697 w 2266653"/>
                    <a:gd name="connsiteY66" fmla="*/ 339514 h 500918"/>
                    <a:gd name="connsiteX67" fmla="*/ 1922970 w 2266653"/>
                    <a:gd name="connsiteY67" fmla="*/ 332928 h 500918"/>
                    <a:gd name="connsiteX68" fmla="*/ 1934467 w 2266653"/>
                    <a:gd name="connsiteY68" fmla="*/ 332928 h 500918"/>
                    <a:gd name="connsiteX69" fmla="*/ 1968958 w 2266653"/>
                    <a:gd name="connsiteY69" fmla="*/ 426020 h 500918"/>
                    <a:gd name="connsiteX70" fmla="*/ 1970521 w 2266653"/>
                    <a:gd name="connsiteY70" fmla="*/ 430597 h 500918"/>
                    <a:gd name="connsiteX71" fmla="*/ 1971526 w 2266653"/>
                    <a:gd name="connsiteY71" fmla="*/ 434392 h 500918"/>
                    <a:gd name="connsiteX72" fmla="*/ 1971972 w 2266653"/>
                    <a:gd name="connsiteY72" fmla="*/ 434392 h 500918"/>
                    <a:gd name="connsiteX73" fmla="*/ 1974651 w 2266653"/>
                    <a:gd name="connsiteY73" fmla="*/ 426690 h 500918"/>
                    <a:gd name="connsiteX74" fmla="*/ 2011486 w 2266653"/>
                    <a:gd name="connsiteY74" fmla="*/ 332928 h 500918"/>
                    <a:gd name="connsiteX75" fmla="*/ 2022648 w 2266653"/>
                    <a:gd name="connsiteY75" fmla="*/ 332928 h 500918"/>
                    <a:gd name="connsiteX76" fmla="*/ 1966949 w 2266653"/>
                    <a:gd name="connsiteY76" fmla="*/ 470557 h 500918"/>
                    <a:gd name="connsiteX77" fmla="*/ 1953108 w 2266653"/>
                    <a:gd name="connsiteY77" fmla="*/ 493439 h 500918"/>
                    <a:gd name="connsiteX78" fmla="*/ 1933574 w 2266653"/>
                    <a:gd name="connsiteY78" fmla="*/ 500918 h 500918"/>
                    <a:gd name="connsiteX79" fmla="*/ 1924645 w 2266653"/>
                    <a:gd name="connsiteY79" fmla="*/ 499355 h 500918"/>
                    <a:gd name="connsiteX80" fmla="*/ 1924645 w 2266653"/>
                    <a:gd name="connsiteY80" fmla="*/ 489086 h 500918"/>
                    <a:gd name="connsiteX81" fmla="*/ 1934021 w 2266653"/>
                    <a:gd name="connsiteY81" fmla="*/ 490649 h 500918"/>
                    <a:gd name="connsiteX82" fmla="*/ 1955675 w 2266653"/>
                    <a:gd name="connsiteY82" fmla="*/ 471673 h 500918"/>
                    <a:gd name="connsiteX83" fmla="*/ 1966279 w 2266653"/>
                    <a:gd name="connsiteY83" fmla="*/ 446335 h 500918"/>
                    <a:gd name="connsiteX84" fmla="*/ 215020 w 2266653"/>
                    <a:gd name="connsiteY84" fmla="*/ 332928 h 500918"/>
                    <a:gd name="connsiteX85" fmla="*/ 225289 w 2266653"/>
                    <a:gd name="connsiteY85" fmla="*/ 332928 h 500918"/>
                    <a:gd name="connsiteX86" fmla="*/ 225289 w 2266653"/>
                    <a:gd name="connsiteY86" fmla="*/ 447228 h 500918"/>
                    <a:gd name="connsiteX87" fmla="*/ 215020 w 2266653"/>
                    <a:gd name="connsiteY87" fmla="*/ 447228 h 500918"/>
                    <a:gd name="connsiteX88" fmla="*/ 48444 w 2266653"/>
                    <a:gd name="connsiteY88" fmla="*/ 332928 h 500918"/>
                    <a:gd name="connsiteX89" fmla="*/ 59829 w 2266653"/>
                    <a:gd name="connsiteY89" fmla="*/ 332928 h 500918"/>
                    <a:gd name="connsiteX90" fmla="*/ 86395 w 2266653"/>
                    <a:gd name="connsiteY90" fmla="*/ 424123 h 500918"/>
                    <a:gd name="connsiteX91" fmla="*/ 87958 w 2266653"/>
                    <a:gd name="connsiteY91" fmla="*/ 433722 h 500918"/>
                    <a:gd name="connsiteX92" fmla="*/ 88851 w 2266653"/>
                    <a:gd name="connsiteY92" fmla="*/ 433722 h 500918"/>
                    <a:gd name="connsiteX93" fmla="*/ 90972 w 2266653"/>
                    <a:gd name="connsiteY93" fmla="*/ 424123 h 500918"/>
                    <a:gd name="connsiteX94" fmla="*/ 119993 w 2266653"/>
                    <a:gd name="connsiteY94" fmla="*/ 332928 h 500918"/>
                    <a:gd name="connsiteX95" fmla="*/ 127025 w 2266653"/>
                    <a:gd name="connsiteY95" fmla="*/ 332928 h 500918"/>
                    <a:gd name="connsiteX96" fmla="*/ 152921 w 2266653"/>
                    <a:gd name="connsiteY96" fmla="*/ 424123 h 500918"/>
                    <a:gd name="connsiteX97" fmla="*/ 154484 w 2266653"/>
                    <a:gd name="connsiteY97" fmla="*/ 433722 h 500918"/>
                    <a:gd name="connsiteX98" fmla="*/ 155377 w 2266653"/>
                    <a:gd name="connsiteY98" fmla="*/ 433722 h 500918"/>
                    <a:gd name="connsiteX99" fmla="*/ 157275 w 2266653"/>
                    <a:gd name="connsiteY99" fmla="*/ 424123 h 500918"/>
                    <a:gd name="connsiteX100" fmla="*/ 184398 w 2266653"/>
                    <a:gd name="connsiteY100" fmla="*/ 332928 h 500918"/>
                    <a:gd name="connsiteX101" fmla="*/ 195003 w 2266653"/>
                    <a:gd name="connsiteY101" fmla="*/ 332928 h 500918"/>
                    <a:gd name="connsiteX102" fmla="*/ 159507 w 2266653"/>
                    <a:gd name="connsiteY102" fmla="*/ 447228 h 500918"/>
                    <a:gd name="connsiteX103" fmla="*/ 149908 w 2266653"/>
                    <a:gd name="connsiteY103" fmla="*/ 447228 h 500918"/>
                    <a:gd name="connsiteX104" fmla="*/ 125016 w 2266653"/>
                    <a:gd name="connsiteY104" fmla="*/ 361057 h 500918"/>
                    <a:gd name="connsiteX105" fmla="*/ 123230 w 2266653"/>
                    <a:gd name="connsiteY105" fmla="*/ 351457 h 500918"/>
                    <a:gd name="connsiteX106" fmla="*/ 122672 w 2266653"/>
                    <a:gd name="connsiteY106" fmla="*/ 351457 h 500918"/>
                    <a:gd name="connsiteX107" fmla="*/ 120440 w 2266653"/>
                    <a:gd name="connsiteY107" fmla="*/ 360834 h 500918"/>
                    <a:gd name="connsiteX108" fmla="*/ 92534 w 2266653"/>
                    <a:gd name="connsiteY108" fmla="*/ 447228 h 500918"/>
                    <a:gd name="connsiteX109" fmla="*/ 82935 w 2266653"/>
                    <a:gd name="connsiteY109" fmla="*/ 447228 h 500918"/>
                    <a:gd name="connsiteX110" fmla="*/ 1286247 w 2266653"/>
                    <a:gd name="connsiteY110" fmla="*/ 330696 h 500918"/>
                    <a:gd name="connsiteX111" fmla="*/ 1297633 w 2266653"/>
                    <a:gd name="connsiteY111" fmla="*/ 332705 h 500918"/>
                    <a:gd name="connsiteX112" fmla="*/ 1297633 w 2266653"/>
                    <a:gd name="connsiteY112" fmla="*/ 343644 h 500918"/>
                    <a:gd name="connsiteX113" fmla="*/ 1285578 w 2266653"/>
                    <a:gd name="connsiteY113" fmla="*/ 339960 h 500918"/>
                    <a:gd name="connsiteX114" fmla="*/ 1262919 w 2266653"/>
                    <a:gd name="connsiteY114" fmla="*/ 353913 h 500918"/>
                    <a:gd name="connsiteX115" fmla="*/ 1253766 w 2266653"/>
                    <a:gd name="connsiteY115" fmla="*/ 393538 h 500918"/>
                    <a:gd name="connsiteX116" fmla="*/ 1253766 w 2266653"/>
                    <a:gd name="connsiteY116" fmla="*/ 447228 h 500918"/>
                    <a:gd name="connsiteX117" fmla="*/ 1243720 w 2266653"/>
                    <a:gd name="connsiteY117" fmla="*/ 447228 h 500918"/>
                    <a:gd name="connsiteX118" fmla="*/ 1243720 w 2266653"/>
                    <a:gd name="connsiteY118" fmla="*/ 332928 h 500918"/>
                    <a:gd name="connsiteX119" fmla="*/ 1253766 w 2266653"/>
                    <a:gd name="connsiteY119" fmla="*/ 332928 h 500918"/>
                    <a:gd name="connsiteX120" fmla="*/ 1253766 w 2266653"/>
                    <a:gd name="connsiteY120" fmla="*/ 358266 h 500918"/>
                    <a:gd name="connsiteX121" fmla="*/ 1254212 w 2266653"/>
                    <a:gd name="connsiteY121" fmla="*/ 358266 h 500918"/>
                    <a:gd name="connsiteX122" fmla="*/ 1266602 w 2266653"/>
                    <a:gd name="connsiteY122" fmla="*/ 337951 h 500918"/>
                    <a:gd name="connsiteX123" fmla="*/ 1286247 w 2266653"/>
                    <a:gd name="connsiteY123" fmla="*/ 330696 h 500918"/>
                    <a:gd name="connsiteX124" fmla="*/ 1010023 w 2266653"/>
                    <a:gd name="connsiteY124" fmla="*/ 330696 h 500918"/>
                    <a:gd name="connsiteX125" fmla="*/ 1021408 w 2266653"/>
                    <a:gd name="connsiteY125" fmla="*/ 332705 h 500918"/>
                    <a:gd name="connsiteX126" fmla="*/ 1021408 w 2266653"/>
                    <a:gd name="connsiteY126" fmla="*/ 343644 h 500918"/>
                    <a:gd name="connsiteX127" fmla="*/ 1009353 w 2266653"/>
                    <a:gd name="connsiteY127" fmla="*/ 339960 h 500918"/>
                    <a:gd name="connsiteX128" fmla="*/ 986694 w 2266653"/>
                    <a:gd name="connsiteY128" fmla="*/ 353913 h 500918"/>
                    <a:gd name="connsiteX129" fmla="*/ 977541 w 2266653"/>
                    <a:gd name="connsiteY129" fmla="*/ 393538 h 500918"/>
                    <a:gd name="connsiteX130" fmla="*/ 977541 w 2266653"/>
                    <a:gd name="connsiteY130" fmla="*/ 447228 h 500918"/>
                    <a:gd name="connsiteX131" fmla="*/ 967495 w 2266653"/>
                    <a:gd name="connsiteY131" fmla="*/ 447228 h 500918"/>
                    <a:gd name="connsiteX132" fmla="*/ 967495 w 2266653"/>
                    <a:gd name="connsiteY132" fmla="*/ 332928 h 500918"/>
                    <a:gd name="connsiteX133" fmla="*/ 977541 w 2266653"/>
                    <a:gd name="connsiteY133" fmla="*/ 332928 h 500918"/>
                    <a:gd name="connsiteX134" fmla="*/ 977541 w 2266653"/>
                    <a:gd name="connsiteY134" fmla="*/ 358266 h 500918"/>
                    <a:gd name="connsiteX135" fmla="*/ 977987 w 2266653"/>
                    <a:gd name="connsiteY135" fmla="*/ 358266 h 500918"/>
                    <a:gd name="connsiteX136" fmla="*/ 990377 w 2266653"/>
                    <a:gd name="connsiteY136" fmla="*/ 337951 h 500918"/>
                    <a:gd name="connsiteX137" fmla="*/ 1010023 w 2266653"/>
                    <a:gd name="connsiteY137" fmla="*/ 330696 h 500918"/>
                    <a:gd name="connsiteX138" fmla="*/ 1553393 w 2266653"/>
                    <a:gd name="connsiteY138" fmla="*/ 330138 h 500918"/>
                    <a:gd name="connsiteX139" fmla="*/ 1586098 w 2266653"/>
                    <a:gd name="connsiteY139" fmla="*/ 345095 h 500918"/>
                    <a:gd name="connsiteX140" fmla="*/ 1597483 w 2266653"/>
                    <a:gd name="connsiteY140" fmla="*/ 385948 h 500918"/>
                    <a:gd name="connsiteX141" fmla="*/ 1597483 w 2266653"/>
                    <a:gd name="connsiteY141" fmla="*/ 390525 h 500918"/>
                    <a:gd name="connsiteX142" fmla="*/ 1512874 w 2266653"/>
                    <a:gd name="connsiteY142" fmla="*/ 390525 h 500918"/>
                    <a:gd name="connsiteX143" fmla="*/ 1523758 w 2266653"/>
                    <a:gd name="connsiteY143" fmla="*/ 427360 h 500918"/>
                    <a:gd name="connsiteX144" fmla="*/ 1553616 w 2266653"/>
                    <a:gd name="connsiteY144" fmla="*/ 440643 h 500918"/>
                    <a:gd name="connsiteX145" fmla="*/ 1591121 w 2266653"/>
                    <a:gd name="connsiteY145" fmla="*/ 426467 h 500918"/>
                    <a:gd name="connsiteX146" fmla="*/ 1591121 w 2266653"/>
                    <a:gd name="connsiteY146" fmla="*/ 437406 h 500918"/>
                    <a:gd name="connsiteX147" fmla="*/ 1551495 w 2266653"/>
                    <a:gd name="connsiteY147" fmla="*/ 450019 h 500918"/>
                    <a:gd name="connsiteX148" fmla="*/ 1515777 w 2266653"/>
                    <a:gd name="connsiteY148" fmla="*/ 434169 h 500918"/>
                    <a:gd name="connsiteX149" fmla="*/ 1502159 w 2266653"/>
                    <a:gd name="connsiteY149" fmla="*/ 389409 h 500918"/>
                    <a:gd name="connsiteX150" fmla="*/ 1516390 w 2266653"/>
                    <a:gd name="connsiteY150" fmla="*/ 347272 h 500918"/>
                    <a:gd name="connsiteX151" fmla="*/ 1553393 w 2266653"/>
                    <a:gd name="connsiteY151" fmla="*/ 330138 h 500918"/>
                    <a:gd name="connsiteX152" fmla="*/ 1365572 w 2266653"/>
                    <a:gd name="connsiteY152" fmla="*/ 330138 h 500918"/>
                    <a:gd name="connsiteX153" fmla="*/ 1386947 w 2266653"/>
                    <a:gd name="connsiteY153" fmla="*/ 337337 h 500918"/>
                    <a:gd name="connsiteX154" fmla="*/ 1398946 w 2266653"/>
                    <a:gd name="connsiteY154" fmla="*/ 356257 h 500918"/>
                    <a:gd name="connsiteX155" fmla="*/ 1414294 w 2266653"/>
                    <a:gd name="connsiteY155" fmla="*/ 337002 h 500918"/>
                    <a:gd name="connsiteX156" fmla="*/ 1436005 w 2266653"/>
                    <a:gd name="connsiteY156" fmla="*/ 330138 h 500918"/>
                    <a:gd name="connsiteX157" fmla="*/ 1473509 w 2266653"/>
                    <a:gd name="connsiteY157" fmla="*/ 376572 h 500918"/>
                    <a:gd name="connsiteX158" fmla="*/ 1473509 w 2266653"/>
                    <a:gd name="connsiteY158" fmla="*/ 447228 h 500918"/>
                    <a:gd name="connsiteX159" fmla="*/ 1463240 w 2266653"/>
                    <a:gd name="connsiteY159" fmla="*/ 447228 h 500918"/>
                    <a:gd name="connsiteX160" fmla="*/ 1463240 w 2266653"/>
                    <a:gd name="connsiteY160" fmla="*/ 378470 h 500918"/>
                    <a:gd name="connsiteX161" fmla="*/ 1456487 w 2266653"/>
                    <a:gd name="connsiteY161" fmla="*/ 348220 h 500918"/>
                    <a:gd name="connsiteX162" fmla="*/ 1435112 w 2266653"/>
                    <a:gd name="connsiteY162" fmla="*/ 339514 h 500918"/>
                    <a:gd name="connsiteX163" fmla="*/ 1411783 w 2266653"/>
                    <a:gd name="connsiteY163" fmla="*/ 351122 h 500918"/>
                    <a:gd name="connsiteX164" fmla="*/ 1401960 w 2266653"/>
                    <a:gd name="connsiteY164" fmla="*/ 380256 h 500918"/>
                    <a:gd name="connsiteX165" fmla="*/ 1401960 w 2266653"/>
                    <a:gd name="connsiteY165" fmla="*/ 447228 h 500918"/>
                    <a:gd name="connsiteX166" fmla="*/ 1391691 w 2266653"/>
                    <a:gd name="connsiteY166" fmla="*/ 447228 h 500918"/>
                    <a:gd name="connsiteX167" fmla="*/ 1391691 w 2266653"/>
                    <a:gd name="connsiteY167" fmla="*/ 377688 h 500918"/>
                    <a:gd name="connsiteX168" fmla="*/ 1362670 w 2266653"/>
                    <a:gd name="connsiteY168" fmla="*/ 339514 h 500918"/>
                    <a:gd name="connsiteX169" fmla="*/ 1339452 w 2266653"/>
                    <a:gd name="connsiteY169" fmla="*/ 351178 h 500918"/>
                    <a:gd name="connsiteX170" fmla="*/ 1330188 w 2266653"/>
                    <a:gd name="connsiteY170" fmla="*/ 381372 h 500918"/>
                    <a:gd name="connsiteX171" fmla="*/ 1330188 w 2266653"/>
                    <a:gd name="connsiteY171" fmla="*/ 447228 h 500918"/>
                    <a:gd name="connsiteX172" fmla="*/ 1319919 w 2266653"/>
                    <a:gd name="connsiteY172" fmla="*/ 447228 h 500918"/>
                    <a:gd name="connsiteX173" fmla="*/ 1319919 w 2266653"/>
                    <a:gd name="connsiteY173" fmla="*/ 332928 h 500918"/>
                    <a:gd name="connsiteX174" fmla="*/ 1330188 w 2266653"/>
                    <a:gd name="connsiteY174" fmla="*/ 332928 h 500918"/>
                    <a:gd name="connsiteX175" fmla="*/ 1330188 w 2266653"/>
                    <a:gd name="connsiteY175" fmla="*/ 351904 h 500918"/>
                    <a:gd name="connsiteX176" fmla="*/ 1330634 w 2266653"/>
                    <a:gd name="connsiteY176" fmla="*/ 351904 h 500918"/>
                    <a:gd name="connsiteX177" fmla="*/ 1365572 w 2266653"/>
                    <a:gd name="connsiteY177" fmla="*/ 330138 h 500918"/>
                    <a:gd name="connsiteX178" fmla="*/ 1166999 w 2266653"/>
                    <a:gd name="connsiteY178" fmla="*/ 330138 h 500918"/>
                    <a:gd name="connsiteX179" fmla="*/ 1205620 w 2266653"/>
                    <a:gd name="connsiteY179" fmla="*/ 346100 h 500918"/>
                    <a:gd name="connsiteX180" fmla="*/ 1219796 w 2266653"/>
                    <a:gd name="connsiteY180" fmla="*/ 390301 h 500918"/>
                    <a:gd name="connsiteX181" fmla="*/ 1205341 w 2266653"/>
                    <a:gd name="connsiteY181" fmla="*/ 433499 h 500918"/>
                    <a:gd name="connsiteX182" fmla="*/ 1165771 w 2266653"/>
                    <a:gd name="connsiteY182" fmla="*/ 450019 h 500918"/>
                    <a:gd name="connsiteX183" fmla="*/ 1126201 w 2266653"/>
                    <a:gd name="connsiteY183" fmla="*/ 433555 h 500918"/>
                    <a:gd name="connsiteX184" fmla="*/ 1111635 w 2266653"/>
                    <a:gd name="connsiteY184" fmla="*/ 390748 h 500918"/>
                    <a:gd name="connsiteX185" fmla="*/ 1126871 w 2266653"/>
                    <a:gd name="connsiteY185" fmla="*/ 346211 h 500918"/>
                    <a:gd name="connsiteX186" fmla="*/ 1166999 w 2266653"/>
                    <a:gd name="connsiteY186" fmla="*/ 330138 h 500918"/>
                    <a:gd name="connsiteX187" fmla="*/ 896168 w 2266653"/>
                    <a:gd name="connsiteY187" fmla="*/ 330138 h 500918"/>
                    <a:gd name="connsiteX188" fmla="*/ 928873 w 2266653"/>
                    <a:gd name="connsiteY188" fmla="*/ 345095 h 500918"/>
                    <a:gd name="connsiteX189" fmla="*/ 940258 w 2266653"/>
                    <a:gd name="connsiteY189" fmla="*/ 385948 h 500918"/>
                    <a:gd name="connsiteX190" fmla="*/ 940258 w 2266653"/>
                    <a:gd name="connsiteY190" fmla="*/ 390525 h 500918"/>
                    <a:gd name="connsiteX191" fmla="*/ 855650 w 2266653"/>
                    <a:gd name="connsiteY191" fmla="*/ 390525 h 500918"/>
                    <a:gd name="connsiteX192" fmla="*/ 866533 w 2266653"/>
                    <a:gd name="connsiteY192" fmla="*/ 427360 h 500918"/>
                    <a:gd name="connsiteX193" fmla="*/ 896391 w 2266653"/>
                    <a:gd name="connsiteY193" fmla="*/ 440643 h 500918"/>
                    <a:gd name="connsiteX194" fmla="*/ 933896 w 2266653"/>
                    <a:gd name="connsiteY194" fmla="*/ 426467 h 500918"/>
                    <a:gd name="connsiteX195" fmla="*/ 933896 w 2266653"/>
                    <a:gd name="connsiteY195" fmla="*/ 437406 h 500918"/>
                    <a:gd name="connsiteX196" fmla="*/ 894270 w 2266653"/>
                    <a:gd name="connsiteY196" fmla="*/ 450019 h 500918"/>
                    <a:gd name="connsiteX197" fmla="*/ 858552 w 2266653"/>
                    <a:gd name="connsiteY197" fmla="*/ 434169 h 500918"/>
                    <a:gd name="connsiteX198" fmla="*/ 844934 w 2266653"/>
                    <a:gd name="connsiteY198" fmla="*/ 389409 h 500918"/>
                    <a:gd name="connsiteX199" fmla="*/ 859166 w 2266653"/>
                    <a:gd name="connsiteY199" fmla="*/ 347272 h 500918"/>
                    <a:gd name="connsiteX200" fmla="*/ 896168 w 2266653"/>
                    <a:gd name="connsiteY200" fmla="*/ 330138 h 500918"/>
                    <a:gd name="connsiteX201" fmla="*/ 782836 w 2266653"/>
                    <a:gd name="connsiteY201" fmla="*/ 330138 h 500918"/>
                    <a:gd name="connsiteX202" fmla="*/ 816825 w 2266653"/>
                    <a:gd name="connsiteY202" fmla="*/ 345151 h 500918"/>
                    <a:gd name="connsiteX203" fmla="*/ 829047 w 2266653"/>
                    <a:gd name="connsiteY203" fmla="*/ 385948 h 500918"/>
                    <a:gd name="connsiteX204" fmla="*/ 815039 w 2266653"/>
                    <a:gd name="connsiteY204" fmla="*/ 432327 h 500918"/>
                    <a:gd name="connsiteX205" fmla="*/ 778037 w 2266653"/>
                    <a:gd name="connsiteY205" fmla="*/ 450019 h 500918"/>
                    <a:gd name="connsiteX206" fmla="*/ 740085 w 2266653"/>
                    <a:gd name="connsiteY206" fmla="*/ 426913 h 500918"/>
                    <a:gd name="connsiteX207" fmla="*/ 739639 w 2266653"/>
                    <a:gd name="connsiteY207" fmla="*/ 426913 h 500918"/>
                    <a:gd name="connsiteX208" fmla="*/ 739639 w 2266653"/>
                    <a:gd name="connsiteY208" fmla="*/ 499802 h 500918"/>
                    <a:gd name="connsiteX209" fmla="*/ 729370 w 2266653"/>
                    <a:gd name="connsiteY209" fmla="*/ 499802 h 500918"/>
                    <a:gd name="connsiteX210" fmla="*/ 729370 w 2266653"/>
                    <a:gd name="connsiteY210" fmla="*/ 332928 h 500918"/>
                    <a:gd name="connsiteX211" fmla="*/ 739639 w 2266653"/>
                    <a:gd name="connsiteY211" fmla="*/ 332928 h 500918"/>
                    <a:gd name="connsiteX212" fmla="*/ 739639 w 2266653"/>
                    <a:gd name="connsiteY212" fmla="*/ 356480 h 500918"/>
                    <a:gd name="connsiteX213" fmla="*/ 740085 w 2266653"/>
                    <a:gd name="connsiteY213" fmla="*/ 356480 h 500918"/>
                    <a:gd name="connsiteX214" fmla="*/ 757666 w 2266653"/>
                    <a:gd name="connsiteY214" fmla="*/ 337002 h 500918"/>
                    <a:gd name="connsiteX215" fmla="*/ 782836 w 2266653"/>
                    <a:gd name="connsiteY215" fmla="*/ 330138 h 500918"/>
                    <a:gd name="connsiteX216" fmla="*/ 591368 w 2266653"/>
                    <a:gd name="connsiteY216" fmla="*/ 330138 h 500918"/>
                    <a:gd name="connsiteX217" fmla="*/ 624073 w 2266653"/>
                    <a:gd name="connsiteY217" fmla="*/ 345095 h 500918"/>
                    <a:gd name="connsiteX218" fmla="*/ 635458 w 2266653"/>
                    <a:gd name="connsiteY218" fmla="*/ 385948 h 500918"/>
                    <a:gd name="connsiteX219" fmla="*/ 635458 w 2266653"/>
                    <a:gd name="connsiteY219" fmla="*/ 390525 h 500918"/>
                    <a:gd name="connsiteX220" fmla="*/ 550850 w 2266653"/>
                    <a:gd name="connsiteY220" fmla="*/ 390525 h 500918"/>
                    <a:gd name="connsiteX221" fmla="*/ 561733 w 2266653"/>
                    <a:gd name="connsiteY221" fmla="*/ 427360 h 500918"/>
                    <a:gd name="connsiteX222" fmla="*/ 591591 w 2266653"/>
                    <a:gd name="connsiteY222" fmla="*/ 440643 h 500918"/>
                    <a:gd name="connsiteX223" fmla="*/ 629096 w 2266653"/>
                    <a:gd name="connsiteY223" fmla="*/ 426467 h 500918"/>
                    <a:gd name="connsiteX224" fmla="*/ 629096 w 2266653"/>
                    <a:gd name="connsiteY224" fmla="*/ 437406 h 500918"/>
                    <a:gd name="connsiteX225" fmla="*/ 589470 w 2266653"/>
                    <a:gd name="connsiteY225" fmla="*/ 450019 h 500918"/>
                    <a:gd name="connsiteX226" fmla="*/ 553752 w 2266653"/>
                    <a:gd name="connsiteY226" fmla="*/ 434169 h 500918"/>
                    <a:gd name="connsiteX227" fmla="*/ 540134 w 2266653"/>
                    <a:gd name="connsiteY227" fmla="*/ 389409 h 500918"/>
                    <a:gd name="connsiteX228" fmla="*/ 554366 w 2266653"/>
                    <a:gd name="connsiteY228" fmla="*/ 347272 h 500918"/>
                    <a:gd name="connsiteX229" fmla="*/ 591368 w 2266653"/>
                    <a:gd name="connsiteY229" fmla="*/ 330138 h 500918"/>
                    <a:gd name="connsiteX230" fmla="*/ 2163737 w 2266653"/>
                    <a:gd name="connsiteY230" fmla="*/ 301116 h 500918"/>
                    <a:gd name="connsiteX231" fmla="*/ 2160054 w 2266653"/>
                    <a:gd name="connsiteY231" fmla="*/ 313060 h 500918"/>
                    <a:gd name="connsiteX232" fmla="*/ 2133153 w 2266653"/>
                    <a:gd name="connsiteY232" fmla="*/ 387288 h 500918"/>
                    <a:gd name="connsiteX233" fmla="*/ 2194879 w 2266653"/>
                    <a:gd name="connsiteY233" fmla="*/ 387288 h 500918"/>
                    <a:gd name="connsiteX234" fmla="*/ 2167867 w 2266653"/>
                    <a:gd name="connsiteY234" fmla="*/ 313283 h 500918"/>
                    <a:gd name="connsiteX235" fmla="*/ 2165858 w 2266653"/>
                    <a:gd name="connsiteY235" fmla="*/ 306697 h 500918"/>
                    <a:gd name="connsiteX236" fmla="*/ 2164184 w 2266653"/>
                    <a:gd name="connsiteY236" fmla="*/ 301116 h 500918"/>
                    <a:gd name="connsiteX237" fmla="*/ 2255602 w 2266653"/>
                    <a:gd name="connsiteY237" fmla="*/ 287164 h 500918"/>
                    <a:gd name="connsiteX238" fmla="*/ 2266653 w 2266653"/>
                    <a:gd name="connsiteY238" fmla="*/ 287164 h 500918"/>
                    <a:gd name="connsiteX239" fmla="*/ 2266653 w 2266653"/>
                    <a:gd name="connsiteY239" fmla="*/ 447228 h 500918"/>
                    <a:gd name="connsiteX240" fmla="*/ 2255602 w 2266653"/>
                    <a:gd name="connsiteY240" fmla="*/ 447228 h 500918"/>
                    <a:gd name="connsiteX241" fmla="*/ 2159160 w 2266653"/>
                    <a:gd name="connsiteY241" fmla="*/ 287164 h 500918"/>
                    <a:gd name="connsiteX242" fmla="*/ 2169653 w 2266653"/>
                    <a:gd name="connsiteY242" fmla="*/ 287164 h 500918"/>
                    <a:gd name="connsiteX243" fmla="*/ 2229370 w 2266653"/>
                    <a:gd name="connsiteY243" fmla="*/ 447228 h 500918"/>
                    <a:gd name="connsiteX244" fmla="*/ 2216980 w 2266653"/>
                    <a:gd name="connsiteY244" fmla="*/ 447228 h 500918"/>
                    <a:gd name="connsiteX245" fmla="*/ 2198674 w 2266653"/>
                    <a:gd name="connsiteY245" fmla="*/ 397445 h 500918"/>
                    <a:gd name="connsiteX246" fmla="*/ 2129246 w 2266653"/>
                    <a:gd name="connsiteY246" fmla="*/ 397445 h 500918"/>
                    <a:gd name="connsiteX247" fmla="*/ 2110940 w 2266653"/>
                    <a:gd name="connsiteY247" fmla="*/ 447228 h 500918"/>
                    <a:gd name="connsiteX248" fmla="*/ 2098774 w 2266653"/>
                    <a:gd name="connsiteY248" fmla="*/ 447228 h 500918"/>
                    <a:gd name="connsiteX249" fmla="*/ 220043 w 2266653"/>
                    <a:gd name="connsiteY249" fmla="*/ 287164 h 500918"/>
                    <a:gd name="connsiteX250" fmla="*/ 226126 w 2266653"/>
                    <a:gd name="connsiteY250" fmla="*/ 289396 h 500918"/>
                    <a:gd name="connsiteX251" fmla="*/ 228749 w 2266653"/>
                    <a:gd name="connsiteY251" fmla="*/ 295424 h 500918"/>
                    <a:gd name="connsiteX252" fmla="*/ 226182 w 2266653"/>
                    <a:gd name="connsiteY252" fmla="*/ 301563 h 500918"/>
                    <a:gd name="connsiteX253" fmla="*/ 220043 w 2266653"/>
                    <a:gd name="connsiteY253" fmla="*/ 304130 h 500918"/>
                    <a:gd name="connsiteX254" fmla="*/ 214127 w 2266653"/>
                    <a:gd name="connsiteY254" fmla="*/ 301674 h 500918"/>
                    <a:gd name="connsiteX255" fmla="*/ 211560 w 2266653"/>
                    <a:gd name="connsiteY255" fmla="*/ 295424 h 500918"/>
                    <a:gd name="connsiteX256" fmla="*/ 214183 w 2266653"/>
                    <a:gd name="connsiteY256" fmla="*/ 289452 h 500918"/>
                    <a:gd name="connsiteX257" fmla="*/ 220043 w 2266653"/>
                    <a:gd name="connsiteY257" fmla="*/ 287164 h 500918"/>
                    <a:gd name="connsiteX258" fmla="*/ 1815220 w 2266653"/>
                    <a:gd name="connsiteY258" fmla="*/ 278011 h 500918"/>
                    <a:gd name="connsiteX259" fmla="*/ 1825489 w 2266653"/>
                    <a:gd name="connsiteY259" fmla="*/ 278011 h 500918"/>
                    <a:gd name="connsiteX260" fmla="*/ 1825489 w 2266653"/>
                    <a:gd name="connsiteY260" fmla="*/ 356480 h 500918"/>
                    <a:gd name="connsiteX261" fmla="*/ 1825935 w 2266653"/>
                    <a:gd name="connsiteY261" fmla="*/ 356480 h 500918"/>
                    <a:gd name="connsiteX262" fmla="*/ 1843516 w 2266653"/>
                    <a:gd name="connsiteY262" fmla="*/ 337002 h 500918"/>
                    <a:gd name="connsiteX263" fmla="*/ 1868686 w 2266653"/>
                    <a:gd name="connsiteY263" fmla="*/ 330138 h 500918"/>
                    <a:gd name="connsiteX264" fmla="*/ 1902675 w 2266653"/>
                    <a:gd name="connsiteY264" fmla="*/ 345151 h 500918"/>
                    <a:gd name="connsiteX265" fmla="*/ 1914897 w 2266653"/>
                    <a:gd name="connsiteY265" fmla="*/ 385948 h 500918"/>
                    <a:gd name="connsiteX266" fmla="*/ 1900721 w 2266653"/>
                    <a:gd name="connsiteY266" fmla="*/ 432327 h 500918"/>
                    <a:gd name="connsiteX267" fmla="*/ 1863887 w 2266653"/>
                    <a:gd name="connsiteY267" fmla="*/ 450019 h 500918"/>
                    <a:gd name="connsiteX268" fmla="*/ 1825935 w 2266653"/>
                    <a:gd name="connsiteY268" fmla="*/ 426913 h 500918"/>
                    <a:gd name="connsiteX269" fmla="*/ 1825489 w 2266653"/>
                    <a:gd name="connsiteY269" fmla="*/ 426913 h 500918"/>
                    <a:gd name="connsiteX270" fmla="*/ 1825489 w 2266653"/>
                    <a:gd name="connsiteY270" fmla="*/ 447228 h 500918"/>
                    <a:gd name="connsiteX271" fmla="*/ 1815220 w 2266653"/>
                    <a:gd name="connsiteY271" fmla="*/ 447228 h 500918"/>
                    <a:gd name="connsiteX272" fmla="*/ 1705868 w 2266653"/>
                    <a:gd name="connsiteY272" fmla="*/ 278011 h 500918"/>
                    <a:gd name="connsiteX273" fmla="*/ 1716137 w 2266653"/>
                    <a:gd name="connsiteY273" fmla="*/ 278011 h 500918"/>
                    <a:gd name="connsiteX274" fmla="*/ 1716137 w 2266653"/>
                    <a:gd name="connsiteY274" fmla="*/ 447228 h 500918"/>
                    <a:gd name="connsiteX275" fmla="*/ 1705868 w 2266653"/>
                    <a:gd name="connsiteY275" fmla="*/ 447228 h 500918"/>
                    <a:gd name="connsiteX276" fmla="*/ 1705868 w 2266653"/>
                    <a:gd name="connsiteY276" fmla="*/ 426467 h 500918"/>
                    <a:gd name="connsiteX277" fmla="*/ 1705422 w 2266653"/>
                    <a:gd name="connsiteY277" fmla="*/ 426467 h 500918"/>
                    <a:gd name="connsiteX278" fmla="*/ 1688902 w 2266653"/>
                    <a:gd name="connsiteY278" fmla="*/ 443656 h 500918"/>
                    <a:gd name="connsiteX279" fmla="*/ 1664234 w 2266653"/>
                    <a:gd name="connsiteY279" fmla="*/ 450019 h 500918"/>
                    <a:gd name="connsiteX280" fmla="*/ 1629799 w 2266653"/>
                    <a:gd name="connsiteY280" fmla="*/ 434615 h 500918"/>
                    <a:gd name="connsiteX281" fmla="*/ 1616460 w 2266653"/>
                    <a:gd name="connsiteY281" fmla="*/ 392087 h 500918"/>
                    <a:gd name="connsiteX282" fmla="*/ 1631026 w 2266653"/>
                    <a:gd name="connsiteY282" fmla="*/ 347272 h 500918"/>
                    <a:gd name="connsiteX283" fmla="*/ 1668810 w 2266653"/>
                    <a:gd name="connsiteY283" fmla="*/ 330138 h 500918"/>
                    <a:gd name="connsiteX284" fmla="*/ 1705422 w 2266653"/>
                    <a:gd name="connsiteY284" fmla="*/ 351234 h 500918"/>
                    <a:gd name="connsiteX285" fmla="*/ 1705868 w 2266653"/>
                    <a:gd name="connsiteY285" fmla="*/ 351234 h 500918"/>
                    <a:gd name="connsiteX286" fmla="*/ 424570 w 2266653"/>
                    <a:gd name="connsiteY286" fmla="*/ 278011 h 500918"/>
                    <a:gd name="connsiteX287" fmla="*/ 434839 w 2266653"/>
                    <a:gd name="connsiteY287" fmla="*/ 278011 h 500918"/>
                    <a:gd name="connsiteX288" fmla="*/ 434839 w 2266653"/>
                    <a:gd name="connsiteY288" fmla="*/ 356480 h 500918"/>
                    <a:gd name="connsiteX289" fmla="*/ 435285 w 2266653"/>
                    <a:gd name="connsiteY289" fmla="*/ 356480 h 500918"/>
                    <a:gd name="connsiteX290" fmla="*/ 452866 w 2266653"/>
                    <a:gd name="connsiteY290" fmla="*/ 337002 h 500918"/>
                    <a:gd name="connsiteX291" fmla="*/ 478036 w 2266653"/>
                    <a:gd name="connsiteY291" fmla="*/ 330138 h 500918"/>
                    <a:gd name="connsiteX292" fmla="*/ 512025 w 2266653"/>
                    <a:gd name="connsiteY292" fmla="*/ 345151 h 500918"/>
                    <a:gd name="connsiteX293" fmla="*/ 524247 w 2266653"/>
                    <a:gd name="connsiteY293" fmla="*/ 385948 h 500918"/>
                    <a:gd name="connsiteX294" fmla="*/ 510072 w 2266653"/>
                    <a:gd name="connsiteY294" fmla="*/ 432327 h 500918"/>
                    <a:gd name="connsiteX295" fmla="*/ 473237 w 2266653"/>
                    <a:gd name="connsiteY295" fmla="*/ 450019 h 500918"/>
                    <a:gd name="connsiteX296" fmla="*/ 435285 w 2266653"/>
                    <a:gd name="connsiteY296" fmla="*/ 426913 h 500918"/>
                    <a:gd name="connsiteX297" fmla="*/ 434839 w 2266653"/>
                    <a:gd name="connsiteY297" fmla="*/ 426913 h 500918"/>
                    <a:gd name="connsiteX298" fmla="*/ 434839 w 2266653"/>
                    <a:gd name="connsiteY298" fmla="*/ 447228 h 500918"/>
                    <a:gd name="connsiteX299" fmla="*/ 424570 w 2266653"/>
                    <a:gd name="connsiteY299" fmla="*/ 447228 h 500918"/>
                    <a:gd name="connsiteX300" fmla="*/ 310270 w 2266653"/>
                    <a:gd name="connsiteY300" fmla="*/ 278011 h 500918"/>
                    <a:gd name="connsiteX301" fmla="*/ 320539 w 2266653"/>
                    <a:gd name="connsiteY301" fmla="*/ 278011 h 500918"/>
                    <a:gd name="connsiteX302" fmla="*/ 320539 w 2266653"/>
                    <a:gd name="connsiteY302" fmla="*/ 447228 h 500918"/>
                    <a:gd name="connsiteX303" fmla="*/ 310270 w 2266653"/>
                    <a:gd name="connsiteY303" fmla="*/ 447228 h 500918"/>
                    <a:gd name="connsiteX304" fmla="*/ 262645 w 2266653"/>
                    <a:gd name="connsiteY304" fmla="*/ 278011 h 500918"/>
                    <a:gd name="connsiteX305" fmla="*/ 272914 w 2266653"/>
                    <a:gd name="connsiteY305" fmla="*/ 278011 h 500918"/>
                    <a:gd name="connsiteX306" fmla="*/ 272914 w 2266653"/>
                    <a:gd name="connsiteY306" fmla="*/ 447228 h 500918"/>
                    <a:gd name="connsiteX307" fmla="*/ 262645 w 2266653"/>
                    <a:gd name="connsiteY307" fmla="*/ 447228 h 500918"/>
                    <a:gd name="connsiteX308" fmla="*/ 1091171 w 2266653"/>
                    <a:gd name="connsiteY308" fmla="*/ 276225 h 500918"/>
                    <a:gd name="connsiteX309" fmla="*/ 1103226 w 2266653"/>
                    <a:gd name="connsiteY309" fmla="*/ 278346 h 500918"/>
                    <a:gd name="connsiteX310" fmla="*/ 1103226 w 2266653"/>
                    <a:gd name="connsiteY310" fmla="*/ 288838 h 500918"/>
                    <a:gd name="connsiteX311" fmla="*/ 1090725 w 2266653"/>
                    <a:gd name="connsiteY311" fmla="*/ 285601 h 500918"/>
                    <a:gd name="connsiteX312" fmla="*/ 1069628 w 2266653"/>
                    <a:gd name="connsiteY312" fmla="*/ 313953 h 500918"/>
                    <a:gd name="connsiteX313" fmla="*/ 1069628 w 2266653"/>
                    <a:gd name="connsiteY313" fmla="*/ 332928 h 500918"/>
                    <a:gd name="connsiteX314" fmla="*/ 1099877 w 2266653"/>
                    <a:gd name="connsiteY314" fmla="*/ 332928 h 500918"/>
                    <a:gd name="connsiteX315" fmla="*/ 1099877 w 2266653"/>
                    <a:gd name="connsiteY315" fmla="*/ 342304 h 500918"/>
                    <a:gd name="connsiteX316" fmla="*/ 1069628 w 2266653"/>
                    <a:gd name="connsiteY316" fmla="*/ 342304 h 500918"/>
                    <a:gd name="connsiteX317" fmla="*/ 1069628 w 2266653"/>
                    <a:gd name="connsiteY317" fmla="*/ 447228 h 500918"/>
                    <a:gd name="connsiteX318" fmla="*/ 1059359 w 2266653"/>
                    <a:gd name="connsiteY318" fmla="*/ 447228 h 500918"/>
                    <a:gd name="connsiteX319" fmla="*/ 1059359 w 2266653"/>
                    <a:gd name="connsiteY319" fmla="*/ 342304 h 500918"/>
                    <a:gd name="connsiteX320" fmla="*/ 1038821 w 2266653"/>
                    <a:gd name="connsiteY320" fmla="*/ 342304 h 500918"/>
                    <a:gd name="connsiteX321" fmla="*/ 1038821 w 2266653"/>
                    <a:gd name="connsiteY321" fmla="*/ 332928 h 500918"/>
                    <a:gd name="connsiteX322" fmla="*/ 1059359 w 2266653"/>
                    <a:gd name="connsiteY322" fmla="*/ 332928 h 500918"/>
                    <a:gd name="connsiteX323" fmla="*/ 1059359 w 2266653"/>
                    <a:gd name="connsiteY323" fmla="*/ 313060 h 500918"/>
                    <a:gd name="connsiteX324" fmla="*/ 1068456 w 2266653"/>
                    <a:gd name="connsiteY324" fmla="*/ 285601 h 500918"/>
                    <a:gd name="connsiteX325" fmla="*/ 1091171 w 2266653"/>
                    <a:gd name="connsiteY325" fmla="*/ 276225 h 500918"/>
                    <a:gd name="connsiteX326" fmla="*/ 1797807 w 2266653"/>
                    <a:gd name="connsiteY326" fmla="*/ 109500 h 500918"/>
                    <a:gd name="connsiteX327" fmla="*/ 1766330 w 2266653"/>
                    <a:gd name="connsiteY327" fmla="*/ 114076 h 500918"/>
                    <a:gd name="connsiteX328" fmla="*/ 1741103 w 2266653"/>
                    <a:gd name="connsiteY328" fmla="*/ 122392 h 500918"/>
                    <a:gd name="connsiteX329" fmla="*/ 1733848 w 2266653"/>
                    <a:gd name="connsiteY329" fmla="*/ 141089 h 500918"/>
                    <a:gd name="connsiteX330" fmla="*/ 1740601 w 2266653"/>
                    <a:gd name="connsiteY330" fmla="*/ 157832 h 500918"/>
                    <a:gd name="connsiteX331" fmla="*/ 1759409 w 2266653"/>
                    <a:gd name="connsiteY331" fmla="*/ 164418 h 500918"/>
                    <a:gd name="connsiteX332" fmla="*/ 1786868 w 2266653"/>
                    <a:gd name="connsiteY332" fmla="*/ 152195 h 500918"/>
                    <a:gd name="connsiteX333" fmla="*/ 1797807 w 2266653"/>
                    <a:gd name="connsiteY333" fmla="*/ 120662 h 500918"/>
                    <a:gd name="connsiteX334" fmla="*/ 1426332 w 2266653"/>
                    <a:gd name="connsiteY334" fmla="*/ 109500 h 500918"/>
                    <a:gd name="connsiteX335" fmla="*/ 1394855 w 2266653"/>
                    <a:gd name="connsiteY335" fmla="*/ 114076 h 500918"/>
                    <a:gd name="connsiteX336" fmla="*/ 1369628 w 2266653"/>
                    <a:gd name="connsiteY336" fmla="*/ 122392 h 500918"/>
                    <a:gd name="connsiteX337" fmla="*/ 1362373 w 2266653"/>
                    <a:gd name="connsiteY337" fmla="*/ 141089 h 500918"/>
                    <a:gd name="connsiteX338" fmla="*/ 1369126 w 2266653"/>
                    <a:gd name="connsiteY338" fmla="*/ 157832 h 500918"/>
                    <a:gd name="connsiteX339" fmla="*/ 1387934 w 2266653"/>
                    <a:gd name="connsiteY339" fmla="*/ 164418 h 500918"/>
                    <a:gd name="connsiteX340" fmla="*/ 1415393 w 2266653"/>
                    <a:gd name="connsiteY340" fmla="*/ 152195 h 500918"/>
                    <a:gd name="connsiteX341" fmla="*/ 1426332 w 2266653"/>
                    <a:gd name="connsiteY341" fmla="*/ 120662 h 500918"/>
                    <a:gd name="connsiteX342" fmla="*/ 350379 w 2266653"/>
                    <a:gd name="connsiteY342" fmla="*/ 101017 h 500918"/>
                    <a:gd name="connsiteX343" fmla="*/ 330176 w 2266653"/>
                    <a:gd name="connsiteY343" fmla="*/ 109723 h 500918"/>
                    <a:gd name="connsiteX344" fmla="*/ 322697 w 2266653"/>
                    <a:gd name="connsiteY344" fmla="*/ 133499 h 500918"/>
                    <a:gd name="connsiteX345" fmla="*/ 329897 w 2266653"/>
                    <a:gd name="connsiteY345" fmla="*/ 156381 h 500918"/>
                    <a:gd name="connsiteX346" fmla="*/ 349709 w 2266653"/>
                    <a:gd name="connsiteY346" fmla="*/ 164864 h 500918"/>
                    <a:gd name="connsiteX347" fmla="*/ 369745 w 2266653"/>
                    <a:gd name="connsiteY347" fmla="*/ 156213 h 500918"/>
                    <a:gd name="connsiteX348" fmla="*/ 376945 w 2266653"/>
                    <a:gd name="connsiteY348" fmla="*/ 132829 h 500918"/>
                    <a:gd name="connsiteX349" fmla="*/ 369801 w 2266653"/>
                    <a:gd name="connsiteY349" fmla="*/ 109054 h 500918"/>
                    <a:gd name="connsiteX350" fmla="*/ 350379 w 2266653"/>
                    <a:gd name="connsiteY350" fmla="*/ 101017 h 500918"/>
                    <a:gd name="connsiteX351" fmla="*/ 350602 w 2266653"/>
                    <a:gd name="connsiteY351" fmla="*/ 91864 h 500918"/>
                    <a:gd name="connsiteX352" fmla="*/ 377168 w 2266653"/>
                    <a:gd name="connsiteY352" fmla="*/ 102803 h 500918"/>
                    <a:gd name="connsiteX353" fmla="*/ 386991 w 2266653"/>
                    <a:gd name="connsiteY353" fmla="*/ 133052 h 500918"/>
                    <a:gd name="connsiteX354" fmla="*/ 376777 w 2266653"/>
                    <a:gd name="connsiteY354" fmla="*/ 162129 h 500918"/>
                    <a:gd name="connsiteX355" fmla="*/ 349486 w 2266653"/>
                    <a:gd name="connsiteY355" fmla="*/ 173794 h 500918"/>
                    <a:gd name="connsiteX356" fmla="*/ 322418 w 2266653"/>
                    <a:gd name="connsiteY356" fmla="*/ 162520 h 500918"/>
                    <a:gd name="connsiteX357" fmla="*/ 312428 w 2266653"/>
                    <a:gd name="connsiteY357" fmla="*/ 133275 h 500918"/>
                    <a:gd name="connsiteX358" fmla="*/ 323144 w 2266653"/>
                    <a:gd name="connsiteY358" fmla="*/ 102691 h 500918"/>
                    <a:gd name="connsiteX359" fmla="*/ 350602 w 2266653"/>
                    <a:gd name="connsiteY359" fmla="*/ 91864 h 500918"/>
                    <a:gd name="connsiteX360" fmla="*/ 2011487 w 2266653"/>
                    <a:gd name="connsiteY360" fmla="*/ 63289 h 500918"/>
                    <a:gd name="connsiteX361" fmla="*/ 1981796 w 2266653"/>
                    <a:gd name="connsiteY361" fmla="*/ 77074 h 500918"/>
                    <a:gd name="connsiteX362" fmla="*/ 1970075 w 2266653"/>
                    <a:gd name="connsiteY362" fmla="*/ 114969 h 500918"/>
                    <a:gd name="connsiteX363" fmla="*/ 1980624 w 2266653"/>
                    <a:gd name="connsiteY363" fmla="*/ 151525 h 500918"/>
                    <a:gd name="connsiteX364" fmla="*/ 2007803 w 2266653"/>
                    <a:gd name="connsiteY364" fmla="*/ 164418 h 500918"/>
                    <a:gd name="connsiteX365" fmla="*/ 2038053 w 2266653"/>
                    <a:gd name="connsiteY365" fmla="*/ 152307 h 500918"/>
                    <a:gd name="connsiteX366" fmla="*/ 2048768 w 2266653"/>
                    <a:gd name="connsiteY366" fmla="*/ 122783 h 500918"/>
                    <a:gd name="connsiteX367" fmla="*/ 2048768 w 2266653"/>
                    <a:gd name="connsiteY367" fmla="*/ 101463 h 500918"/>
                    <a:gd name="connsiteX368" fmla="*/ 2038667 w 2266653"/>
                    <a:gd name="connsiteY368" fmla="*/ 74395 h 500918"/>
                    <a:gd name="connsiteX369" fmla="*/ 2011487 w 2266653"/>
                    <a:gd name="connsiteY369" fmla="*/ 63289 h 500918"/>
                    <a:gd name="connsiteX370" fmla="*/ 1581521 w 2266653"/>
                    <a:gd name="connsiteY370" fmla="*/ 63289 h 500918"/>
                    <a:gd name="connsiteX371" fmla="*/ 1554900 w 2266653"/>
                    <a:gd name="connsiteY371" fmla="*/ 74060 h 500918"/>
                    <a:gd name="connsiteX372" fmla="*/ 1541896 w 2266653"/>
                    <a:gd name="connsiteY372" fmla="*/ 104924 h 500918"/>
                    <a:gd name="connsiteX373" fmla="*/ 1615343 w 2266653"/>
                    <a:gd name="connsiteY373" fmla="*/ 104924 h 500918"/>
                    <a:gd name="connsiteX374" fmla="*/ 1605855 w 2266653"/>
                    <a:gd name="connsiteY374" fmla="*/ 74228 h 500918"/>
                    <a:gd name="connsiteX375" fmla="*/ 1581521 w 2266653"/>
                    <a:gd name="connsiteY375" fmla="*/ 63289 h 500918"/>
                    <a:gd name="connsiteX376" fmla="*/ 1204652 w 2266653"/>
                    <a:gd name="connsiteY376" fmla="*/ 63289 h 500918"/>
                    <a:gd name="connsiteX377" fmla="*/ 1172450 w 2266653"/>
                    <a:gd name="connsiteY377" fmla="*/ 76907 h 500918"/>
                    <a:gd name="connsiteX378" fmla="*/ 1160451 w 2266653"/>
                    <a:gd name="connsiteY378" fmla="*/ 114746 h 500918"/>
                    <a:gd name="connsiteX379" fmla="*/ 1172171 w 2266653"/>
                    <a:gd name="connsiteY379" fmla="*/ 150800 h 500918"/>
                    <a:gd name="connsiteX380" fmla="*/ 1204206 w 2266653"/>
                    <a:gd name="connsiteY380" fmla="*/ 164418 h 500918"/>
                    <a:gd name="connsiteX381" fmla="*/ 1236018 w 2266653"/>
                    <a:gd name="connsiteY381" fmla="*/ 151023 h 500918"/>
                    <a:gd name="connsiteX382" fmla="*/ 1247180 w 2266653"/>
                    <a:gd name="connsiteY382" fmla="*/ 113853 h 500918"/>
                    <a:gd name="connsiteX383" fmla="*/ 1236074 w 2266653"/>
                    <a:gd name="connsiteY383" fmla="*/ 76349 h 500918"/>
                    <a:gd name="connsiteX384" fmla="*/ 1204652 w 2266653"/>
                    <a:gd name="connsiteY384" fmla="*/ 63289 h 500918"/>
                    <a:gd name="connsiteX385" fmla="*/ 1086297 w 2266653"/>
                    <a:gd name="connsiteY385" fmla="*/ 63289 h 500918"/>
                    <a:gd name="connsiteX386" fmla="*/ 1055378 w 2266653"/>
                    <a:gd name="connsiteY386" fmla="*/ 76683 h 500918"/>
                    <a:gd name="connsiteX387" fmla="*/ 1044439 w 2266653"/>
                    <a:gd name="connsiteY387" fmla="*/ 108161 h 500918"/>
                    <a:gd name="connsiteX388" fmla="*/ 1044439 w 2266653"/>
                    <a:gd name="connsiteY388" fmla="*/ 122560 h 500918"/>
                    <a:gd name="connsiteX389" fmla="*/ 1055266 w 2266653"/>
                    <a:gd name="connsiteY389" fmla="*/ 152083 h 500918"/>
                    <a:gd name="connsiteX390" fmla="*/ 1083730 w 2266653"/>
                    <a:gd name="connsiteY390" fmla="*/ 164418 h 500918"/>
                    <a:gd name="connsiteX391" fmla="*/ 1112193 w 2266653"/>
                    <a:gd name="connsiteY391" fmla="*/ 149405 h 500918"/>
                    <a:gd name="connsiteX392" fmla="*/ 1123132 w 2266653"/>
                    <a:gd name="connsiteY392" fmla="*/ 109947 h 500918"/>
                    <a:gd name="connsiteX393" fmla="*/ 1113086 w 2266653"/>
                    <a:gd name="connsiteY393" fmla="*/ 75902 h 500918"/>
                    <a:gd name="connsiteX394" fmla="*/ 1086297 w 2266653"/>
                    <a:gd name="connsiteY394" fmla="*/ 63289 h 500918"/>
                    <a:gd name="connsiteX395" fmla="*/ 880803 w 2266653"/>
                    <a:gd name="connsiteY395" fmla="*/ 63289 h 500918"/>
                    <a:gd name="connsiteX396" fmla="*/ 848600 w 2266653"/>
                    <a:gd name="connsiteY396" fmla="*/ 76907 h 500918"/>
                    <a:gd name="connsiteX397" fmla="*/ 836601 w 2266653"/>
                    <a:gd name="connsiteY397" fmla="*/ 114746 h 500918"/>
                    <a:gd name="connsiteX398" fmla="*/ 848321 w 2266653"/>
                    <a:gd name="connsiteY398" fmla="*/ 150800 h 500918"/>
                    <a:gd name="connsiteX399" fmla="*/ 880356 w 2266653"/>
                    <a:gd name="connsiteY399" fmla="*/ 164418 h 500918"/>
                    <a:gd name="connsiteX400" fmla="*/ 912168 w 2266653"/>
                    <a:gd name="connsiteY400" fmla="*/ 151023 h 500918"/>
                    <a:gd name="connsiteX401" fmla="*/ 923330 w 2266653"/>
                    <a:gd name="connsiteY401" fmla="*/ 113853 h 500918"/>
                    <a:gd name="connsiteX402" fmla="*/ 912224 w 2266653"/>
                    <a:gd name="connsiteY402" fmla="*/ 76349 h 500918"/>
                    <a:gd name="connsiteX403" fmla="*/ 880803 w 2266653"/>
                    <a:gd name="connsiteY403" fmla="*/ 63289 h 500918"/>
                    <a:gd name="connsiteX404" fmla="*/ 528377 w 2266653"/>
                    <a:gd name="connsiteY404" fmla="*/ 63289 h 500918"/>
                    <a:gd name="connsiteX405" fmla="*/ 496175 w 2266653"/>
                    <a:gd name="connsiteY405" fmla="*/ 76907 h 500918"/>
                    <a:gd name="connsiteX406" fmla="*/ 484176 w 2266653"/>
                    <a:gd name="connsiteY406" fmla="*/ 114746 h 500918"/>
                    <a:gd name="connsiteX407" fmla="*/ 495896 w 2266653"/>
                    <a:gd name="connsiteY407" fmla="*/ 150800 h 500918"/>
                    <a:gd name="connsiteX408" fmla="*/ 527931 w 2266653"/>
                    <a:gd name="connsiteY408" fmla="*/ 164418 h 500918"/>
                    <a:gd name="connsiteX409" fmla="*/ 559743 w 2266653"/>
                    <a:gd name="connsiteY409" fmla="*/ 151023 h 500918"/>
                    <a:gd name="connsiteX410" fmla="*/ 570905 w 2266653"/>
                    <a:gd name="connsiteY410" fmla="*/ 113853 h 500918"/>
                    <a:gd name="connsiteX411" fmla="*/ 559799 w 2266653"/>
                    <a:gd name="connsiteY411" fmla="*/ 76349 h 500918"/>
                    <a:gd name="connsiteX412" fmla="*/ 528377 w 2266653"/>
                    <a:gd name="connsiteY412" fmla="*/ 63289 h 500918"/>
                    <a:gd name="connsiteX413" fmla="*/ 2091445 w 2266653"/>
                    <a:gd name="connsiteY413" fmla="*/ 56703 h 500918"/>
                    <a:gd name="connsiteX414" fmla="*/ 2101714 w 2266653"/>
                    <a:gd name="connsiteY414" fmla="*/ 56703 h 500918"/>
                    <a:gd name="connsiteX415" fmla="*/ 2101714 w 2266653"/>
                    <a:gd name="connsiteY415" fmla="*/ 171003 h 500918"/>
                    <a:gd name="connsiteX416" fmla="*/ 2091445 w 2266653"/>
                    <a:gd name="connsiteY416" fmla="*/ 171003 h 500918"/>
                    <a:gd name="connsiteX417" fmla="*/ 1841451 w 2266653"/>
                    <a:gd name="connsiteY417" fmla="*/ 56703 h 500918"/>
                    <a:gd name="connsiteX418" fmla="*/ 1851831 w 2266653"/>
                    <a:gd name="connsiteY418" fmla="*/ 56703 h 500918"/>
                    <a:gd name="connsiteX419" fmla="*/ 1851831 w 2266653"/>
                    <a:gd name="connsiteY419" fmla="*/ 120216 h 500918"/>
                    <a:gd name="connsiteX420" fmla="*/ 1859477 w 2266653"/>
                    <a:gd name="connsiteY420" fmla="*/ 153925 h 500918"/>
                    <a:gd name="connsiteX421" fmla="*/ 1883532 w 2266653"/>
                    <a:gd name="connsiteY421" fmla="*/ 164418 h 500918"/>
                    <a:gd name="connsiteX422" fmla="*/ 1909372 w 2266653"/>
                    <a:gd name="connsiteY422" fmla="*/ 152697 h 500918"/>
                    <a:gd name="connsiteX423" fmla="*/ 1919251 w 2266653"/>
                    <a:gd name="connsiteY423" fmla="*/ 121443 h 500918"/>
                    <a:gd name="connsiteX424" fmla="*/ 1919251 w 2266653"/>
                    <a:gd name="connsiteY424" fmla="*/ 56703 h 500918"/>
                    <a:gd name="connsiteX425" fmla="*/ 1929520 w 2266653"/>
                    <a:gd name="connsiteY425" fmla="*/ 56703 h 500918"/>
                    <a:gd name="connsiteX426" fmla="*/ 1929520 w 2266653"/>
                    <a:gd name="connsiteY426" fmla="*/ 171003 h 500918"/>
                    <a:gd name="connsiteX427" fmla="*/ 1919251 w 2266653"/>
                    <a:gd name="connsiteY427" fmla="*/ 171003 h 500918"/>
                    <a:gd name="connsiteX428" fmla="*/ 1919251 w 2266653"/>
                    <a:gd name="connsiteY428" fmla="*/ 150242 h 500918"/>
                    <a:gd name="connsiteX429" fmla="*/ 1918804 w 2266653"/>
                    <a:gd name="connsiteY429" fmla="*/ 150242 h 500918"/>
                    <a:gd name="connsiteX430" fmla="*/ 1881969 w 2266653"/>
                    <a:gd name="connsiteY430" fmla="*/ 173794 h 500918"/>
                    <a:gd name="connsiteX431" fmla="*/ 1841451 w 2266653"/>
                    <a:gd name="connsiteY431" fmla="*/ 122783 h 500918"/>
                    <a:gd name="connsiteX432" fmla="*/ 1324347 w 2266653"/>
                    <a:gd name="connsiteY432" fmla="*/ 54471 h 500918"/>
                    <a:gd name="connsiteX433" fmla="*/ 1335733 w 2266653"/>
                    <a:gd name="connsiteY433" fmla="*/ 56480 h 500918"/>
                    <a:gd name="connsiteX434" fmla="*/ 1335733 w 2266653"/>
                    <a:gd name="connsiteY434" fmla="*/ 67419 h 500918"/>
                    <a:gd name="connsiteX435" fmla="*/ 1323678 w 2266653"/>
                    <a:gd name="connsiteY435" fmla="*/ 63735 h 500918"/>
                    <a:gd name="connsiteX436" fmla="*/ 1301019 w 2266653"/>
                    <a:gd name="connsiteY436" fmla="*/ 77688 h 500918"/>
                    <a:gd name="connsiteX437" fmla="*/ 1291866 w 2266653"/>
                    <a:gd name="connsiteY437" fmla="*/ 117313 h 500918"/>
                    <a:gd name="connsiteX438" fmla="*/ 1291866 w 2266653"/>
                    <a:gd name="connsiteY438" fmla="*/ 171003 h 500918"/>
                    <a:gd name="connsiteX439" fmla="*/ 1281820 w 2266653"/>
                    <a:gd name="connsiteY439" fmla="*/ 171003 h 500918"/>
                    <a:gd name="connsiteX440" fmla="*/ 1281820 w 2266653"/>
                    <a:gd name="connsiteY440" fmla="*/ 56703 h 500918"/>
                    <a:gd name="connsiteX441" fmla="*/ 1291866 w 2266653"/>
                    <a:gd name="connsiteY441" fmla="*/ 56703 h 500918"/>
                    <a:gd name="connsiteX442" fmla="*/ 1291866 w 2266653"/>
                    <a:gd name="connsiteY442" fmla="*/ 82041 h 500918"/>
                    <a:gd name="connsiteX443" fmla="*/ 1292312 w 2266653"/>
                    <a:gd name="connsiteY443" fmla="*/ 82041 h 500918"/>
                    <a:gd name="connsiteX444" fmla="*/ 1304702 w 2266653"/>
                    <a:gd name="connsiteY444" fmla="*/ 61726 h 500918"/>
                    <a:gd name="connsiteX445" fmla="*/ 1324347 w 2266653"/>
                    <a:gd name="connsiteY445" fmla="*/ 54471 h 500918"/>
                    <a:gd name="connsiteX446" fmla="*/ 1000497 w 2266653"/>
                    <a:gd name="connsiteY446" fmla="*/ 54471 h 500918"/>
                    <a:gd name="connsiteX447" fmla="*/ 1011883 w 2266653"/>
                    <a:gd name="connsiteY447" fmla="*/ 56480 h 500918"/>
                    <a:gd name="connsiteX448" fmla="*/ 1011883 w 2266653"/>
                    <a:gd name="connsiteY448" fmla="*/ 67419 h 500918"/>
                    <a:gd name="connsiteX449" fmla="*/ 999828 w 2266653"/>
                    <a:gd name="connsiteY449" fmla="*/ 63735 h 500918"/>
                    <a:gd name="connsiteX450" fmla="*/ 977169 w 2266653"/>
                    <a:gd name="connsiteY450" fmla="*/ 77688 h 500918"/>
                    <a:gd name="connsiteX451" fmla="*/ 968016 w 2266653"/>
                    <a:gd name="connsiteY451" fmla="*/ 117313 h 500918"/>
                    <a:gd name="connsiteX452" fmla="*/ 968016 w 2266653"/>
                    <a:gd name="connsiteY452" fmla="*/ 171003 h 500918"/>
                    <a:gd name="connsiteX453" fmla="*/ 957970 w 2266653"/>
                    <a:gd name="connsiteY453" fmla="*/ 171003 h 500918"/>
                    <a:gd name="connsiteX454" fmla="*/ 957970 w 2266653"/>
                    <a:gd name="connsiteY454" fmla="*/ 56703 h 500918"/>
                    <a:gd name="connsiteX455" fmla="*/ 968016 w 2266653"/>
                    <a:gd name="connsiteY455" fmla="*/ 56703 h 500918"/>
                    <a:gd name="connsiteX456" fmla="*/ 968016 w 2266653"/>
                    <a:gd name="connsiteY456" fmla="*/ 82041 h 500918"/>
                    <a:gd name="connsiteX457" fmla="*/ 968462 w 2266653"/>
                    <a:gd name="connsiteY457" fmla="*/ 82041 h 500918"/>
                    <a:gd name="connsiteX458" fmla="*/ 980852 w 2266653"/>
                    <a:gd name="connsiteY458" fmla="*/ 61726 h 500918"/>
                    <a:gd name="connsiteX459" fmla="*/ 1000497 w 2266653"/>
                    <a:gd name="connsiteY459" fmla="*/ 54471 h 500918"/>
                    <a:gd name="connsiteX460" fmla="*/ 2237221 w 2266653"/>
                    <a:gd name="connsiteY460" fmla="*/ 53913 h 500918"/>
                    <a:gd name="connsiteX461" fmla="*/ 2262447 w 2266653"/>
                    <a:gd name="connsiteY461" fmla="*/ 59940 h 500918"/>
                    <a:gd name="connsiteX462" fmla="*/ 2262447 w 2266653"/>
                    <a:gd name="connsiteY462" fmla="*/ 71549 h 500918"/>
                    <a:gd name="connsiteX463" fmla="*/ 2236105 w 2266653"/>
                    <a:gd name="connsiteY463" fmla="*/ 63289 h 500918"/>
                    <a:gd name="connsiteX464" fmla="*/ 2217910 w 2266653"/>
                    <a:gd name="connsiteY464" fmla="*/ 69149 h 500918"/>
                    <a:gd name="connsiteX465" fmla="*/ 2210990 w 2266653"/>
                    <a:gd name="connsiteY465" fmla="*/ 84385 h 500918"/>
                    <a:gd name="connsiteX466" fmla="*/ 2215343 w 2266653"/>
                    <a:gd name="connsiteY466" fmla="*/ 97612 h 500918"/>
                    <a:gd name="connsiteX467" fmla="*/ 2234542 w 2266653"/>
                    <a:gd name="connsiteY467" fmla="*/ 109277 h 500918"/>
                    <a:gd name="connsiteX468" fmla="*/ 2259099 w 2266653"/>
                    <a:gd name="connsiteY468" fmla="*/ 124178 h 500918"/>
                    <a:gd name="connsiteX469" fmla="*/ 2265796 w 2266653"/>
                    <a:gd name="connsiteY469" fmla="*/ 142428 h 500918"/>
                    <a:gd name="connsiteX470" fmla="*/ 2255582 w 2266653"/>
                    <a:gd name="connsiteY470" fmla="*/ 164920 h 500918"/>
                    <a:gd name="connsiteX471" fmla="*/ 2227398 w 2266653"/>
                    <a:gd name="connsiteY471" fmla="*/ 173794 h 500918"/>
                    <a:gd name="connsiteX472" fmla="*/ 2199828 w 2266653"/>
                    <a:gd name="connsiteY472" fmla="*/ 165980 h 500918"/>
                    <a:gd name="connsiteX473" fmla="*/ 2199828 w 2266653"/>
                    <a:gd name="connsiteY473" fmla="*/ 153590 h 500918"/>
                    <a:gd name="connsiteX474" fmla="*/ 2213892 w 2266653"/>
                    <a:gd name="connsiteY474" fmla="*/ 161515 h 500918"/>
                    <a:gd name="connsiteX475" fmla="*/ 2228180 w 2266653"/>
                    <a:gd name="connsiteY475" fmla="*/ 164418 h 500918"/>
                    <a:gd name="connsiteX476" fmla="*/ 2255080 w 2266653"/>
                    <a:gd name="connsiteY476" fmla="*/ 142428 h 500918"/>
                    <a:gd name="connsiteX477" fmla="*/ 2249164 w 2266653"/>
                    <a:gd name="connsiteY477" fmla="*/ 129480 h 500918"/>
                    <a:gd name="connsiteX478" fmla="*/ 2229966 w 2266653"/>
                    <a:gd name="connsiteY478" fmla="*/ 118430 h 500918"/>
                    <a:gd name="connsiteX479" fmla="*/ 2206916 w 2266653"/>
                    <a:gd name="connsiteY479" fmla="*/ 103640 h 500918"/>
                    <a:gd name="connsiteX480" fmla="*/ 2200274 w 2266653"/>
                    <a:gd name="connsiteY480" fmla="*/ 85055 h 500918"/>
                    <a:gd name="connsiteX481" fmla="*/ 2210934 w 2266653"/>
                    <a:gd name="connsiteY481" fmla="*/ 62508 h 500918"/>
                    <a:gd name="connsiteX482" fmla="*/ 2237221 w 2266653"/>
                    <a:gd name="connsiteY482" fmla="*/ 53913 h 500918"/>
                    <a:gd name="connsiteX483" fmla="*/ 1771129 w 2266653"/>
                    <a:gd name="connsiteY483" fmla="*/ 53913 h 500918"/>
                    <a:gd name="connsiteX484" fmla="*/ 1798421 w 2266653"/>
                    <a:gd name="connsiteY484" fmla="*/ 64852 h 500918"/>
                    <a:gd name="connsiteX485" fmla="*/ 1808076 w 2266653"/>
                    <a:gd name="connsiteY485" fmla="*/ 96664 h 500918"/>
                    <a:gd name="connsiteX486" fmla="*/ 1808076 w 2266653"/>
                    <a:gd name="connsiteY486" fmla="*/ 171003 h 500918"/>
                    <a:gd name="connsiteX487" fmla="*/ 1797807 w 2266653"/>
                    <a:gd name="connsiteY487" fmla="*/ 171003 h 500918"/>
                    <a:gd name="connsiteX488" fmla="*/ 1797807 w 2266653"/>
                    <a:gd name="connsiteY488" fmla="*/ 148121 h 500918"/>
                    <a:gd name="connsiteX489" fmla="*/ 1797360 w 2266653"/>
                    <a:gd name="connsiteY489" fmla="*/ 148121 h 500918"/>
                    <a:gd name="connsiteX490" fmla="*/ 1781454 w 2266653"/>
                    <a:gd name="connsiteY490" fmla="*/ 166817 h 500918"/>
                    <a:gd name="connsiteX491" fmla="*/ 1758293 w 2266653"/>
                    <a:gd name="connsiteY491" fmla="*/ 173794 h 500918"/>
                    <a:gd name="connsiteX492" fmla="*/ 1732509 w 2266653"/>
                    <a:gd name="connsiteY492" fmla="*/ 164641 h 500918"/>
                    <a:gd name="connsiteX493" fmla="*/ 1723021 w 2266653"/>
                    <a:gd name="connsiteY493" fmla="*/ 141535 h 500918"/>
                    <a:gd name="connsiteX494" fmla="*/ 1762646 w 2266653"/>
                    <a:gd name="connsiteY494" fmla="*/ 105370 h 500918"/>
                    <a:gd name="connsiteX495" fmla="*/ 1797807 w 2266653"/>
                    <a:gd name="connsiteY495" fmla="*/ 100124 h 500918"/>
                    <a:gd name="connsiteX496" fmla="*/ 1770125 w 2266653"/>
                    <a:gd name="connsiteY496" fmla="*/ 63289 h 500918"/>
                    <a:gd name="connsiteX497" fmla="*/ 1733401 w 2266653"/>
                    <a:gd name="connsiteY497" fmla="*/ 78469 h 500918"/>
                    <a:gd name="connsiteX498" fmla="*/ 1733401 w 2266653"/>
                    <a:gd name="connsiteY498" fmla="*/ 66079 h 500918"/>
                    <a:gd name="connsiteX499" fmla="*/ 1750647 w 2266653"/>
                    <a:gd name="connsiteY499" fmla="*/ 57485 h 500918"/>
                    <a:gd name="connsiteX500" fmla="*/ 1771129 w 2266653"/>
                    <a:gd name="connsiteY500" fmla="*/ 53913 h 500918"/>
                    <a:gd name="connsiteX501" fmla="*/ 1581968 w 2266653"/>
                    <a:gd name="connsiteY501" fmla="*/ 53913 h 500918"/>
                    <a:gd name="connsiteX502" fmla="*/ 1614673 w 2266653"/>
                    <a:gd name="connsiteY502" fmla="*/ 68870 h 500918"/>
                    <a:gd name="connsiteX503" fmla="*/ 1626058 w 2266653"/>
                    <a:gd name="connsiteY503" fmla="*/ 109723 h 500918"/>
                    <a:gd name="connsiteX504" fmla="*/ 1626058 w 2266653"/>
                    <a:gd name="connsiteY504" fmla="*/ 114300 h 500918"/>
                    <a:gd name="connsiteX505" fmla="*/ 1541450 w 2266653"/>
                    <a:gd name="connsiteY505" fmla="*/ 114300 h 500918"/>
                    <a:gd name="connsiteX506" fmla="*/ 1552332 w 2266653"/>
                    <a:gd name="connsiteY506" fmla="*/ 151135 h 500918"/>
                    <a:gd name="connsiteX507" fmla="*/ 1582191 w 2266653"/>
                    <a:gd name="connsiteY507" fmla="*/ 164418 h 500918"/>
                    <a:gd name="connsiteX508" fmla="*/ 1619696 w 2266653"/>
                    <a:gd name="connsiteY508" fmla="*/ 150242 h 500918"/>
                    <a:gd name="connsiteX509" fmla="*/ 1619696 w 2266653"/>
                    <a:gd name="connsiteY509" fmla="*/ 161181 h 500918"/>
                    <a:gd name="connsiteX510" fmla="*/ 1580070 w 2266653"/>
                    <a:gd name="connsiteY510" fmla="*/ 173794 h 500918"/>
                    <a:gd name="connsiteX511" fmla="*/ 1544352 w 2266653"/>
                    <a:gd name="connsiteY511" fmla="*/ 157944 h 500918"/>
                    <a:gd name="connsiteX512" fmla="*/ 1530734 w 2266653"/>
                    <a:gd name="connsiteY512" fmla="*/ 113184 h 500918"/>
                    <a:gd name="connsiteX513" fmla="*/ 1544966 w 2266653"/>
                    <a:gd name="connsiteY513" fmla="*/ 71047 h 500918"/>
                    <a:gd name="connsiteX514" fmla="*/ 1581968 w 2266653"/>
                    <a:gd name="connsiteY514" fmla="*/ 53913 h 500918"/>
                    <a:gd name="connsiteX515" fmla="*/ 1399655 w 2266653"/>
                    <a:gd name="connsiteY515" fmla="*/ 53913 h 500918"/>
                    <a:gd name="connsiteX516" fmla="*/ 1426946 w 2266653"/>
                    <a:gd name="connsiteY516" fmla="*/ 64852 h 500918"/>
                    <a:gd name="connsiteX517" fmla="*/ 1436601 w 2266653"/>
                    <a:gd name="connsiteY517" fmla="*/ 96664 h 500918"/>
                    <a:gd name="connsiteX518" fmla="*/ 1436601 w 2266653"/>
                    <a:gd name="connsiteY518" fmla="*/ 171003 h 500918"/>
                    <a:gd name="connsiteX519" fmla="*/ 1426332 w 2266653"/>
                    <a:gd name="connsiteY519" fmla="*/ 171003 h 500918"/>
                    <a:gd name="connsiteX520" fmla="*/ 1426332 w 2266653"/>
                    <a:gd name="connsiteY520" fmla="*/ 148121 h 500918"/>
                    <a:gd name="connsiteX521" fmla="*/ 1425885 w 2266653"/>
                    <a:gd name="connsiteY521" fmla="*/ 148121 h 500918"/>
                    <a:gd name="connsiteX522" fmla="*/ 1409979 w 2266653"/>
                    <a:gd name="connsiteY522" fmla="*/ 166817 h 500918"/>
                    <a:gd name="connsiteX523" fmla="*/ 1386818 w 2266653"/>
                    <a:gd name="connsiteY523" fmla="*/ 173794 h 500918"/>
                    <a:gd name="connsiteX524" fmla="*/ 1361034 w 2266653"/>
                    <a:gd name="connsiteY524" fmla="*/ 164641 h 500918"/>
                    <a:gd name="connsiteX525" fmla="*/ 1351546 w 2266653"/>
                    <a:gd name="connsiteY525" fmla="*/ 141535 h 500918"/>
                    <a:gd name="connsiteX526" fmla="*/ 1391171 w 2266653"/>
                    <a:gd name="connsiteY526" fmla="*/ 105370 h 500918"/>
                    <a:gd name="connsiteX527" fmla="*/ 1426332 w 2266653"/>
                    <a:gd name="connsiteY527" fmla="*/ 100124 h 500918"/>
                    <a:gd name="connsiteX528" fmla="*/ 1398650 w 2266653"/>
                    <a:gd name="connsiteY528" fmla="*/ 63289 h 500918"/>
                    <a:gd name="connsiteX529" fmla="*/ 1361927 w 2266653"/>
                    <a:gd name="connsiteY529" fmla="*/ 78469 h 500918"/>
                    <a:gd name="connsiteX530" fmla="*/ 1361927 w 2266653"/>
                    <a:gd name="connsiteY530" fmla="*/ 66079 h 500918"/>
                    <a:gd name="connsiteX531" fmla="*/ 1379172 w 2266653"/>
                    <a:gd name="connsiteY531" fmla="*/ 57485 h 500918"/>
                    <a:gd name="connsiteX532" fmla="*/ 1399655 w 2266653"/>
                    <a:gd name="connsiteY532" fmla="*/ 53913 h 500918"/>
                    <a:gd name="connsiteX533" fmla="*/ 1205099 w 2266653"/>
                    <a:gd name="connsiteY533" fmla="*/ 53913 h 500918"/>
                    <a:gd name="connsiteX534" fmla="*/ 1243720 w 2266653"/>
                    <a:gd name="connsiteY534" fmla="*/ 69875 h 500918"/>
                    <a:gd name="connsiteX535" fmla="*/ 1257896 w 2266653"/>
                    <a:gd name="connsiteY535" fmla="*/ 114076 h 500918"/>
                    <a:gd name="connsiteX536" fmla="*/ 1243441 w 2266653"/>
                    <a:gd name="connsiteY536" fmla="*/ 157274 h 500918"/>
                    <a:gd name="connsiteX537" fmla="*/ 1203871 w 2266653"/>
                    <a:gd name="connsiteY537" fmla="*/ 173794 h 500918"/>
                    <a:gd name="connsiteX538" fmla="*/ 1164301 w 2266653"/>
                    <a:gd name="connsiteY538" fmla="*/ 157330 h 500918"/>
                    <a:gd name="connsiteX539" fmla="*/ 1149735 w 2266653"/>
                    <a:gd name="connsiteY539" fmla="*/ 114523 h 500918"/>
                    <a:gd name="connsiteX540" fmla="*/ 1164971 w 2266653"/>
                    <a:gd name="connsiteY540" fmla="*/ 69986 h 500918"/>
                    <a:gd name="connsiteX541" fmla="*/ 1205099 w 2266653"/>
                    <a:gd name="connsiteY541" fmla="*/ 53913 h 500918"/>
                    <a:gd name="connsiteX542" fmla="*/ 1087637 w 2266653"/>
                    <a:gd name="connsiteY542" fmla="*/ 53913 h 500918"/>
                    <a:gd name="connsiteX543" fmla="*/ 1121625 w 2266653"/>
                    <a:gd name="connsiteY543" fmla="*/ 68926 h 500918"/>
                    <a:gd name="connsiteX544" fmla="*/ 1133847 w 2266653"/>
                    <a:gd name="connsiteY544" fmla="*/ 109723 h 500918"/>
                    <a:gd name="connsiteX545" fmla="*/ 1119839 w 2266653"/>
                    <a:gd name="connsiteY545" fmla="*/ 156102 h 500918"/>
                    <a:gd name="connsiteX546" fmla="*/ 1082837 w 2266653"/>
                    <a:gd name="connsiteY546" fmla="*/ 173794 h 500918"/>
                    <a:gd name="connsiteX547" fmla="*/ 1044886 w 2266653"/>
                    <a:gd name="connsiteY547" fmla="*/ 150688 h 500918"/>
                    <a:gd name="connsiteX548" fmla="*/ 1044439 w 2266653"/>
                    <a:gd name="connsiteY548" fmla="*/ 150688 h 500918"/>
                    <a:gd name="connsiteX549" fmla="*/ 1044439 w 2266653"/>
                    <a:gd name="connsiteY549" fmla="*/ 223577 h 500918"/>
                    <a:gd name="connsiteX550" fmla="*/ 1034170 w 2266653"/>
                    <a:gd name="connsiteY550" fmla="*/ 223577 h 500918"/>
                    <a:gd name="connsiteX551" fmla="*/ 1034170 w 2266653"/>
                    <a:gd name="connsiteY551" fmla="*/ 56703 h 500918"/>
                    <a:gd name="connsiteX552" fmla="*/ 1044439 w 2266653"/>
                    <a:gd name="connsiteY552" fmla="*/ 56703 h 500918"/>
                    <a:gd name="connsiteX553" fmla="*/ 1044439 w 2266653"/>
                    <a:gd name="connsiteY553" fmla="*/ 80255 h 500918"/>
                    <a:gd name="connsiteX554" fmla="*/ 1044886 w 2266653"/>
                    <a:gd name="connsiteY554" fmla="*/ 80255 h 500918"/>
                    <a:gd name="connsiteX555" fmla="*/ 1062466 w 2266653"/>
                    <a:gd name="connsiteY555" fmla="*/ 60777 h 500918"/>
                    <a:gd name="connsiteX556" fmla="*/ 1087637 w 2266653"/>
                    <a:gd name="connsiteY556" fmla="*/ 53913 h 500918"/>
                    <a:gd name="connsiteX557" fmla="*/ 881249 w 2266653"/>
                    <a:gd name="connsiteY557" fmla="*/ 53913 h 500918"/>
                    <a:gd name="connsiteX558" fmla="*/ 919870 w 2266653"/>
                    <a:gd name="connsiteY558" fmla="*/ 69875 h 500918"/>
                    <a:gd name="connsiteX559" fmla="*/ 934046 w 2266653"/>
                    <a:gd name="connsiteY559" fmla="*/ 114076 h 500918"/>
                    <a:gd name="connsiteX560" fmla="*/ 919591 w 2266653"/>
                    <a:gd name="connsiteY560" fmla="*/ 157274 h 500918"/>
                    <a:gd name="connsiteX561" fmla="*/ 880021 w 2266653"/>
                    <a:gd name="connsiteY561" fmla="*/ 173794 h 500918"/>
                    <a:gd name="connsiteX562" fmla="*/ 840451 w 2266653"/>
                    <a:gd name="connsiteY562" fmla="*/ 157330 h 500918"/>
                    <a:gd name="connsiteX563" fmla="*/ 825885 w 2266653"/>
                    <a:gd name="connsiteY563" fmla="*/ 114523 h 500918"/>
                    <a:gd name="connsiteX564" fmla="*/ 841121 w 2266653"/>
                    <a:gd name="connsiteY564" fmla="*/ 69986 h 500918"/>
                    <a:gd name="connsiteX565" fmla="*/ 881249 w 2266653"/>
                    <a:gd name="connsiteY565" fmla="*/ 53913 h 500918"/>
                    <a:gd name="connsiteX566" fmla="*/ 778483 w 2266653"/>
                    <a:gd name="connsiteY566" fmla="*/ 53913 h 500918"/>
                    <a:gd name="connsiteX567" fmla="*/ 803821 w 2266653"/>
                    <a:gd name="connsiteY567" fmla="*/ 59271 h 500918"/>
                    <a:gd name="connsiteX568" fmla="*/ 803821 w 2266653"/>
                    <a:gd name="connsiteY568" fmla="*/ 70879 h 500918"/>
                    <a:gd name="connsiteX569" fmla="*/ 776920 w 2266653"/>
                    <a:gd name="connsiteY569" fmla="*/ 63289 h 500918"/>
                    <a:gd name="connsiteX570" fmla="*/ 744327 w 2266653"/>
                    <a:gd name="connsiteY570" fmla="*/ 77744 h 500918"/>
                    <a:gd name="connsiteX571" fmla="*/ 731826 w 2266653"/>
                    <a:gd name="connsiteY571" fmla="*/ 115193 h 500918"/>
                    <a:gd name="connsiteX572" fmla="*/ 743267 w 2266653"/>
                    <a:gd name="connsiteY572" fmla="*/ 150911 h 500918"/>
                    <a:gd name="connsiteX573" fmla="*/ 773460 w 2266653"/>
                    <a:gd name="connsiteY573" fmla="*/ 164418 h 500918"/>
                    <a:gd name="connsiteX574" fmla="*/ 803375 w 2266653"/>
                    <a:gd name="connsiteY574" fmla="*/ 155265 h 500918"/>
                    <a:gd name="connsiteX575" fmla="*/ 803375 w 2266653"/>
                    <a:gd name="connsiteY575" fmla="*/ 165980 h 500918"/>
                    <a:gd name="connsiteX576" fmla="*/ 773014 w 2266653"/>
                    <a:gd name="connsiteY576" fmla="*/ 173794 h 500918"/>
                    <a:gd name="connsiteX577" fmla="*/ 735397 w 2266653"/>
                    <a:gd name="connsiteY577" fmla="*/ 157776 h 500918"/>
                    <a:gd name="connsiteX578" fmla="*/ 721110 w 2266653"/>
                    <a:gd name="connsiteY578" fmla="*/ 115862 h 500918"/>
                    <a:gd name="connsiteX579" fmla="*/ 737183 w 2266653"/>
                    <a:gd name="connsiteY579" fmla="*/ 71270 h 500918"/>
                    <a:gd name="connsiteX580" fmla="*/ 778483 w 2266653"/>
                    <a:gd name="connsiteY580" fmla="*/ 53913 h 500918"/>
                    <a:gd name="connsiteX581" fmla="*/ 528824 w 2266653"/>
                    <a:gd name="connsiteY581" fmla="*/ 53913 h 500918"/>
                    <a:gd name="connsiteX582" fmla="*/ 567445 w 2266653"/>
                    <a:gd name="connsiteY582" fmla="*/ 69875 h 500918"/>
                    <a:gd name="connsiteX583" fmla="*/ 581621 w 2266653"/>
                    <a:gd name="connsiteY583" fmla="*/ 114076 h 500918"/>
                    <a:gd name="connsiteX584" fmla="*/ 567166 w 2266653"/>
                    <a:gd name="connsiteY584" fmla="*/ 157274 h 500918"/>
                    <a:gd name="connsiteX585" fmla="*/ 527596 w 2266653"/>
                    <a:gd name="connsiteY585" fmla="*/ 173794 h 500918"/>
                    <a:gd name="connsiteX586" fmla="*/ 488027 w 2266653"/>
                    <a:gd name="connsiteY586" fmla="*/ 157330 h 500918"/>
                    <a:gd name="connsiteX587" fmla="*/ 473460 w 2266653"/>
                    <a:gd name="connsiteY587" fmla="*/ 114523 h 500918"/>
                    <a:gd name="connsiteX588" fmla="*/ 488696 w 2266653"/>
                    <a:gd name="connsiteY588" fmla="*/ 69986 h 500918"/>
                    <a:gd name="connsiteX589" fmla="*/ 528824 w 2266653"/>
                    <a:gd name="connsiteY589" fmla="*/ 53913 h 500918"/>
                    <a:gd name="connsiteX590" fmla="*/ 2154139 w 2266653"/>
                    <a:gd name="connsiteY590" fmla="*/ 23552 h 500918"/>
                    <a:gd name="connsiteX591" fmla="*/ 2154139 w 2266653"/>
                    <a:gd name="connsiteY591" fmla="*/ 56703 h 500918"/>
                    <a:gd name="connsiteX592" fmla="*/ 2184276 w 2266653"/>
                    <a:gd name="connsiteY592" fmla="*/ 56703 h 500918"/>
                    <a:gd name="connsiteX593" fmla="*/ 2184276 w 2266653"/>
                    <a:gd name="connsiteY593" fmla="*/ 66079 h 500918"/>
                    <a:gd name="connsiteX594" fmla="*/ 2154139 w 2266653"/>
                    <a:gd name="connsiteY594" fmla="*/ 66079 h 500918"/>
                    <a:gd name="connsiteX595" fmla="*/ 2154139 w 2266653"/>
                    <a:gd name="connsiteY595" fmla="*/ 141535 h 500918"/>
                    <a:gd name="connsiteX596" fmla="*/ 2157878 w 2266653"/>
                    <a:gd name="connsiteY596" fmla="*/ 158669 h 500918"/>
                    <a:gd name="connsiteX597" fmla="*/ 2170547 w 2266653"/>
                    <a:gd name="connsiteY597" fmla="*/ 163971 h 500918"/>
                    <a:gd name="connsiteX598" fmla="*/ 2184276 w 2266653"/>
                    <a:gd name="connsiteY598" fmla="*/ 159841 h 500918"/>
                    <a:gd name="connsiteX599" fmla="*/ 2184276 w 2266653"/>
                    <a:gd name="connsiteY599" fmla="*/ 169441 h 500918"/>
                    <a:gd name="connsiteX600" fmla="*/ 2169207 w 2266653"/>
                    <a:gd name="connsiteY600" fmla="*/ 173236 h 500918"/>
                    <a:gd name="connsiteX601" fmla="*/ 2143869 w 2266653"/>
                    <a:gd name="connsiteY601" fmla="*/ 142875 h 500918"/>
                    <a:gd name="connsiteX602" fmla="*/ 2143869 w 2266653"/>
                    <a:gd name="connsiteY602" fmla="*/ 66079 h 500918"/>
                    <a:gd name="connsiteX603" fmla="*/ 2123331 w 2266653"/>
                    <a:gd name="connsiteY603" fmla="*/ 66079 h 500918"/>
                    <a:gd name="connsiteX604" fmla="*/ 2123331 w 2266653"/>
                    <a:gd name="connsiteY604" fmla="*/ 56703 h 500918"/>
                    <a:gd name="connsiteX605" fmla="*/ 2143869 w 2266653"/>
                    <a:gd name="connsiteY605" fmla="*/ 56703 h 500918"/>
                    <a:gd name="connsiteX606" fmla="*/ 2143869 w 2266653"/>
                    <a:gd name="connsiteY606" fmla="*/ 27012 h 500918"/>
                    <a:gd name="connsiteX607" fmla="*/ 2149004 w 2266653"/>
                    <a:gd name="connsiteY607" fmla="*/ 25226 h 500918"/>
                    <a:gd name="connsiteX608" fmla="*/ 2154139 w 2266653"/>
                    <a:gd name="connsiteY608" fmla="*/ 23552 h 500918"/>
                    <a:gd name="connsiteX609" fmla="*/ 1487389 w 2266653"/>
                    <a:gd name="connsiteY609" fmla="*/ 23552 h 500918"/>
                    <a:gd name="connsiteX610" fmla="*/ 1487389 w 2266653"/>
                    <a:gd name="connsiteY610" fmla="*/ 56703 h 500918"/>
                    <a:gd name="connsiteX611" fmla="*/ 1517526 w 2266653"/>
                    <a:gd name="connsiteY611" fmla="*/ 56703 h 500918"/>
                    <a:gd name="connsiteX612" fmla="*/ 1517526 w 2266653"/>
                    <a:gd name="connsiteY612" fmla="*/ 66079 h 500918"/>
                    <a:gd name="connsiteX613" fmla="*/ 1487389 w 2266653"/>
                    <a:gd name="connsiteY613" fmla="*/ 66079 h 500918"/>
                    <a:gd name="connsiteX614" fmla="*/ 1487389 w 2266653"/>
                    <a:gd name="connsiteY614" fmla="*/ 141535 h 500918"/>
                    <a:gd name="connsiteX615" fmla="*/ 1491128 w 2266653"/>
                    <a:gd name="connsiteY615" fmla="*/ 158669 h 500918"/>
                    <a:gd name="connsiteX616" fmla="*/ 1503797 w 2266653"/>
                    <a:gd name="connsiteY616" fmla="*/ 163971 h 500918"/>
                    <a:gd name="connsiteX617" fmla="*/ 1517526 w 2266653"/>
                    <a:gd name="connsiteY617" fmla="*/ 159841 h 500918"/>
                    <a:gd name="connsiteX618" fmla="*/ 1517526 w 2266653"/>
                    <a:gd name="connsiteY618" fmla="*/ 169441 h 500918"/>
                    <a:gd name="connsiteX619" fmla="*/ 1502457 w 2266653"/>
                    <a:gd name="connsiteY619" fmla="*/ 173236 h 500918"/>
                    <a:gd name="connsiteX620" fmla="*/ 1477119 w 2266653"/>
                    <a:gd name="connsiteY620" fmla="*/ 142875 h 500918"/>
                    <a:gd name="connsiteX621" fmla="*/ 1477119 w 2266653"/>
                    <a:gd name="connsiteY621" fmla="*/ 66079 h 500918"/>
                    <a:gd name="connsiteX622" fmla="*/ 1456581 w 2266653"/>
                    <a:gd name="connsiteY622" fmla="*/ 66079 h 500918"/>
                    <a:gd name="connsiteX623" fmla="*/ 1456581 w 2266653"/>
                    <a:gd name="connsiteY623" fmla="*/ 56703 h 500918"/>
                    <a:gd name="connsiteX624" fmla="*/ 1477119 w 2266653"/>
                    <a:gd name="connsiteY624" fmla="*/ 56703 h 500918"/>
                    <a:gd name="connsiteX625" fmla="*/ 1477119 w 2266653"/>
                    <a:gd name="connsiteY625" fmla="*/ 27012 h 500918"/>
                    <a:gd name="connsiteX626" fmla="*/ 1482254 w 2266653"/>
                    <a:gd name="connsiteY626" fmla="*/ 25226 h 500918"/>
                    <a:gd name="connsiteX627" fmla="*/ 1487389 w 2266653"/>
                    <a:gd name="connsiteY627" fmla="*/ 23552 h 500918"/>
                    <a:gd name="connsiteX628" fmla="*/ 161627 w 2266653"/>
                    <a:gd name="connsiteY628" fmla="*/ 17636 h 500918"/>
                    <a:gd name="connsiteX629" fmla="*/ 132940 w 2266653"/>
                    <a:gd name="connsiteY629" fmla="*/ 36500 h 500918"/>
                    <a:gd name="connsiteX630" fmla="*/ 122671 w 2266653"/>
                    <a:gd name="connsiteY630" fmla="*/ 93092 h 500918"/>
                    <a:gd name="connsiteX631" fmla="*/ 132494 w 2266653"/>
                    <a:gd name="connsiteY631" fmla="*/ 145944 h 500918"/>
                    <a:gd name="connsiteX632" fmla="*/ 160399 w 2266653"/>
                    <a:gd name="connsiteY632" fmla="*/ 164418 h 500918"/>
                    <a:gd name="connsiteX633" fmla="*/ 188025 w 2266653"/>
                    <a:gd name="connsiteY633" fmla="*/ 145609 h 500918"/>
                    <a:gd name="connsiteX634" fmla="*/ 197904 w 2266653"/>
                    <a:gd name="connsiteY634" fmla="*/ 91864 h 500918"/>
                    <a:gd name="connsiteX635" fmla="*/ 161627 w 2266653"/>
                    <a:gd name="connsiteY635" fmla="*/ 17636 h 500918"/>
                    <a:gd name="connsiteX636" fmla="*/ 262868 w 2266653"/>
                    <a:gd name="connsiteY636" fmla="*/ 16966 h 500918"/>
                    <a:gd name="connsiteX637" fmla="*/ 242609 w 2266653"/>
                    <a:gd name="connsiteY637" fmla="*/ 25505 h 500918"/>
                    <a:gd name="connsiteX638" fmla="*/ 235186 w 2266653"/>
                    <a:gd name="connsiteY638" fmla="*/ 49336 h 500918"/>
                    <a:gd name="connsiteX639" fmla="*/ 242386 w 2266653"/>
                    <a:gd name="connsiteY639" fmla="*/ 72219 h 500918"/>
                    <a:gd name="connsiteX640" fmla="*/ 262198 w 2266653"/>
                    <a:gd name="connsiteY640" fmla="*/ 80702 h 500918"/>
                    <a:gd name="connsiteX641" fmla="*/ 282123 w 2266653"/>
                    <a:gd name="connsiteY641" fmla="*/ 71995 h 500918"/>
                    <a:gd name="connsiteX642" fmla="*/ 289322 w 2266653"/>
                    <a:gd name="connsiteY642" fmla="*/ 48667 h 500918"/>
                    <a:gd name="connsiteX643" fmla="*/ 282179 w 2266653"/>
                    <a:gd name="connsiteY643" fmla="*/ 24947 h 500918"/>
                    <a:gd name="connsiteX644" fmla="*/ 262868 w 2266653"/>
                    <a:gd name="connsiteY644" fmla="*/ 16966 h 500918"/>
                    <a:gd name="connsiteX645" fmla="*/ 347477 w 2266653"/>
                    <a:gd name="connsiteY645" fmla="*/ 11162 h 500918"/>
                    <a:gd name="connsiteX646" fmla="*/ 358193 w 2266653"/>
                    <a:gd name="connsiteY646" fmla="*/ 11162 h 500918"/>
                    <a:gd name="connsiteX647" fmla="*/ 262198 w 2266653"/>
                    <a:gd name="connsiteY647" fmla="*/ 174687 h 500918"/>
                    <a:gd name="connsiteX648" fmla="*/ 251148 w 2266653"/>
                    <a:gd name="connsiteY648" fmla="*/ 174687 h 500918"/>
                    <a:gd name="connsiteX649" fmla="*/ 2096468 w 2266653"/>
                    <a:gd name="connsiteY649" fmla="*/ 10939 h 500918"/>
                    <a:gd name="connsiteX650" fmla="*/ 2102551 w 2266653"/>
                    <a:gd name="connsiteY650" fmla="*/ 13171 h 500918"/>
                    <a:gd name="connsiteX651" fmla="*/ 2105174 w 2266653"/>
                    <a:gd name="connsiteY651" fmla="*/ 19199 h 500918"/>
                    <a:gd name="connsiteX652" fmla="*/ 2102607 w 2266653"/>
                    <a:gd name="connsiteY652" fmla="*/ 25338 h 500918"/>
                    <a:gd name="connsiteX653" fmla="*/ 2096468 w 2266653"/>
                    <a:gd name="connsiteY653" fmla="*/ 27905 h 500918"/>
                    <a:gd name="connsiteX654" fmla="*/ 2090552 w 2266653"/>
                    <a:gd name="connsiteY654" fmla="*/ 25449 h 500918"/>
                    <a:gd name="connsiteX655" fmla="*/ 2087985 w 2266653"/>
                    <a:gd name="connsiteY655" fmla="*/ 19199 h 500918"/>
                    <a:gd name="connsiteX656" fmla="*/ 2090608 w 2266653"/>
                    <a:gd name="connsiteY656" fmla="*/ 13227 h 500918"/>
                    <a:gd name="connsiteX657" fmla="*/ 2096468 w 2266653"/>
                    <a:gd name="connsiteY657" fmla="*/ 10939 h 500918"/>
                    <a:gd name="connsiteX658" fmla="*/ 162520 w 2266653"/>
                    <a:gd name="connsiteY658" fmla="*/ 8260 h 500918"/>
                    <a:gd name="connsiteX659" fmla="*/ 208731 w 2266653"/>
                    <a:gd name="connsiteY659" fmla="*/ 90301 h 500918"/>
                    <a:gd name="connsiteX660" fmla="*/ 195671 w 2266653"/>
                    <a:gd name="connsiteY660" fmla="*/ 152474 h 500918"/>
                    <a:gd name="connsiteX661" fmla="*/ 159060 w 2266653"/>
                    <a:gd name="connsiteY661" fmla="*/ 173794 h 500918"/>
                    <a:gd name="connsiteX662" fmla="*/ 124457 w 2266653"/>
                    <a:gd name="connsiteY662" fmla="*/ 153479 h 500918"/>
                    <a:gd name="connsiteX663" fmla="*/ 111955 w 2266653"/>
                    <a:gd name="connsiteY663" fmla="*/ 94431 h 500918"/>
                    <a:gd name="connsiteX664" fmla="*/ 125071 w 2266653"/>
                    <a:gd name="connsiteY664" fmla="*/ 29970 h 500918"/>
                    <a:gd name="connsiteX665" fmla="*/ 162520 w 2266653"/>
                    <a:gd name="connsiteY665" fmla="*/ 8260 h 500918"/>
                    <a:gd name="connsiteX666" fmla="*/ 39514 w 2266653"/>
                    <a:gd name="connsiteY666" fmla="*/ 8260 h 500918"/>
                    <a:gd name="connsiteX667" fmla="*/ 69596 w 2266653"/>
                    <a:gd name="connsiteY667" fmla="*/ 18529 h 500918"/>
                    <a:gd name="connsiteX668" fmla="*/ 80703 w 2266653"/>
                    <a:gd name="connsiteY668" fmla="*/ 45764 h 500918"/>
                    <a:gd name="connsiteX669" fmla="*/ 49560 w 2266653"/>
                    <a:gd name="connsiteY669" fmla="*/ 87064 h 500918"/>
                    <a:gd name="connsiteX670" fmla="*/ 49560 w 2266653"/>
                    <a:gd name="connsiteY670" fmla="*/ 87511 h 500918"/>
                    <a:gd name="connsiteX671" fmla="*/ 76349 w 2266653"/>
                    <a:gd name="connsiteY671" fmla="*/ 99956 h 500918"/>
                    <a:gd name="connsiteX672" fmla="*/ 86395 w 2266653"/>
                    <a:gd name="connsiteY672" fmla="*/ 127136 h 500918"/>
                    <a:gd name="connsiteX673" fmla="*/ 71884 w 2266653"/>
                    <a:gd name="connsiteY673" fmla="*/ 160957 h 500918"/>
                    <a:gd name="connsiteX674" fmla="*/ 34268 w 2266653"/>
                    <a:gd name="connsiteY674" fmla="*/ 173794 h 500918"/>
                    <a:gd name="connsiteX675" fmla="*/ 0 w 2266653"/>
                    <a:gd name="connsiteY675" fmla="*/ 165311 h 500918"/>
                    <a:gd name="connsiteX676" fmla="*/ 0 w 2266653"/>
                    <a:gd name="connsiteY676" fmla="*/ 153590 h 500918"/>
                    <a:gd name="connsiteX677" fmla="*/ 34491 w 2266653"/>
                    <a:gd name="connsiteY677" fmla="*/ 164418 h 500918"/>
                    <a:gd name="connsiteX678" fmla="*/ 64741 w 2266653"/>
                    <a:gd name="connsiteY678" fmla="*/ 154539 h 500918"/>
                    <a:gd name="connsiteX679" fmla="*/ 75680 w 2266653"/>
                    <a:gd name="connsiteY679" fmla="*/ 128699 h 500918"/>
                    <a:gd name="connsiteX680" fmla="*/ 63122 w 2266653"/>
                    <a:gd name="connsiteY680" fmla="*/ 101798 h 500918"/>
                    <a:gd name="connsiteX681" fmla="*/ 27348 w 2266653"/>
                    <a:gd name="connsiteY681" fmla="*/ 92645 h 500918"/>
                    <a:gd name="connsiteX682" fmla="*/ 15069 w 2266653"/>
                    <a:gd name="connsiteY682" fmla="*/ 92645 h 500918"/>
                    <a:gd name="connsiteX683" fmla="*/ 15069 w 2266653"/>
                    <a:gd name="connsiteY683" fmla="*/ 83269 h 500918"/>
                    <a:gd name="connsiteX684" fmla="*/ 26008 w 2266653"/>
                    <a:gd name="connsiteY684" fmla="*/ 83269 h 500918"/>
                    <a:gd name="connsiteX685" fmla="*/ 58657 w 2266653"/>
                    <a:gd name="connsiteY685" fmla="*/ 74172 h 500918"/>
                    <a:gd name="connsiteX686" fmla="*/ 69875 w 2266653"/>
                    <a:gd name="connsiteY686" fmla="*/ 48443 h 500918"/>
                    <a:gd name="connsiteX687" fmla="*/ 61727 w 2266653"/>
                    <a:gd name="connsiteY687" fmla="*/ 25840 h 500918"/>
                    <a:gd name="connsiteX688" fmla="*/ 37952 w 2266653"/>
                    <a:gd name="connsiteY688" fmla="*/ 17636 h 500918"/>
                    <a:gd name="connsiteX689" fmla="*/ 6363 w 2266653"/>
                    <a:gd name="connsiteY689" fmla="*/ 28128 h 500918"/>
                    <a:gd name="connsiteX690" fmla="*/ 6363 w 2266653"/>
                    <a:gd name="connsiteY690" fmla="*/ 17189 h 500918"/>
                    <a:gd name="connsiteX691" fmla="*/ 39514 w 2266653"/>
                    <a:gd name="connsiteY691" fmla="*/ 8260 h 500918"/>
                    <a:gd name="connsiteX692" fmla="*/ 263091 w 2266653"/>
                    <a:gd name="connsiteY692" fmla="*/ 7813 h 500918"/>
                    <a:gd name="connsiteX693" fmla="*/ 289657 w 2266653"/>
                    <a:gd name="connsiteY693" fmla="*/ 18640 h 500918"/>
                    <a:gd name="connsiteX694" fmla="*/ 299480 w 2266653"/>
                    <a:gd name="connsiteY694" fmla="*/ 48890 h 500918"/>
                    <a:gd name="connsiteX695" fmla="*/ 289267 w 2266653"/>
                    <a:gd name="connsiteY695" fmla="*/ 77967 h 500918"/>
                    <a:gd name="connsiteX696" fmla="*/ 261975 w 2266653"/>
                    <a:gd name="connsiteY696" fmla="*/ 89631 h 500918"/>
                    <a:gd name="connsiteX697" fmla="*/ 234851 w 2266653"/>
                    <a:gd name="connsiteY697" fmla="*/ 78358 h 500918"/>
                    <a:gd name="connsiteX698" fmla="*/ 224917 w 2266653"/>
                    <a:gd name="connsiteY698" fmla="*/ 49113 h 500918"/>
                    <a:gd name="connsiteX699" fmla="*/ 235465 w 2266653"/>
                    <a:gd name="connsiteY699" fmla="*/ 18696 h 500918"/>
                    <a:gd name="connsiteX700" fmla="*/ 263091 w 2266653"/>
                    <a:gd name="connsiteY700" fmla="*/ 7813 h 500918"/>
                    <a:gd name="connsiteX701" fmla="*/ 2048768 w 2266653"/>
                    <a:gd name="connsiteY701" fmla="*/ 1786 h 500918"/>
                    <a:gd name="connsiteX702" fmla="*/ 2059037 w 2266653"/>
                    <a:gd name="connsiteY702" fmla="*/ 1786 h 500918"/>
                    <a:gd name="connsiteX703" fmla="*/ 2059037 w 2266653"/>
                    <a:gd name="connsiteY703" fmla="*/ 171003 h 500918"/>
                    <a:gd name="connsiteX704" fmla="*/ 2048768 w 2266653"/>
                    <a:gd name="connsiteY704" fmla="*/ 171003 h 500918"/>
                    <a:gd name="connsiteX705" fmla="*/ 2048768 w 2266653"/>
                    <a:gd name="connsiteY705" fmla="*/ 150242 h 500918"/>
                    <a:gd name="connsiteX706" fmla="*/ 2048322 w 2266653"/>
                    <a:gd name="connsiteY706" fmla="*/ 150242 h 500918"/>
                    <a:gd name="connsiteX707" fmla="*/ 2031802 w 2266653"/>
                    <a:gd name="connsiteY707" fmla="*/ 167431 h 500918"/>
                    <a:gd name="connsiteX708" fmla="*/ 2007134 w 2266653"/>
                    <a:gd name="connsiteY708" fmla="*/ 173794 h 500918"/>
                    <a:gd name="connsiteX709" fmla="*/ 1972699 w 2266653"/>
                    <a:gd name="connsiteY709" fmla="*/ 158390 h 500918"/>
                    <a:gd name="connsiteX710" fmla="*/ 1959360 w 2266653"/>
                    <a:gd name="connsiteY710" fmla="*/ 115862 h 500918"/>
                    <a:gd name="connsiteX711" fmla="*/ 1973926 w 2266653"/>
                    <a:gd name="connsiteY711" fmla="*/ 71047 h 500918"/>
                    <a:gd name="connsiteX712" fmla="*/ 2011710 w 2266653"/>
                    <a:gd name="connsiteY712" fmla="*/ 53913 h 500918"/>
                    <a:gd name="connsiteX713" fmla="*/ 2048322 w 2266653"/>
                    <a:gd name="connsiteY713" fmla="*/ 75009 h 500918"/>
                    <a:gd name="connsiteX714" fmla="*/ 2048768 w 2266653"/>
                    <a:gd name="connsiteY714" fmla="*/ 75009 h 500918"/>
                    <a:gd name="connsiteX715" fmla="*/ 633971 w 2266653"/>
                    <a:gd name="connsiteY715" fmla="*/ 0 h 500918"/>
                    <a:gd name="connsiteX716" fmla="*/ 646026 w 2266653"/>
                    <a:gd name="connsiteY716" fmla="*/ 2121 h 500918"/>
                    <a:gd name="connsiteX717" fmla="*/ 646026 w 2266653"/>
                    <a:gd name="connsiteY717" fmla="*/ 12613 h 500918"/>
                    <a:gd name="connsiteX718" fmla="*/ 633525 w 2266653"/>
                    <a:gd name="connsiteY718" fmla="*/ 9376 h 500918"/>
                    <a:gd name="connsiteX719" fmla="*/ 612428 w 2266653"/>
                    <a:gd name="connsiteY719" fmla="*/ 37728 h 500918"/>
                    <a:gd name="connsiteX720" fmla="*/ 612428 w 2266653"/>
                    <a:gd name="connsiteY720" fmla="*/ 56703 h 500918"/>
                    <a:gd name="connsiteX721" fmla="*/ 642677 w 2266653"/>
                    <a:gd name="connsiteY721" fmla="*/ 56703 h 500918"/>
                    <a:gd name="connsiteX722" fmla="*/ 642677 w 2266653"/>
                    <a:gd name="connsiteY722" fmla="*/ 66079 h 500918"/>
                    <a:gd name="connsiteX723" fmla="*/ 612428 w 2266653"/>
                    <a:gd name="connsiteY723" fmla="*/ 66079 h 500918"/>
                    <a:gd name="connsiteX724" fmla="*/ 612428 w 2266653"/>
                    <a:gd name="connsiteY724" fmla="*/ 171003 h 500918"/>
                    <a:gd name="connsiteX725" fmla="*/ 602159 w 2266653"/>
                    <a:gd name="connsiteY725" fmla="*/ 171003 h 500918"/>
                    <a:gd name="connsiteX726" fmla="*/ 602159 w 2266653"/>
                    <a:gd name="connsiteY726" fmla="*/ 66079 h 500918"/>
                    <a:gd name="connsiteX727" fmla="*/ 581621 w 2266653"/>
                    <a:gd name="connsiteY727" fmla="*/ 66079 h 500918"/>
                    <a:gd name="connsiteX728" fmla="*/ 581621 w 2266653"/>
                    <a:gd name="connsiteY728" fmla="*/ 56703 h 500918"/>
                    <a:gd name="connsiteX729" fmla="*/ 602159 w 2266653"/>
                    <a:gd name="connsiteY729" fmla="*/ 56703 h 500918"/>
                    <a:gd name="connsiteX730" fmla="*/ 602159 w 2266653"/>
                    <a:gd name="connsiteY730" fmla="*/ 36835 h 500918"/>
                    <a:gd name="connsiteX731" fmla="*/ 611256 w 2266653"/>
                    <a:gd name="connsiteY731" fmla="*/ 9376 h 500918"/>
                    <a:gd name="connsiteX732" fmla="*/ 633971 w 2266653"/>
                    <a:gd name="connsiteY732" fmla="*/ 0 h 500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</a:cxnLst>
                  <a:rect l="l" t="t" r="r" b="b"/>
                  <a:pathLst>
                    <a:path w="2266653" h="500918">
                      <a:moveTo>
                        <a:pt x="1867347" y="339514"/>
                      </a:moveTo>
                      <a:cubicBezTo>
                        <a:pt x="1854027" y="339514"/>
                        <a:pt x="1843720" y="343979"/>
                        <a:pt x="1836428" y="352908"/>
                      </a:cubicBezTo>
                      <a:cubicBezTo>
                        <a:pt x="1829135" y="361838"/>
                        <a:pt x="1825489" y="372330"/>
                        <a:pt x="1825489" y="384386"/>
                      </a:cubicBezTo>
                      <a:lnTo>
                        <a:pt x="1825489" y="398785"/>
                      </a:lnTo>
                      <a:cubicBezTo>
                        <a:pt x="1825489" y="410244"/>
                        <a:pt x="1829098" y="420086"/>
                        <a:pt x="1836316" y="428308"/>
                      </a:cubicBezTo>
                      <a:cubicBezTo>
                        <a:pt x="1843534" y="436531"/>
                        <a:pt x="1853022" y="440643"/>
                        <a:pt x="1864779" y="440643"/>
                      </a:cubicBezTo>
                      <a:cubicBezTo>
                        <a:pt x="1876463" y="440643"/>
                        <a:pt x="1885950" y="435638"/>
                        <a:pt x="1893243" y="425630"/>
                      </a:cubicBezTo>
                      <a:cubicBezTo>
                        <a:pt x="1900535" y="415621"/>
                        <a:pt x="1904182" y="402468"/>
                        <a:pt x="1904182" y="386171"/>
                      </a:cubicBezTo>
                      <a:cubicBezTo>
                        <a:pt x="1904182" y="371884"/>
                        <a:pt x="1900833" y="360536"/>
                        <a:pt x="1894136" y="352127"/>
                      </a:cubicBezTo>
                      <a:cubicBezTo>
                        <a:pt x="1887439" y="343718"/>
                        <a:pt x="1878509" y="339514"/>
                        <a:pt x="1867347" y="339514"/>
                      </a:cubicBezTo>
                      <a:close/>
                      <a:moveTo>
                        <a:pt x="1668587" y="339514"/>
                      </a:moveTo>
                      <a:cubicBezTo>
                        <a:pt x="1656606" y="339514"/>
                        <a:pt x="1646709" y="344109"/>
                        <a:pt x="1638896" y="353299"/>
                      </a:cubicBezTo>
                      <a:cubicBezTo>
                        <a:pt x="1631082" y="362489"/>
                        <a:pt x="1627175" y="375121"/>
                        <a:pt x="1627175" y="391194"/>
                      </a:cubicBezTo>
                      <a:cubicBezTo>
                        <a:pt x="1627175" y="406970"/>
                        <a:pt x="1630691" y="419156"/>
                        <a:pt x="1637724" y="427750"/>
                      </a:cubicBezTo>
                      <a:cubicBezTo>
                        <a:pt x="1644756" y="436345"/>
                        <a:pt x="1653816" y="440643"/>
                        <a:pt x="1664903" y="440643"/>
                      </a:cubicBezTo>
                      <a:cubicBezTo>
                        <a:pt x="1677926" y="440643"/>
                        <a:pt x="1688009" y="436606"/>
                        <a:pt x="1695153" y="428532"/>
                      </a:cubicBezTo>
                      <a:cubicBezTo>
                        <a:pt x="1702297" y="420458"/>
                        <a:pt x="1705868" y="410617"/>
                        <a:pt x="1705868" y="399008"/>
                      </a:cubicBezTo>
                      <a:lnTo>
                        <a:pt x="1705868" y="377688"/>
                      </a:lnTo>
                      <a:cubicBezTo>
                        <a:pt x="1705868" y="367047"/>
                        <a:pt x="1702501" y="358024"/>
                        <a:pt x="1695767" y="350620"/>
                      </a:cubicBezTo>
                      <a:cubicBezTo>
                        <a:pt x="1689032" y="343216"/>
                        <a:pt x="1679972" y="339514"/>
                        <a:pt x="1668587" y="339514"/>
                      </a:cubicBezTo>
                      <a:close/>
                      <a:moveTo>
                        <a:pt x="1552946" y="339514"/>
                      </a:moveTo>
                      <a:cubicBezTo>
                        <a:pt x="1542231" y="339514"/>
                        <a:pt x="1533357" y="343104"/>
                        <a:pt x="1526325" y="350285"/>
                      </a:cubicBezTo>
                      <a:cubicBezTo>
                        <a:pt x="1519293" y="357466"/>
                        <a:pt x="1514958" y="367754"/>
                        <a:pt x="1513321" y="381149"/>
                      </a:cubicBezTo>
                      <a:lnTo>
                        <a:pt x="1586768" y="381149"/>
                      </a:lnTo>
                      <a:cubicBezTo>
                        <a:pt x="1586321" y="367977"/>
                        <a:pt x="1583158" y="357745"/>
                        <a:pt x="1577280" y="350453"/>
                      </a:cubicBezTo>
                      <a:cubicBezTo>
                        <a:pt x="1571401" y="343160"/>
                        <a:pt x="1563290" y="339514"/>
                        <a:pt x="1552946" y="339514"/>
                      </a:cubicBezTo>
                      <a:close/>
                      <a:moveTo>
                        <a:pt x="1166552" y="339514"/>
                      </a:moveTo>
                      <a:cubicBezTo>
                        <a:pt x="1153084" y="339514"/>
                        <a:pt x="1142349" y="344053"/>
                        <a:pt x="1134350" y="353132"/>
                      </a:cubicBezTo>
                      <a:cubicBezTo>
                        <a:pt x="1126350" y="362210"/>
                        <a:pt x="1122351" y="374823"/>
                        <a:pt x="1122351" y="390971"/>
                      </a:cubicBezTo>
                      <a:cubicBezTo>
                        <a:pt x="1122351" y="405928"/>
                        <a:pt x="1126257" y="417946"/>
                        <a:pt x="1134071" y="427025"/>
                      </a:cubicBezTo>
                      <a:cubicBezTo>
                        <a:pt x="1141884" y="436103"/>
                        <a:pt x="1152563" y="440643"/>
                        <a:pt x="1166106" y="440643"/>
                      </a:cubicBezTo>
                      <a:cubicBezTo>
                        <a:pt x="1179873" y="440643"/>
                        <a:pt x="1190477" y="436178"/>
                        <a:pt x="1197918" y="427248"/>
                      </a:cubicBezTo>
                      <a:cubicBezTo>
                        <a:pt x="1205359" y="418318"/>
                        <a:pt x="1209080" y="405928"/>
                        <a:pt x="1209080" y="390078"/>
                      </a:cubicBezTo>
                      <a:cubicBezTo>
                        <a:pt x="1209080" y="373782"/>
                        <a:pt x="1205378" y="361280"/>
                        <a:pt x="1197974" y="352574"/>
                      </a:cubicBezTo>
                      <a:cubicBezTo>
                        <a:pt x="1190569" y="343867"/>
                        <a:pt x="1180096" y="339514"/>
                        <a:pt x="1166552" y="339514"/>
                      </a:cubicBezTo>
                      <a:close/>
                      <a:moveTo>
                        <a:pt x="895722" y="339514"/>
                      </a:moveTo>
                      <a:cubicBezTo>
                        <a:pt x="885006" y="339514"/>
                        <a:pt x="876132" y="343104"/>
                        <a:pt x="869100" y="350285"/>
                      </a:cubicBezTo>
                      <a:cubicBezTo>
                        <a:pt x="862068" y="357466"/>
                        <a:pt x="857733" y="367754"/>
                        <a:pt x="856096" y="381149"/>
                      </a:cubicBezTo>
                      <a:lnTo>
                        <a:pt x="929543" y="381149"/>
                      </a:lnTo>
                      <a:cubicBezTo>
                        <a:pt x="929096" y="367977"/>
                        <a:pt x="925934" y="357745"/>
                        <a:pt x="920055" y="350453"/>
                      </a:cubicBezTo>
                      <a:cubicBezTo>
                        <a:pt x="914176" y="343160"/>
                        <a:pt x="906065" y="339514"/>
                        <a:pt x="895722" y="339514"/>
                      </a:cubicBezTo>
                      <a:close/>
                      <a:moveTo>
                        <a:pt x="781497" y="339514"/>
                      </a:moveTo>
                      <a:cubicBezTo>
                        <a:pt x="768177" y="339514"/>
                        <a:pt x="757870" y="343979"/>
                        <a:pt x="750578" y="352908"/>
                      </a:cubicBezTo>
                      <a:cubicBezTo>
                        <a:pt x="743285" y="361838"/>
                        <a:pt x="739639" y="372330"/>
                        <a:pt x="739639" y="384386"/>
                      </a:cubicBezTo>
                      <a:lnTo>
                        <a:pt x="739639" y="398785"/>
                      </a:lnTo>
                      <a:cubicBezTo>
                        <a:pt x="739639" y="410244"/>
                        <a:pt x="743248" y="420086"/>
                        <a:pt x="750466" y="428308"/>
                      </a:cubicBezTo>
                      <a:cubicBezTo>
                        <a:pt x="757684" y="436531"/>
                        <a:pt x="767172" y="440643"/>
                        <a:pt x="778930" y="440643"/>
                      </a:cubicBezTo>
                      <a:cubicBezTo>
                        <a:pt x="790613" y="440643"/>
                        <a:pt x="800100" y="435638"/>
                        <a:pt x="807393" y="425630"/>
                      </a:cubicBezTo>
                      <a:cubicBezTo>
                        <a:pt x="814686" y="415621"/>
                        <a:pt x="818332" y="402468"/>
                        <a:pt x="818332" y="386171"/>
                      </a:cubicBezTo>
                      <a:cubicBezTo>
                        <a:pt x="818332" y="371884"/>
                        <a:pt x="814983" y="360536"/>
                        <a:pt x="808286" y="352127"/>
                      </a:cubicBezTo>
                      <a:cubicBezTo>
                        <a:pt x="801589" y="343718"/>
                        <a:pt x="792659" y="339514"/>
                        <a:pt x="781497" y="339514"/>
                      </a:cubicBezTo>
                      <a:close/>
                      <a:moveTo>
                        <a:pt x="590922" y="339514"/>
                      </a:moveTo>
                      <a:cubicBezTo>
                        <a:pt x="580206" y="339514"/>
                        <a:pt x="571332" y="343104"/>
                        <a:pt x="564300" y="350285"/>
                      </a:cubicBezTo>
                      <a:cubicBezTo>
                        <a:pt x="557268" y="357466"/>
                        <a:pt x="552933" y="367754"/>
                        <a:pt x="551296" y="381149"/>
                      </a:cubicBezTo>
                      <a:lnTo>
                        <a:pt x="624743" y="381149"/>
                      </a:lnTo>
                      <a:cubicBezTo>
                        <a:pt x="624296" y="367977"/>
                        <a:pt x="621134" y="357745"/>
                        <a:pt x="615255" y="350453"/>
                      </a:cubicBezTo>
                      <a:cubicBezTo>
                        <a:pt x="609376" y="343160"/>
                        <a:pt x="601265" y="339514"/>
                        <a:pt x="590922" y="339514"/>
                      </a:cubicBezTo>
                      <a:close/>
                      <a:moveTo>
                        <a:pt x="476697" y="339514"/>
                      </a:moveTo>
                      <a:cubicBezTo>
                        <a:pt x="463377" y="339514"/>
                        <a:pt x="453070" y="343979"/>
                        <a:pt x="445778" y="352908"/>
                      </a:cubicBezTo>
                      <a:cubicBezTo>
                        <a:pt x="438485" y="361838"/>
                        <a:pt x="434839" y="372330"/>
                        <a:pt x="434839" y="384386"/>
                      </a:cubicBezTo>
                      <a:lnTo>
                        <a:pt x="434839" y="398785"/>
                      </a:lnTo>
                      <a:cubicBezTo>
                        <a:pt x="434839" y="410244"/>
                        <a:pt x="438448" y="420086"/>
                        <a:pt x="445666" y="428308"/>
                      </a:cubicBezTo>
                      <a:cubicBezTo>
                        <a:pt x="452884" y="436531"/>
                        <a:pt x="462372" y="440643"/>
                        <a:pt x="474130" y="440643"/>
                      </a:cubicBezTo>
                      <a:cubicBezTo>
                        <a:pt x="485813" y="440643"/>
                        <a:pt x="495300" y="435638"/>
                        <a:pt x="502593" y="425630"/>
                      </a:cubicBezTo>
                      <a:cubicBezTo>
                        <a:pt x="509886" y="415621"/>
                        <a:pt x="513532" y="402468"/>
                        <a:pt x="513532" y="386171"/>
                      </a:cubicBezTo>
                      <a:cubicBezTo>
                        <a:pt x="513532" y="371884"/>
                        <a:pt x="510183" y="360536"/>
                        <a:pt x="503486" y="352127"/>
                      </a:cubicBezTo>
                      <a:cubicBezTo>
                        <a:pt x="496789" y="343718"/>
                        <a:pt x="487859" y="339514"/>
                        <a:pt x="476697" y="339514"/>
                      </a:cubicBezTo>
                      <a:close/>
                      <a:moveTo>
                        <a:pt x="1922970" y="332928"/>
                      </a:moveTo>
                      <a:lnTo>
                        <a:pt x="1934467" y="332928"/>
                      </a:lnTo>
                      <a:lnTo>
                        <a:pt x="1968958" y="426020"/>
                      </a:lnTo>
                      <a:cubicBezTo>
                        <a:pt x="1969702" y="428029"/>
                        <a:pt x="1970223" y="429555"/>
                        <a:pt x="1970521" y="430597"/>
                      </a:cubicBezTo>
                      <a:cubicBezTo>
                        <a:pt x="1970819" y="432011"/>
                        <a:pt x="1971154" y="433276"/>
                        <a:pt x="1971526" y="434392"/>
                      </a:cubicBezTo>
                      <a:lnTo>
                        <a:pt x="1971972" y="434392"/>
                      </a:lnTo>
                      <a:lnTo>
                        <a:pt x="1974651" y="426690"/>
                      </a:lnTo>
                      <a:lnTo>
                        <a:pt x="2011486" y="332928"/>
                      </a:lnTo>
                      <a:lnTo>
                        <a:pt x="2022648" y="332928"/>
                      </a:lnTo>
                      <a:lnTo>
                        <a:pt x="1966949" y="470557"/>
                      </a:lnTo>
                      <a:cubicBezTo>
                        <a:pt x="1962782" y="480826"/>
                        <a:pt x="1958168" y="488454"/>
                        <a:pt x="1953108" y="493439"/>
                      </a:cubicBezTo>
                      <a:cubicBezTo>
                        <a:pt x="1948048" y="498425"/>
                        <a:pt x="1941537" y="500918"/>
                        <a:pt x="1933574" y="500918"/>
                      </a:cubicBezTo>
                      <a:cubicBezTo>
                        <a:pt x="1930226" y="500918"/>
                        <a:pt x="1927249" y="500397"/>
                        <a:pt x="1924645" y="499355"/>
                      </a:cubicBezTo>
                      <a:lnTo>
                        <a:pt x="1924645" y="489086"/>
                      </a:lnTo>
                      <a:cubicBezTo>
                        <a:pt x="1927324" y="490128"/>
                        <a:pt x="1930449" y="490649"/>
                        <a:pt x="1934021" y="490649"/>
                      </a:cubicBezTo>
                      <a:cubicBezTo>
                        <a:pt x="1943174" y="490649"/>
                        <a:pt x="1950392" y="484324"/>
                        <a:pt x="1955675" y="471673"/>
                      </a:cubicBezTo>
                      <a:lnTo>
                        <a:pt x="1966279" y="446335"/>
                      </a:lnTo>
                      <a:close/>
                      <a:moveTo>
                        <a:pt x="215020" y="332928"/>
                      </a:moveTo>
                      <a:lnTo>
                        <a:pt x="225289" y="332928"/>
                      </a:lnTo>
                      <a:lnTo>
                        <a:pt x="225289" y="447228"/>
                      </a:lnTo>
                      <a:lnTo>
                        <a:pt x="215020" y="447228"/>
                      </a:lnTo>
                      <a:close/>
                      <a:moveTo>
                        <a:pt x="48444" y="332928"/>
                      </a:moveTo>
                      <a:lnTo>
                        <a:pt x="59829" y="332928"/>
                      </a:lnTo>
                      <a:lnTo>
                        <a:pt x="86395" y="424123"/>
                      </a:lnTo>
                      <a:cubicBezTo>
                        <a:pt x="87065" y="426504"/>
                        <a:pt x="87586" y="429704"/>
                        <a:pt x="87958" y="433722"/>
                      </a:cubicBezTo>
                      <a:lnTo>
                        <a:pt x="88851" y="433722"/>
                      </a:lnTo>
                      <a:cubicBezTo>
                        <a:pt x="89000" y="431564"/>
                        <a:pt x="89707" y="428364"/>
                        <a:pt x="90972" y="424123"/>
                      </a:cubicBezTo>
                      <a:lnTo>
                        <a:pt x="119993" y="332928"/>
                      </a:lnTo>
                      <a:lnTo>
                        <a:pt x="127025" y="332928"/>
                      </a:lnTo>
                      <a:lnTo>
                        <a:pt x="152921" y="424123"/>
                      </a:lnTo>
                      <a:cubicBezTo>
                        <a:pt x="153517" y="426281"/>
                        <a:pt x="154038" y="429480"/>
                        <a:pt x="154484" y="433722"/>
                      </a:cubicBezTo>
                      <a:lnTo>
                        <a:pt x="155377" y="433722"/>
                      </a:lnTo>
                      <a:cubicBezTo>
                        <a:pt x="155377" y="431564"/>
                        <a:pt x="156010" y="428364"/>
                        <a:pt x="157275" y="424123"/>
                      </a:cubicBezTo>
                      <a:lnTo>
                        <a:pt x="184398" y="332928"/>
                      </a:lnTo>
                      <a:lnTo>
                        <a:pt x="195003" y="332928"/>
                      </a:lnTo>
                      <a:lnTo>
                        <a:pt x="159507" y="447228"/>
                      </a:lnTo>
                      <a:lnTo>
                        <a:pt x="149908" y="447228"/>
                      </a:lnTo>
                      <a:lnTo>
                        <a:pt x="125016" y="361057"/>
                      </a:lnTo>
                      <a:cubicBezTo>
                        <a:pt x="124346" y="358675"/>
                        <a:pt x="123751" y="355476"/>
                        <a:pt x="123230" y="351457"/>
                      </a:cubicBezTo>
                      <a:lnTo>
                        <a:pt x="122672" y="351457"/>
                      </a:lnTo>
                      <a:cubicBezTo>
                        <a:pt x="122523" y="353169"/>
                        <a:pt x="121779" y="356294"/>
                        <a:pt x="120440" y="360834"/>
                      </a:cubicBezTo>
                      <a:lnTo>
                        <a:pt x="92534" y="447228"/>
                      </a:lnTo>
                      <a:lnTo>
                        <a:pt x="82935" y="447228"/>
                      </a:lnTo>
                      <a:close/>
                      <a:moveTo>
                        <a:pt x="1286247" y="330696"/>
                      </a:moveTo>
                      <a:cubicBezTo>
                        <a:pt x="1290489" y="330696"/>
                        <a:pt x="1294284" y="331366"/>
                        <a:pt x="1297633" y="332705"/>
                      </a:cubicBezTo>
                      <a:lnTo>
                        <a:pt x="1297633" y="343644"/>
                      </a:lnTo>
                      <a:cubicBezTo>
                        <a:pt x="1294210" y="341188"/>
                        <a:pt x="1290191" y="339960"/>
                        <a:pt x="1285578" y="339960"/>
                      </a:cubicBezTo>
                      <a:cubicBezTo>
                        <a:pt x="1276574" y="339960"/>
                        <a:pt x="1269021" y="344611"/>
                        <a:pt x="1262919" y="353913"/>
                      </a:cubicBezTo>
                      <a:cubicBezTo>
                        <a:pt x="1256817" y="363215"/>
                        <a:pt x="1253766" y="376423"/>
                        <a:pt x="1253766" y="393538"/>
                      </a:cubicBezTo>
                      <a:lnTo>
                        <a:pt x="1253766" y="447228"/>
                      </a:lnTo>
                      <a:lnTo>
                        <a:pt x="1243720" y="447228"/>
                      </a:lnTo>
                      <a:lnTo>
                        <a:pt x="1243720" y="332928"/>
                      </a:lnTo>
                      <a:lnTo>
                        <a:pt x="1253766" y="332928"/>
                      </a:lnTo>
                      <a:lnTo>
                        <a:pt x="1253766" y="358266"/>
                      </a:lnTo>
                      <a:lnTo>
                        <a:pt x="1254212" y="358266"/>
                      </a:lnTo>
                      <a:cubicBezTo>
                        <a:pt x="1256817" y="349560"/>
                        <a:pt x="1260947" y="342788"/>
                        <a:pt x="1266602" y="337951"/>
                      </a:cubicBezTo>
                      <a:cubicBezTo>
                        <a:pt x="1272258" y="333114"/>
                        <a:pt x="1278806" y="330696"/>
                        <a:pt x="1286247" y="330696"/>
                      </a:cubicBezTo>
                      <a:close/>
                      <a:moveTo>
                        <a:pt x="1010023" y="330696"/>
                      </a:moveTo>
                      <a:cubicBezTo>
                        <a:pt x="1014264" y="330696"/>
                        <a:pt x="1018059" y="331366"/>
                        <a:pt x="1021408" y="332705"/>
                      </a:cubicBezTo>
                      <a:lnTo>
                        <a:pt x="1021408" y="343644"/>
                      </a:lnTo>
                      <a:cubicBezTo>
                        <a:pt x="1017985" y="341188"/>
                        <a:pt x="1013967" y="339960"/>
                        <a:pt x="1009353" y="339960"/>
                      </a:cubicBezTo>
                      <a:cubicBezTo>
                        <a:pt x="1000349" y="339960"/>
                        <a:pt x="992796" y="344611"/>
                        <a:pt x="986694" y="353913"/>
                      </a:cubicBezTo>
                      <a:cubicBezTo>
                        <a:pt x="980592" y="363215"/>
                        <a:pt x="977541" y="376423"/>
                        <a:pt x="977541" y="393538"/>
                      </a:cubicBezTo>
                      <a:lnTo>
                        <a:pt x="977541" y="447228"/>
                      </a:lnTo>
                      <a:lnTo>
                        <a:pt x="967495" y="447228"/>
                      </a:lnTo>
                      <a:lnTo>
                        <a:pt x="967495" y="332928"/>
                      </a:lnTo>
                      <a:lnTo>
                        <a:pt x="977541" y="332928"/>
                      </a:lnTo>
                      <a:lnTo>
                        <a:pt x="977541" y="358266"/>
                      </a:lnTo>
                      <a:lnTo>
                        <a:pt x="977987" y="358266"/>
                      </a:lnTo>
                      <a:cubicBezTo>
                        <a:pt x="980592" y="349560"/>
                        <a:pt x="984722" y="342788"/>
                        <a:pt x="990377" y="337951"/>
                      </a:cubicBezTo>
                      <a:cubicBezTo>
                        <a:pt x="996033" y="333114"/>
                        <a:pt x="1002581" y="330696"/>
                        <a:pt x="1010023" y="330696"/>
                      </a:cubicBezTo>
                      <a:close/>
                      <a:moveTo>
                        <a:pt x="1553393" y="330138"/>
                      </a:moveTo>
                      <a:cubicBezTo>
                        <a:pt x="1567606" y="330138"/>
                        <a:pt x="1578508" y="335123"/>
                        <a:pt x="1586098" y="345095"/>
                      </a:cubicBezTo>
                      <a:cubicBezTo>
                        <a:pt x="1593688" y="355066"/>
                        <a:pt x="1597483" y="368684"/>
                        <a:pt x="1597483" y="385948"/>
                      </a:cubicBezTo>
                      <a:lnTo>
                        <a:pt x="1597483" y="390525"/>
                      </a:lnTo>
                      <a:lnTo>
                        <a:pt x="1512874" y="390525"/>
                      </a:lnTo>
                      <a:cubicBezTo>
                        <a:pt x="1512874" y="406226"/>
                        <a:pt x="1516502" y="418504"/>
                        <a:pt x="1523758" y="427360"/>
                      </a:cubicBezTo>
                      <a:cubicBezTo>
                        <a:pt x="1531013" y="436215"/>
                        <a:pt x="1540966" y="440643"/>
                        <a:pt x="1553616" y="440643"/>
                      </a:cubicBezTo>
                      <a:cubicBezTo>
                        <a:pt x="1566415" y="440643"/>
                        <a:pt x="1578917" y="435917"/>
                        <a:pt x="1591121" y="426467"/>
                      </a:cubicBezTo>
                      <a:lnTo>
                        <a:pt x="1591121" y="437406"/>
                      </a:lnTo>
                      <a:cubicBezTo>
                        <a:pt x="1579289" y="445814"/>
                        <a:pt x="1566080" y="450019"/>
                        <a:pt x="1551495" y="450019"/>
                      </a:cubicBezTo>
                      <a:cubicBezTo>
                        <a:pt x="1536761" y="450019"/>
                        <a:pt x="1524855" y="444735"/>
                        <a:pt x="1515777" y="434169"/>
                      </a:cubicBezTo>
                      <a:cubicBezTo>
                        <a:pt x="1506698" y="423602"/>
                        <a:pt x="1502159" y="408682"/>
                        <a:pt x="1502159" y="389409"/>
                      </a:cubicBezTo>
                      <a:cubicBezTo>
                        <a:pt x="1502159" y="372740"/>
                        <a:pt x="1506903" y="358694"/>
                        <a:pt x="1516390" y="347272"/>
                      </a:cubicBezTo>
                      <a:cubicBezTo>
                        <a:pt x="1525878" y="335849"/>
                        <a:pt x="1538212" y="330138"/>
                        <a:pt x="1553393" y="330138"/>
                      </a:cubicBezTo>
                      <a:close/>
                      <a:moveTo>
                        <a:pt x="1365572" y="330138"/>
                      </a:moveTo>
                      <a:cubicBezTo>
                        <a:pt x="1373906" y="330138"/>
                        <a:pt x="1381031" y="332538"/>
                        <a:pt x="1386947" y="337337"/>
                      </a:cubicBezTo>
                      <a:cubicBezTo>
                        <a:pt x="1392863" y="342137"/>
                        <a:pt x="1396863" y="348444"/>
                        <a:pt x="1398946" y="356257"/>
                      </a:cubicBezTo>
                      <a:cubicBezTo>
                        <a:pt x="1402518" y="347997"/>
                        <a:pt x="1407634" y="341579"/>
                        <a:pt x="1414294" y="337002"/>
                      </a:cubicBezTo>
                      <a:cubicBezTo>
                        <a:pt x="1420954" y="332426"/>
                        <a:pt x="1428191" y="330138"/>
                        <a:pt x="1436005" y="330138"/>
                      </a:cubicBezTo>
                      <a:cubicBezTo>
                        <a:pt x="1461008" y="330138"/>
                        <a:pt x="1473509" y="345616"/>
                        <a:pt x="1473509" y="376572"/>
                      </a:cubicBezTo>
                      <a:lnTo>
                        <a:pt x="1473509" y="447228"/>
                      </a:lnTo>
                      <a:lnTo>
                        <a:pt x="1463240" y="447228"/>
                      </a:lnTo>
                      <a:lnTo>
                        <a:pt x="1463240" y="378470"/>
                      </a:lnTo>
                      <a:cubicBezTo>
                        <a:pt x="1463240" y="364108"/>
                        <a:pt x="1460989" y="354025"/>
                        <a:pt x="1456487" y="348220"/>
                      </a:cubicBezTo>
                      <a:cubicBezTo>
                        <a:pt x="1451985" y="342416"/>
                        <a:pt x="1444860" y="339514"/>
                        <a:pt x="1435112" y="339514"/>
                      </a:cubicBezTo>
                      <a:cubicBezTo>
                        <a:pt x="1426108" y="339514"/>
                        <a:pt x="1418331" y="343383"/>
                        <a:pt x="1411783" y="351122"/>
                      </a:cubicBezTo>
                      <a:cubicBezTo>
                        <a:pt x="1405234" y="358862"/>
                        <a:pt x="1401960" y="368573"/>
                        <a:pt x="1401960" y="380256"/>
                      </a:cubicBezTo>
                      <a:lnTo>
                        <a:pt x="1401960" y="447228"/>
                      </a:lnTo>
                      <a:lnTo>
                        <a:pt x="1391691" y="447228"/>
                      </a:lnTo>
                      <a:lnTo>
                        <a:pt x="1391691" y="377688"/>
                      </a:lnTo>
                      <a:cubicBezTo>
                        <a:pt x="1391691" y="352239"/>
                        <a:pt x="1382017" y="339514"/>
                        <a:pt x="1362670" y="339514"/>
                      </a:cubicBezTo>
                      <a:cubicBezTo>
                        <a:pt x="1353368" y="339514"/>
                        <a:pt x="1345629" y="343402"/>
                        <a:pt x="1339452" y="351178"/>
                      </a:cubicBezTo>
                      <a:cubicBezTo>
                        <a:pt x="1333276" y="358955"/>
                        <a:pt x="1330188" y="369019"/>
                        <a:pt x="1330188" y="381372"/>
                      </a:cubicBezTo>
                      <a:lnTo>
                        <a:pt x="1330188" y="447228"/>
                      </a:lnTo>
                      <a:lnTo>
                        <a:pt x="1319919" y="447228"/>
                      </a:lnTo>
                      <a:lnTo>
                        <a:pt x="1319919" y="332928"/>
                      </a:lnTo>
                      <a:lnTo>
                        <a:pt x="1330188" y="332928"/>
                      </a:lnTo>
                      <a:lnTo>
                        <a:pt x="1330188" y="351904"/>
                      </a:lnTo>
                      <a:lnTo>
                        <a:pt x="1330634" y="351904"/>
                      </a:lnTo>
                      <a:cubicBezTo>
                        <a:pt x="1338597" y="337393"/>
                        <a:pt x="1350242" y="330138"/>
                        <a:pt x="1365572" y="330138"/>
                      </a:cubicBezTo>
                      <a:close/>
                      <a:moveTo>
                        <a:pt x="1166999" y="330138"/>
                      </a:moveTo>
                      <a:cubicBezTo>
                        <a:pt x="1183296" y="330138"/>
                        <a:pt x="1196169" y="335458"/>
                        <a:pt x="1205620" y="346100"/>
                      </a:cubicBezTo>
                      <a:cubicBezTo>
                        <a:pt x="1215070" y="356741"/>
                        <a:pt x="1219796" y="371475"/>
                        <a:pt x="1219796" y="390301"/>
                      </a:cubicBezTo>
                      <a:cubicBezTo>
                        <a:pt x="1219796" y="408086"/>
                        <a:pt x="1214977" y="422486"/>
                        <a:pt x="1205341" y="433499"/>
                      </a:cubicBezTo>
                      <a:cubicBezTo>
                        <a:pt x="1195704" y="444512"/>
                        <a:pt x="1182514" y="450019"/>
                        <a:pt x="1165771" y="450019"/>
                      </a:cubicBezTo>
                      <a:cubicBezTo>
                        <a:pt x="1149102" y="450019"/>
                        <a:pt x="1135912" y="444531"/>
                        <a:pt x="1126201" y="433555"/>
                      </a:cubicBezTo>
                      <a:cubicBezTo>
                        <a:pt x="1116490" y="422579"/>
                        <a:pt x="1111635" y="408310"/>
                        <a:pt x="1111635" y="390748"/>
                      </a:cubicBezTo>
                      <a:cubicBezTo>
                        <a:pt x="1111635" y="371772"/>
                        <a:pt x="1116714" y="356927"/>
                        <a:pt x="1126871" y="346211"/>
                      </a:cubicBezTo>
                      <a:cubicBezTo>
                        <a:pt x="1137029" y="335496"/>
                        <a:pt x="1150405" y="330138"/>
                        <a:pt x="1166999" y="330138"/>
                      </a:cubicBezTo>
                      <a:close/>
                      <a:moveTo>
                        <a:pt x="896168" y="330138"/>
                      </a:moveTo>
                      <a:cubicBezTo>
                        <a:pt x="910381" y="330138"/>
                        <a:pt x="921283" y="335123"/>
                        <a:pt x="928873" y="345095"/>
                      </a:cubicBezTo>
                      <a:cubicBezTo>
                        <a:pt x="936463" y="355066"/>
                        <a:pt x="940258" y="368684"/>
                        <a:pt x="940258" y="385948"/>
                      </a:cubicBezTo>
                      <a:lnTo>
                        <a:pt x="940258" y="390525"/>
                      </a:lnTo>
                      <a:lnTo>
                        <a:pt x="855650" y="390525"/>
                      </a:lnTo>
                      <a:cubicBezTo>
                        <a:pt x="855650" y="406226"/>
                        <a:pt x="859277" y="418504"/>
                        <a:pt x="866533" y="427360"/>
                      </a:cubicBezTo>
                      <a:cubicBezTo>
                        <a:pt x="873788" y="436215"/>
                        <a:pt x="883741" y="440643"/>
                        <a:pt x="896391" y="440643"/>
                      </a:cubicBezTo>
                      <a:cubicBezTo>
                        <a:pt x="909190" y="440643"/>
                        <a:pt x="921692" y="435917"/>
                        <a:pt x="933896" y="426467"/>
                      </a:cubicBezTo>
                      <a:lnTo>
                        <a:pt x="933896" y="437406"/>
                      </a:lnTo>
                      <a:cubicBezTo>
                        <a:pt x="922064" y="445814"/>
                        <a:pt x="908856" y="450019"/>
                        <a:pt x="894270" y="450019"/>
                      </a:cubicBezTo>
                      <a:cubicBezTo>
                        <a:pt x="879536" y="450019"/>
                        <a:pt x="867630" y="444735"/>
                        <a:pt x="858552" y="434169"/>
                      </a:cubicBezTo>
                      <a:cubicBezTo>
                        <a:pt x="849473" y="423602"/>
                        <a:pt x="844934" y="408682"/>
                        <a:pt x="844934" y="389409"/>
                      </a:cubicBezTo>
                      <a:cubicBezTo>
                        <a:pt x="844934" y="372740"/>
                        <a:pt x="849678" y="358694"/>
                        <a:pt x="859166" y="347272"/>
                      </a:cubicBezTo>
                      <a:cubicBezTo>
                        <a:pt x="868653" y="335849"/>
                        <a:pt x="880988" y="330138"/>
                        <a:pt x="896168" y="330138"/>
                      </a:cubicBezTo>
                      <a:close/>
                      <a:moveTo>
                        <a:pt x="782836" y="330138"/>
                      </a:moveTo>
                      <a:cubicBezTo>
                        <a:pt x="797347" y="330138"/>
                        <a:pt x="808677" y="335142"/>
                        <a:pt x="816825" y="345151"/>
                      </a:cubicBezTo>
                      <a:cubicBezTo>
                        <a:pt x="824973" y="355159"/>
                        <a:pt x="829047" y="368759"/>
                        <a:pt x="829047" y="385948"/>
                      </a:cubicBezTo>
                      <a:cubicBezTo>
                        <a:pt x="829047" y="405073"/>
                        <a:pt x="824378" y="420532"/>
                        <a:pt x="815039" y="432327"/>
                      </a:cubicBezTo>
                      <a:cubicBezTo>
                        <a:pt x="805700" y="444121"/>
                        <a:pt x="793366" y="450019"/>
                        <a:pt x="778037" y="450019"/>
                      </a:cubicBezTo>
                      <a:cubicBezTo>
                        <a:pt x="760921" y="450019"/>
                        <a:pt x="748271" y="442317"/>
                        <a:pt x="740085" y="426913"/>
                      </a:cubicBezTo>
                      <a:lnTo>
                        <a:pt x="739639" y="426913"/>
                      </a:lnTo>
                      <a:lnTo>
                        <a:pt x="739639" y="499802"/>
                      </a:lnTo>
                      <a:lnTo>
                        <a:pt x="729370" y="499802"/>
                      </a:lnTo>
                      <a:lnTo>
                        <a:pt x="729370" y="332928"/>
                      </a:lnTo>
                      <a:lnTo>
                        <a:pt x="739639" y="332928"/>
                      </a:lnTo>
                      <a:lnTo>
                        <a:pt x="739639" y="356480"/>
                      </a:lnTo>
                      <a:lnTo>
                        <a:pt x="740085" y="356480"/>
                      </a:lnTo>
                      <a:cubicBezTo>
                        <a:pt x="744178" y="348071"/>
                        <a:pt x="750038" y="341579"/>
                        <a:pt x="757666" y="337002"/>
                      </a:cubicBezTo>
                      <a:cubicBezTo>
                        <a:pt x="765293" y="332426"/>
                        <a:pt x="773683" y="330138"/>
                        <a:pt x="782836" y="330138"/>
                      </a:cubicBezTo>
                      <a:close/>
                      <a:moveTo>
                        <a:pt x="591368" y="330138"/>
                      </a:moveTo>
                      <a:cubicBezTo>
                        <a:pt x="605581" y="330138"/>
                        <a:pt x="616483" y="335123"/>
                        <a:pt x="624073" y="345095"/>
                      </a:cubicBezTo>
                      <a:cubicBezTo>
                        <a:pt x="631663" y="355066"/>
                        <a:pt x="635458" y="368684"/>
                        <a:pt x="635458" y="385948"/>
                      </a:cubicBezTo>
                      <a:lnTo>
                        <a:pt x="635458" y="390525"/>
                      </a:lnTo>
                      <a:lnTo>
                        <a:pt x="550850" y="390525"/>
                      </a:lnTo>
                      <a:cubicBezTo>
                        <a:pt x="550850" y="406226"/>
                        <a:pt x="554477" y="418504"/>
                        <a:pt x="561733" y="427360"/>
                      </a:cubicBezTo>
                      <a:cubicBezTo>
                        <a:pt x="568988" y="436215"/>
                        <a:pt x="578941" y="440643"/>
                        <a:pt x="591591" y="440643"/>
                      </a:cubicBezTo>
                      <a:cubicBezTo>
                        <a:pt x="604390" y="440643"/>
                        <a:pt x="616892" y="435917"/>
                        <a:pt x="629096" y="426467"/>
                      </a:cubicBezTo>
                      <a:lnTo>
                        <a:pt x="629096" y="437406"/>
                      </a:lnTo>
                      <a:cubicBezTo>
                        <a:pt x="617264" y="445814"/>
                        <a:pt x="604056" y="450019"/>
                        <a:pt x="589470" y="450019"/>
                      </a:cubicBezTo>
                      <a:cubicBezTo>
                        <a:pt x="574736" y="450019"/>
                        <a:pt x="562830" y="444735"/>
                        <a:pt x="553752" y="434169"/>
                      </a:cubicBezTo>
                      <a:cubicBezTo>
                        <a:pt x="544673" y="423602"/>
                        <a:pt x="540134" y="408682"/>
                        <a:pt x="540134" y="389409"/>
                      </a:cubicBezTo>
                      <a:cubicBezTo>
                        <a:pt x="540134" y="372740"/>
                        <a:pt x="544878" y="358694"/>
                        <a:pt x="554366" y="347272"/>
                      </a:cubicBezTo>
                      <a:cubicBezTo>
                        <a:pt x="563853" y="335849"/>
                        <a:pt x="576188" y="330138"/>
                        <a:pt x="591368" y="330138"/>
                      </a:cubicBezTo>
                      <a:close/>
                      <a:moveTo>
                        <a:pt x="2163737" y="301116"/>
                      </a:moveTo>
                      <a:cubicBezTo>
                        <a:pt x="2162472" y="306028"/>
                        <a:pt x="2161244" y="310009"/>
                        <a:pt x="2160054" y="313060"/>
                      </a:cubicBezTo>
                      <a:lnTo>
                        <a:pt x="2133153" y="387288"/>
                      </a:lnTo>
                      <a:lnTo>
                        <a:pt x="2194879" y="387288"/>
                      </a:lnTo>
                      <a:lnTo>
                        <a:pt x="2167867" y="313283"/>
                      </a:lnTo>
                      <a:cubicBezTo>
                        <a:pt x="2167048" y="311050"/>
                        <a:pt x="2166379" y="308855"/>
                        <a:pt x="2165858" y="306697"/>
                      </a:cubicBezTo>
                      <a:cubicBezTo>
                        <a:pt x="2165337" y="304837"/>
                        <a:pt x="2164779" y="302977"/>
                        <a:pt x="2164184" y="301116"/>
                      </a:cubicBezTo>
                      <a:close/>
                      <a:moveTo>
                        <a:pt x="2255602" y="287164"/>
                      </a:moveTo>
                      <a:lnTo>
                        <a:pt x="2266653" y="287164"/>
                      </a:lnTo>
                      <a:lnTo>
                        <a:pt x="2266653" y="447228"/>
                      </a:lnTo>
                      <a:lnTo>
                        <a:pt x="2255602" y="447228"/>
                      </a:lnTo>
                      <a:close/>
                      <a:moveTo>
                        <a:pt x="2159160" y="287164"/>
                      </a:moveTo>
                      <a:lnTo>
                        <a:pt x="2169653" y="287164"/>
                      </a:lnTo>
                      <a:lnTo>
                        <a:pt x="2229370" y="447228"/>
                      </a:lnTo>
                      <a:lnTo>
                        <a:pt x="2216980" y="447228"/>
                      </a:lnTo>
                      <a:lnTo>
                        <a:pt x="2198674" y="397445"/>
                      </a:lnTo>
                      <a:lnTo>
                        <a:pt x="2129246" y="397445"/>
                      </a:lnTo>
                      <a:lnTo>
                        <a:pt x="2110940" y="447228"/>
                      </a:lnTo>
                      <a:lnTo>
                        <a:pt x="2098774" y="447228"/>
                      </a:lnTo>
                      <a:close/>
                      <a:moveTo>
                        <a:pt x="220043" y="287164"/>
                      </a:moveTo>
                      <a:cubicBezTo>
                        <a:pt x="222350" y="287164"/>
                        <a:pt x="224377" y="287908"/>
                        <a:pt x="226126" y="289396"/>
                      </a:cubicBezTo>
                      <a:cubicBezTo>
                        <a:pt x="227875" y="290884"/>
                        <a:pt x="228749" y="292893"/>
                        <a:pt x="228749" y="295424"/>
                      </a:cubicBezTo>
                      <a:cubicBezTo>
                        <a:pt x="228749" y="297805"/>
                        <a:pt x="227893" y="299851"/>
                        <a:pt x="226182" y="301563"/>
                      </a:cubicBezTo>
                      <a:cubicBezTo>
                        <a:pt x="224470" y="303274"/>
                        <a:pt x="222424" y="304130"/>
                        <a:pt x="220043" y="304130"/>
                      </a:cubicBezTo>
                      <a:cubicBezTo>
                        <a:pt x="217810" y="304130"/>
                        <a:pt x="215838" y="303311"/>
                        <a:pt x="214127" y="301674"/>
                      </a:cubicBezTo>
                      <a:cubicBezTo>
                        <a:pt x="212415" y="300037"/>
                        <a:pt x="211560" y="297954"/>
                        <a:pt x="211560" y="295424"/>
                      </a:cubicBezTo>
                      <a:cubicBezTo>
                        <a:pt x="211560" y="292968"/>
                        <a:pt x="212434" y="290977"/>
                        <a:pt x="214183" y="289452"/>
                      </a:cubicBezTo>
                      <a:cubicBezTo>
                        <a:pt x="215931" y="287926"/>
                        <a:pt x="217885" y="287164"/>
                        <a:pt x="220043" y="287164"/>
                      </a:cubicBezTo>
                      <a:close/>
                      <a:moveTo>
                        <a:pt x="1815220" y="278011"/>
                      </a:moveTo>
                      <a:lnTo>
                        <a:pt x="1825489" y="278011"/>
                      </a:lnTo>
                      <a:lnTo>
                        <a:pt x="1825489" y="356480"/>
                      </a:lnTo>
                      <a:lnTo>
                        <a:pt x="1825935" y="356480"/>
                      </a:lnTo>
                      <a:cubicBezTo>
                        <a:pt x="1830028" y="348071"/>
                        <a:pt x="1835888" y="341579"/>
                        <a:pt x="1843516" y="337002"/>
                      </a:cubicBezTo>
                      <a:cubicBezTo>
                        <a:pt x="1851143" y="332426"/>
                        <a:pt x="1859533" y="330138"/>
                        <a:pt x="1868686" y="330138"/>
                      </a:cubicBezTo>
                      <a:cubicBezTo>
                        <a:pt x="1883197" y="330138"/>
                        <a:pt x="1894527" y="335142"/>
                        <a:pt x="1902675" y="345151"/>
                      </a:cubicBezTo>
                      <a:cubicBezTo>
                        <a:pt x="1910823" y="355159"/>
                        <a:pt x="1914897" y="368759"/>
                        <a:pt x="1914897" y="385948"/>
                      </a:cubicBezTo>
                      <a:cubicBezTo>
                        <a:pt x="1914897" y="405073"/>
                        <a:pt x="1910172" y="420532"/>
                        <a:pt x="1900721" y="432327"/>
                      </a:cubicBezTo>
                      <a:cubicBezTo>
                        <a:pt x="1891271" y="444121"/>
                        <a:pt x="1878993" y="450019"/>
                        <a:pt x="1863887" y="450019"/>
                      </a:cubicBezTo>
                      <a:cubicBezTo>
                        <a:pt x="1846771" y="450019"/>
                        <a:pt x="1834121" y="442317"/>
                        <a:pt x="1825935" y="426913"/>
                      </a:cubicBezTo>
                      <a:lnTo>
                        <a:pt x="1825489" y="426913"/>
                      </a:lnTo>
                      <a:lnTo>
                        <a:pt x="1825489" y="447228"/>
                      </a:lnTo>
                      <a:lnTo>
                        <a:pt x="1815220" y="447228"/>
                      </a:lnTo>
                      <a:close/>
                      <a:moveTo>
                        <a:pt x="1705868" y="278011"/>
                      </a:moveTo>
                      <a:lnTo>
                        <a:pt x="1716137" y="278011"/>
                      </a:lnTo>
                      <a:lnTo>
                        <a:pt x="1716137" y="447228"/>
                      </a:lnTo>
                      <a:lnTo>
                        <a:pt x="1705868" y="447228"/>
                      </a:lnTo>
                      <a:lnTo>
                        <a:pt x="1705868" y="426467"/>
                      </a:lnTo>
                      <a:lnTo>
                        <a:pt x="1705422" y="426467"/>
                      </a:lnTo>
                      <a:cubicBezTo>
                        <a:pt x="1701701" y="433685"/>
                        <a:pt x="1696195" y="439415"/>
                        <a:pt x="1688902" y="443656"/>
                      </a:cubicBezTo>
                      <a:cubicBezTo>
                        <a:pt x="1681609" y="447898"/>
                        <a:pt x="1673387" y="450019"/>
                        <a:pt x="1664234" y="450019"/>
                      </a:cubicBezTo>
                      <a:cubicBezTo>
                        <a:pt x="1650169" y="450019"/>
                        <a:pt x="1638691" y="444884"/>
                        <a:pt x="1629799" y="434615"/>
                      </a:cubicBezTo>
                      <a:cubicBezTo>
                        <a:pt x="1620906" y="424346"/>
                        <a:pt x="1616460" y="410170"/>
                        <a:pt x="1616460" y="392087"/>
                      </a:cubicBezTo>
                      <a:cubicBezTo>
                        <a:pt x="1616460" y="373633"/>
                        <a:pt x="1621315" y="358694"/>
                        <a:pt x="1631026" y="347272"/>
                      </a:cubicBezTo>
                      <a:cubicBezTo>
                        <a:pt x="1640737" y="335849"/>
                        <a:pt x="1653332" y="330138"/>
                        <a:pt x="1668810" y="330138"/>
                      </a:cubicBezTo>
                      <a:cubicBezTo>
                        <a:pt x="1685925" y="330138"/>
                        <a:pt x="1698129" y="337170"/>
                        <a:pt x="1705422" y="351234"/>
                      </a:cubicBezTo>
                      <a:lnTo>
                        <a:pt x="1705868" y="351234"/>
                      </a:lnTo>
                      <a:close/>
                      <a:moveTo>
                        <a:pt x="424570" y="278011"/>
                      </a:moveTo>
                      <a:lnTo>
                        <a:pt x="434839" y="278011"/>
                      </a:lnTo>
                      <a:lnTo>
                        <a:pt x="434839" y="356480"/>
                      </a:lnTo>
                      <a:lnTo>
                        <a:pt x="435285" y="356480"/>
                      </a:lnTo>
                      <a:cubicBezTo>
                        <a:pt x="439378" y="348071"/>
                        <a:pt x="445238" y="341579"/>
                        <a:pt x="452866" y="337002"/>
                      </a:cubicBezTo>
                      <a:cubicBezTo>
                        <a:pt x="460493" y="332426"/>
                        <a:pt x="468883" y="330138"/>
                        <a:pt x="478036" y="330138"/>
                      </a:cubicBezTo>
                      <a:cubicBezTo>
                        <a:pt x="492547" y="330138"/>
                        <a:pt x="503877" y="335142"/>
                        <a:pt x="512025" y="345151"/>
                      </a:cubicBezTo>
                      <a:cubicBezTo>
                        <a:pt x="520173" y="355159"/>
                        <a:pt x="524247" y="368759"/>
                        <a:pt x="524247" y="385948"/>
                      </a:cubicBezTo>
                      <a:cubicBezTo>
                        <a:pt x="524247" y="405073"/>
                        <a:pt x="519522" y="420532"/>
                        <a:pt x="510072" y="432327"/>
                      </a:cubicBezTo>
                      <a:cubicBezTo>
                        <a:pt x="500621" y="444121"/>
                        <a:pt x="488343" y="450019"/>
                        <a:pt x="473237" y="450019"/>
                      </a:cubicBezTo>
                      <a:cubicBezTo>
                        <a:pt x="456121" y="450019"/>
                        <a:pt x="443471" y="442317"/>
                        <a:pt x="435285" y="426913"/>
                      </a:cubicBezTo>
                      <a:lnTo>
                        <a:pt x="434839" y="426913"/>
                      </a:lnTo>
                      <a:lnTo>
                        <a:pt x="434839" y="447228"/>
                      </a:lnTo>
                      <a:lnTo>
                        <a:pt x="424570" y="447228"/>
                      </a:lnTo>
                      <a:close/>
                      <a:moveTo>
                        <a:pt x="310270" y="278011"/>
                      </a:moveTo>
                      <a:lnTo>
                        <a:pt x="320539" y="278011"/>
                      </a:lnTo>
                      <a:lnTo>
                        <a:pt x="320539" y="447228"/>
                      </a:lnTo>
                      <a:lnTo>
                        <a:pt x="310270" y="447228"/>
                      </a:lnTo>
                      <a:close/>
                      <a:moveTo>
                        <a:pt x="262645" y="278011"/>
                      </a:moveTo>
                      <a:lnTo>
                        <a:pt x="272914" y="278011"/>
                      </a:lnTo>
                      <a:lnTo>
                        <a:pt x="272914" y="447228"/>
                      </a:lnTo>
                      <a:lnTo>
                        <a:pt x="262645" y="447228"/>
                      </a:lnTo>
                      <a:close/>
                      <a:moveTo>
                        <a:pt x="1091171" y="276225"/>
                      </a:moveTo>
                      <a:cubicBezTo>
                        <a:pt x="1096008" y="276225"/>
                        <a:pt x="1100026" y="276932"/>
                        <a:pt x="1103226" y="278346"/>
                      </a:cubicBezTo>
                      <a:lnTo>
                        <a:pt x="1103226" y="288838"/>
                      </a:lnTo>
                      <a:cubicBezTo>
                        <a:pt x="1100473" y="286680"/>
                        <a:pt x="1096306" y="285601"/>
                        <a:pt x="1090725" y="285601"/>
                      </a:cubicBezTo>
                      <a:cubicBezTo>
                        <a:pt x="1076660" y="285601"/>
                        <a:pt x="1069628" y="295051"/>
                        <a:pt x="1069628" y="313953"/>
                      </a:cubicBezTo>
                      <a:lnTo>
                        <a:pt x="1069628" y="332928"/>
                      </a:lnTo>
                      <a:lnTo>
                        <a:pt x="1099877" y="332928"/>
                      </a:lnTo>
                      <a:lnTo>
                        <a:pt x="1099877" y="342304"/>
                      </a:lnTo>
                      <a:lnTo>
                        <a:pt x="1069628" y="342304"/>
                      </a:lnTo>
                      <a:lnTo>
                        <a:pt x="1069628" y="447228"/>
                      </a:lnTo>
                      <a:lnTo>
                        <a:pt x="1059359" y="447228"/>
                      </a:lnTo>
                      <a:lnTo>
                        <a:pt x="1059359" y="342304"/>
                      </a:lnTo>
                      <a:lnTo>
                        <a:pt x="1038821" y="342304"/>
                      </a:lnTo>
                      <a:lnTo>
                        <a:pt x="1038821" y="332928"/>
                      </a:lnTo>
                      <a:lnTo>
                        <a:pt x="1059359" y="332928"/>
                      </a:lnTo>
                      <a:lnTo>
                        <a:pt x="1059359" y="313060"/>
                      </a:lnTo>
                      <a:cubicBezTo>
                        <a:pt x="1059359" y="301005"/>
                        <a:pt x="1062391" y="291852"/>
                        <a:pt x="1068456" y="285601"/>
                      </a:cubicBezTo>
                      <a:cubicBezTo>
                        <a:pt x="1074521" y="279350"/>
                        <a:pt x="1082093" y="276225"/>
                        <a:pt x="1091171" y="276225"/>
                      </a:cubicBezTo>
                      <a:close/>
                      <a:moveTo>
                        <a:pt x="1797807" y="109500"/>
                      </a:moveTo>
                      <a:lnTo>
                        <a:pt x="1766330" y="114076"/>
                      </a:lnTo>
                      <a:cubicBezTo>
                        <a:pt x="1754349" y="115788"/>
                        <a:pt x="1745940" y="118560"/>
                        <a:pt x="1741103" y="122392"/>
                      </a:cubicBezTo>
                      <a:cubicBezTo>
                        <a:pt x="1736267" y="126225"/>
                        <a:pt x="1733848" y="132457"/>
                        <a:pt x="1733848" y="141089"/>
                      </a:cubicBezTo>
                      <a:cubicBezTo>
                        <a:pt x="1733848" y="147860"/>
                        <a:pt x="1736099" y="153442"/>
                        <a:pt x="1740601" y="157832"/>
                      </a:cubicBezTo>
                      <a:cubicBezTo>
                        <a:pt x="1745103" y="162222"/>
                        <a:pt x="1751373" y="164418"/>
                        <a:pt x="1759409" y="164418"/>
                      </a:cubicBezTo>
                      <a:cubicBezTo>
                        <a:pt x="1770423" y="164418"/>
                        <a:pt x="1779575" y="160343"/>
                        <a:pt x="1786868" y="152195"/>
                      </a:cubicBezTo>
                      <a:cubicBezTo>
                        <a:pt x="1794161" y="144047"/>
                        <a:pt x="1797807" y="133536"/>
                        <a:pt x="1797807" y="120662"/>
                      </a:cubicBezTo>
                      <a:close/>
                      <a:moveTo>
                        <a:pt x="1426332" y="109500"/>
                      </a:moveTo>
                      <a:lnTo>
                        <a:pt x="1394855" y="114076"/>
                      </a:lnTo>
                      <a:cubicBezTo>
                        <a:pt x="1382874" y="115788"/>
                        <a:pt x="1374465" y="118560"/>
                        <a:pt x="1369628" y="122392"/>
                      </a:cubicBezTo>
                      <a:cubicBezTo>
                        <a:pt x="1364791" y="126225"/>
                        <a:pt x="1362373" y="132457"/>
                        <a:pt x="1362373" y="141089"/>
                      </a:cubicBezTo>
                      <a:cubicBezTo>
                        <a:pt x="1362373" y="147860"/>
                        <a:pt x="1364624" y="153442"/>
                        <a:pt x="1369126" y="157832"/>
                      </a:cubicBezTo>
                      <a:cubicBezTo>
                        <a:pt x="1373628" y="162222"/>
                        <a:pt x="1379897" y="164418"/>
                        <a:pt x="1387934" y="164418"/>
                      </a:cubicBezTo>
                      <a:cubicBezTo>
                        <a:pt x="1398947" y="164418"/>
                        <a:pt x="1408101" y="160343"/>
                        <a:pt x="1415393" y="152195"/>
                      </a:cubicBezTo>
                      <a:cubicBezTo>
                        <a:pt x="1422686" y="144047"/>
                        <a:pt x="1426332" y="133536"/>
                        <a:pt x="1426332" y="120662"/>
                      </a:cubicBezTo>
                      <a:close/>
                      <a:moveTo>
                        <a:pt x="350379" y="101017"/>
                      </a:moveTo>
                      <a:cubicBezTo>
                        <a:pt x="341896" y="101017"/>
                        <a:pt x="335161" y="103919"/>
                        <a:pt x="330176" y="109723"/>
                      </a:cubicBezTo>
                      <a:cubicBezTo>
                        <a:pt x="325190" y="115528"/>
                        <a:pt x="322697" y="123453"/>
                        <a:pt x="322697" y="133499"/>
                      </a:cubicBezTo>
                      <a:cubicBezTo>
                        <a:pt x="322697" y="143098"/>
                        <a:pt x="325097" y="150725"/>
                        <a:pt x="329897" y="156381"/>
                      </a:cubicBezTo>
                      <a:cubicBezTo>
                        <a:pt x="334696" y="162036"/>
                        <a:pt x="341301" y="164864"/>
                        <a:pt x="349709" y="164864"/>
                      </a:cubicBezTo>
                      <a:cubicBezTo>
                        <a:pt x="358267" y="164864"/>
                        <a:pt x="364946" y="161981"/>
                        <a:pt x="369745" y="156213"/>
                      </a:cubicBezTo>
                      <a:cubicBezTo>
                        <a:pt x="374545" y="150446"/>
                        <a:pt x="376945" y="142651"/>
                        <a:pt x="376945" y="132829"/>
                      </a:cubicBezTo>
                      <a:cubicBezTo>
                        <a:pt x="376945" y="122336"/>
                        <a:pt x="374564" y="114411"/>
                        <a:pt x="369801" y="109054"/>
                      </a:cubicBezTo>
                      <a:cubicBezTo>
                        <a:pt x="365039" y="103696"/>
                        <a:pt x="358565" y="101017"/>
                        <a:pt x="350379" y="101017"/>
                      </a:cubicBezTo>
                      <a:close/>
                      <a:moveTo>
                        <a:pt x="350602" y="91864"/>
                      </a:moveTo>
                      <a:cubicBezTo>
                        <a:pt x="361764" y="91864"/>
                        <a:pt x="370620" y="95510"/>
                        <a:pt x="377168" y="102803"/>
                      </a:cubicBezTo>
                      <a:cubicBezTo>
                        <a:pt x="383717" y="110095"/>
                        <a:pt x="386991" y="120178"/>
                        <a:pt x="386991" y="133052"/>
                      </a:cubicBezTo>
                      <a:cubicBezTo>
                        <a:pt x="386991" y="144661"/>
                        <a:pt x="383586" y="154353"/>
                        <a:pt x="376777" y="162129"/>
                      </a:cubicBezTo>
                      <a:cubicBezTo>
                        <a:pt x="369969" y="169906"/>
                        <a:pt x="360871" y="173794"/>
                        <a:pt x="349486" y="173794"/>
                      </a:cubicBezTo>
                      <a:cubicBezTo>
                        <a:pt x="338101" y="173794"/>
                        <a:pt x="329078" y="170036"/>
                        <a:pt x="322418" y="162520"/>
                      </a:cubicBezTo>
                      <a:cubicBezTo>
                        <a:pt x="315758" y="155004"/>
                        <a:pt x="312428" y="145256"/>
                        <a:pt x="312428" y="133275"/>
                      </a:cubicBezTo>
                      <a:cubicBezTo>
                        <a:pt x="312428" y="120104"/>
                        <a:pt x="316000" y="109909"/>
                        <a:pt x="323144" y="102691"/>
                      </a:cubicBezTo>
                      <a:cubicBezTo>
                        <a:pt x="330287" y="95473"/>
                        <a:pt x="339440" y="91864"/>
                        <a:pt x="350602" y="91864"/>
                      </a:cubicBezTo>
                      <a:close/>
                      <a:moveTo>
                        <a:pt x="2011487" y="63289"/>
                      </a:moveTo>
                      <a:cubicBezTo>
                        <a:pt x="1999506" y="63289"/>
                        <a:pt x="1989609" y="67884"/>
                        <a:pt x="1981796" y="77074"/>
                      </a:cubicBezTo>
                      <a:cubicBezTo>
                        <a:pt x="1973982" y="86264"/>
                        <a:pt x="1970075" y="98896"/>
                        <a:pt x="1970075" y="114969"/>
                      </a:cubicBezTo>
                      <a:cubicBezTo>
                        <a:pt x="1970075" y="130745"/>
                        <a:pt x="1973591" y="142931"/>
                        <a:pt x="1980624" y="151525"/>
                      </a:cubicBezTo>
                      <a:cubicBezTo>
                        <a:pt x="1987656" y="160120"/>
                        <a:pt x="1996716" y="164418"/>
                        <a:pt x="2007803" y="164418"/>
                      </a:cubicBezTo>
                      <a:cubicBezTo>
                        <a:pt x="2020826" y="164418"/>
                        <a:pt x="2030909" y="160381"/>
                        <a:pt x="2038053" y="152307"/>
                      </a:cubicBezTo>
                      <a:cubicBezTo>
                        <a:pt x="2045197" y="144233"/>
                        <a:pt x="2048768" y="134392"/>
                        <a:pt x="2048768" y="122783"/>
                      </a:cubicBezTo>
                      <a:lnTo>
                        <a:pt x="2048768" y="101463"/>
                      </a:lnTo>
                      <a:cubicBezTo>
                        <a:pt x="2048768" y="90822"/>
                        <a:pt x="2045401" y="81799"/>
                        <a:pt x="2038667" y="74395"/>
                      </a:cubicBezTo>
                      <a:cubicBezTo>
                        <a:pt x="2031932" y="66991"/>
                        <a:pt x="2022872" y="63289"/>
                        <a:pt x="2011487" y="63289"/>
                      </a:cubicBezTo>
                      <a:close/>
                      <a:moveTo>
                        <a:pt x="1581521" y="63289"/>
                      </a:moveTo>
                      <a:cubicBezTo>
                        <a:pt x="1570806" y="63289"/>
                        <a:pt x="1561932" y="66879"/>
                        <a:pt x="1554900" y="74060"/>
                      </a:cubicBezTo>
                      <a:cubicBezTo>
                        <a:pt x="1547868" y="81241"/>
                        <a:pt x="1543533" y="91529"/>
                        <a:pt x="1541896" y="104924"/>
                      </a:cubicBezTo>
                      <a:lnTo>
                        <a:pt x="1615343" y="104924"/>
                      </a:lnTo>
                      <a:cubicBezTo>
                        <a:pt x="1614896" y="91752"/>
                        <a:pt x="1611734" y="81520"/>
                        <a:pt x="1605855" y="74228"/>
                      </a:cubicBezTo>
                      <a:cubicBezTo>
                        <a:pt x="1599976" y="66935"/>
                        <a:pt x="1591865" y="63289"/>
                        <a:pt x="1581521" y="63289"/>
                      </a:cubicBezTo>
                      <a:close/>
                      <a:moveTo>
                        <a:pt x="1204652" y="63289"/>
                      </a:moveTo>
                      <a:cubicBezTo>
                        <a:pt x="1191183" y="63289"/>
                        <a:pt x="1180449" y="67828"/>
                        <a:pt x="1172450" y="76907"/>
                      </a:cubicBezTo>
                      <a:cubicBezTo>
                        <a:pt x="1164450" y="85985"/>
                        <a:pt x="1160451" y="98598"/>
                        <a:pt x="1160451" y="114746"/>
                      </a:cubicBezTo>
                      <a:cubicBezTo>
                        <a:pt x="1160451" y="129703"/>
                        <a:pt x="1164357" y="141721"/>
                        <a:pt x="1172171" y="150800"/>
                      </a:cubicBezTo>
                      <a:cubicBezTo>
                        <a:pt x="1179984" y="159878"/>
                        <a:pt x="1190663" y="164418"/>
                        <a:pt x="1204206" y="164418"/>
                      </a:cubicBezTo>
                      <a:cubicBezTo>
                        <a:pt x="1217973" y="164418"/>
                        <a:pt x="1228577" y="159953"/>
                        <a:pt x="1236018" y="151023"/>
                      </a:cubicBezTo>
                      <a:cubicBezTo>
                        <a:pt x="1243459" y="142093"/>
                        <a:pt x="1247180" y="129703"/>
                        <a:pt x="1247180" y="113853"/>
                      </a:cubicBezTo>
                      <a:cubicBezTo>
                        <a:pt x="1247180" y="97557"/>
                        <a:pt x="1243478" y="85055"/>
                        <a:pt x="1236074" y="76349"/>
                      </a:cubicBezTo>
                      <a:cubicBezTo>
                        <a:pt x="1228669" y="67642"/>
                        <a:pt x="1218196" y="63289"/>
                        <a:pt x="1204652" y="63289"/>
                      </a:cubicBezTo>
                      <a:close/>
                      <a:moveTo>
                        <a:pt x="1086297" y="63289"/>
                      </a:moveTo>
                      <a:cubicBezTo>
                        <a:pt x="1072977" y="63289"/>
                        <a:pt x="1062671" y="67754"/>
                        <a:pt x="1055378" y="76683"/>
                      </a:cubicBezTo>
                      <a:cubicBezTo>
                        <a:pt x="1048085" y="85613"/>
                        <a:pt x="1044439" y="96105"/>
                        <a:pt x="1044439" y="108161"/>
                      </a:cubicBezTo>
                      <a:lnTo>
                        <a:pt x="1044439" y="122560"/>
                      </a:lnTo>
                      <a:cubicBezTo>
                        <a:pt x="1044439" y="134019"/>
                        <a:pt x="1048048" y="143861"/>
                        <a:pt x="1055266" y="152083"/>
                      </a:cubicBezTo>
                      <a:cubicBezTo>
                        <a:pt x="1062485" y="160306"/>
                        <a:pt x="1071972" y="164418"/>
                        <a:pt x="1083730" y="164418"/>
                      </a:cubicBezTo>
                      <a:cubicBezTo>
                        <a:pt x="1095413" y="164418"/>
                        <a:pt x="1104901" y="159413"/>
                        <a:pt x="1112193" y="149405"/>
                      </a:cubicBezTo>
                      <a:cubicBezTo>
                        <a:pt x="1119486" y="139396"/>
                        <a:pt x="1123132" y="126243"/>
                        <a:pt x="1123132" y="109947"/>
                      </a:cubicBezTo>
                      <a:cubicBezTo>
                        <a:pt x="1123132" y="95659"/>
                        <a:pt x="1119783" y="84311"/>
                        <a:pt x="1113086" y="75902"/>
                      </a:cubicBezTo>
                      <a:cubicBezTo>
                        <a:pt x="1106389" y="67493"/>
                        <a:pt x="1097459" y="63289"/>
                        <a:pt x="1086297" y="63289"/>
                      </a:cubicBezTo>
                      <a:close/>
                      <a:moveTo>
                        <a:pt x="880803" y="63289"/>
                      </a:moveTo>
                      <a:cubicBezTo>
                        <a:pt x="867334" y="63289"/>
                        <a:pt x="856599" y="67828"/>
                        <a:pt x="848600" y="76907"/>
                      </a:cubicBezTo>
                      <a:cubicBezTo>
                        <a:pt x="840600" y="85985"/>
                        <a:pt x="836601" y="98598"/>
                        <a:pt x="836601" y="114746"/>
                      </a:cubicBezTo>
                      <a:cubicBezTo>
                        <a:pt x="836601" y="129703"/>
                        <a:pt x="840507" y="141721"/>
                        <a:pt x="848321" y="150800"/>
                      </a:cubicBezTo>
                      <a:cubicBezTo>
                        <a:pt x="856134" y="159878"/>
                        <a:pt x="866813" y="164418"/>
                        <a:pt x="880356" y="164418"/>
                      </a:cubicBezTo>
                      <a:cubicBezTo>
                        <a:pt x="894123" y="164418"/>
                        <a:pt x="904727" y="159953"/>
                        <a:pt x="912168" y="151023"/>
                      </a:cubicBezTo>
                      <a:cubicBezTo>
                        <a:pt x="919609" y="142093"/>
                        <a:pt x="923330" y="129703"/>
                        <a:pt x="923330" y="113853"/>
                      </a:cubicBezTo>
                      <a:cubicBezTo>
                        <a:pt x="923330" y="97557"/>
                        <a:pt x="919628" y="85055"/>
                        <a:pt x="912224" y="76349"/>
                      </a:cubicBezTo>
                      <a:cubicBezTo>
                        <a:pt x="904820" y="67642"/>
                        <a:pt x="894346" y="63289"/>
                        <a:pt x="880803" y="63289"/>
                      </a:cubicBezTo>
                      <a:close/>
                      <a:moveTo>
                        <a:pt x="528377" y="63289"/>
                      </a:moveTo>
                      <a:cubicBezTo>
                        <a:pt x="514909" y="63289"/>
                        <a:pt x="504174" y="67828"/>
                        <a:pt x="496175" y="76907"/>
                      </a:cubicBezTo>
                      <a:cubicBezTo>
                        <a:pt x="488175" y="85985"/>
                        <a:pt x="484176" y="98598"/>
                        <a:pt x="484176" y="114746"/>
                      </a:cubicBezTo>
                      <a:cubicBezTo>
                        <a:pt x="484176" y="129703"/>
                        <a:pt x="488082" y="141721"/>
                        <a:pt x="495896" y="150800"/>
                      </a:cubicBezTo>
                      <a:cubicBezTo>
                        <a:pt x="503709" y="159878"/>
                        <a:pt x="514388" y="164418"/>
                        <a:pt x="527931" y="164418"/>
                      </a:cubicBezTo>
                      <a:cubicBezTo>
                        <a:pt x="541698" y="164418"/>
                        <a:pt x="552302" y="159953"/>
                        <a:pt x="559743" y="151023"/>
                      </a:cubicBezTo>
                      <a:cubicBezTo>
                        <a:pt x="567184" y="142093"/>
                        <a:pt x="570905" y="129703"/>
                        <a:pt x="570905" y="113853"/>
                      </a:cubicBezTo>
                      <a:cubicBezTo>
                        <a:pt x="570905" y="97557"/>
                        <a:pt x="567203" y="85055"/>
                        <a:pt x="559799" y="76349"/>
                      </a:cubicBezTo>
                      <a:cubicBezTo>
                        <a:pt x="552395" y="67642"/>
                        <a:pt x="541921" y="63289"/>
                        <a:pt x="528377" y="63289"/>
                      </a:cubicBezTo>
                      <a:close/>
                      <a:moveTo>
                        <a:pt x="2091445" y="56703"/>
                      </a:moveTo>
                      <a:lnTo>
                        <a:pt x="2101714" y="56703"/>
                      </a:lnTo>
                      <a:lnTo>
                        <a:pt x="2101714" y="171003"/>
                      </a:lnTo>
                      <a:lnTo>
                        <a:pt x="2091445" y="171003"/>
                      </a:lnTo>
                      <a:close/>
                      <a:moveTo>
                        <a:pt x="1841451" y="56703"/>
                      </a:moveTo>
                      <a:lnTo>
                        <a:pt x="1851831" y="56703"/>
                      </a:lnTo>
                      <a:lnTo>
                        <a:pt x="1851831" y="120216"/>
                      </a:lnTo>
                      <a:cubicBezTo>
                        <a:pt x="1851831" y="135694"/>
                        <a:pt x="1854380" y="146930"/>
                        <a:pt x="1859477" y="153925"/>
                      </a:cubicBezTo>
                      <a:cubicBezTo>
                        <a:pt x="1864575" y="160920"/>
                        <a:pt x="1872593" y="164418"/>
                        <a:pt x="1883532" y="164418"/>
                      </a:cubicBezTo>
                      <a:cubicBezTo>
                        <a:pt x="1894173" y="164418"/>
                        <a:pt x="1902787" y="160511"/>
                        <a:pt x="1909372" y="152697"/>
                      </a:cubicBezTo>
                      <a:cubicBezTo>
                        <a:pt x="1915958" y="144884"/>
                        <a:pt x="1919251" y="134466"/>
                        <a:pt x="1919251" y="121443"/>
                      </a:cubicBezTo>
                      <a:lnTo>
                        <a:pt x="1919251" y="56703"/>
                      </a:lnTo>
                      <a:lnTo>
                        <a:pt x="1929520" y="56703"/>
                      </a:lnTo>
                      <a:lnTo>
                        <a:pt x="1929520" y="171003"/>
                      </a:lnTo>
                      <a:lnTo>
                        <a:pt x="1919251" y="171003"/>
                      </a:lnTo>
                      <a:lnTo>
                        <a:pt x="1919251" y="150242"/>
                      </a:lnTo>
                      <a:lnTo>
                        <a:pt x="1918804" y="150242"/>
                      </a:lnTo>
                      <a:cubicBezTo>
                        <a:pt x="1910842" y="165943"/>
                        <a:pt x="1898563" y="173794"/>
                        <a:pt x="1881969" y="173794"/>
                      </a:cubicBezTo>
                      <a:cubicBezTo>
                        <a:pt x="1854957" y="173794"/>
                        <a:pt x="1841451" y="156790"/>
                        <a:pt x="1841451" y="122783"/>
                      </a:cubicBezTo>
                      <a:close/>
                      <a:moveTo>
                        <a:pt x="1324347" y="54471"/>
                      </a:moveTo>
                      <a:cubicBezTo>
                        <a:pt x="1328589" y="54471"/>
                        <a:pt x="1332384" y="55141"/>
                        <a:pt x="1335733" y="56480"/>
                      </a:cubicBezTo>
                      <a:lnTo>
                        <a:pt x="1335733" y="67419"/>
                      </a:lnTo>
                      <a:cubicBezTo>
                        <a:pt x="1332310" y="64963"/>
                        <a:pt x="1328291" y="63735"/>
                        <a:pt x="1323678" y="63735"/>
                      </a:cubicBezTo>
                      <a:cubicBezTo>
                        <a:pt x="1314674" y="63735"/>
                        <a:pt x="1307121" y="68386"/>
                        <a:pt x="1301019" y="77688"/>
                      </a:cubicBezTo>
                      <a:cubicBezTo>
                        <a:pt x="1294917" y="86990"/>
                        <a:pt x="1291866" y="100198"/>
                        <a:pt x="1291866" y="117313"/>
                      </a:cubicBezTo>
                      <a:lnTo>
                        <a:pt x="1291866" y="171003"/>
                      </a:lnTo>
                      <a:lnTo>
                        <a:pt x="1281820" y="171003"/>
                      </a:lnTo>
                      <a:lnTo>
                        <a:pt x="1281820" y="56703"/>
                      </a:lnTo>
                      <a:lnTo>
                        <a:pt x="1291866" y="56703"/>
                      </a:lnTo>
                      <a:lnTo>
                        <a:pt x="1291866" y="82041"/>
                      </a:lnTo>
                      <a:lnTo>
                        <a:pt x="1292312" y="82041"/>
                      </a:lnTo>
                      <a:cubicBezTo>
                        <a:pt x="1294917" y="73335"/>
                        <a:pt x="1299047" y="66563"/>
                        <a:pt x="1304702" y="61726"/>
                      </a:cubicBezTo>
                      <a:cubicBezTo>
                        <a:pt x="1310358" y="56889"/>
                        <a:pt x="1316906" y="54471"/>
                        <a:pt x="1324347" y="54471"/>
                      </a:cubicBezTo>
                      <a:close/>
                      <a:moveTo>
                        <a:pt x="1000497" y="54471"/>
                      </a:moveTo>
                      <a:cubicBezTo>
                        <a:pt x="1004739" y="54471"/>
                        <a:pt x="1008534" y="55141"/>
                        <a:pt x="1011883" y="56480"/>
                      </a:cubicBezTo>
                      <a:lnTo>
                        <a:pt x="1011883" y="67419"/>
                      </a:lnTo>
                      <a:cubicBezTo>
                        <a:pt x="1008460" y="64963"/>
                        <a:pt x="1004441" y="63735"/>
                        <a:pt x="999828" y="63735"/>
                      </a:cubicBezTo>
                      <a:cubicBezTo>
                        <a:pt x="990824" y="63735"/>
                        <a:pt x="983271" y="68386"/>
                        <a:pt x="977169" y="77688"/>
                      </a:cubicBezTo>
                      <a:cubicBezTo>
                        <a:pt x="971067" y="86990"/>
                        <a:pt x="968016" y="100198"/>
                        <a:pt x="968016" y="117313"/>
                      </a:cubicBezTo>
                      <a:lnTo>
                        <a:pt x="968016" y="171003"/>
                      </a:lnTo>
                      <a:lnTo>
                        <a:pt x="957970" y="171003"/>
                      </a:lnTo>
                      <a:lnTo>
                        <a:pt x="957970" y="56703"/>
                      </a:lnTo>
                      <a:lnTo>
                        <a:pt x="968016" y="56703"/>
                      </a:lnTo>
                      <a:lnTo>
                        <a:pt x="968016" y="82041"/>
                      </a:lnTo>
                      <a:lnTo>
                        <a:pt x="968462" y="82041"/>
                      </a:lnTo>
                      <a:cubicBezTo>
                        <a:pt x="971067" y="73335"/>
                        <a:pt x="975197" y="66563"/>
                        <a:pt x="980852" y="61726"/>
                      </a:cubicBezTo>
                      <a:cubicBezTo>
                        <a:pt x="986508" y="56889"/>
                        <a:pt x="993056" y="54471"/>
                        <a:pt x="1000497" y="54471"/>
                      </a:cubicBezTo>
                      <a:close/>
                      <a:moveTo>
                        <a:pt x="2237221" y="53913"/>
                      </a:moveTo>
                      <a:cubicBezTo>
                        <a:pt x="2247044" y="53913"/>
                        <a:pt x="2255452" y="55922"/>
                        <a:pt x="2262447" y="59940"/>
                      </a:cubicBezTo>
                      <a:lnTo>
                        <a:pt x="2262447" y="71549"/>
                      </a:lnTo>
                      <a:cubicBezTo>
                        <a:pt x="2253964" y="66042"/>
                        <a:pt x="2245183" y="63289"/>
                        <a:pt x="2236105" y="63289"/>
                      </a:cubicBezTo>
                      <a:cubicBezTo>
                        <a:pt x="2228589" y="63289"/>
                        <a:pt x="2222524" y="65242"/>
                        <a:pt x="2217910" y="69149"/>
                      </a:cubicBezTo>
                      <a:cubicBezTo>
                        <a:pt x="2213297" y="73056"/>
                        <a:pt x="2210990" y="78134"/>
                        <a:pt x="2210990" y="84385"/>
                      </a:cubicBezTo>
                      <a:cubicBezTo>
                        <a:pt x="2210990" y="89817"/>
                        <a:pt x="2212441" y="94227"/>
                        <a:pt x="2215343" y="97612"/>
                      </a:cubicBezTo>
                      <a:cubicBezTo>
                        <a:pt x="2218245" y="100998"/>
                        <a:pt x="2224645" y="104886"/>
                        <a:pt x="2234542" y="109277"/>
                      </a:cubicBezTo>
                      <a:cubicBezTo>
                        <a:pt x="2246448" y="114635"/>
                        <a:pt x="2254634" y="119602"/>
                        <a:pt x="2259099" y="124178"/>
                      </a:cubicBezTo>
                      <a:cubicBezTo>
                        <a:pt x="2263564" y="128755"/>
                        <a:pt x="2265796" y="134838"/>
                        <a:pt x="2265796" y="142428"/>
                      </a:cubicBezTo>
                      <a:cubicBezTo>
                        <a:pt x="2265796" y="151507"/>
                        <a:pt x="2262392" y="159004"/>
                        <a:pt x="2255582" y="164920"/>
                      </a:cubicBezTo>
                      <a:cubicBezTo>
                        <a:pt x="2248774" y="170836"/>
                        <a:pt x="2239379" y="173794"/>
                        <a:pt x="2227398" y="173794"/>
                      </a:cubicBezTo>
                      <a:cubicBezTo>
                        <a:pt x="2216385" y="173794"/>
                        <a:pt x="2207195" y="171189"/>
                        <a:pt x="2199828" y="165980"/>
                      </a:cubicBezTo>
                      <a:lnTo>
                        <a:pt x="2199828" y="153590"/>
                      </a:lnTo>
                      <a:cubicBezTo>
                        <a:pt x="2203698" y="156939"/>
                        <a:pt x="2208386" y="159581"/>
                        <a:pt x="2213892" y="161515"/>
                      </a:cubicBezTo>
                      <a:cubicBezTo>
                        <a:pt x="2219399" y="163450"/>
                        <a:pt x="2224161" y="164418"/>
                        <a:pt x="2228180" y="164418"/>
                      </a:cubicBezTo>
                      <a:cubicBezTo>
                        <a:pt x="2246114" y="164418"/>
                        <a:pt x="2255080" y="157088"/>
                        <a:pt x="2255080" y="142428"/>
                      </a:cubicBezTo>
                      <a:cubicBezTo>
                        <a:pt x="2255080" y="137368"/>
                        <a:pt x="2253108" y="133052"/>
                        <a:pt x="2249164" y="129480"/>
                      </a:cubicBezTo>
                      <a:cubicBezTo>
                        <a:pt x="2245220" y="125908"/>
                        <a:pt x="2238821" y="122225"/>
                        <a:pt x="2229966" y="118430"/>
                      </a:cubicBezTo>
                      <a:cubicBezTo>
                        <a:pt x="2219027" y="113667"/>
                        <a:pt x="2211344" y="108737"/>
                        <a:pt x="2206916" y="103640"/>
                      </a:cubicBezTo>
                      <a:cubicBezTo>
                        <a:pt x="2202488" y="98543"/>
                        <a:pt x="2200274" y="92348"/>
                        <a:pt x="2200274" y="85055"/>
                      </a:cubicBezTo>
                      <a:cubicBezTo>
                        <a:pt x="2200274" y="75753"/>
                        <a:pt x="2203828" y="68237"/>
                        <a:pt x="2210934" y="62508"/>
                      </a:cubicBezTo>
                      <a:cubicBezTo>
                        <a:pt x="2218041" y="56778"/>
                        <a:pt x="2226803" y="53913"/>
                        <a:pt x="2237221" y="53913"/>
                      </a:cubicBezTo>
                      <a:close/>
                      <a:moveTo>
                        <a:pt x="1771129" y="53913"/>
                      </a:moveTo>
                      <a:cubicBezTo>
                        <a:pt x="1782887" y="53913"/>
                        <a:pt x="1791984" y="57559"/>
                        <a:pt x="1798421" y="64852"/>
                      </a:cubicBezTo>
                      <a:cubicBezTo>
                        <a:pt x="1804858" y="72144"/>
                        <a:pt x="1808076" y="82748"/>
                        <a:pt x="1808076" y="96664"/>
                      </a:cubicBezTo>
                      <a:lnTo>
                        <a:pt x="1808076" y="171003"/>
                      </a:lnTo>
                      <a:lnTo>
                        <a:pt x="1797807" y="171003"/>
                      </a:lnTo>
                      <a:lnTo>
                        <a:pt x="1797807" y="148121"/>
                      </a:lnTo>
                      <a:lnTo>
                        <a:pt x="1797360" y="148121"/>
                      </a:lnTo>
                      <a:cubicBezTo>
                        <a:pt x="1793714" y="155934"/>
                        <a:pt x="1788412" y="162167"/>
                        <a:pt x="1781454" y="166817"/>
                      </a:cubicBezTo>
                      <a:cubicBezTo>
                        <a:pt x="1774497" y="171468"/>
                        <a:pt x="1766776" y="173794"/>
                        <a:pt x="1758293" y="173794"/>
                      </a:cubicBezTo>
                      <a:cubicBezTo>
                        <a:pt x="1747429" y="173794"/>
                        <a:pt x="1738834" y="170743"/>
                        <a:pt x="1732509" y="164641"/>
                      </a:cubicBezTo>
                      <a:cubicBezTo>
                        <a:pt x="1726183" y="158539"/>
                        <a:pt x="1723021" y="150837"/>
                        <a:pt x="1723021" y="141535"/>
                      </a:cubicBezTo>
                      <a:cubicBezTo>
                        <a:pt x="1723021" y="121592"/>
                        <a:pt x="1736229" y="109537"/>
                        <a:pt x="1762646" y="105370"/>
                      </a:cubicBezTo>
                      <a:lnTo>
                        <a:pt x="1797807" y="100124"/>
                      </a:lnTo>
                      <a:cubicBezTo>
                        <a:pt x="1797807" y="75567"/>
                        <a:pt x="1788579" y="63289"/>
                        <a:pt x="1770125" y="63289"/>
                      </a:cubicBezTo>
                      <a:cubicBezTo>
                        <a:pt x="1757549" y="63289"/>
                        <a:pt x="1745308" y="68349"/>
                        <a:pt x="1733401" y="78469"/>
                      </a:cubicBezTo>
                      <a:lnTo>
                        <a:pt x="1733401" y="66079"/>
                      </a:lnTo>
                      <a:cubicBezTo>
                        <a:pt x="1737643" y="62731"/>
                        <a:pt x="1743392" y="59866"/>
                        <a:pt x="1750647" y="57485"/>
                      </a:cubicBezTo>
                      <a:cubicBezTo>
                        <a:pt x="1757902" y="55103"/>
                        <a:pt x="1764730" y="53913"/>
                        <a:pt x="1771129" y="53913"/>
                      </a:cubicBezTo>
                      <a:close/>
                      <a:moveTo>
                        <a:pt x="1581968" y="53913"/>
                      </a:moveTo>
                      <a:cubicBezTo>
                        <a:pt x="1596181" y="53913"/>
                        <a:pt x="1607083" y="58898"/>
                        <a:pt x="1614673" y="68870"/>
                      </a:cubicBezTo>
                      <a:cubicBezTo>
                        <a:pt x="1622263" y="78841"/>
                        <a:pt x="1626058" y="92459"/>
                        <a:pt x="1626058" y="109723"/>
                      </a:cubicBezTo>
                      <a:lnTo>
                        <a:pt x="1626058" y="114300"/>
                      </a:lnTo>
                      <a:lnTo>
                        <a:pt x="1541450" y="114300"/>
                      </a:lnTo>
                      <a:cubicBezTo>
                        <a:pt x="1541450" y="130001"/>
                        <a:pt x="1545077" y="142279"/>
                        <a:pt x="1552332" y="151135"/>
                      </a:cubicBezTo>
                      <a:cubicBezTo>
                        <a:pt x="1559588" y="159990"/>
                        <a:pt x="1569541" y="164418"/>
                        <a:pt x="1582191" y="164418"/>
                      </a:cubicBezTo>
                      <a:cubicBezTo>
                        <a:pt x="1594990" y="164418"/>
                        <a:pt x="1607492" y="159692"/>
                        <a:pt x="1619696" y="150242"/>
                      </a:cubicBezTo>
                      <a:lnTo>
                        <a:pt x="1619696" y="161181"/>
                      </a:lnTo>
                      <a:cubicBezTo>
                        <a:pt x="1607864" y="169589"/>
                        <a:pt x="1594656" y="173794"/>
                        <a:pt x="1580070" y="173794"/>
                      </a:cubicBezTo>
                      <a:cubicBezTo>
                        <a:pt x="1565336" y="173794"/>
                        <a:pt x="1553430" y="168510"/>
                        <a:pt x="1544352" y="157944"/>
                      </a:cubicBezTo>
                      <a:cubicBezTo>
                        <a:pt x="1535273" y="147377"/>
                        <a:pt x="1530734" y="132457"/>
                        <a:pt x="1530734" y="113184"/>
                      </a:cubicBezTo>
                      <a:cubicBezTo>
                        <a:pt x="1530734" y="96515"/>
                        <a:pt x="1535478" y="82469"/>
                        <a:pt x="1544966" y="71047"/>
                      </a:cubicBezTo>
                      <a:cubicBezTo>
                        <a:pt x="1554453" y="59624"/>
                        <a:pt x="1566788" y="53913"/>
                        <a:pt x="1581968" y="53913"/>
                      </a:cubicBezTo>
                      <a:close/>
                      <a:moveTo>
                        <a:pt x="1399655" y="53913"/>
                      </a:moveTo>
                      <a:cubicBezTo>
                        <a:pt x="1411412" y="53913"/>
                        <a:pt x="1420509" y="57559"/>
                        <a:pt x="1426946" y="64852"/>
                      </a:cubicBezTo>
                      <a:cubicBezTo>
                        <a:pt x="1433383" y="72144"/>
                        <a:pt x="1436601" y="82748"/>
                        <a:pt x="1436601" y="96664"/>
                      </a:cubicBezTo>
                      <a:lnTo>
                        <a:pt x="1436601" y="171003"/>
                      </a:lnTo>
                      <a:lnTo>
                        <a:pt x="1426332" y="171003"/>
                      </a:lnTo>
                      <a:lnTo>
                        <a:pt x="1426332" y="148121"/>
                      </a:lnTo>
                      <a:lnTo>
                        <a:pt x="1425885" y="148121"/>
                      </a:lnTo>
                      <a:cubicBezTo>
                        <a:pt x="1422239" y="155934"/>
                        <a:pt x="1416937" y="162167"/>
                        <a:pt x="1409979" y="166817"/>
                      </a:cubicBezTo>
                      <a:cubicBezTo>
                        <a:pt x="1403022" y="171468"/>
                        <a:pt x="1395301" y="173794"/>
                        <a:pt x="1386818" y="173794"/>
                      </a:cubicBezTo>
                      <a:cubicBezTo>
                        <a:pt x="1375954" y="173794"/>
                        <a:pt x="1367359" y="170743"/>
                        <a:pt x="1361034" y="164641"/>
                      </a:cubicBezTo>
                      <a:cubicBezTo>
                        <a:pt x="1354708" y="158539"/>
                        <a:pt x="1351546" y="150837"/>
                        <a:pt x="1351546" y="141535"/>
                      </a:cubicBezTo>
                      <a:cubicBezTo>
                        <a:pt x="1351546" y="121592"/>
                        <a:pt x="1364754" y="109537"/>
                        <a:pt x="1391171" y="105370"/>
                      </a:cubicBezTo>
                      <a:lnTo>
                        <a:pt x="1426332" y="100124"/>
                      </a:lnTo>
                      <a:cubicBezTo>
                        <a:pt x="1426332" y="75567"/>
                        <a:pt x="1417105" y="63289"/>
                        <a:pt x="1398650" y="63289"/>
                      </a:cubicBezTo>
                      <a:cubicBezTo>
                        <a:pt x="1386074" y="63289"/>
                        <a:pt x="1373833" y="68349"/>
                        <a:pt x="1361927" y="78469"/>
                      </a:cubicBezTo>
                      <a:lnTo>
                        <a:pt x="1361927" y="66079"/>
                      </a:lnTo>
                      <a:cubicBezTo>
                        <a:pt x="1366168" y="62731"/>
                        <a:pt x="1371917" y="59866"/>
                        <a:pt x="1379172" y="57485"/>
                      </a:cubicBezTo>
                      <a:cubicBezTo>
                        <a:pt x="1386427" y="55103"/>
                        <a:pt x="1393255" y="53913"/>
                        <a:pt x="1399655" y="53913"/>
                      </a:cubicBezTo>
                      <a:close/>
                      <a:moveTo>
                        <a:pt x="1205099" y="53913"/>
                      </a:moveTo>
                      <a:cubicBezTo>
                        <a:pt x="1221396" y="53913"/>
                        <a:pt x="1234269" y="59233"/>
                        <a:pt x="1243720" y="69875"/>
                      </a:cubicBezTo>
                      <a:cubicBezTo>
                        <a:pt x="1253170" y="80516"/>
                        <a:pt x="1257896" y="95250"/>
                        <a:pt x="1257896" y="114076"/>
                      </a:cubicBezTo>
                      <a:cubicBezTo>
                        <a:pt x="1257896" y="131861"/>
                        <a:pt x="1253077" y="146261"/>
                        <a:pt x="1243441" y="157274"/>
                      </a:cubicBezTo>
                      <a:cubicBezTo>
                        <a:pt x="1233804" y="168287"/>
                        <a:pt x="1220614" y="173794"/>
                        <a:pt x="1203871" y="173794"/>
                      </a:cubicBezTo>
                      <a:cubicBezTo>
                        <a:pt x="1187202" y="173794"/>
                        <a:pt x="1174012" y="168306"/>
                        <a:pt x="1164301" y="157330"/>
                      </a:cubicBezTo>
                      <a:cubicBezTo>
                        <a:pt x="1154590" y="146354"/>
                        <a:pt x="1149735" y="132085"/>
                        <a:pt x="1149735" y="114523"/>
                      </a:cubicBezTo>
                      <a:cubicBezTo>
                        <a:pt x="1149735" y="95547"/>
                        <a:pt x="1154814" y="80702"/>
                        <a:pt x="1164971" y="69986"/>
                      </a:cubicBezTo>
                      <a:cubicBezTo>
                        <a:pt x="1175129" y="59271"/>
                        <a:pt x="1188505" y="53913"/>
                        <a:pt x="1205099" y="53913"/>
                      </a:cubicBezTo>
                      <a:close/>
                      <a:moveTo>
                        <a:pt x="1087637" y="53913"/>
                      </a:moveTo>
                      <a:cubicBezTo>
                        <a:pt x="1102147" y="53913"/>
                        <a:pt x="1113477" y="58917"/>
                        <a:pt x="1121625" y="68926"/>
                      </a:cubicBezTo>
                      <a:cubicBezTo>
                        <a:pt x="1129773" y="78934"/>
                        <a:pt x="1133847" y="92534"/>
                        <a:pt x="1133847" y="109723"/>
                      </a:cubicBezTo>
                      <a:cubicBezTo>
                        <a:pt x="1133847" y="128848"/>
                        <a:pt x="1129178" y="144307"/>
                        <a:pt x="1119839" y="156102"/>
                      </a:cubicBezTo>
                      <a:cubicBezTo>
                        <a:pt x="1110500" y="167896"/>
                        <a:pt x="1098166" y="173794"/>
                        <a:pt x="1082837" y="173794"/>
                      </a:cubicBezTo>
                      <a:cubicBezTo>
                        <a:pt x="1065721" y="173794"/>
                        <a:pt x="1053071" y="166092"/>
                        <a:pt x="1044886" y="150688"/>
                      </a:cubicBezTo>
                      <a:lnTo>
                        <a:pt x="1044439" y="150688"/>
                      </a:lnTo>
                      <a:lnTo>
                        <a:pt x="1044439" y="223577"/>
                      </a:lnTo>
                      <a:lnTo>
                        <a:pt x="1034170" y="223577"/>
                      </a:lnTo>
                      <a:lnTo>
                        <a:pt x="1034170" y="56703"/>
                      </a:lnTo>
                      <a:lnTo>
                        <a:pt x="1044439" y="56703"/>
                      </a:lnTo>
                      <a:lnTo>
                        <a:pt x="1044439" y="80255"/>
                      </a:lnTo>
                      <a:lnTo>
                        <a:pt x="1044886" y="80255"/>
                      </a:lnTo>
                      <a:cubicBezTo>
                        <a:pt x="1048978" y="71846"/>
                        <a:pt x="1054838" y="65354"/>
                        <a:pt x="1062466" y="60777"/>
                      </a:cubicBezTo>
                      <a:cubicBezTo>
                        <a:pt x="1070093" y="56201"/>
                        <a:pt x="1078483" y="53913"/>
                        <a:pt x="1087637" y="53913"/>
                      </a:cubicBezTo>
                      <a:close/>
                      <a:moveTo>
                        <a:pt x="881249" y="53913"/>
                      </a:moveTo>
                      <a:cubicBezTo>
                        <a:pt x="897546" y="53913"/>
                        <a:pt x="910419" y="59233"/>
                        <a:pt x="919870" y="69875"/>
                      </a:cubicBezTo>
                      <a:cubicBezTo>
                        <a:pt x="929321" y="80516"/>
                        <a:pt x="934046" y="95250"/>
                        <a:pt x="934046" y="114076"/>
                      </a:cubicBezTo>
                      <a:cubicBezTo>
                        <a:pt x="934046" y="131861"/>
                        <a:pt x="929227" y="146261"/>
                        <a:pt x="919591" y="157274"/>
                      </a:cubicBezTo>
                      <a:cubicBezTo>
                        <a:pt x="909954" y="168287"/>
                        <a:pt x="896764" y="173794"/>
                        <a:pt x="880021" y="173794"/>
                      </a:cubicBezTo>
                      <a:cubicBezTo>
                        <a:pt x="863352" y="173794"/>
                        <a:pt x="850163" y="168306"/>
                        <a:pt x="840451" y="157330"/>
                      </a:cubicBezTo>
                      <a:cubicBezTo>
                        <a:pt x="830741" y="146354"/>
                        <a:pt x="825885" y="132085"/>
                        <a:pt x="825885" y="114523"/>
                      </a:cubicBezTo>
                      <a:cubicBezTo>
                        <a:pt x="825885" y="95547"/>
                        <a:pt x="830964" y="80702"/>
                        <a:pt x="841121" y="69986"/>
                      </a:cubicBezTo>
                      <a:cubicBezTo>
                        <a:pt x="851279" y="59271"/>
                        <a:pt x="864655" y="53913"/>
                        <a:pt x="881249" y="53913"/>
                      </a:cubicBezTo>
                      <a:close/>
                      <a:moveTo>
                        <a:pt x="778483" y="53913"/>
                      </a:moveTo>
                      <a:cubicBezTo>
                        <a:pt x="787190" y="53913"/>
                        <a:pt x="795636" y="55699"/>
                        <a:pt x="803821" y="59271"/>
                      </a:cubicBezTo>
                      <a:lnTo>
                        <a:pt x="803821" y="70879"/>
                      </a:lnTo>
                      <a:cubicBezTo>
                        <a:pt x="795636" y="65819"/>
                        <a:pt x="786669" y="63289"/>
                        <a:pt x="776920" y="63289"/>
                      </a:cubicBezTo>
                      <a:cubicBezTo>
                        <a:pt x="763526" y="63289"/>
                        <a:pt x="752661" y="68107"/>
                        <a:pt x="744327" y="77744"/>
                      </a:cubicBezTo>
                      <a:cubicBezTo>
                        <a:pt x="735993" y="87380"/>
                        <a:pt x="731826" y="99863"/>
                        <a:pt x="731826" y="115193"/>
                      </a:cubicBezTo>
                      <a:cubicBezTo>
                        <a:pt x="731826" y="130001"/>
                        <a:pt x="735639" y="141907"/>
                        <a:pt x="743267" y="150911"/>
                      </a:cubicBezTo>
                      <a:cubicBezTo>
                        <a:pt x="750894" y="159916"/>
                        <a:pt x="760959" y="164418"/>
                        <a:pt x="773460" y="164418"/>
                      </a:cubicBezTo>
                      <a:cubicBezTo>
                        <a:pt x="784920" y="164418"/>
                        <a:pt x="794891" y="161367"/>
                        <a:pt x="803375" y="155265"/>
                      </a:cubicBezTo>
                      <a:lnTo>
                        <a:pt x="803375" y="165980"/>
                      </a:lnTo>
                      <a:cubicBezTo>
                        <a:pt x="794891" y="171189"/>
                        <a:pt x="784771" y="173794"/>
                        <a:pt x="773014" y="173794"/>
                      </a:cubicBezTo>
                      <a:cubicBezTo>
                        <a:pt x="757461" y="173794"/>
                        <a:pt x="744923" y="168455"/>
                        <a:pt x="735397" y="157776"/>
                      </a:cubicBezTo>
                      <a:cubicBezTo>
                        <a:pt x="725873" y="147098"/>
                        <a:pt x="721110" y="133126"/>
                        <a:pt x="721110" y="115862"/>
                      </a:cubicBezTo>
                      <a:cubicBezTo>
                        <a:pt x="721110" y="97705"/>
                        <a:pt x="726468" y="82841"/>
                        <a:pt x="737183" y="71270"/>
                      </a:cubicBezTo>
                      <a:cubicBezTo>
                        <a:pt x="747899" y="59698"/>
                        <a:pt x="761666" y="53913"/>
                        <a:pt x="778483" y="53913"/>
                      </a:cubicBezTo>
                      <a:close/>
                      <a:moveTo>
                        <a:pt x="528824" y="53913"/>
                      </a:moveTo>
                      <a:cubicBezTo>
                        <a:pt x="545121" y="53913"/>
                        <a:pt x="557994" y="59233"/>
                        <a:pt x="567445" y="69875"/>
                      </a:cubicBezTo>
                      <a:cubicBezTo>
                        <a:pt x="576895" y="80516"/>
                        <a:pt x="581621" y="95250"/>
                        <a:pt x="581621" y="114076"/>
                      </a:cubicBezTo>
                      <a:cubicBezTo>
                        <a:pt x="581621" y="131861"/>
                        <a:pt x="576802" y="146261"/>
                        <a:pt x="567166" y="157274"/>
                      </a:cubicBezTo>
                      <a:cubicBezTo>
                        <a:pt x="557529" y="168287"/>
                        <a:pt x="544339" y="173794"/>
                        <a:pt x="527596" y="173794"/>
                      </a:cubicBezTo>
                      <a:cubicBezTo>
                        <a:pt x="510927" y="173794"/>
                        <a:pt x="497737" y="168306"/>
                        <a:pt x="488027" y="157330"/>
                      </a:cubicBezTo>
                      <a:cubicBezTo>
                        <a:pt x="478315" y="146354"/>
                        <a:pt x="473460" y="132085"/>
                        <a:pt x="473460" y="114523"/>
                      </a:cubicBezTo>
                      <a:cubicBezTo>
                        <a:pt x="473460" y="95547"/>
                        <a:pt x="478539" y="80702"/>
                        <a:pt x="488696" y="69986"/>
                      </a:cubicBezTo>
                      <a:cubicBezTo>
                        <a:pt x="498854" y="59271"/>
                        <a:pt x="512230" y="53913"/>
                        <a:pt x="528824" y="53913"/>
                      </a:cubicBezTo>
                      <a:close/>
                      <a:moveTo>
                        <a:pt x="2154139" y="23552"/>
                      </a:moveTo>
                      <a:lnTo>
                        <a:pt x="2154139" y="56703"/>
                      </a:lnTo>
                      <a:lnTo>
                        <a:pt x="2184276" y="56703"/>
                      </a:lnTo>
                      <a:lnTo>
                        <a:pt x="2184276" y="66079"/>
                      </a:lnTo>
                      <a:lnTo>
                        <a:pt x="2154139" y="66079"/>
                      </a:lnTo>
                      <a:lnTo>
                        <a:pt x="2154139" y="141535"/>
                      </a:lnTo>
                      <a:cubicBezTo>
                        <a:pt x="2154139" y="149423"/>
                        <a:pt x="2155385" y="155134"/>
                        <a:pt x="2157878" y="158669"/>
                      </a:cubicBezTo>
                      <a:cubicBezTo>
                        <a:pt x="2160371" y="162204"/>
                        <a:pt x="2164594" y="163971"/>
                        <a:pt x="2170547" y="163971"/>
                      </a:cubicBezTo>
                      <a:cubicBezTo>
                        <a:pt x="2174789" y="163971"/>
                        <a:pt x="2179365" y="162594"/>
                        <a:pt x="2184276" y="159841"/>
                      </a:cubicBezTo>
                      <a:lnTo>
                        <a:pt x="2184276" y="169441"/>
                      </a:lnTo>
                      <a:cubicBezTo>
                        <a:pt x="2178919" y="171971"/>
                        <a:pt x="2173895" y="173236"/>
                        <a:pt x="2169207" y="173236"/>
                      </a:cubicBezTo>
                      <a:cubicBezTo>
                        <a:pt x="2152315" y="173236"/>
                        <a:pt x="2143869" y="163115"/>
                        <a:pt x="2143869" y="142875"/>
                      </a:cubicBezTo>
                      <a:lnTo>
                        <a:pt x="2143869" y="66079"/>
                      </a:lnTo>
                      <a:lnTo>
                        <a:pt x="2123331" y="66079"/>
                      </a:lnTo>
                      <a:lnTo>
                        <a:pt x="2123331" y="56703"/>
                      </a:lnTo>
                      <a:lnTo>
                        <a:pt x="2143869" y="56703"/>
                      </a:lnTo>
                      <a:lnTo>
                        <a:pt x="2143869" y="27012"/>
                      </a:lnTo>
                      <a:cubicBezTo>
                        <a:pt x="2145507" y="26417"/>
                        <a:pt x="2147218" y="25821"/>
                        <a:pt x="2149004" y="25226"/>
                      </a:cubicBezTo>
                      <a:cubicBezTo>
                        <a:pt x="2150790" y="24705"/>
                        <a:pt x="2152501" y="24147"/>
                        <a:pt x="2154139" y="23552"/>
                      </a:cubicBezTo>
                      <a:close/>
                      <a:moveTo>
                        <a:pt x="1487389" y="23552"/>
                      </a:moveTo>
                      <a:lnTo>
                        <a:pt x="1487389" y="56703"/>
                      </a:lnTo>
                      <a:lnTo>
                        <a:pt x="1517526" y="56703"/>
                      </a:lnTo>
                      <a:lnTo>
                        <a:pt x="1517526" y="66079"/>
                      </a:lnTo>
                      <a:lnTo>
                        <a:pt x="1487389" y="66079"/>
                      </a:lnTo>
                      <a:lnTo>
                        <a:pt x="1487389" y="141535"/>
                      </a:lnTo>
                      <a:cubicBezTo>
                        <a:pt x="1487389" y="149423"/>
                        <a:pt x="1488635" y="155134"/>
                        <a:pt x="1491128" y="158669"/>
                      </a:cubicBezTo>
                      <a:cubicBezTo>
                        <a:pt x="1493621" y="162204"/>
                        <a:pt x="1497844" y="163971"/>
                        <a:pt x="1503797" y="163971"/>
                      </a:cubicBezTo>
                      <a:cubicBezTo>
                        <a:pt x="1508039" y="163971"/>
                        <a:pt x="1512615" y="162594"/>
                        <a:pt x="1517526" y="159841"/>
                      </a:cubicBezTo>
                      <a:lnTo>
                        <a:pt x="1517526" y="169441"/>
                      </a:lnTo>
                      <a:cubicBezTo>
                        <a:pt x="1512169" y="171971"/>
                        <a:pt x="1507146" y="173236"/>
                        <a:pt x="1502457" y="173236"/>
                      </a:cubicBezTo>
                      <a:cubicBezTo>
                        <a:pt x="1485565" y="173236"/>
                        <a:pt x="1477119" y="163115"/>
                        <a:pt x="1477119" y="142875"/>
                      </a:cubicBezTo>
                      <a:lnTo>
                        <a:pt x="1477119" y="66079"/>
                      </a:lnTo>
                      <a:lnTo>
                        <a:pt x="1456581" y="66079"/>
                      </a:lnTo>
                      <a:lnTo>
                        <a:pt x="1456581" y="56703"/>
                      </a:lnTo>
                      <a:lnTo>
                        <a:pt x="1477119" y="56703"/>
                      </a:lnTo>
                      <a:lnTo>
                        <a:pt x="1477119" y="27012"/>
                      </a:lnTo>
                      <a:cubicBezTo>
                        <a:pt x="1478757" y="26417"/>
                        <a:pt x="1480468" y="25821"/>
                        <a:pt x="1482254" y="25226"/>
                      </a:cubicBezTo>
                      <a:cubicBezTo>
                        <a:pt x="1484040" y="24705"/>
                        <a:pt x="1485751" y="24147"/>
                        <a:pt x="1487389" y="23552"/>
                      </a:cubicBezTo>
                      <a:close/>
                      <a:moveTo>
                        <a:pt x="161627" y="17636"/>
                      </a:moveTo>
                      <a:cubicBezTo>
                        <a:pt x="149348" y="17636"/>
                        <a:pt x="139786" y="23924"/>
                        <a:pt x="132940" y="36500"/>
                      </a:cubicBezTo>
                      <a:cubicBezTo>
                        <a:pt x="126094" y="49076"/>
                        <a:pt x="122671" y="67940"/>
                        <a:pt x="122671" y="93092"/>
                      </a:cubicBezTo>
                      <a:cubicBezTo>
                        <a:pt x="122671" y="116011"/>
                        <a:pt x="125945" y="133629"/>
                        <a:pt x="132494" y="145944"/>
                      </a:cubicBezTo>
                      <a:cubicBezTo>
                        <a:pt x="139042" y="158260"/>
                        <a:pt x="148344" y="164418"/>
                        <a:pt x="160399" y="164418"/>
                      </a:cubicBezTo>
                      <a:cubicBezTo>
                        <a:pt x="172231" y="164418"/>
                        <a:pt x="181440" y="158148"/>
                        <a:pt x="188025" y="145609"/>
                      </a:cubicBezTo>
                      <a:cubicBezTo>
                        <a:pt x="194611" y="133071"/>
                        <a:pt x="197904" y="115155"/>
                        <a:pt x="197904" y="91864"/>
                      </a:cubicBezTo>
                      <a:cubicBezTo>
                        <a:pt x="197904" y="42379"/>
                        <a:pt x="185811" y="17636"/>
                        <a:pt x="161627" y="17636"/>
                      </a:cubicBezTo>
                      <a:close/>
                      <a:moveTo>
                        <a:pt x="262868" y="16966"/>
                      </a:moveTo>
                      <a:cubicBezTo>
                        <a:pt x="254311" y="16966"/>
                        <a:pt x="247557" y="19812"/>
                        <a:pt x="242609" y="25505"/>
                      </a:cubicBezTo>
                      <a:cubicBezTo>
                        <a:pt x="237660" y="31198"/>
                        <a:pt x="235186" y="39142"/>
                        <a:pt x="235186" y="49336"/>
                      </a:cubicBezTo>
                      <a:cubicBezTo>
                        <a:pt x="235186" y="58936"/>
                        <a:pt x="237586" y="66563"/>
                        <a:pt x="242386" y="72219"/>
                      </a:cubicBezTo>
                      <a:cubicBezTo>
                        <a:pt x="247185" y="77874"/>
                        <a:pt x="253790" y="80702"/>
                        <a:pt x="262198" y="80702"/>
                      </a:cubicBezTo>
                      <a:cubicBezTo>
                        <a:pt x="270682" y="80702"/>
                        <a:pt x="277323" y="77800"/>
                        <a:pt x="282123" y="71995"/>
                      </a:cubicBezTo>
                      <a:cubicBezTo>
                        <a:pt x="286923" y="66191"/>
                        <a:pt x="289322" y="58415"/>
                        <a:pt x="289322" y="48667"/>
                      </a:cubicBezTo>
                      <a:cubicBezTo>
                        <a:pt x="289322" y="38174"/>
                        <a:pt x="286941" y="30268"/>
                        <a:pt x="282179" y="24947"/>
                      </a:cubicBezTo>
                      <a:cubicBezTo>
                        <a:pt x="277416" y="19626"/>
                        <a:pt x="270979" y="16966"/>
                        <a:pt x="262868" y="16966"/>
                      </a:cubicBezTo>
                      <a:close/>
                      <a:moveTo>
                        <a:pt x="347477" y="11162"/>
                      </a:moveTo>
                      <a:lnTo>
                        <a:pt x="358193" y="11162"/>
                      </a:lnTo>
                      <a:lnTo>
                        <a:pt x="262198" y="174687"/>
                      </a:lnTo>
                      <a:lnTo>
                        <a:pt x="251148" y="174687"/>
                      </a:lnTo>
                      <a:close/>
                      <a:moveTo>
                        <a:pt x="2096468" y="10939"/>
                      </a:moveTo>
                      <a:cubicBezTo>
                        <a:pt x="2098775" y="10939"/>
                        <a:pt x="2100802" y="11683"/>
                        <a:pt x="2102551" y="13171"/>
                      </a:cubicBezTo>
                      <a:cubicBezTo>
                        <a:pt x="2104300" y="14659"/>
                        <a:pt x="2105174" y="16668"/>
                        <a:pt x="2105174" y="19199"/>
                      </a:cubicBezTo>
                      <a:cubicBezTo>
                        <a:pt x="2105174" y="21580"/>
                        <a:pt x="2104319" y="23626"/>
                        <a:pt x="2102607" y="25338"/>
                      </a:cubicBezTo>
                      <a:cubicBezTo>
                        <a:pt x="2100895" y="27049"/>
                        <a:pt x="2098849" y="27905"/>
                        <a:pt x="2096468" y="27905"/>
                      </a:cubicBezTo>
                      <a:cubicBezTo>
                        <a:pt x="2094235" y="27905"/>
                        <a:pt x="2092263" y="27086"/>
                        <a:pt x="2090552" y="25449"/>
                      </a:cubicBezTo>
                      <a:cubicBezTo>
                        <a:pt x="2088840" y="23812"/>
                        <a:pt x="2087985" y="21729"/>
                        <a:pt x="2087985" y="19199"/>
                      </a:cubicBezTo>
                      <a:cubicBezTo>
                        <a:pt x="2087985" y="16743"/>
                        <a:pt x="2088859" y="14752"/>
                        <a:pt x="2090608" y="13227"/>
                      </a:cubicBezTo>
                      <a:cubicBezTo>
                        <a:pt x="2092356" y="11701"/>
                        <a:pt x="2094310" y="10939"/>
                        <a:pt x="2096468" y="10939"/>
                      </a:cubicBezTo>
                      <a:close/>
                      <a:moveTo>
                        <a:pt x="162520" y="8260"/>
                      </a:moveTo>
                      <a:cubicBezTo>
                        <a:pt x="193327" y="8260"/>
                        <a:pt x="208731" y="35607"/>
                        <a:pt x="208731" y="90301"/>
                      </a:cubicBezTo>
                      <a:cubicBezTo>
                        <a:pt x="208731" y="117537"/>
                        <a:pt x="204378" y="138261"/>
                        <a:pt x="195671" y="152474"/>
                      </a:cubicBezTo>
                      <a:cubicBezTo>
                        <a:pt x="186965" y="166687"/>
                        <a:pt x="174761" y="173794"/>
                        <a:pt x="159060" y="173794"/>
                      </a:cubicBezTo>
                      <a:cubicBezTo>
                        <a:pt x="144326" y="173794"/>
                        <a:pt x="132791" y="167022"/>
                        <a:pt x="124457" y="153479"/>
                      </a:cubicBezTo>
                      <a:cubicBezTo>
                        <a:pt x="116123" y="139935"/>
                        <a:pt x="111955" y="120253"/>
                        <a:pt x="111955" y="94431"/>
                      </a:cubicBezTo>
                      <a:cubicBezTo>
                        <a:pt x="111955" y="65931"/>
                        <a:pt x="116327" y="44444"/>
                        <a:pt x="125071" y="29970"/>
                      </a:cubicBezTo>
                      <a:cubicBezTo>
                        <a:pt x="133815" y="15496"/>
                        <a:pt x="146298" y="8260"/>
                        <a:pt x="162520" y="8260"/>
                      </a:cubicBezTo>
                      <a:close/>
                      <a:moveTo>
                        <a:pt x="39514" y="8260"/>
                      </a:moveTo>
                      <a:cubicBezTo>
                        <a:pt x="52165" y="8260"/>
                        <a:pt x="62192" y="11683"/>
                        <a:pt x="69596" y="18529"/>
                      </a:cubicBezTo>
                      <a:cubicBezTo>
                        <a:pt x="77000" y="25375"/>
                        <a:pt x="80703" y="34453"/>
                        <a:pt x="80703" y="45764"/>
                      </a:cubicBezTo>
                      <a:cubicBezTo>
                        <a:pt x="80703" y="67419"/>
                        <a:pt x="70322" y="81185"/>
                        <a:pt x="49560" y="87064"/>
                      </a:cubicBezTo>
                      <a:lnTo>
                        <a:pt x="49560" y="87511"/>
                      </a:lnTo>
                      <a:cubicBezTo>
                        <a:pt x="60722" y="88627"/>
                        <a:pt x="69652" y="92775"/>
                        <a:pt x="76349" y="99956"/>
                      </a:cubicBezTo>
                      <a:cubicBezTo>
                        <a:pt x="83047" y="107137"/>
                        <a:pt x="86395" y="116197"/>
                        <a:pt x="86395" y="127136"/>
                      </a:cubicBezTo>
                      <a:cubicBezTo>
                        <a:pt x="86395" y="141126"/>
                        <a:pt x="81558" y="152400"/>
                        <a:pt x="71884" y="160957"/>
                      </a:cubicBezTo>
                      <a:cubicBezTo>
                        <a:pt x="62211" y="169515"/>
                        <a:pt x="49672" y="173794"/>
                        <a:pt x="34268" y="173794"/>
                      </a:cubicBezTo>
                      <a:cubicBezTo>
                        <a:pt x="22362" y="173794"/>
                        <a:pt x="10939" y="170966"/>
                        <a:pt x="0" y="165311"/>
                      </a:cubicBezTo>
                      <a:lnTo>
                        <a:pt x="0" y="153590"/>
                      </a:lnTo>
                      <a:cubicBezTo>
                        <a:pt x="12204" y="160809"/>
                        <a:pt x="23701" y="164418"/>
                        <a:pt x="34491" y="164418"/>
                      </a:cubicBezTo>
                      <a:cubicBezTo>
                        <a:pt x="47365" y="164418"/>
                        <a:pt x="57448" y="161125"/>
                        <a:pt x="64741" y="154539"/>
                      </a:cubicBezTo>
                      <a:cubicBezTo>
                        <a:pt x="72033" y="147953"/>
                        <a:pt x="75680" y="139340"/>
                        <a:pt x="75680" y="128699"/>
                      </a:cubicBezTo>
                      <a:cubicBezTo>
                        <a:pt x="75680" y="116867"/>
                        <a:pt x="71494" y="107900"/>
                        <a:pt x="63122" y="101798"/>
                      </a:cubicBezTo>
                      <a:cubicBezTo>
                        <a:pt x="54751" y="95696"/>
                        <a:pt x="42826" y="92645"/>
                        <a:pt x="27348" y="92645"/>
                      </a:cubicBezTo>
                      <a:lnTo>
                        <a:pt x="15069" y="92645"/>
                      </a:lnTo>
                      <a:lnTo>
                        <a:pt x="15069" y="83269"/>
                      </a:lnTo>
                      <a:lnTo>
                        <a:pt x="26008" y="83269"/>
                      </a:lnTo>
                      <a:cubicBezTo>
                        <a:pt x="40296" y="83269"/>
                        <a:pt x="51179" y="80237"/>
                        <a:pt x="58657" y="74172"/>
                      </a:cubicBezTo>
                      <a:cubicBezTo>
                        <a:pt x="66136" y="68107"/>
                        <a:pt x="69875" y="59531"/>
                        <a:pt x="69875" y="48443"/>
                      </a:cubicBezTo>
                      <a:cubicBezTo>
                        <a:pt x="69875" y="38844"/>
                        <a:pt x="67159" y="31309"/>
                        <a:pt x="61727" y="25840"/>
                      </a:cubicBezTo>
                      <a:cubicBezTo>
                        <a:pt x="56295" y="20371"/>
                        <a:pt x="48370" y="17636"/>
                        <a:pt x="37952" y="17636"/>
                      </a:cubicBezTo>
                      <a:cubicBezTo>
                        <a:pt x="27906" y="17636"/>
                        <a:pt x="17376" y="21133"/>
                        <a:pt x="6363" y="28128"/>
                      </a:cubicBezTo>
                      <a:lnTo>
                        <a:pt x="6363" y="17189"/>
                      </a:lnTo>
                      <a:cubicBezTo>
                        <a:pt x="18418" y="11236"/>
                        <a:pt x="29468" y="8260"/>
                        <a:pt x="39514" y="8260"/>
                      </a:cubicBezTo>
                      <a:close/>
                      <a:moveTo>
                        <a:pt x="263091" y="7813"/>
                      </a:moveTo>
                      <a:cubicBezTo>
                        <a:pt x="274253" y="7813"/>
                        <a:pt x="283109" y="11422"/>
                        <a:pt x="289657" y="18640"/>
                      </a:cubicBezTo>
                      <a:cubicBezTo>
                        <a:pt x="296206" y="25859"/>
                        <a:pt x="299480" y="35942"/>
                        <a:pt x="299480" y="48890"/>
                      </a:cubicBezTo>
                      <a:cubicBezTo>
                        <a:pt x="299480" y="60498"/>
                        <a:pt x="296075" y="70191"/>
                        <a:pt x="289267" y="77967"/>
                      </a:cubicBezTo>
                      <a:cubicBezTo>
                        <a:pt x="282458" y="85743"/>
                        <a:pt x="273361" y="89631"/>
                        <a:pt x="261975" y="89631"/>
                      </a:cubicBezTo>
                      <a:cubicBezTo>
                        <a:pt x="250515" y="89631"/>
                        <a:pt x="241474" y="85874"/>
                        <a:pt x="234851" y="78358"/>
                      </a:cubicBezTo>
                      <a:cubicBezTo>
                        <a:pt x="228228" y="70842"/>
                        <a:pt x="224917" y="61094"/>
                        <a:pt x="224917" y="49113"/>
                      </a:cubicBezTo>
                      <a:cubicBezTo>
                        <a:pt x="224917" y="36091"/>
                        <a:pt x="228433" y="25952"/>
                        <a:pt x="235465" y="18696"/>
                      </a:cubicBezTo>
                      <a:cubicBezTo>
                        <a:pt x="242497" y="11441"/>
                        <a:pt x="251706" y="7813"/>
                        <a:pt x="263091" y="7813"/>
                      </a:cubicBezTo>
                      <a:close/>
                      <a:moveTo>
                        <a:pt x="2048768" y="1786"/>
                      </a:moveTo>
                      <a:lnTo>
                        <a:pt x="2059037" y="1786"/>
                      </a:lnTo>
                      <a:lnTo>
                        <a:pt x="2059037" y="171003"/>
                      </a:lnTo>
                      <a:lnTo>
                        <a:pt x="2048768" y="171003"/>
                      </a:lnTo>
                      <a:lnTo>
                        <a:pt x="2048768" y="150242"/>
                      </a:lnTo>
                      <a:lnTo>
                        <a:pt x="2048322" y="150242"/>
                      </a:lnTo>
                      <a:cubicBezTo>
                        <a:pt x="2044601" y="157460"/>
                        <a:pt x="2039095" y="163190"/>
                        <a:pt x="2031802" y="167431"/>
                      </a:cubicBezTo>
                      <a:cubicBezTo>
                        <a:pt x="2024509" y="171673"/>
                        <a:pt x="2016287" y="173794"/>
                        <a:pt x="2007134" y="173794"/>
                      </a:cubicBezTo>
                      <a:cubicBezTo>
                        <a:pt x="1993069" y="173794"/>
                        <a:pt x="1981591" y="168659"/>
                        <a:pt x="1972699" y="158390"/>
                      </a:cubicBezTo>
                      <a:cubicBezTo>
                        <a:pt x="1963806" y="148121"/>
                        <a:pt x="1959360" y="133945"/>
                        <a:pt x="1959360" y="115862"/>
                      </a:cubicBezTo>
                      <a:cubicBezTo>
                        <a:pt x="1959360" y="97408"/>
                        <a:pt x="1964215" y="82469"/>
                        <a:pt x="1973926" y="71047"/>
                      </a:cubicBezTo>
                      <a:cubicBezTo>
                        <a:pt x="1983637" y="59624"/>
                        <a:pt x="1996232" y="53913"/>
                        <a:pt x="2011710" y="53913"/>
                      </a:cubicBezTo>
                      <a:cubicBezTo>
                        <a:pt x="2028825" y="53913"/>
                        <a:pt x="2041029" y="60945"/>
                        <a:pt x="2048322" y="75009"/>
                      </a:cubicBezTo>
                      <a:lnTo>
                        <a:pt x="2048768" y="75009"/>
                      </a:lnTo>
                      <a:close/>
                      <a:moveTo>
                        <a:pt x="633971" y="0"/>
                      </a:moveTo>
                      <a:cubicBezTo>
                        <a:pt x="638808" y="0"/>
                        <a:pt x="642826" y="707"/>
                        <a:pt x="646026" y="2121"/>
                      </a:cubicBezTo>
                      <a:lnTo>
                        <a:pt x="646026" y="12613"/>
                      </a:lnTo>
                      <a:cubicBezTo>
                        <a:pt x="643273" y="10455"/>
                        <a:pt x="639106" y="9376"/>
                        <a:pt x="633525" y="9376"/>
                      </a:cubicBezTo>
                      <a:cubicBezTo>
                        <a:pt x="619460" y="9376"/>
                        <a:pt x="612428" y="18826"/>
                        <a:pt x="612428" y="37728"/>
                      </a:cubicBezTo>
                      <a:lnTo>
                        <a:pt x="612428" y="56703"/>
                      </a:lnTo>
                      <a:lnTo>
                        <a:pt x="642677" y="56703"/>
                      </a:lnTo>
                      <a:lnTo>
                        <a:pt x="642677" y="66079"/>
                      </a:lnTo>
                      <a:lnTo>
                        <a:pt x="612428" y="66079"/>
                      </a:lnTo>
                      <a:lnTo>
                        <a:pt x="612428" y="171003"/>
                      </a:lnTo>
                      <a:lnTo>
                        <a:pt x="602159" y="171003"/>
                      </a:lnTo>
                      <a:lnTo>
                        <a:pt x="602159" y="66079"/>
                      </a:lnTo>
                      <a:lnTo>
                        <a:pt x="581621" y="66079"/>
                      </a:lnTo>
                      <a:lnTo>
                        <a:pt x="581621" y="56703"/>
                      </a:lnTo>
                      <a:lnTo>
                        <a:pt x="602159" y="56703"/>
                      </a:lnTo>
                      <a:lnTo>
                        <a:pt x="602159" y="36835"/>
                      </a:lnTo>
                      <a:cubicBezTo>
                        <a:pt x="602159" y="24780"/>
                        <a:pt x="605191" y="15627"/>
                        <a:pt x="611256" y="9376"/>
                      </a:cubicBezTo>
                      <a:cubicBezTo>
                        <a:pt x="617321" y="3125"/>
                        <a:pt x="624893" y="0"/>
                        <a:pt x="633971" y="0"/>
                      </a:cubicBez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Здесь будет текст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435" name="Home appliances"/>
              <p:cNvGrpSpPr/>
              <p:nvPr/>
            </p:nvGrpSpPr>
            <p:grpSpPr>
              <a:xfrm>
                <a:off x="46902029" y="2306344"/>
                <a:ext cx="3793544" cy="1525935"/>
                <a:chOff x="5173770" y="6858000"/>
                <a:chExt cx="3793544" cy="1525935"/>
              </a:xfrm>
            </p:grpSpPr>
            <p:sp>
              <p:nvSpPr>
                <p:cNvPr id="456" name="Freeform 189"/>
                <p:cNvSpPr>
                  <a:spLocks noEditPoints="1"/>
                </p:cNvSpPr>
                <p:nvPr/>
              </p:nvSpPr>
              <p:spPr bwMode="auto">
                <a:xfrm>
                  <a:off x="5173770" y="7126058"/>
                  <a:ext cx="737081" cy="406960"/>
                </a:xfrm>
                <a:custGeom>
                  <a:avLst/>
                  <a:gdLst>
                    <a:gd name="T0" fmla="*/ 926 w 964"/>
                    <a:gd name="T1" fmla="*/ 0 h 532"/>
                    <a:gd name="T2" fmla="*/ 38 w 964"/>
                    <a:gd name="T3" fmla="*/ 0 h 532"/>
                    <a:gd name="T4" fmla="*/ 0 w 964"/>
                    <a:gd name="T5" fmla="*/ 38 h 532"/>
                    <a:gd name="T6" fmla="*/ 0 w 964"/>
                    <a:gd name="T7" fmla="*/ 532 h 532"/>
                    <a:gd name="T8" fmla="*/ 964 w 964"/>
                    <a:gd name="T9" fmla="*/ 532 h 532"/>
                    <a:gd name="T10" fmla="*/ 964 w 964"/>
                    <a:gd name="T11" fmla="*/ 38 h 532"/>
                    <a:gd name="T12" fmla="*/ 926 w 964"/>
                    <a:gd name="T13" fmla="*/ 0 h 532"/>
                    <a:gd name="T14" fmla="*/ 195 w 964"/>
                    <a:gd name="T15" fmla="*/ 479 h 532"/>
                    <a:gd name="T16" fmla="*/ 183 w 964"/>
                    <a:gd name="T17" fmla="*/ 492 h 532"/>
                    <a:gd name="T18" fmla="*/ 144 w 964"/>
                    <a:gd name="T19" fmla="*/ 492 h 532"/>
                    <a:gd name="T20" fmla="*/ 132 w 964"/>
                    <a:gd name="T21" fmla="*/ 479 h 532"/>
                    <a:gd name="T22" fmla="*/ 132 w 964"/>
                    <a:gd name="T23" fmla="*/ 101 h 532"/>
                    <a:gd name="T24" fmla="*/ 144 w 964"/>
                    <a:gd name="T25" fmla="*/ 89 h 532"/>
                    <a:gd name="T26" fmla="*/ 183 w 964"/>
                    <a:gd name="T27" fmla="*/ 89 h 532"/>
                    <a:gd name="T28" fmla="*/ 195 w 964"/>
                    <a:gd name="T29" fmla="*/ 101 h 532"/>
                    <a:gd name="T30" fmla="*/ 195 w 964"/>
                    <a:gd name="T31" fmla="*/ 479 h 532"/>
                    <a:gd name="T32" fmla="*/ 860 w 964"/>
                    <a:gd name="T33" fmla="*/ 241 h 532"/>
                    <a:gd name="T34" fmla="*/ 663 w 964"/>
                    <a:gd name="T35" fmla="*/ 241 h 532"/>
                    <a:gd name="T36" fmla="*/ 663 w 964"/>
                    <a:gd name="T37" fmla="*/ 201 h 532"/>
                    <a:gd name="T38" fmla="*/ 860 w 964"/>
                    <a:gd name="T39" fmla="*/ 201 h 532"/>
                    <a:gd name="T40" fmla="*/ 860 w 964"/>
                    <a:gd name="T41" fmla="*/ 241 h 5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64" h="532">
                      <a:moveTo>
                        <a:pt x="926" y="0"/>
                      </a:move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532"/>
                        <a:pt x="0" y="532"/>
                        <a:pt x="0" y="532"/>
                      </a:cubicBezTo>
                      <a:cubicBezTo>
                        <a:pt x="964" y="532"/>
                        <a:pt x="964" y="532"/>
                        <a:pt x="964" y="532"/>
                      </a:cubicBezTo>
                      <a:cubicBezTo>
                        <a:pt x="964" y="38"/>
                        <a:pt x="964" y="38"/>
                        <a:pt x="964" y="38"/>
                      </a:cubicBezTo>
                      <a:cubicBezTo>
                        <a:pt x="964" y="17"/>
                        <a:pt x="947" y="0"/>
                        <a:pt x="926" y="0"/>
                      </a:cubicBezTo>
                      <a:close/>
                      <a:moveTo>
                        <a:pt x="195" y="479"/>
                      </a:moveTo>
                      <a:cubicBezTo>
                        <a:pt x="195" y="486"/>
                        <a:pt x="190" y="492"/>
                        <a:pt x="183" y="492"/>
                      </a:cubicBezTo>
                      <a:cubicBezTo>
                        <a:pt x="144" y="492"/>
                        <a:pt x="144" y="492"/>
                        <a:pt x="144" y="492"/>
                      </a:cubicBezTo>
                      <a:cubicBezTo>
                        <a:pt x="137" y="492"/>
                        <a:pt x="132" y="486"/>
                        <a:pt x="132" y="479"/>
                      </a:cubicBezTo>
                      <a:cubicBezTo>
                        <a:pt x="132" y="101"/>
                        <a:pt x="132" y="101"/>
                        <a:pt x="132" y="101"/>
                      </a:cubicBezTo>
                      <a:cubicBezTo>
                        <a:pt x="132" y="94"/>
                        <a:pt x="137" y="89"/>
                        <a:pt x="144" y="89"/>
                      </a:cubicBezTo>
                      <a:cubicBezTo>
                        <a:pt x="183" y="89"/>
                        <a:pt x="183" y="89"/>
                        <a:pt x="183" y="89"/>
                      </a:cubicBezTo>
                      <a:cubicBezTo>
                        <a:pt x="190" y="89"/>
                        <a:pt x="195" y="94"/>
                        <a:pt x="195" y="101"/>
                      </a:cubicBezTo>
                      <a:lnTo>
                        <a:pt x="195" y="479"/>
                      </a:lnTo>
                      <a:close/>
                      <a:moveTo>
                        <a:pt x="860" y="241"/>
                      </a:moveTo>
                      <a:cubicBezTo>
                        <a:pt x="663" y="241"/>
                        <a:pt x="663" y="241"/>
                        <a:pt x="663" y="241"/>
                      </a:cubicBezTo>
                      <a:cubicBezTo>
                        <a:pt x="663" y="201"/>
                        <a:pt x="663" y="201"/>
                        <a:pt x="663" y="201"/>
                      </a:cubicBezTo>
                      <a:cubicBezTo>
                        <a:pt x="860" y="201"/>
                        <a:pt x="860" y="201"/>
                        <a:pt x="860" y="201"/>
                      </a:cubicBezTo>
                      <a:lnTo>
                        <a:pt x="860" y="24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7" name="Freeform 190"/>
                <p:cNvSpPr>
                  <a:spLocks noEditPoints="1"/>
                </p:cNvSpPr>
                <p:nvPr/>
              </p:nvSpPr>
              <p:spPr bwMode="auto">
                <a:xfrm>
                  <a:off x="5173770" y="7567169"/>
                  <a:ext cx="737081" cy="697239"/>
                </a:xfrm>
                <a:custGeom>
                  <a:avLst/>
                  <a:gdLst>
                    <a:gd name="T0" fmla="*/ 0 w 964"/>
                    <a:gd name="T1" fmla="*/ 875 h 913"/>
                    <a:gd name="T2" fmla="*/ 38 w 964"/>
                    <a:gd name="T3" fmla="*/ 913 h 913"/>
                    <a:gd name="T4" fmla="*/ 926 w 964"/>
                    <a:gd name="T5" fmla="*/ 913 h 913"/>
                    <a:gd name="T6" fmla="*/ 964 w 964"/>
                    <a:gd name="T7" fmla="*/ 875 h 913"/>
                    <a:gd name="T8" fmla="*/ 964 w 964"/>
                    <a:gd name="T9" fmla="*/ 0 h 913"/>
                    <a:gd name="T10" fmla="*/ 0 w 964"/>
                    <a:gd name="T11" fmla="*/ 0 h 913"/>
                    <a:gd name="T12" fmla="*/ 0 w 964"/>
                    <a:gd name="T13" fmla="*/ 875 h 913"/>
                    <a:gd name="T14" fmla="*/ 132 w 964"/>
                    <a:gd name="T15" fmla="*/ 65 h 913"/>
                    <a:gd name="T16" fmla="*/ 144 w 964"/>
                    <a:gd name="T17" fmla="*/ 53 h 913"/>
                    <a:gd name="T18" fmla="*/ 183 w 964"/>
                    <a:gd name="T19" fmla="*/ 53 h 913"/>
                    <a:gd name="T20" fmla="*/ 195 w 964"/>
                    <a:gd name="T21" fmla="*/ 65 h 913"/>
                    <a:gd name="T22" fmla="*/ 195 w 964"/>
                    <a:gd name="T23" fmla="*/ 635 h 913"/>
                    <a:gd name="T24" fmla="*/ 183 w 964"/>
                    <a:gd name="T25" fmla="*/ 647 h 913"/>
                    <a:gd name="T26" fmla="*/ 144 w 964"/>
                    <a:gd name="T27" fmla="*/ 647 h 913"/>
                    <a:gd name="T28" fmla="*/ 132 w 964"/>
                    <a:gd name="T29" fmla="*/ 635 h 913"/>
                    <a:gd name="T30" fmla="*/ 132 w 964"/>
                    <a:gd name="T31" fmla="*/ 65 h 9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964" h="913">
                      <a:moveTo>
                        <a:pt x="0" y="875"/>
                      </a:moveTo>
                      <a:cubicBezTo>
                        <a:pt x="0" y="896"/>
                        <a:pt x="17" y="913"/>
                        <a:pt x="38" y="913"/>
                      </a:cubicBezTo>
                      <a:cubicBezTo>
                        <a:pt x="926" y="913"/>
                        <a:pt x="926" y="913"/>
                        <a:pt x="926" y="913"/>
                      </a:cubicBezTo>
                      <a:cubicBezTo>
                        <a:pt x="947" y="913"/>
                        <a:pt x="964" y="896"/>
                        <a:pt x="964" y="875"/>
                      </a:cubicBezTo>
                      <a:cubicBezTo>
                        <a:pt x="964" y="0"/>
                        <a:pt x="964" y="0"/>
                        <a:pt x="96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875"/>
                      </a:lnTo>
                      <a:close/>
                      <a:moveTo>
                        <a:pt x="132" y="65"/>
                      </a:moveTo>
                      <a:cubicBezTo>
                        <a:pt x="132" y="59"/>
                        <a:pt x="137" y="53"/>
                        <a:pt x="144" y="53"/>
                      </a:cubicBezTo>
                      <a:cubicBezTo>
                        <a:pt x="183" y="53"/>
                        <a:pt x="183" y="53"/>
                        <a:pt x="183" y="53"/>
                      </a:cubicBezTo>
                      <a:cubicBezTo>
                        <a:pt x="190" y="53"/>
                        <a:pt x="195" y="59"/>
                        <a:pt x="195" y="65"/>
                      </a:cubicBezTo>
                      <a:cubicBezTo>
                        <a:pt x="195" y="635"/>
                        <a:pt x="195" y="635"/>
                        <a:pt x="195" y="635"/>
                      </a:cubicBezTo>
                      <a:cubicBezTo>
                        <a:pt x="195" y="642"/>
                        <a:pt x="190" y="647"/>
                        <a:pt x="183" y="647"/>
                      </a:cubicBezTo>
                      <a:cubicBezTo>
                        <a:pt x="144" y="647"/>
                        <a:pt x="144" y="647"/>
                        <a:pt x="144" y="647"/>
                      </a:cubicBezTo>
                      <a:cubicBezTo>
                        <a:pt x="137" y="647"/>
                        <a:pt x="132" y="642"/>
                        <a:pt x="132" y="635"/>
                      </a:cubicBezTo>
                      <a:lnTo>
                        <a:pt x="132" y="65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8" name="Freeform 191"/>
                <p:cNvSpPr>
                  <a:spLocks/>
                </p:cNvSpPr>
                <p:nvPr/>
              </p:nvSpPr>
              <p:spPr bwMode="auto">
                <a:xfrm>
                  <a:off x="5190845" y="8287173"/>
                  <a:ext cx="694392" cy="96760"/>
                </a:xfrm>
                <a:custGeom>
                  <a:avLst/>
                  <a:gdLst>
                    <a:gd name="T0" fmla="*/ 0 w 908"/>
                    <a:gd name="T1" fmla="*/ 74 h 127"/>
                    <a:gd name="T2" fmla="*/ 42 w 908"/>
                    <a:gd name="T3" fmla="*/ 74 h 127"/>
                    <a:gd name="T4" fmla="*/ 42 w 908"/>
                    <a:gd name="T5" fmla="*/ 101 h 127"/>
                    <a:gd name="T6" fmla="*/ 67 w 908"/>
                    <a:gd name="T7" fmla="*/ 126 h 127"/>
                    <a:gd name="T8" fmla="*/ 152 w 908"/>
                    <a:gd name="T9" fmla="*/ 126 h 127"/>
                    <a:gd name="T10" fmla="*/ 177 w 908"/>
                    <a:gd name="T11" fmla="*/ 101 h 127"/>
                    <a:gd name="T12" fmla="*/ 177 w 908"/>
                    <a:gd name="T13" fmla="*/ 74 h 127"/>
                    <a:gd name="T14" fmla="*/ 727 w 908"/>
                    <a:gd name="T15" fmla="*/ 74 h 127"/>
                    <a:gd name="T16" fmla="*/ 727 w 908"/>
                    <a:gd name="T17" fmla="*/ 101 h 127"/>
                    <a:gd name="T18" fmla="*/ 752 w 908"/>
                    <a:gd name="T19" fmla="*/ 127 h 127"/>
                    <a:gd name="T20" fmla="*/ 837 w 908"/>
                    <a:gd name="T21" fmla="*/ 127 h 127"/>
                    <a:gd name="T22" fmla="*/ 862 w 908"/>
                    <a:gd name="T23" fmla="*/ 102 h 127"/>
                    <a:gd name="T24" fmla="*/ 862 w 908"/>
                    <a:gd name="T25" fmla="*/ 74 h 127"/>
                    <a:gd name="T26" fmla="*/ 908 w 908"/>
                    <a:gd name="T27" fmla="*/ 74 h 127"/>
                    <a:gd name="T28" fmla="*/ 908 w 908"/>
                    <a:gd name="T29" fmla="*/ 0 h 127"/>
                    <a:gd name="T30" fmla="*/ 0 w 908"/>
                    <a:gd name="T31" fmla="*/ 0 h 127"/>
                    <a:gd name="T32" fmla="*/ 0 w 908"/>
                    <a:gd name="T33" fmla="*/ 74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8" h="127">
                      <a:moveTo>
                        <a:pt x="0" y="74"/>
                      </a:moveTo>
                      <a:cubicBezTo>
                        <a:pt x="42" y="74"/>
                        <a:pt x="42" y="74"/>
                        <a:pt x="42" y="74"/>
                      </a:cubicBezTo>
                      <a:cubicBezTo>
                        <a:pt x="42" y="101"/>
                        <a:pt x="42" y="101"/>
                        <a:pt x="42" y="101"/>
                      </a:cubicBezTo>
                      <a:cubicBezTo>
                        <a:pt x="42" y="114"/>
                        <a:pt x="53" y="126"/>
                        <a:pt x="67" y="126"/>
                      </a:cubicBezTo>
                      <a:cubicBezTo>
                        <a:pt x="152" y="126"/>
                        <a:pt x="152" y="126"/>
                        <a:pt x="152" y="126"/>
                      </a:cubicBezTo>
                      <a:cubicBezTo>
                        <a:pt x="166" y="126"/>
                        <a:pt x="177" y="115"/>
                        <a:pt x="177" y="101"/>
                      </a:cubicBezTo>
                      <a:cubicBezTo>
                        <a:pt x="177" y="74"/>
                        <a:pt x="177" y="74"/>
                        <a:pt x="177" y="74"/>
                      </a:cubicBezTo>
                      <a:cubicBezTo>
                        <a:pt x="727" y="74"/>
                        <a:pt x="727" y="74"/>
                        <a:pt x="727" y="74"/>
                      </a:cubicBezTo>
                      <a:cubicBezTo>
                        <a:pt x="727" y="101"/>
                        <a:pt x="727" y="101"/>
                        <a:pt x="727" y="101"/>
                      </a:cubicBezTo>
                      <a:cubicBezTo>
                        <a:pt x="727" y="115"/>
                        <a:pt x="738" y="127"/>
                        <a:pt x="752" y="127"/>
                      </a:cubicBezTo>
                      <a:cubicBezTo>
                        <a:pt x="837" y="127"/>
                        <a:pt x="837" y="127"/>
                        <a:pt x="837" y="127"/>
                      </a:cubicBezTo>
                      <a:cubicBezTo>
                        <a:pt x="851" y="127"/>
                        <a:pt x="862" y="115"/>
                        <a:pt x="862" y="102"/>
                      </a:cubicBezTo>
                      <a:cubicBezTo>
                        <a:pt x="862" y="74"/>
                        <a:pt x="862" y="74"/>
                        <a:pt x="862" y="74"/>
                      </a:cubicBezTo>
                      <a:cubicBezTo>
                        <a:pt x="908" y="74"/>
                        <a:pt x="908" y="74"/>
                        <a:pt x="908" y="74"/>
                      </a:cubicBezTo>
                      <a:cubicBezTo>
                        <a:pt x="908" y="0"/>
                        <a:pt x="908" y="0"/>
                        <a:pt x="90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74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59" name="Freeform 192"/>
                <p:cNvSpPr>
                  <a:spLocks noEditPoints="1"/>
                </p:cNvSpPr>
                <p:nvPr/>
              </p:nvSpPr>
              <p:spPr bwMode="auto">
                <a:xfrm>
                  <a:off x="6041761" y="7555786"/>
                  <a:ext cx="700084" cy="828149"/>
                </a:xfrm>
                <a:custGeom>
                  <a:avLst/>
                  <a:gdLst>
                    <a:gd name="T0" fmla="*/ 0 w 914"/>
                    <a:gd name="T1" fmla="*/ 1011 h 1085"/>
                    <a:gd name="T2" fmla="*/ 73 w 914"/>
                    <a:gd name="T3" fmla="*/ 1085 h 1085"/>
                    <a:gd name="T4" fmla="*/ 841 w 914"/>
                    <a:gd name="T5" fmla="*/ 1085 h 1085"/>
                    <a:gd name="T6" fmla="*/ 914 w 914"/>
                    <a:gd name="T7" fmla="*/ 1011 h 1085"/>
                    <a:gd name="T8" fmla="*/ 914 w 914"/>
                    <a:gd name="T9" fmla="*/ 0 h 1085"/>
                    <a:gd name="T10" fmla="*/ 0 w 914"/>
                    <a:gd name="T11" fmla="*/ 0 h 1085"/>
                    <a:gd name="T12" fmla="*/ 0 w 914"/>
                    <a:gd name="T13" fmla="*/ 1011 h 1085"/>
                    <a:gd name="T14" fmla="*/ 457 w 914"/>
                    <a:gd name="T15" fmla="*/ 858 h 1085"/>
                    <a:gd name="T16" fmla="*/ 182 w 914"/>
                    <a:gd name="T17" fmla="*/ 582 h 1085"/>
                    <a:gd name="T18" fmla="*/ 457 w 914"/>
                    <a:gd name="T19" fmla="*/ 307 h 1085"/>
                    <a:gd name="T20" fmla="*/ 732 w 914"/>
                    <a:gd name="T21" fmla="*/ 582 h 1085"/>
                    <a:gd name="T22" fmla="*/ 457 w 914"/>
                    <a:gd name="T23" fmla="*/ 858 h 1085"/>
                    <a:gd name="T24" fmla="*/ 834 w 914"/>
                    <a:gd name="T25" fmla="*/ 85 h 1085"/>
                    <a:gd name="T26" fmla="*/ 834 w 914"/>
                    <a:gd name="T27" fmla="*/ 147 h 1085"/>
                    <a:gd name="T28" fmla="*/ 816 w 914"/>
                    <a:gd name="T29" fmla="*/ 165 h 1085"/>
                    <a:gd name="T30" fmla="*/ 713 w 914"/>
                    <a:gd name="T31" fmla="*/ 165 h 1085"/>
                    <a:gd name="T32" fmla="*/ 713 w 914"/>
                    <a:gd name="T33" fmla="*/ 66 h 1085"/>
                    <a:gd name="T34" fmla="*/ 816 w 914"/>
                    <a:gd name="T35" fmla="*/ 66 h 1085"/>
                    <a:gd name="T36" fmla="*/ 834 w 914"/>
                    <a:gd name="T37" fmla="*/ 85 h 1085"/>
                    <a:gd name="T38" fmla="*/ 562 w 914"/>
                    <a:gd name="T39" fmla="*/ 85 h 1085"/>
                    <a:gd name="T40" fmla="*/ 580 w 914"/>
                    <a:gd name="T41" fmla="*/ 66 h 1085"/>
                    <a:gd name="T42" fmla="*/ 683 w 914"/>
                    <a:gd name="T43" fmla="*/ 66 h 1085"/>
                    <a:gd name="T44" fmla="*/ 683 w 914"/>
                    <a:gd name="T45" fmla="*/ 165 h 1085"/>
                    <a:gd name="T46" fmla="*/ 580 w 914"/>
                    <a:gd name="T47" fmla="*/ 165 h 1085"/>
                    <a:gd name="T48" fmla="*/ 562 w 914"/>
                    <a:gd name="T49" fmla="*/ 147 h 1085"/>
                    <a:gd name="T50" fmla="*/ 562 w 914"/>
                    <a:gd name="T51" fmla="*/ 85 h 1085"/>
                    <a:gd name="T52" fmla="*/ 60 w 914"/>
                    <a:gd name="T53" fmla="*/ 84 h 1085"/>
                    <a:gd name="T54" fmla="*/ 78 w 914"/>
                    <a:gd name="T55" fmla="*/ 65 h 1085"/>
                    <a:gd name="T56" fmla="*/ 478 w 914"/>
                    <a:gd name="T57" fmla="*/ 65 h 1085"/>
                    <a:gd name="T58" fmla="*/ 496 w 914"/>
                    <a:gd name="T59" fmla="*/ 84 h 1085"/>
                    <a:gd name="T60" fmla="*/ 496 w 914"/>
                    <a:gd name="T61" fmla="*/ 146 h 1085"/>
                    <a:gd name="T62" fmla="*/ 478 w 914"/>
                    <a:gd name="T63" fmla="*/ 164 h 1085"/>
                    <a:gd name="T64" fmla="*/ 78 w 914"/>
                    <a:gd name="T65" fmla="*/ 164 h 1085"/>
                    <a:gd name="T66" fmla="*/ 60 w 914"/>
                    <a:gd name="T67" fmla="*/ 146 h 1085"/>
                    <a:gd name="T68" fmla="*/ 60 w 914"/>
                    <a:gd name="T69" fmla="*/ 84 h 10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914" h="1085">
                      <a:moveTo>
                        <a:pt x="0" y="1011"/>
                      </a:moveTo>
                      <a:cubicBezTo>
                        <a:pt x="0" y="1052"/>
                        <a:pt x="33" y="1085"/>
                        <a:pt x="73" y="1085"/>
                      </a:cubicBezTo>
                      <a:cubicBezTo>
                        <a:pt x="841" y="1085"/>
                        <a:pt x="841" y="1085"/>
                        <a:pt x="841" y="1085"/>
                      </a:cubicBezTo>
                      <a:cubicBezTo>
                        <a:pt x="881" y="1085"/>
                        <a:pt x="914" y="1052"/>
                        <a:pt x="914" y="1011"/>
                      </a:cubicBezTo>
                      <a:cubicBezTo>
                        <a:pt x="914" y="0"/>
                        <a:pt x="914" y="0"/>
                        <a:pt x="91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011"/>
                      </a:lnTo>
                      <a:close/>
                      <a:moveTo>
                        <a:pt x="457" y="858"/>
                      </a:moveTo>
                      <a:cubicBezTo>
                        <a:pt x="305" y="858"/>
                        <a:pt x="182" y="734"/>
                        <a:pt x="182" y="582"/>
                      </a:cubicBezTo>
                      <a:cubicBezTo>
                        <a:pt x="182" y="430"/>
                        <a:pt x="305" y="307"/>
                        <a:pt x="457" y="307"/>
                      </a:cubicBezTo>
                      <a:cubicBezTo>
                        <a:pt x="609" y="307"/>
                        <a:pt x="732" y="430"/>
                        <a:pt x="732" y="582"/>
                      </a:cubicBezTo>
                      <a:cubicBezTo>
                        <a:pt x="732" y="734"/>
                        <a:pt x="609" y="858"/>
                        <a:pt x="457" y="858"/>
                      </a:cubicBezTo>
                      <a:close/>
                      <a:moveTo>
                        <a:pt x="834" y="85"/>
                      </a:moveTo>
                      <a:cubicBezTo>
                        <a:pt x="834" y="147"/>
                        <a:pt x="834" y="147"/>
                        <a:pt x="834" y="147"/>
                      </a:cubicBezTo>
                      <a:cubicBezTo>
                        <a:pt x="834" y="157"/>
                        <a:pt x="826" y="165"/>
                        <a:pt x="816" y="165"/>
                      </a:cubicBezTo>
                      <a:cubicBezTo>
                        <a:pt x="713" y="165"/>
                        <a:pt x="713" y="165"/>
                        <a:pt x="713" y="165"/>
                      </a:cubicBezTo>
                      <a:cubicBezTo>
                        <a:pt x="713" y="66"/>
                        <a:pt x="713" y="66"/>
                        <a:pt x="713" y="66"/>
                      </a:cubicBezTo>
                      <a:cubicBezTo>
                        <a:pt x="816" y="66"/>
                        <a:pt x="816" y="66"/>
                        <a:pt x="816" y="66"/>
                      </a:cubicBezTo>
                      <a:cubicBezTo>
                        <a:pt x="826" y="66"/>
                        <a:pt x="834" y="75"/>
                        <a:pt x="834" y="85"/>
                      </a:cubicBezTo>
                      <a:close/>
                      <a:moveTo>
                        <a:pt x="562" y="85"/>
                      </a:moveTo>
                      <a:cubicBezTo>
                        <a:pt x="562" y="75"/>
                        <a:pt x="570" y="66"/>
                        <a:pt x="580" y="66"/>
                      </a:cubicBezTo>
                      <a:cubicBezTo>
                        <a:pt x="683" y="66"/>
                        <a:pt x="683" y="66"/>
                        <a:pt x="683" y="66"/>
                      </a:cubicBezTo>
                      <a:cubicBezTo>
                        <a:pt x="683" y="165"/>
                        <a:pt x="683" y="165"/>
                        <a:pt x="683" y="165"/>
                      </a:cubicBezTo>
                      <a:cubicBezTo>
                        <a:pt x="580" y="165"/>
                        <a:pt x="580" y="165"/>
                        <a:pt x="580" y="165"/>
                      </a:cubicBezTo>
                      <a:cubicBezTo>
                        <a:pt x="570" y="165"/>
                        <a:pt x="562" y="157"/>
                        <a:pt x="562" y="147"/>
                      </a:cubicBezTo>
                      <a:lnTo>
                        <a:pt x="562" y="85"/>
                      </a:lnTo>
                      <a:close/>
                      <a:moveTo>
                        <a:pt x="60" y="84"/>
                      </a:moveTo>
                      <a:cubicBezTo>
                        <a:pt x="60" y="73"/>
                        <a:pt x="68" y="65"/>
                        <a:pt x="78" y="65"/>
                      </a:cubicBezTo>
                      <a:cubicBezTo>
                        <a:pt x="478" y="65"/>
                        <a:pt x="478" y="65"/>
                        <a:pt x="478" y="65"/>
                      </a:cubicBezTo>
                      <a:cubicBezTo>
                        <a:pt x="488" y="65"/>
                        <a:pt x="496" y="73"/>
                        <a:pt x="496" y="84"/>
                      </a:cubicBezTo>
                      <a:cubicBezTo>
                        <a:pt x="496" y="146"/>
                        <a:pt x="496" y="146"/>
                        <a:pt x="496" y="146"/>
                      </a:cubicBezTo>
                      <a:cubicBezTo>
                        <a:pt x="496" y="156"/>
                        <a:pt x="488" y="164"/>
                        <a:pt x="478" y="164"/>
                      </a:cubicBezTo>
                      <a:cubicBezTo>
                        <a:pt x="78" y="164"/>
                        <a:pt x="78" y="164"/>
                        <a:pt x="78" y="164"/>
                      </a:cubicBezTo>
                      <a:cubicBezTo>
                        <a:pt x="68" y="164"/>
                        <a:pt x="60" y="156"/>
                        <a:pt x="60" y="146"/>
                      </a:cubicBezTo>
                      <a:lnTo>
                        <a:pt x="60" y="84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0" name="Freeform 193"/>
                <p:cNvSpPr>
                  <a:spLocks noEditPoints="1"/>
                </p:cNvSpPr>
                <p:nvPr/>
              </p:nvSpPr>
              <p:spPr bwMode="auto">
                <a:xfrm>
                  <a:off x="6218205" y="7826142"/>
                  <a:ext cx="347196" cy="347196"/>
                </a:xfrm>
                <a:custGeom>
                  <a:avLst/>
                  <a:gdLst>
                    <a:gd name="T0" fmla="*/ 226 w 452"/>
                    <a:gd name="T1" fmla="*/ 0 h 453"/>
                    <a:gd name="T2" fmla="*/ 0 w 452"/>
                    <a:gd name="T3" fmla="*/ 226 h 453"/>
                    <a:gd name="T4" fmla="*/ 226 w 452"/>
                    <a:gd name="T5" fmla="*/ 453 h 453"/>
                    <a:gd name="T6" fmla="*/ 452 w 452"/>
                    <a:gd name="T7" fmla="*/ 226 h 453"/>
                    <a:gd name="T8" fmla="*/ 226 w 452"/>
                    <a:gd name="T9" fmla="*/ 0 h 453"/>
                    <a:gd name="T10" fmla="*/ 407 w 452"/>
                    <a:gd name="T11" fmla="*/ 269 h 453"/>
                    <a:gd name="T12" fmla="*/ 407 w 452"/>
                    <a:gd name="T13" fmla="*/ 269 h 453"/>
                    <a:gd name="T14" fmla="*/ 351 w 452"/>
                    <a:gd name="T15" fmla="*/ 236 h 453"/>
                    <a:gd name="T16" fmla="*/ 341 w 452"/>
                    <a:gd name="T17" fmla="*/ 236 h 453"/>
                    <a:gd name="T18" fmla="*/ 286 w 452"/>
                    <a:gd name="T19" fmla="*/ 269 h 453"/>
                    <a:gd name="T20" fmla="*/ 230 w 452"/>
                    <a:gd name="T21" fmla="*/ 236 h 453"/>
                    <a:gd name="T22" fmla="*/ 220 w 452"/>
                    <a:gd name="T23" fmla="*/ 236 h 453"/>
                    <a:gd name="T24" fmla="*/ 164 w 452"/>
                    <a:gd name="T25" fmla="*/ 269 h 453"/>
                    <a:gd name="T26" fmla="*/ 109 w 452"/>
                    <a:gd name="T27" fmla="*/ 236 h 453"/>
                    <a:gd name="T28" fmla="*/ 99 w 452"/>
                    <a:gd name="T29" fmla="*/ 236 h 453"/>
                    <a:gd name="T30" fmla="*/ 45 w 452"/>
                    <a:gd name="T31" fmla="*/ 269 h 453"/>
                    <a:gd name="T32" fmla="*/ 40 w 452"/>
                    <a:gd name="T33" fmla="*/ 226 h 453"/>
                    <a:gd name="T34" fmla="*/ 226 w 452"/>
                    <a:gd name="T35" fmla="*/ 40 h 453"/>
                    <a:gd name="T36" fmla="*/ 412 w 452"/>
                    <a:gd name="T37" fmla="*/ 226 h 453"/>
                    <a:gd name="T38" fmla="*/ 407 w 452"/>
                    <a:gd name="T39" fmla="*/ 269 h 4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452" h="453">
                      <a:moveTo>
                        <a:pt x="226" y="0"/>
                      </a:moveTo>
                      <a:cubicBezTo>
                        <a:pt x="101" y="0"/>
                        <a:pt x="0" y="101"/>
                        <a:pt x="0" y="226"/>
                      </a:cubicBezTo>
                      <a:cubicBezTo>
                        <a:pt x="0" y="351"/>
                        <a:pt x="101" y="453"/>
                        <a:pt x="226" y="453"/>
                      </a:cubicBezTo>
                      <a:cubicBezTo>
                        <a:pt x="351" y="453"/>
                        <a:pt x="452" y="351"/>
                        <a:pt x="452" y="226"/>
                      </a:cubicBezTo>
                      <a:cubicBezTo>
                        <a:pt x="452" y="101"/>
                        <a:pt x="351" y="0"/>
                        <a:pt x="226" y="0"/>
                      </a:cubicBezTo>
                      <a:close/>
                      <a:moveTo>
                        <a:pt x="407" y="269"/>
                      </a:moveTo>
                      <a:cubicBezTo>
                        <a:pt x="407" y="269"/>
                        <a:pt x="407" y="269"/>
                        <a:pt x="407" y="269"/>
                      </a:cubicBezTo>
                      <a:cubicBezTo>
                        <a:pt x="383" y="269"/>
                        <a:pt x="362" y="256"/>
                        <a:pt x="351" y="236"/>
                      </a:cubicBezTo>
                      <a:cubicBezTo>
                        <a:pt x="349" y="232"/>
                        <a:pt x="343" y="232"/>
                        <a:pt x="341" y="236"/>
                      </a:cubicBezTo>
                      <a:cubicBezTo>
                        <a:pt x="330" y="256"/>
                        <a:pt x="310" y="269"/>
                        <a:pt x="286" y="269"/>
                      </a:cubicBezTo>
                      <a:cubicBezTo>
                        <a:pt x="262" y="269"/>
                        <a:pt x="241" y="256"/>
                        <a:pt x="230" y="236"/>
                      </a:cubicBezTo>
                      <a:cubicBezTo>
                        <a:pt x="228" y="232"/>
                        <a:pt x="222" y="232"/>
                        <a:pt x="220" y="236"/>
                      </a:cubicBezTo>
                      <a:cubicBezTo>
                        <a:pt x="209" y="256"/>
                        <a:pt x="188" y="269"/>
                        <a:pt x="164" y="269"/>
                      </a:cubicBezTo>
                      <a:cubicBezTo>
                        <a:pt x="140" y="269"/>
                        <a:pt x="120" y="256"/>
                        <a:pt x="109" y="236"/>
                      </a:cubicBezTo>
                      <a:cubicBezTo>
                        <a:pt x="106" y="232"/>
                        <a:pt x="101" y="232"/>
                        <a:pt x="99" y="236"/>
                      </a:cubicBezTo>
                      <a:cubicBezTo>
                        <a:pt x="88" y="255"/>
                        <a:pt x="68" y="268"/>
                        <a:pt x="45" y="269"/>
                      </a:cubicBezTo>
                      <a:cubicBezTo>
                        <a:pt x="41" y="255"/>
                        <a:pt x="40" y="241"/>
                        <a:pt x="40" y="226"/>
                      </a:cubicBezTo>
                      <a:cubicBezTo>
                        <a:pt x="40" y="124"/>
                        <a:pt x="123" y="40"/>
                        <a:pt x="226" y="40"/>
                      </a:cubicBezTo>
                      <a:cubicBezTo>
                        <a:pt x="329" y="40"/>
                        <a:pt x="412" y="124"/>
                        <a:pt x="412" y="226"/>
                      </a:cubicBezTo>
                      <a:cubicBezTo>
                        <a:pt x="412" y="241"/>
                        <a:pt x="410" y="255"/>
                        <a:pt x="407" y="26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1" name="Freeform 194"/>
                <p:cNvSpPr>
                  <a:spLocks/>
                </p:cNvSpPr>
                <p:nvPr/>
              </p:nvSpPr>
              <p:spPr bwMode="auto">
                <a:xfrm>
                  <a:off x="6107215" y="7498868"/>
                  <a:ext cx="566329" cy="36997"/>
                </a:xfrm>
                <a:custGeom>
                  <a:avLst/>
                  <a:gdLst>
                    <a:gd name="T0" fmla="*/ 706 w 742"/>
                    <a:gd name="T1" fmla="*/ 0 h 47"/>
                    <a:gd name="T2" fmla="*/ 36 w 742"/>
                    <a:gd name="T3" fmla="*/ 0 h 47"/>
                    <a:gd name="T4" fmla="*/ 0 w 742"/>
                    <a:gd name="T5" fmla="*/ 37 h 47"/>
                    <a:gd name="T6" fmla="*/ 0 w 742"/>
                    <a:gd name="T7" fmla="*/ 47 h 47"/>
                    <a:gd name="T8" fmla="*/ 742 w 742"/>
                    <a:gd name="T9" fmla="*/ 47 h 47"/>
                    <a:gd name="T10" fmla="*/ 742 w 742"/>
                    <a:gd name="T11" fmla="*/ 37 h 47"/>
                    <a:gd name="T12" fmla="*/ 706 w 742"/>
                    <a:gd name="T13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42" h="47">
                      <a:moveTo>
                        <a:pt x="70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6" y="0"/>
                        <a:pt x="0" y="16"/>
                        <a:pt x="0" y="37"/>
                      </a:cubicBezTo>
                      <a:cubicBezTo>
                        <a:pt x="0" y="47"/>
                        <a:pt x="0" y="47"/>
                        <a:pt x="0" y="47"/>
                      </a:cubicBezTo>
                      <a:cubicBezTo>
                        <a:pt x="742" y="47"/>
                        <a:pt x="742" y="47"/>
                        <a:pt x="742" y="47"/>
                      </a:cubicBezTo>
                      <a:cubicBezTo>
                        <a:pt x="742" y="37"/>
                        <a:pt x="742" y="37"/>
                        <a:pt x="742" y="37"/>
                      </a:cubicBezTo>
                      <a:cubicBezTo>
                        <a:pt x="742" y="16"/>
                        <a:pt x="726" y="0"/>
                        <a:pt x="706" y="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2" name="Freeform 195"/>
                <p:cNvSpPr>
                  <a:spLocks/>
                </p:cNvSpPr>
                <p:nvPr/>
              </p:nvSpPr>
              <p:spPr bwMode="auto">
                <a:xfrm>
                  <a:off x="6277967" y="7612703"/>
                  <a:ext cx="8539" cy="28459"/>
                </a:xfrm>
                <a:custGeom>
                  <a:avLst/>
                  <a:gdLst>
                    <a:gd name="T0" fmla="*/ 0 w 11"/>
                    <a:gd name="T1" fmla="*/ 30 h 36"/>
                    <a:gd name="T2" fmla="*/ 5 w 11"/>
                    <a:gd name="T3" fmla="*/ 36 h 36"/>
                    <a:gd name="T4" fmla="*/ 8 w 11"/>
                    <a:gd name="T5" fmla="*/ 34 h 36"/>
                    <a:gd name="T6" fmla="*/ 11 w 11"/>
                    <a:gd name="T7" fmla="*/ 5 h 36"/>
                    <a:gd name="T8" fmla="*/ 6 w 11"/>
                    <a:gd name="T9" fmla="*/ 0 h 36"/>
                    <a:gd name="T10" fmla="*/ 2 w 11"/>
                    <a:gd name="T11" fmla="*/ 8 h 36"/>
                    <a:gd name="T12" fmla="*/ 0 w 11"/>
                    <a:gd name="T13" fmla="*/ 3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36">
                      <a:moveTo>
                        <a:pt x="0" y="30"/>
                      </a:moveTo>
                      <a:cubicBezTo>
                        <a:pt x="5" y="36"/>
                        <a:pt x="5" y="36"/>
                        <a:pt x="5" y="36"/>
                      </a:cubicBezTo>
                      <a:cubicBezTo>
                        <a:pt x="8" y="34"/>
                        <a:pt x="8" y="34"/>
                        <a:pt x="8" y="34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0" y="2"/>
                        <a:pt x="9" y="1"/>
                        <a:pt x="6" y="0"/>
                      </a:cubicBezTo>
                      <a:cubicBezTo>
                        <a:pt x="2" y="8"/>
                        <a:pt x="2" y="8"/>
                        <a:pt x="2" y="8"/>
                      </a:cubicBez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3" name="Freeform 196"/>
                <p:cNvSpPr>
                  <a:spLocks/>
                </p:cNvSpPr>
                <p:nvPr/>
              </p:nvSpPr>
              <p:spPr bwMode="auto">
                <a:xfrm>
                  <a:off x="6252355" y="7618395"/>
                  <a:ext cx="8539" cy="22767"/>
                </a:xfrm>
                <a:custGeom>
                  <a:avLst/>
                  <a:gdLst>
                    <a:gd name="T0" fmla="*/ 2 w 3"/>
                    <a:gd name="T1" fmla="*/ 6 h 8"/>
                    <a:gd name="T2" fmla="*/ 3 w 3"/>
                    <a:gd name="T3" fmla="*/ 1 h 8"/>
                    <a:gd name="T4" fmla="*/ 0 w 3"/>
                    <a:gd name="T5" fmla="*/ 0 h 8"/>
                    <a:gd name="T6" fmla="*/ 0 w 3"/>
                    <a:gd name="T7" fmla="*/ 7 h 8"/>
                    <a:gd name="T8" fmla="*/ 0 w 3"/>
                    <a:gd name="T9" fmla="*/ 8 h 8"/>
                    <a:gd name="T10" fmla="*/ 2 w 3"/>
                    <a:gd name="T11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8">
                      <a:moveTo>
                        <a:pt x="2" y="6"/>
                      </a:moveTo>
                      <a:lnTo>
                        <a:pt x="3" y="1"/>
                      </a:lnTo>
                      <a:lnTo>
                        <a:pt x="0" y="0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4" name="Freeform 197"/>
                <p:cNvSpPr>
                  <a:spLocks/>
                </p:cNvSpPr>
                <p:nvPr/>
              </p:nvSpPr>
              <p:spPr bwMode="auto">
                <a:xfrm>
                  <a:off x="6252355" y="7612703"/>
                  <a:ext cx="28459" cy="5692"/>
                </a:xfrm>
                <a:custGeom>
                  <a:avLst/>
                  <a:gdLst>
                    <a:gd name="T0" fmla="*/ 33 w 37"/>
                    <a:gd name="T1" fmla="*/ 8 h 8"/>
                    <a:gd name="T2" fmla="*/ 37 w 37"/>
                    <a:gd name="T3" fmla="*/ 0 h 8"/>
                    <a:gd name="T4" fmla="*/ 6 w 37"/>
                    <a:gd name="T5" fmla="*/ 0 h 8"/>
                    <a:gd name="T6" fmla="*/ 0 w 37"/>
                    <a:gd name="T7" fmla="*/ 5 h 8"/>
                    <a:gd name="T8" fmla="*/ 8 w 37"/>
                    <a:gd name="T9" fmla="*/ 8 h 8"/>
                    <a:gd name="T10" fmla="*/ 33 w 37"/>
                    <a:gd name="T1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8">
                      <a:moveTo>
                        <a:pt x="33" y="8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1"/>
                        <a:pt x="1" y="2"/>
                        <a:pt x="0" y="5"/>
                      </a:cubicBezTo>
                      <a:cubicBezTo>
                        <a:pt x="8" y="8"/>
                        <a:pt x="8" y="8"/>
                        <a:pt x="8" y="8"/>
                      </a:cubicBezTo>
                      <a:lnTo>
                        <a:pt x="33" y="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5" name="Freeform 198"/>
                <p:cNvSpPr>
                  <a:spLocks/>
                </p:cNvSpPr>
                <p:nvPr/>
              </p:nvSpPr>
              <p:spPr bwMode="auto">
                <a:xfrm>
                  <a:off x="6249508" y="7663929"/>
                  <a:ext cx="25614" cy="5692"/>
                </a:xfrm>
                <a:custGeom>
                  <a:avLst/>
                  <a:gdLst>
                    <a:gd name="T0" fmla="*/ 4 w 35"/>
                    <a:gd name="T1" fmla="*/ 9 h 9"/>
                    <a:gd name="T2" fmla="*/ 35 w 35"/>
                    <a:gd name="T3" fmla="*/ 9 h 9"/>
                    <a:gd name="T4" fmla="*/ 33 w 35"/>
                    <a:gd name="T5" fmla="*/ 0 h 9"/>
                    <a:gd name="T6" fmla="*/ 8 w 35"/>
                    <a:gd name="T7" fmla="*/ 0 h 9"/>
                    <a:gd name="T8" fmla="*/ 0 w 35"/>
                    <a:gd name="T9" fmla="*/ 3 h 9"/>
                    <a:gd name="T10" fmla="*/ 4 w 35"/>
                    <a:gd name="T1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" h="9">
                      <a:moveTo>
                        <a:pt x="4" y="9"/>
                      </a:moveTo>
                      <a:cubicBezTo>
                        <a:pt x="35" y="9"/>
                        <a:pt x="35" y="9"/>
                        <a:pt x="35" y="9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6"/>
                        <a:pt x="2" y="8"/>
                        <a:pt x="4" y="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6" name="Freeform 199"/>
                <p:cNvSpPr>
                  <a:spLocks/>
                </p:cNvSpPr>
                <p:nvPr/>
              </p:nvSpPr>
              <p:spPr bwMode="auto">
                <a:xfrm>
                  <a:off x="6249508" y="7641162"/>
                  <a:ext cx="5692" cy="22767"/>
                </a:xfrm>
                <a:custGeom>
                  <a:avLst/>
                  <a:gdLst>
                    <a:gd name="T0" fmla="*/ 2 w 2"/>
                    <a:gd name="T1" fmla="*/ 2 h 8"/>
                    <a:gd name="T2" fmla="*/ 1 w 2"/>
                    <a:gd name="T3" fmla="*/ 0 h 8"/>
                    <a:gd name="T4" fmla="*/ 0 w 2"/>
                    <a:gd name="T5" fmla="*/ 1 h 8"/>
                    <a:gd name="T6" fmla="*/ 0 w 2"/>
                    <a:gd name="T7" fmla="*/ 8 h 8"/>
                    <a:gd name="T8" fmla="*/ 2 w 2"/>
                    <a:gd name="T9" fmla="*/ 7 h 8"/>
                    <a:gd name="T10" fmla="*/ 2 w 2"/>
                    <a:gd name="T11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8">
                      <a:moveTo>
                        <a:pt x="2" y="2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8"/>
                      </a:lnTo>
                      <a:lnTo>
                        <a:pt x="2" y="7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7" name="Freeform 200"/>
                <p:cNvSpPr>
                  <a:spLocks/>
                </p:cNvSpPr>
                <p:nvPr/>
              </p:nvSpPr>
              <p:spPr bwMode="auto">
                <a:xfrm>
                  <a:off x="6275122" y="7641162"/>
                  <a:ext cx="8539" cy="28459"/>
                </a:xfrm>
                <a:custGeom>
                  <a:avLst/>
                  <a:gdLst>
                    <a:gd name="T0" fmla="*/ 2 w 11"/>
                    <a:gd name="T1" fmla="*/ 6 h 37"/>
                    <a:gd name="T2" fmla="*/ 0 w 11"/>
                    <a:gd name="T3" fmla="*/ 28 h 37"/>
                    <a:gd name="T4" fmla="*/ 2 w 11"/>
                    <a:gd name="T5" fmla="*/ 37 h 37"/>
                    <a:gd name="T6" fmla="*/ 8 w 11"/>
                    <a:gd name="T7" fmla="*/ 31 h 37"/>
                    <a:gd name="T8" fmla="*/ 11 w 11"/>
                    <a:gd name="T9" fmla="*/ 2 h 37"/>
                    <a:gd name="T10" fmla="*/ 9 w 11"/>
                    <a:gd name="T11" fmla="*/ 0 h 37"/>
                    <a:gd name="T12" fmla="*/ 2 w 11"/>
                    <a:gd name="T13" fmla="*/ 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37">
                      <a:moveTo>
                        <a:pt x="2" y="6"/>
                      </a:move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2" y="37"/>
                        <a:pt x="2" y="37"/>
                        <a:pt x="2" y="37"/>
                      </a:cubicBezTo>
                      <a:cubicBezTo>
                        <a:pt x="5" y="36"/>
                        <a:pt x="7" y="34"/>
                        <a:pt x="8" y="31"/>
                      </a:cubicBezTo>
                      <a:cubicBezTo>
                        <a:pt x="11" y="2"/>
                        <a:pt x="11" y="2"/>
                        <a:pt x="11" y="2"/>
                      </a:cubicBezTo>
                      <a:cubicBezTo>
                        <a:pt x="9" y="0"/>
                        <a:pt x="9" y="0"/>
                        <a:pt x="9" y="0"/>
                      </a:cubicBez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8" name="Freeform 201"/>
                <p:cNvSpPr>
                  <a:spLocks/>
                </p:cNvSpPr>
                <p:nvPr/>
              </p:nvSpPr>
              <p:spPr bwMode="auto">
                <a:xfrm>
                  <a:off x="6292197" y="7626931"/>
                  <a:ext cx="8539" cy="5692"/>
                </a:xfrm>
                <a:custGeom>
                  <a:avLst/>
                  <a:gdLst>
                    <a:gd name="T0" fmla="*/ 3 w 3"/>
                    <a:gd name="T1" fmla="*/ 0 h 2"/>
                    <a:gd name="T2" fmla="*/ 1 w 3"/>
                    <a:gd name="T3" fmla="*/ 0 h 2"/>
                    <a:gd name="T4" fmla="*/ 0 w 3"/>
                    <a:gd name="T5" fmla="*/ 2 h 2"/>
                    <a:gd name="T6" fmla="*/ 2 w 3"/>
                    <a:gd name="T7" fmla="*/ 2 h 2"/>
                    <a:gd name="T8" fmla="*/ 3 w 3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69" name="Freeform 202"/>
                <p:cNvSpPr>
                  <a:spLocks/>
                </p:cNvSpPr>
                <p:nvPr/>
              </p:nvSpPr>
              <p:spPr bwMode="auto">
                <a:xfrm>
                  <a:off x="6289351" y="7652545"/>
                  <a:ext cx="8539" cy="5692"/>
                </a:xfrm>
                <a:custGeom>
                  <a:avLst/>
                  <a:gdLst>
                    <a:gd name="T0" fmla="*/ 3 w 3"/>
                    <a:gd name="T1" fmla="*/ 0 h 2"/>
                    <a:gd name="T2" fmla="*/ 1 w 3"/>
                    <a:gd name="T3" fmla="*/ 0 h 2"/>
                    <a:gd name="T4" fmla="*/ 0 w 3"/>
                    <a:gd name="T5" fmla="*/ 2 h 2"/>
                    <a:gd name="T6" fmla="*/ 3 w 3"/>
                    <a:gd name="T7" fmla="*/ 2 h 2"/>
                    <a:gd name="T8" fmla="*/ 3 w 3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0" name="Freeform 203"/>
                <p:cNvSpPr>
                  <a:spLocks/>
                </p:cNvSpPr>
                <p:nvPr/>
              </p:nvSpPr>
              <p:spPr bwMode="auto">
                <a:xfrm>
                  <a:off x="6303581" y="7663929"/>
                  <a:ext cx="31305" cy="5692"/>
                </a:xfrm>
                <a:custGeom>
                  <a:avLst/>
                  <a:gdLst>
                    <a:gd name="T0" fmla="*/ 5 w 39"/>
                    <a:gd name="T1" fmla="*/ 9 h 9"/>
                    <a:gd name="T2" fmla="*/ 39 w 39"/>
                    <a:gd name="T3" fmla="*/ 9 h 9"/>
                    <a:gd name="T4" fmla="*/ 37 w 39"/>
                    <a:gd name="T5" fmla="*/ 0 h 9"/>
                    <a:gd name="T6" fmla="*/ 9 w 39"/>
                    <a:gd name="T7" fmla="*/ 0 h 9"/>
                    <a:gd name="T8" fmla="*/ 0 w 39"/>
                    <a:gd name="T9" fmla="*/ 3 h 9"/>
                    <a:gd name="T10" fmla="*/ 5 w 39"/>
                    <a:gd name="T1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" h="9">
                      <a:moveTo>
                        <a:pt x="5" y="9"/>
                      </a:move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1" y="6"/>
                        <a:pt x="2" y="8"/>
                        <a:pt x="5" y="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1" name="Freeform 204"/>
                <p:cNvSpPr>
                  <a:spLocks/>
                </p:cNvSpPr>
                <p:nvPr/>
              </p:nvSpPr>
              <p:spPr bwMode="auto">
                <a:xfrm>
                  <a:off x="6334884" y="7612703"/>
                  <a:ext cx="8539" cy="28459"/>
                </a:xfrm>
                <a:custGeom>
                  <a:avLst/>
                  <a:gdLst>
                    <a:gd name="T0" fmla="*/ 0 w 11"/>
                    <a:gd name="T1" fmla="*/ 30 h 36"/>
                    <a:gd name="T2" fmla="*/ 6 w 11"/>
                    <a:gd name="T3" fmla="*/ 36 h 36"/>
                    <a:gd name="T4" fmla="*/ 8 w 11"/>
                    <a:gd name="T5" fmla="*/ 34 h 36"/>
                    <a:gd name="T6" fmla="*/ 11 w 11"/>
                    <a:gd name="T7" fmla="*/ 5 h 36"/>
                    <a:gd name="T8" fmla="*/ 6 w 11"/>
                    <a:gd name="T9" fmla="*/ 0 h 36"/>
                    <a:gd name="T10" fmla="*/ 2 w 11"/>
                    <a:gd name="T11" fmla="*/ 8 h 36"/>
                    <a:gd name="T12" fmla="*/ 0 w 11"/>
                    <a:gd name="T13" fmla="*/ 3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36">
                      <a:moveTo>
                        <a:pt x="0" y="30"/>
                      </a:move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8" y="34"/>
                        <a:pt x="8" y="34"/>
                        <a:pt x="8" y="34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2"/>
                        <a:pt x="9" y="1"/>
                        <a:pt x="6" y="0"/>
                      </a:cubicBezTo>
                      <a:cubicBezTo>
                        <a:pt x="2" y="8"/>
                        <a:pt x="2" y="8"/>
                        <a:pt x="2" y="8"/>
                      </a:cubicBez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2" name="Freeform 205"/>
                <p:cNvSpPr>
                  <a:spLocks/>
                </p:cNvSpPr>
                <p:nvPr/>
              </p:nvSpPr>
              <p:spPr bwMode="auto">
                <a:xfrm>
                  <a:off x="6303581" y="7641162"/>
                  <a:ext cx="8539" cy="22767"/>
                </a:xfrm>
                <a:custGeom>
                  <a:avLst/>
                  <a:gdLst>
                    <a:gd name="T0" fmla="*/ 3 w 3"/>
                    <a:gd name="T1" fmla="*/ 2 h 8"/>
                    <a:gd name="T2" fmla="*/ 1 w 3"/>
                    <a:gd name="T3" fmla="*/ 0 h 8"/>
                    <a:gd name="T4" fmla="*/ 1 w 3"/>
                    <a:gd name="T5" fmla="*/ 1 h 8"/>
                    <a:gd name="T6" fmla="*/ 0 w 3"/>
                    <a:gd name="T7" fmla="*/ 8 h 8"/>
                    <a:gd name="T8" fmla="*/ 3 w 3"/>
                    <a:gd name="T9" fmla="*/ 7 h 8"/>
                    <a:gd name="T10" fmla="*/ 3 w 3"/>
                    <a:gd name="T11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8">
                      <a:moveTo>
                        <a:pt x="3" y="2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8"/>
                      </a:lnTo>
                      <a:lnTo>
                        <a:pt x="3" y="7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3" name="Freeform 206"/>
                <p:cNvSpPr>
                  <a:spLocks/>
                </p:cNvSpPr>
                <p:nvPr/>
              </p:nvSpPr>
              <p:spPr bwMode="auto">
                <a:xfrm>
                  <a:off x="6309273" y="7638315"/>
                  <a:ext cx="28459" cy="5692"/>
                </a:xfrm>
                <a:custGeom>
                  <a:avLst/>
                  <a:gdLst>
                    <a:gd name="T0" fmla="*/ 1 w 10"/>
                    <a:gd name="T1" fmla="*/ 0 h 2"/>
                    <a:gd name="T2" fmla="*/ 0 w 10"/>
                    <a:gd name="T3" fmla="*/ 1 h 2"/>
                    <a:gd name="T4" fmla="*/ 1 w 10"/>
                    <a:gd name="T5" fmla="*/ 2 h 2"/>
                    <a:gd name="T6" fmla="*/ 8 w 10"/>
                    <a:gd name="T7" fmla="*/ 2 h 2"/>
                    <a:gd name="T8" fmla="*/ 10 w 10"/>
                    <a:gd name="T9" fmla="*/ 1 h 2"/>
                    <a:gd name="T10" fmla="*/ 9 w 10"/>
                    <a:gd name="T11" fmla="*/ 0 h 2"/>
                    <a:gd name="T12" fmla="*/ 1 w 10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2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8" y="2"/>
                      </a:lnTo>
                      <a:lnTo>
                        <a:pt x="10" y="1"/>
                      </a:lnTo>
                      <a:lnTo>
                        <a:pt x="9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4" name="Freeform 207"/>
                <p:cNvSpPr>
                  <a:spLocks/>
                </p:cNvSpPr>
                <p:nvPr/>
              </p:nvSpPr>
              <p:spPr bwMode="auto">
                <a:xfrm>
                  <a:off x="6309273" y="7612703"/>
                  <a:ext cx="28459" cy="5692"/>
                </a:xfrm>
                <a:custGeom>
                  <a:avLst/>
                  <a:gdLst>
                    <a:gd name="T0" fmla="*/ 32 w 36"/>
                    <a:gd name="T1" fmla="*/ 8 h 8"/>
                    <a:gd name="T2" fmla="*/ 36 w 36"/>
                    <a:gd name="T3" fmla="*/ 0 h 8"/>
                    <a:gd name="T4" fmla="*/ 5 w 36"/>
                    <a:gd name="T5" fmla="*/ 0 h 8"/>
                    <a:gd name="T6" fmla="*/ 0 w 36"/>
                    <a:gd name="T7" fmla="*/ 5 h 8"/>
                    <a:gd name="T8" fmla="*/ 8 w 36"/>
                    <a:gd name="T9" fmla="*/ 8 h 8"/>
                    <a:gd name="T10" fmla="*/ 32 w 36"/>
                    <a:gd name="T1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" h="8">
                      <a:moveTo>
                        <a:pt x="32" y="8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3" y="1"/>
                        <a:pt x="1" y="2"/>
                        <a:pt x="0" y="5"/>
                      </a:cubicBezTo>
                      <a:cubicBezTo>
                        <a:pt x="8" y="8"/>
                        <a:pt x="8" y="8"/>
                        <a:pt x="8" y="8"/>
                      </a:cubicBezTo>
                      <a:lnTo>
                        <a:pt x="32" y="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5" name="Freeform 208"/>
                <p:cNvSpPr>
                  <a:spLocks/>
                </p:cNvSpPr>
                <p:nvPr/>
              </p:nvSpPr>
              <p:spPr bwMode="auto">
                <a:xfrm>
                  <a:off x="6349115" y="7612703"/>
                  <a:ext cx="28459" cy="5692"/>
                </a:xfrm>
                <a:custGeom>
                  <a:avLst/>
                  <a:gdLst>
                    <a:gd name="T0" fmla="*/ 32 w 36"/>
                    <a:gd name="T1" fmla="*/ 8 h 8"/>
                    <a:gd name="T2" fmla="*/ 36 w 36"/>
                    <a:gd name="T3" fmla="*/ 0 h 8"/>
                    <a:gd name="T4" fmla="*/ 5 w 36"/>
                    <a:gd name="T5" fmla="*/ 0 h 8"/>
                    <a:gd name="T6" fmla="*/ 0 w 36"/>
                    <a:gd name="T7" fmla="*/ 5 h 8"/>
                    <a:gd name="T8" fmla="*/ 8 w 36"/>
                    <a:gd name="T9" fmla="*/ 8 h 8"/>
                    <a:gd name="T10" fmla="*/ 32 w 36"/>
                    <a:gd name="T1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" h="8">
                      <a:moveTo>
                        <a:pt x="32" y="8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1"/>
                        <a:pt x="0" y="2"/>
                        <a:pt x="0" y="5"/>
                      </a:cubicBezTo>
                      <a:cubicBezTo>
                        <a:pt x="8" y="8"/>
                        <a:pt x="8" y="8"/>
                        <a:pt x="8" y="8"/>
                      </a:cubicBezTo>
                      <a:lnTo>
                        <a:pt x="32" y="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6" name="Freeform 209"/>
                <p:cNvSpPr>
                  <a:spLocks/>
                </p:cNvSpPr>
                <p:nvPr/>
              </p:nvSpPr>
              <p:spPr bwMode="auto">
                <a:xfrm>
                  <a:off x="6371882" y="7641162"/>
                  <a:ext cx="8539" cy="28459"/>
                </a:xfrm>
                <a:custGeom>
                  <a:avLst/>
                  <a:gdLst>
                    <a:gd name="T0" fmla="*/ 2 w 10"/>
                    <a:gd name="T1" fmla="*/ 6 h 37"/>
                    <a:gd name="T2" fmla="*/ 0 w 10"/>
                    <a:gd name="T3" fmla="*/ 28 h 37"/>
                    <a:gd name="T4" fmla="*/ 2 w 10"/>
                    <a:gd name="T5" fmla="*/ 37 h 37"/>
                    <a:gd name="T6" fmla="*/ 8 w 10"/>
                    <a:gd name="T7" fmla="*/ 31 h 37"/>
                    <a:gd name="T8" fmla="*/ 10 w 10"/>
                    <a:gd name="T9" fmla="*/ 2 h 37"/>
                    <a:gd name="T10" fmla="*/ 9 w 10"/>
                    <a:gd name="T11" fmla="*/ 0 h 37"/>
                    <a:gd name="T12" fmla="*/ 2 w 10"/>
                    <a:gd name="T13" fmla="*/ 6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37">
                      <a:moveTo>
                        <a:pt x="2" y="6"/>
                      </a:move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2" y="37"/>
                        <a:pt x="2" y="37"/>
                        <a:pt x="2" y="37"/>
                      </a:cubicBezTo>
                      <a:cubicBezTo>
                        <a:pt x="5" y="36"/>
                        <a:pt x="7" y="34"/>
                        <a:pt x="8" y="31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9" y="0"/>
                        <a:pt x="9" y="0"/>
                        <a:pt x="9" y="0"/>
                      </a:cubicBezTo>
                      <a:lnTo>
                        <a:pt x="2" y="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7" name="Freeform 210"/>
                <p:cNvSpPr>
                  <a:spLocks/>
                </p:cNvSpPr>
                <p:nvPr/>
              </p:nvSpPr>
              <p:spPr bwMode="auto">
                <a:xfrm>
                  <a:off x="6349115" y="7638315"/>
                  <a:ext cx="28459" cy="5692"/>
                </a:xfrm>
                <a:custGeom>
                  <a:avLst/>
                  <a:gdLst>
                    <a:gd name="T0" fmla="*/ 10 w 10"/>
                    <a:gd name="T1" fmla="*/ 1 h 2"/>
                    <a:gd name="T2" fmla="*/ 9 w 10"/>
                    <a:gd name="T3" fmla="*/ 0 h 2"/>
                    <a:gd name="T4" fmla="*/ 2 w 10"/>
                    <a:gd name="T5" fmla="*/ 0 h 2"/>
                    <a:gd name="T6" fmla="*/ 0 w 10"/>
                    <a:gd name="T7" fmla="*/ 1 h 2"/>
                    <a:gd name="T8" fmla="*/ 2 w 10"/>
                    <a:gd name="T9" fmla="*/ 2 h 2"/>
                    <a:gd name="T10" fmla="*/ 9 w 10"/>
                    <a:gd name="T11" fmla="*/ 2 h 2"/>
                    <a:gd name="T12" fmla="*/ 10 w 10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2">
                      <a:moveTo>
                        <a:pt x="10" y="1"/>
                      </a:moveTo>
                      <a:lnTo>
                        <a:pt x="9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9" y="2"/>
                      </a:lnTo>
                      <a:lnTo>
                        <a:pt x="10" y="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8" name="Freeform 211"/>
                <p:cNvSpPr>
                  <a:spLocks/>
                </p:cNvSpPr>
                <p:nvPr/>
              </p:nvSpPr>
              <p:spPr bwMode="auto">
                <a:xfrm>
                  <a:off x="6374727" y="7612703"/>
                  <a:ext cx="8539" cy="28459"/>
                </a:xfrm>
                <a:custGeom>
                  <a:avLst/>
                  <a:gdLst>
                    <a:gd name="T0" fmla="*/ 0 w 11"/>
                    <a:gd name="T1" fmla="*/ 30 h 36"/>
                    <a:gd name="T2" fmla="*/ 6 w 11"/>
                    <a:gd name="T3" fmla="*/ 36 h 36"/>
                    <a:gd name="T4" fmla="*/ 8 w 11"/>
                    <a:gd name="T5" fmla="*/ 34 h 36"/>
                    <a:gd name="T6" fmla="*/ 11 w 11"/>
                    <a:gd name="T7" fmla="*/ 5 h 36"/>
                    <a:gd name="T8" fmla="*/ 6 w 11"/>
                    <a:gd name="T9" fmla="*/ 0 h 36"/>
                    <a:gd name="T10" fmla="*/ 2 w 11"/>
                    <a:gd name="T11" fmla="*/ 8 h 36"/>
                    <a:gd name="T12" fmla="*/ 0 w 11"/>
                    <a:gd name="T13" fmla="*/ 3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36">
                      <a:moveTo>
                        <a:pt x="0" y="30"/>
                      </a:moveTo>
                      <a:cubicBezTo>
                        <a:pt x="6" y="36"/>
                        <a:pt x="6" y="36"/>
                        <a:pt x="6" y="36"/>
                      </a:cubicBezTo>
                      <a:cubicBezTo>
                        <a:pt x="8" y="34"/>
                        <a:pt x="8" y="34"/>
                        <a:pt x="8" y="34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1" y="2"/>
                        <a:pt x="9" y="1"/>
                        <a:pt x="6" y="0"/>
                      </a:cubicBezTo>
                      <a:cubicBezTo>
                        <a:pt x="2" y="8"/>
                        <a:pt x="2" y="8"/>
                        <a:pt x="2" y="8"/>
                      </a:cubicBez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79" name="Freeform 212"/>
                <p:cNvSpPr>
                  <a:spLocks/>
                </p:cNvSpPr>
                <p:nvPr/>
              </p:nvSpPr>
              <p:spPr bwMode="auto">
                <a:xfrm>
                  <a:off x="6346268" y="7663929"/>
                  <a:ext cx="25614" cy="5692"/>
                </a:xfrm>
                <a:custGeom>
                  <a:avLst/>
                  <a:gdLst>
                    <a:gd name="T0" fmla="*/ 5 w 36"/>
                    <a:gd name="T1" fmla="*/ 9 h 9"/>
                    <a:gd name="T2" fmla="*/ 36 w 36"/>
                    <a:gd name="T3" fmla="*/ 9 h 9"/>
                    <a:gd name="T4" fmla="*/ 33 w 36"/>
                    <a:gd name="T5" fmla="*/ 0 h 9"/>
                    <a:gd name="T6" fmla="*/ 9 w 36"/>
                    <a:gd name="T7" fmla="*/ 0 h 9"/>
                    <a:gd name="T8" fmla="*/ 0 w 36"/>
                    <a:gd name="T9" fmla="*/ 3 h 9"/>
                    <a:gd name="T10" fmla="*/ 5 w 36"/>
                    <a:gd name="T1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" h="9">
                      <a:moveTo>
                        <a:pt x="5" y="9"/>
                      </a:moveTo>
                      <a:cubicBezTo>
                        <a:pt x="36" y="9"/>
                        <a:pt x="36" y="9"/>
                        <a:pt x="36" y="9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6"/>
                        <a:pt x="2" y="8"/>
                        <a:pt x="5" y="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0" name="Oval 213"/>
                <p:cNvSpPr>
                  <a:spLocks noChangeArrowheads="1"/>
                </p:cNvSpPr>
                <p:nvPr/>
              </p:nvSpPr>
              <p:spPr bwMode="auto">
                <a:xfrm>
                  <a:off x="6497100" y="7621240"/>
                  <a:ext cx="39842" cy="4268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Oval 214"/>
                <p:cNvSpPr>
                  <a:spLocks noChangeArrowheads="1"/>
                </p:cNvSpPr>
                <p:nvPr/>
              </p:nvSpPr>
              <p:spPr bwMode="auto">
                <a:xfrm>
                  <a:off x="6613780" y="7621240"/>
                  <a:ext cx="42689" cy="4268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2" name="Rectangle 215"/>
                <p:cNvSpPr>
                  <a:spLocks noChangeArrowheads="1"/>
                </p:cNvSpPr>
                <p:nvPr/>
              </p:nvSpPr>
              <p:spPr bwMode="auto">
                <a:xfrm>
                  <a:off x="6830066" y="7848909"/>
                  <a:ext cx="557790" cy="39273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Freeform 216"/>
                <p:cNvSpPr>
                  <a:spLocks noEditPoints="1"/>
                </p:cNvSpPr>
                <p:nvPr/>
              </p:nvSpPr>
              <p:spPr bwMode="auto">
                <a:xfrm>
                  <a:off x="6830066" y="7632623"/>
                  <a:ext cx="557790" cy="204903"/>
                </a:xfrm>
                <a:custGeom>
                  <a:avLst/>
                  <a:gdLst>
                    <a:gd name="T0" fmla="*/ 0 w 729"/>
                    <a:gd name="T1" fmla="*/ 18 h 268"/>
                    <a:gd name="T2" fmla="*/ 0 w 729"/>
                    <a:gd name="T3" fmla="*/ 268 h 268"/>
                    <a:gd name="T4" fmla="*/ 729 w 729"/>
                    <a:gd name="T5" fmla="*/ 268 h 268"/>
                    <a:gd name="T6" fmla="*/ 729 w 729"/>
                    <a:gd name="T7" fmla="*/ 18 h 268"/>
                    <a:gd name="T8" fmla="*/ 711 w 729"/>
                    <a:gd name="T9" fmla="*/ 0 h 268"/>
                    <a:gd name="T10" fmla="*/ 18 w 729"/>
                    <a:gd name="T11" fmla="*/ 0 h 268"/>
                    <a:gd name="T12" fmla="*/ 0 w 729"/>
                    <a:gd name="T13" fmla="*/ 18 h 268"/>
                    <a:gd name="T14" fmla="*/ 602 w 729"/>
                    <a:gd name="T15" fmla="*/ 74 h 268"/>
                    <a:gd name="T16" fmla="*/ 603 w 729"/>
                    <a:gd name="T17" fmla="*/ 71 h 268"/>
                    <a:gd name="T18" fmla="*/ 610 w 729"/>
                    <a:gd name="T19" fmla="*/ 53 h 268"/>
                    <a:gd name="T20" fmla="*/ 618 w 729"/>
                    <a:gd name="T21" fmla="*/ 48 h 268"/>
                    <a:gd name="T22" fmla="*/ 625 w 729"/>
                    <a:gd name="T23" fmla="*/ 53 h 268"/>
                    <a:gd name="T24" fmla="*/ 632 w 729"/>
                    <a:gd name="T25" fmla="*/ 71 h 268"/>
                    <a:gd name="T26" fmla="*/ 633 w 729"/>
                    <a:gd name="T27" fmla="*/ 74 h 268"/>
                    <a:gd name="T28" fmla="*/ 653 w 729"/>
                    <a:gd name="T29" fmla="*/ 104 h 268"/>
                    <a:gd name="T30" fmla="*/ 618 w 729"/>
                    <a:gd name="T31" fmla="*/ 137 h 268"/>
                    <a:gd name="T32" fmla="*/ 583 w 729"/>
                    <a:gd name="T33" fmla="*/ 104 h 268"/>
                    <a:gd name="T34" fmla="*/ 602 w 729"/>
                    <a:gd name="T35" fmla="*/ 74 h 268"/>
                    <a:gd name="T36" fmla="*/ 594 w 729"/>
                    <a:gd name="T37" fmla="*/ 219 h 268"/>
                    <a:gd name="T38" fmla="*/ 578 w 729"/>
                    <a:gd name="T39" fmla="*/ 236 h 268"/>
                    <a:gd name="T40" fmla="*/ 143 w 729"/>
                    <a:gd name="T41" fmla="*/ 236 h 268"/>
                    <a:gd name="T42" fmla="*/ 127 w 729"/>
                    <a:gd name="T43" fmla="*/ 219 h 268"/>
                    <a:gd name="T44" fmla="*/ 143 w 729"/>
                    <a:gd name="T45" fmla="*/ 203 h 268"/>
                    <a:gd name="T46" fmla="*/ 578 w 729"/>
                    <a:gd name="T47" fmla="*/ 203 h 268"/>
                    <a:gd name="T48" fmla="*/ 594 w 729"/>
                    <a:gd name="T49" fmla="*/ 219 h 268"/>
                    <a:gd name="T50" fmla="*/ 435 w 729"/>
                    <a:gd name="T51" fmla="*/ 74 h 268"/>
                    <a:gd name="T52" fmla="*/ 436 w 729"/>
                    <a:gd name="T53" fmla="*/ 71 h 268"/>
                    <a:gd name="T54" fmla="*/ 443 w 729"/>
                    <a:gd name="T55" fmla="*/ 53 h 268"/>
                    <a:gd name="T56" fmla="*/ 451 w 729"/>
                    <a:gd name="T57" fmla="*/ 48 h 268"/>
                    <a:gd name="T58" fmla="*/ 458 w 729"/>
                    <a:gd name="T59" fmla="*/ 53 h 268"/>
                    <a:gd name="T60" fmla="*/ 465 w 729"/>
                    <a:gd name="T61" fmla="*/ 71 h 268"/>
                    <a:gd name="T62" fmla="*/ 466 w 729"/>
                    <a:gd name="T63" fmla="*/ 74 h 268"/>
                    <a:gd name="T64" fmla="*/ 486 w 729"/>
                    <a:gd name="T65" fmla="*/ 104 h 268"/>
                    <a:gd name="T66" fmla="*/ 451 w 729"/>
                    <a:gd name="T67" fmla="*/ 137 h 268"/>
                    <a:gd name="T68" fmla="*/ 416 w 729"/>
                    <a:gd name="T69" fmla="*/ 104 h 268"/>
                    <a:gd name="T70" fmla="*/ 435 w 729"/>
                    <a:gd name="T71" fmla="*/ 74 h 268"/>
                    <a:gd name="T72" fmla="*/ 268 w 729"/>
                    <a:gd name="T73" fmla="*/ 74 h 268"/>
                    <a:gd name="T74" fmla="*/ 269 w 729"/>
                    <a:gd name="T75" fmla="*/ 71 h 268"/>
                    <a:gd name="T76" fmla="*/ 276 w 729"/>
                    <a:gd name="T77" fmla="*/ 53 h 268"/>
                    <a:gd name="T78" fmla="*/ 284 w 729"/>
                    <a:gd name="T79" fmla="*/ 48 h 268"/>
                    <a:gd name="T80" fmla="*/ 291 w 729"/>
                    <a:gd name="T81" fmla="*/ 53 h 268"/>
                    <a:gd name="T82" fmla="*/ 298 w 729"/>
                    <a:gd name="T83" fmla="*/ 71 h 268"/>
                    <a:gd name="T84" fmla="*/ 299 w 729"/>
                    <a:gd name="T85" fmla="*/ 74 h 268"/>
                    <a:gd name="T86" fmla="*/ 319 w 729"/>
                    <a:gd name="T87" fmla="*/ 104 h 268"/>
                    <a:gd name="T88" fmla="*/ 284 w 729"/>
                    <a:gd name="T89" fmla="*/ 137 h 268"/>
                    <a:gd name="T90" fmla="*/ 248 w 729"/>
                    <a:gd name="T91" fmla="*/ 104 h 268"/>
                    <a:gd name="T92" fmla="*/ 268 w 729"/>
                    <a:gd name="T93" fmla="*/ 74 h 268"/>
                    <a:gd name="T94" fmla="*/ 101 w 729"/>
                    <a:gd name="T95" fmla="*/ 74 h 268"/>
                    <a:gd name="T96" fmla="*/ 102 w 729"/>
                    <a:gd name="T97" fmla="*/ 71 h 268"/>
                    <a:gd name="T98" fmla="*/ 109 w 729"/>
                    <a:gd name="T99" fmla="*/ 53 h 268"/>
                    <a:gd name="T100" fmla="*/ 117 w 729"/>
                    <a:gd name="T101" fmla="*/ 48 h 268"/>
                    <a:gd name="T102" fmla="*/ 124 w 729"/>
                    <a:gd name="T103" fmla="*/ 53 h 268"/>
                    <a:gd name="T104" fmla="*/ 131 w 729"/>
                    <a:gd name="T105" fmla="*/ 71 h 268"/>
                    <a:gd name="T106" fmla="*/ 132 w 729"/>
                    <a:gd name="T107" fmla="*/ 74 h 268"/>
                    <a:gd name="T108" fmla="*/ 152 w 729"/>
                    <a:gd name="T109" fmla="*/ 104 h 268"/>
                    <a:gd name="T110" fmla="*/ 117 w 729"/>
                    <a:gd name="T111" fmla="*/ 137 h 268"/>
                    <a:gd name="T112" fmla="*/ 81 w 729"/>
                    <a:gd name="T113" fmla="*/ 104 h 268"/>
                    <a:gd name="T114" fmla="*/ 101 w 729"/>
                    <a:gd name="T115" fmla="*/ 74 h 2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729" h="268">
                      <a:moveTo>
                        <a:pt x="0" y="18"/>
                      </a:moveTo>
                      <a:cubicBezTo>
                        <a:pt x="0" y="268"/>
                        <a:pt x="0" y="268"/>
                        <a:pt x="0" y="268"/>
                      </a:cubicBezTo>
                      <a:cubicBezTo>
                        <a:pt x="729" y="268"/>
                        <a:pt x="729" y="268"/>
                        <a:pt x="729" y="268"/>
                      </a:cubicBezTo>
                      <a:cubicBezTo>
                        <a:pt x="729" y="18"/>
                        <a:pt x="729" y="18"/>
                        <a:pt x="729" y="18"/>
                      </a:cubicBezTo>
                      <a:cubicBezTo>
                        <a:pt x="729" y="8"/>
                        <a:pt x="721" y="0"/>
                        <a:pt x="711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8" y="0"/>
                        <a:pt x="0" y="8"/>
                        <a:pt x="0" y="18"/>
                      </a:cubicBezTo>
                      <a:close/>
                      <a:moveTo>
                        <a:pt x="602" y="74"/>
                      </a:moveTo>
                      <a:cubicBezTo>
                        <a:pt x="603" y="73"/>
                        <a:pt x="603" y="72"/>
                        <a:pt x="603" y="71"/>
                      </a:cubicBezTo>
                      <a:cubicBezTo>
                        <a:pt x="610" y="53"/>
                        <a:pt x="610" y="53"/>
                        <a:pt x="610" y="53"/>
                      </a:cubicBezTo>
                      <a:cubicBezTo>
                        <a:pt x="611" y="50"/>
                        <a:pt x="614" y="48"/>
                        <a:pt x="618" y="48"/>
                      </a:cubicBezTo>
                      <a:cubicBezTo>
                        <a:pt x="621" y="48"/>
                        <a:pt x="624" y="50"/>
                        <a:pt x="625" y="53"/>
                      </a:cubicBezTo>
                      <a:cubicBezTo>
                        <a:pt x="632" y="71"/>
                        <a:pt x="632" y="71"/>
                        <a:pt x="632" y="71"/>
                      </a:cubicBezTo>
                      <a:cubicBezTo>
                        <a:pt x="633" y="72"/>
                        <a:pt x="633" y="73"/>
                        <a:pt x="633" y="74"/>
                      </a:cubicBezTo>
                      <a:cubicBezTo>
                        <a:pt x="645" y="79"/>
                        <a:pt x="653" y="90"/>
                        <a:pt x="653" y="104"/>
                      </a:cubicBezTo>
                      <a:cubicBezTo>
                        <a:pt x="653" y="122"/>
                        <a:pt x="637" y="137"/>
                        <a:pt x="618" y="137"/>
                      </a:cubicBezTo>
                      <a:cubicBezTo>
                        <a:pt x="598" y="137"/>
                        <a:pt x="583" y="122"/>
                        <a:pt x="583" y="104"/>
                      </a:cubicBezTo>
                      <a:cubicBezTo>
                        <a:pt x="583" y="90"/>
                        <a:pt x="591" y="79"/>
                        <a:pt x="602" y="74"/>
                      </a:cubicBezTo>
                      <a:close/>
                      <a:moveTo>
                        <a:pt x="594" y="219"/>
                      </a:moveTo>
                      <a:cubicBezTo>
                        <a:pt x="594" y="228"/>
                        <a:pt x="587" y="236"/>
                        <a:pt x="578" y="236"/>
                      </a:cubicBezTo>
                      <a:cubicBezTo>
                        <a:pt x="143" y="236"/>
                        <a:pt x="143" y="236"/>
                        <a:pt x="143" y="236"/>
                      </a:cubicBezTo>
                      <a:cubicBezTo>
                        <a:pt x="134" y="236"/>
                        <a:pt x="127" y="228"/>
                        <a:pt x="127" y="219"/>
                      </a:cubicBezTo>
                      <a:cubicBezTo>
                        <a:pt x="127" y="210"/>
                        <a:pt x="134" y="203"/>
                        <a:pt x="143" y="203"/>
                      </a:cubicBezTo>
                      <a:cubicBezTo>
                        <a:pt x="578" y="203"/>
                        <a:pt x="578" y="203"/>
                        <a:pt x="578" y="203"/>
                      </a:cubicBezTo>
                      <a:cubicBezTo>
                        <a:pt x="587" y="203"/>
                        <a:pt x="594" y="210"/>
                        <a:pt x="594" y="219"/>
                      </a:cubicBezTo>
                      <a:close/>
                      <a:moveTo>
                        <a:pt x="435" y="74"/>
                      </a:moveTo>
                      <a:cubicBezTo>
                        <a:pt x="435" y="73"/>
                        <a:pt x="436" y="72"/>
                        <a:pt x="436" y="71"/>
                      </a:cubicBezTo>
                      <a:cubicBezTo>
                        <a:pt x="443" y="53"/>
                        <a:pt x="443" y="53"/>
                        <a:pt x="443" y="53"/>
                      </a:cubicBezTo>
                      <a:cubicBezTo>
                        <a:pt x="444" y="50"/>
                        <a:pt x="447" y="48"/>
                        <a:pt x="451" y="48"/>
                      </a:cubicBezTo>
                      <a:cubicBezTo>
                        <a:pt x="454" y="48"/>
                        <a:pt x="457" y="50"/>
                        <a:pt x="458" y="53"/>
                      </a:cubicBezTo>
                      <a:cubicBezTo>
                        <a:pt x="465" y="71"/>
                        <a:pt x="465" y="71"/>
                        <a:pt x="465" y="71"/>
                      </a:cubicBezTo>
                      <a:cubicBezTo>
                        <a:pt x="466" y="72"/>
                        <a:pt x="466" y="73"/>
                        <a:pt x="466" y="74"/>
                      </a:cubicBezTo>
                      <a:cubicBezTo>
                        <a:pt x="478" y="79"/>
                        <a:pt x="486" y="90"/>
                        <a:pt x="486" y="104"/>
                      </a:cubicBezTo>
                      <a:cubicBezTo>
                        <a:pt x="486" y="122"/>
                        <a:pt x="470" y="137"/>
                        <a:pt x="451" y="137"/>
                      </a:cubicBezTo>
                      <a:cubicBezTo>
                        <a:pt x="431" y="137"/>
                        <a:pt x="416" y="122"/>
                        <a:pt x="416" y="104"/>
                      </a:cubicBezTo>
                      <a:cubicBezTo>
                        <a:pt x="416" y="90"/>
                        <a:pt x="424" y="79"/>
                        <a:pt x="435" y="74"/>
                      </a:cubicBezTo>
                      <a:close/>
                      <a:moveTo>
                        <a:pt x="268" y="74"/>
                      </a:moveTo>
                      <a:cubicBezTo>
                        <a:pt x="268" y="73"/>
                        <a:pt x="269" y="72"/>
                        <a:pt x="269" y="71"/>
                      </a:cubicBezTo>
                      <a:cubicBezTo>
                        <a:pt x="276" y="53"/>
                        <a:pt x="276" y="53"/>
                        <a:pt x="276" y="53"/>
                      </a:cubicBezTo>
                      <a:cubicBezTo>
                        <a:pt x="277" y="50"/>
                        <a:pt x="280" y="48"/>
                        <a:pt x="284" y="48"/>
                      </a:cubicBezTo>
                      <a:cubicBezTo>
                        <a:pt x="287" y="48"/>
                        <a:pt x="290" y="50"/>
                        <a:pt x="291" y="53"/>
                      </a:cubicBezTo>
                      <a:cubicBezTo>
                        <a:pt x="298" y="71"/>
                        <a:pt x="298" y="71"/>
                        <a:pt x="298" y="71"/>
                      </a:cubicBezTo>
                      <a:cubicBezTo>
                        <a:pt x="299" y="72"/>
                        <a:pt x="299" y="73"/>
                        <a:pt x="299" y="74"/>
                      </a:cubicBezTo>
                      <a:cubicBezTo>
                        <a:pt x="311" y="79"/>
                        <a:pt x="319" y="90"/>
                        <a:pt x="319" y="104"/>
                      </a:cubicBezTo>
                      <a:cubicBezTo>
                        <a:pt x="319" y="122"/>
                        <a:pt x="303" y="137"/>
                        <a:pt x="284" y="137"/>
                      </a:cubicBezTo>
                      <a:cubicBezTo>
                        <a:pt x="264" y="137"/>
                        <a:pt x="248" y="122"/>
                        <a:pt x="248" y="104"/>
                      </a:cubicBezTo>
                      <a:cubicBezTo>
                        <a:pt x="248" y="91"/>
                        <a:pt x="257" y="79"/>
                        <a:pt x="268" y="74"/>
                      </a:cubicBezTo>
                      <a:close/>
                      <a:moveTo>
                        <a:pt x="101" y="74"/>
                      </a:moveTo>
                      <a:cubicBezTo>
                        <a:pt x="101" y="73"/>
                        <a:pt x="101" y="72"/>
                        <a:pt x="102" y="71"/>
                      </a:cubicBezTo>
                      <a:cubicBezTo>
                        <a:pt x="109" y="53"/>
                        <a:pt x="109" y="53"/>
                        <a:pt x="109" y="53"/>
                      </a:cubicBezTo>
                      <a:cubicBezTo>
                        <a:pt x="110" y="50"/>
                        <a:pt x="113" y="48"/>
                        <a:pt x="117" y="48"/>
                      </a:cubicBezTo>
                      <a:cubicBezTo>
                        <a:pt x="120" y="48"/>
                        <a:pt x="123" y="50"/>
                        <a:pt x="124" y="53"/>
                      </a:cubicBezTo>
                      <a:cubicBezTo>
                        <a:pt x="131" y="71"/>
                        <a:pt x="131" y="71"/>
                        <a:pt x="131" y="71"/>
                      </a:cubicBezTo>
                      <a:cubicBezTo>
                        <a:pt x="132" y="72"/>
                        <a:pt x="132" y="73"/>
                        <a:pt x="132" y="74"/>
                      </a:cubicBezTo>
                      <a:cubicBezTo>
                        <a:pt x="144" y="79"/>
                        <a:pt x="152" y="90"/>
                        <a:pt x="152" y="104"/>
                      </a:cubicBezTo>
                      <a:cubicBezTo>
                        <a:pt x="152" y="122"/>
                        <a:pt x="136" y="137"/>
                        <a:pt x="117" y="137"/>
                      </a:cubicBezTo>
                      <a:cubicBezTo>
                        <a:pt x="97" y="137"/>
                        <a:pt x="81" y="122"/>
                        <a:pt x="81" y="104"/>
                      </a:cubicBezTo>
                      <a:cubicBezTo>
                        <a:pt x="81" y="90"/>
                        <a:pt x="89" y="79"/>
                        <a:pt x="101" y="74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4" name="Freeform 217"/>
                <p:cNvSpPr>
                  <a:spLocks noEditPoints="1"/>
                </p:cNvSpPr>
                <p:nvPr/>
              </p:nvSpPr>
              <p:spPr bwMode="auto">
                <a:xfrm>
                  <a:off x="6830066" y="8261561"/>
                  <a:ext cx="557790" cy="122373"/>
                </a:xfrm>
                <a:custGeom>
                  <a:avLst/>
                  <a:gdLst>
                    <a:gd name="T0" fmla="*/ 0 w 729"/>
                    <a:gd name="T1" fmla="*/ 141 h 160"/>
                    <a:gd name="T2" fmla="*/ 18 w 729"/>
                    <a:gd name="T3" fmla="*/ 160 h 160"/>
                    <a:gd name="T4" fmla="*/ 711 w 729"/>
                    <a:gd name="T5" fmla="*/ 160 h 160"/>
                    <a:gd name="T6" fmla="*/ 729 w 729"/>
                    <a:gd name="T7" fmla="*/ 141 h 160"/>
                    <a:gd name="T8" fmla="*/ 729 w 729"/>
                    <a:gd name="T9" fmla="*/ 0 h 160"/>
                    <a:gd name="T10" fmla="*/ 0 w 729"/>
                    <a:gd name="T11" fmla="*/ 0 h 160"/>
                    <a:gd name="T12" fmla="*/ 0 w 729"/>
                    <a:gd name="T13" fmla="*/ 141 h 160"/>
                    <a:gd name="T14" fmla="*/ 163 w 729"/>
                    <a:gd name="T15" fmla="*/ 26 h 160"/>
                    <a:gd name="T16" fmla="*/ 558 w 729"/>
                    <a:gd name="T17" fmla="*/ 26 h 160"/>
                    <a:gd name="T18" fmla="*/ 568 w 729"/>
                    <a:gd name="T19" fmla="*/ 36 h 160"/>
                    <a:gd name="T20" fmla="*/ 558 w 729"/>
                    <a:gd name="T21" fmla="*/ 45 h 160"/>
                    <a:gd name="T22" fmla="*/ 163 w 729"/>
                    <a:gd name="T23" fmla="*/ 45 h 160"/>
                    <a:gd name="T24" fmla="*/ 153 w 729"/>
                    <a:gd name="T25" fmla="*/ 36 h 160"/>
                    <a:gd name="T26" fmla="*/ 163 w 729"/>
                    <a:gd name="T27" fmla="*/ 26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29" h="160">
                      <a:moveTo>
                        <a:pt x="0" y="141"/>
                      </a:moveTo>
                      <a:cubicBezTo>
                        <a:pt x="0" y="152"/>
                        <a:pt x="8" y="160"/>
                        <a:pt x="18" y="160"/>
                      </a:cubicBezTo>
                      <a:cubicBezTo>
                        <a:pt x="711" y="160"/>
                        <a:pt x="711" y="160"/>
                        <a:pt x="711" y="160"/>
                      </a:cubicBezTo>
                      <a:cubicBezTo>
                        <a:pt x="721" y="160"/>
                        <a:pt x="729" y="152"/>
                        <a:pt x="729" y="141"/>
                      </a:cubicBezTo>
                      <a:cubicBezTo>
                        <a:pt x="729" y="0"/>
                        <a:pt x="729" y="0"/>
                        <a:pt x="729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41"/>
                      </a:lnTo>
                      <a:close/>
                      <a:moveTo>
                        <a:pt x="163" y="26"/>
                      </a:moveTo>
                      <a:cubicBezTo>
                        <a:pt x="558" y="26"/>
                        <a:pt x="558" y="26"/>
                        <a:pt x="558" y="26"/>
                      </a:cubicBezTo>
                      <a:cubicBezTo>
                        <a:pt x="563" y="26"/>
                        <a:pt x="568" y="30"/>
                        <a:pt x="568" y="36"/>
                      </a:cubicBezTo>
                      <a:cubicBezTo>
                        <a:pt x="568" y="41"/>
                        <a:pt x="563" y="45"/>
                        <a:pt x="558" y="45"/>
                      </a:cubicBezTo>
                      <a:cubicBezTo>
                        <a:pt x="163" y="45"/>
                        <a:pt x="163" y="45"/>
                        <a:pt x="163" y="45"/>
                      </a:cubicBezTo>
                      <a:cubicBezTo>
                        <a:pt x="157" y="45"/>
                        <a:pt x="153" y="41"/>
                        <a:pt x="153" y="36"/>
                      </a:cubicBezTo>
                      <a:cubicBezTo>
                        <a:pt x="153" y="30"/>
                        <a:pt x="157" y="26"/>
                        <a:pt x="163" y="26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5" name="Freeform 218"/>
                <p:cNvSpPr>
                  <a:spLocks noEditPoints="1"/>
                </p:cNvSpPr>
                <p:nvPr/>
              </p:nvSpPr>
              <p:spPr bwMode="auto">
                <a:xfrm>
                  <a:off x="6835757" y="7487485"/>
                  <a:ext cx="546407" cy="122373"/>
                </a:xfrm>
                <a:custGeom>
                  <a:avLst/>
                  <a:gdLst>
                    <a:gd name="T0" fmla="*/ 706 w 718"/>
                    <a:gd name="T1" fmla="*/ 162 h 162"/>
                    <a:gd name="T2" fmla="*/ 714 w 718"/>
                    <a:gd name="T3" fmla="*/ 147 h 162"/>
                    <a:gd name="T4" fmla="*/ 624 w 718"/>
                    <a:gd name="T5" fmla="*/ 15 h 162"/>
                    <a:gd name="T6" fmla="*/ 596 w 718"/>
                    <a:gd name="T7" fmla="*/ 0 h 162"/>
                    <a:gd name="T8" fmla="*/ 123 w 718"/>
                    <a:gd name="T9" fmla="*/ 0 h 162"/>
                    <a:gd name="T10" fmla="*/ 94 w 718"/>
                    <a:gd name="T11" fmla="*/ 15 h 162"/>
                    <a:gd name="T12" fmla="*/ 5 w 718"/>
                    <a:gd name="T13" fmla="*/ 147 h 162"/>
                    <a:gd name="T14" fmla="*/ 13 w 718"/>
                    <a:gd name="T15" fmla="*/ 162 h 162"/>
                    <a:gd name="T16" fmla="*/ 706 w 718"/>
                    <a:gd name="T17" fmla="*/ 162 h 162"/>
                    <a:gd name="T18" fmla="*/ 117 w 718"/>
                    <a:gd name="T19" fmla="*/ 30 h 162"/>
                    <a:gd name="T20" fmla="*/ 123 w 718"/>
                    <a:gd name="T21" fmla="*/ 27 h 162"/>
                    <a:gd name="T22" fmla="*/ 596 w 718"/>
                    <a:gd name="T23" fmla="*/ 27 h 162"/>
                    <a:gd name="T24" fmla="*/ 602 w 718"/>
                    <a:gd name="T25" fmla="*/ 30 h 162"/>
                    <a:gd name="T26" fmla="*/ 673 w 718"/>
                    <a:gd name="T27" fmla="*/ 134 h 162"/>
                    <a:gd name="T28" fmla="*/ 46 w 718"/>
                    <a:gd name="T29" fmla="*/ 134 h 162"/>
                    <a:gd name="T30" fmla="*/ 117 w 718"/>
                    <a:gd name="T31" fmla="*/ 30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718" h="162">
                      <a:moveTo>
                        <a:pt x="706" y="162"/>
                      </a:moveTo>
                      <a:cubicBezTo>
                        <a:pt x="714" y="162"/>
                        <a:pt x="718" y="153"/>
                        <a:pt x="714" y="147"/>
                      </a:cubicBezTo>
                      <a:cubicBezTo>
                        <a:pt x="624" y="15"/>
                        <a:pt x="624" y="15"/>
                        <a:pt x="624" y="15"/>
                      </a:cubicBezTo>
                      <a:cubicBezTo>
                        <a:pt x="618" y="6"/>
                        <a:pt x="607" y="0"/>
                        <a:pt x="596" y="0"/>
                      </a:cubicBezTo>
                      <a:cubicBezTo>
                        <a:pt x="123" y="0"/>
                        <a:pt x="123" y="0"/>
                        <a:pt x="123" y="0"/>
                      </a:cubicBezTo>
                      <a:cubicBezTo>
                        <a:pt x="111" y="0"/>
                        <a:pt x="101" y="6"/>
                        <a:pt x="94" y="15"/>
                      </a:cubicBezTo>
                      <a:cubicBezTo>
                        <a:pt x="5" y="147"/>
                        <a:pt x="5" y="147"/>
                        <a:pt x="5" y="147"/>
                      </a:cubicBezTo>
                      <a:cubicBezTo>
                        <a:pt x="0" y="153"/>
                        <a:pt x="5" y="162"/>
                        <a:pt x="13" y="162"/>
                      </a:cubicBezTo>
                      <a:lnTo>
                        <a:pt x="706" y="162"/>
                      </a:lnTo>
                      <a:close/>
                      <a:moveTo>
                        <a:pt x="117" y="30"/>
                      </a:moveTo>
                      <a:cubicBezTo>
                        <a:pt x="118" y="29"/>
                        <a:pt x="120" y="27"/>
                        <a:pt x="123" y="27"/>
                      </a:cubicBezTo>
                      <a:cubicBezTo>
                        <a:pt x="596" y="27"/>
                        <a:pt x="596" y="27"/>
                        <a:pt x="596" y="27"/>
                      </a:cubicBezTo>
                      <a:cubicBezTo>
                        <a:pt x="598" y="27"/>
                        <a:pt x="601" y="29"/>
                        <a:pt x="602" y="30"/>
                      </a:cubicBezTo>
                      <a:cubicBezTo>
                        <a:pt x="673" y="134"/>
                        <a:pt x="673" y="134"/>
                        <a:pt x="673" y="134"/>
                      </a:cubicBezTo>
                      <a:cubicBezTo>
                        <a:pt x="46" y="134"/>
                        <a:pt x="46" y="134"/>
                        <a:pt x="46" y="134"/>
                      </a:cubicBezTo>
                      <a:lnTo>
                        <a:pt x="117" y="3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6" name="Oval 219"/>
                <p:cNvSpPr>
                  <a:spLocks noChangeArrowheads="1"/>
                </p:cNvSpPr>
                <p:nvPr/>
              </p:nvSpPr>
              <p:spPr bwMode="auto">
                <a:xfrm>
                  <a:off x="6921134" y="7550094"/>
                  <a:ext cx="142293" cy="2845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7" name="Oval 220"/>
                <p:cNvSpPr>
                  <a:spLocks noChangeArrowheads="1"/>
                </p:cNvSpPr>
                <p:nvPr/>
              </p:nvSpPr>
              <p:spPr bwMode="auto">
                <a:xfrm>
                  <a:off x="6958131" y="7518788"/>
                  <a:ext cx="91068" cy="170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8" name="Oval 221"/>
                <p:cNvSpPr>
                  <a:spLocks noChangeArrowheads="1"/>
                </p:cNvSpPr>
                <p:nvPr/>
              </p:nvSpPr>
              <p:spPr bwMode="auto">
                <a:xfrm>
                  <a:off x="7134575" y="7550094"/>
                  <a:ext cx="145140" cy="2845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89" name="Oval 222"/>
                <p:cNvSpPr>
                  <a:spLocks noChangeArrowheads="1"/>
                </p:cNvSpPr>
                <p:nvPr/>
              </p:nvSpPr>
              <p:spPr bwMode="auto">
                <a:xfrm>
                  <a:off x="7151650" y="7518788"/>
                  <a:ext cx="91068" cy="170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90" name="Freeform 223"/>
                <p:cNvSpPr>
                  <a:spLocks noEditPoints="1"/>
                </p:cNvSpPr>
                <p:nvPr/>
              </p:nvSpPr>
              <p:spPr bwMode="auto">
                <a:xfrm>
                  <a:off x="7791969" y="7217126"/>
                  <a:ext cx="899295" cy="654550"/>
                </a:xfrm>
                <a:custGeom>
                  <a:avLst/>
                  <a:gdLst>
                    <a:gd name="T0" fmla="*/ 31 w 1177"/>
                    <a:gd name="T1" fmla="*/ 702 h 860"/>
                    <a:gd name="T2" fmla="*/ 451 w 1177"/>
                    <a:gd name="T3" fmla="*/ 702 h 860"/>
                    <a:gd name="T4" fmla="*/ 451 w 1177"/>
                    <a:gd name="T5" fmla="*/ 779 h 860"/>
                    <a:gd name="T6" fmla="*/ 395 w 1177"/>
                    <a:gd name="T7" fmla="*/ 779 h 860"/>
                    <a:gd name="T8" fmla="*/ 332 w 1177"/>
                    <a:gd name="T9" fmla="*/ 796 h 860"/>
                    <a:gd name="T10" fmla="*/ 248 w 1177"/>
                    <a:gd name="T11" fmla="*/ 844 h 860"/>
                    <a:gd name="T12" fmla="*/ 253 w 1177"/>
                    <a:gd name="T13" fmla="*/ 860 h 860"/>
                    <a:gd name="T14" fmla="*/ 924 w 1177"/>
                    <a:gd name="T15" fmla="*/ 860 h 860"/>
                    <a:gd name="T16" fmla="*/ 929 w 1177"/>
                    <a:gd name="T17" fmla="*/ 844 h 860"/>
                    <a:gd name="T18" fmla="*/ 845 w 1177"/>
                    <a:gd name="T19" fmla="*/ 796 h 860"/>
                    <a:gd name="T20" fmla="*/ 782 w 1177"/>
                    <a:gd name="T21" fmla="*/ 779 h 860"/>
                    <a:gd name="T22" fmla="*/ 726 w 1177"/>
                    <a:gd name="T23" fmla="*/ 779 h 860"/>
                    <a:gd name="T24" fmla="*/ 726 w 1177"/>
                    <a:gd name="T25" fmla="*/ 702 h 860"/>
                    <a:gd name="T26" fmla="*/ 1146 w 1177"/>
                    <a:gd name="T27" fmla="*/ 702 h 860"/>
                    <a:gd name="T28" fmla="*/ 1177 w 1177"/>
                    <a:gd name="T29" fmla="*/ 672 h 860"/>
                    <a:gd name="T30" fmla="*/ 1177 w 1177"/>
                    <a:gd name="T31" fmla="*/ 31 h 860"/>
                    <a:gd name="T32" fmla="*/ 1146 w 1177"/>
                    <a:gd name="T33" fmla="*/ 0 h 860"/>
                    <a:gd name="T34" fmla="*/ 31 w 1177"/>
                    <a:gd name="T35" fmla="*/ 0 h 860"/>
                    <a:gd name="T36" fmla="*/ 0 w 1177"/>
                    <a:gd name="T37" fmla="*/ 31 h 860"/>
                    <a:gd name="T38" fmla="*/ 0 w 1177"/>
                    <a:gd name="T39" fmla="*/ 672 h 860"/>
                    <a:gd name="T40" fmla="*/ 31 w 1177"/>
                    <a:gd name="T41" fmla="*/ 702 h 860"/>
                    <a:gd name="T42" fmla="*/ 61 w 1177"/>
                    <a:gd name="T43" fmla="*/ 61 h 860"/>
                    <a:gd name="T44" fmla="*/ 1116 w 1177"/>
                    <a:gd name="T45" fmla="*/ 61 h 860"/>
                    <a:gd name="T46" fmla="*/ 1116 w 1177"/>
                    <a:gd name="T47" fmla="*/ 641 h 860"/>
                    <a:gd name="T48" fmla="*/ 61 w 1177"/>
                    <a:gd name="T49" fmla="*/ 641 h 860"/>
                    <a:gd name="T50" fmla="*/ 61 w 1177"/>
                    <a:gd name="T51" fmla="*/ 61 h 8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177" h="860">
                      <a:moveTo>
                        <a:pt x="31" y="702"/>
                      </a:moveTo>
                      <a:cubicBezTo>
                        <a:pt x="451" y="702"/>
                        <a:pt x="451" y="702"/>
                        <a:pt x="451" y="702"/>
                      </a:cubicBezTo>
                      <a:cubicBezTo>
                        <a:pt x="451" y="779"/>
                        <a:pt x="451" y="779"/>
                        <a:pt x="451" y="779"/>
                      </a:cubicBezTo>
                      <a:cubicBezTo>
                        <a:pt x="395" y="779"/>
                        <a:pt x="395" y="779"/>
                        <a:pt x="395" y="779"/>
                      </a:cubicBezTo>
                      <a:cubicBezTo>
                        <a:pt x="373" y="779"/>
                        <a:pt x="351" y="785"/>
                        <a:pt x="332" y="796"/>
                      </a:cubicBezTo>
                      <a:cubicBezTo>
                        <a:pt x="248" y="844"/>
                        <a:pt x="248" y="844"/>
                        <a:pt x="248" y="844"/>
                      </a:cubicBezTo>
                      <a:cubicBezTo>
                        <a:pt x="240" y="848"/>
                        <a:pt x="243" y="860"/>
                        <a:pt x="253" y="860"/>
                      </a:cubicBezTo>
                      <a:cubicBezTo>
                        <a:pt x="924" y="860"/>
                        <a:pt x="924" y="860"/>
                        <a:pt x="924" y="860"/>
                      </a:cubicBezTo>
                      <a:cubicBezTo>
                        <a:pt x="933" y="860"/>
                        <a:pt x="937" y="848"/>
                        <a:pt x="929" y="844"/>
                      </a:cubicBezTo>
                      <a:cubicBezTo>
                        <a:pt x="845" y="796"/>
                        <a:pt x="845" y="796"/>
                        <a:pt x="845" y="796"/>
                      </a:cubicBezTo>
                      <a:cubicBezTo>
                        <a:pt x="826" y="785"/>
                        <a:pt x="804" y="779"/>
                        <a:pt x="782" y="779"/>
                      </a:cubicBezTo>
                      <a:cubicBezTo>
                        <a:pt x="726" y="779"/>
                        <a:pt x="726" y="779"/>
                        <a:pt x="726" y="779"/>
                      </a:cubicBezTo>
                      <a:cubicBezTo>
                        <a:pt x="726" y="702"/>
                        <a:pt x="726" y="702"/>
                        <a:pt x="726" y="702"/>
                      </a:cubicBezTo>
                      <a:cubicBezTo>
                        <a:pt x="1146" y="702"/>
                        <a:pt x="1146" y="702"/>
                        <a:pt x="1146" y="702"/>
                      </a:cubicBezTo>
                      <a:cubicBezTo>
                        <a:pt x="1163" y="702"/>
                        <a:pt x="1177" y="689"/>
                        <a:pt x="1177" y="672"/>
                      </a:cubicBezTo>
                      <a:cubicBezTo>
                        <a:pt x="1177" y="31"/>
                        <a:pt x="1177" y="31"/>
                        <a:pt x="1177" y="31"/>
                      </a:cubicBezTo>
                      <a:cubicBezTo>
                        <a:pt x="1177" y="14"/>
                        <a:pt x="1163" y="0"/>
                        <a:pt x="1146" y="0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672"/>
                        <a:pt x="0" y="672"/>
                        <a:pt x="0" y="672"/>
                      </a:cubicBezTo>
                      <a:cubicBezTo>
                        <a:pt x="0" y="689"/>
                        <a:pt x="14" y="702"/>
                        <a:pt x="31" y="702"/>
                      </a:cubicBezTo>
                      <a:close/>
                      <a:moveTo>
                        <a:pt x="61" y="61"/>
                      </a:moveTo>
                      <a:cubicBezTo>
                        <a:pt x="1116" y="61"/>
                        <a:pt x="1116" y="61"/>
                        <a:pt x="1116" y="61"/>
                      </a:cubicBezTo>
                      <a:cubicBezTo>
                        <a:pt x="1116" y="641"/>
                        <a:pt x="1116" y="641"/>
                        <a:pt x="1116" y="641"/>
                      </a:cubicBezTo>
                      <a:cubicBezTo>
                        <a:pt x="61" y="641"/>
                        <a:pt x="61" y="641"/>
                        <a:pt x="61" y="641"/>
                      </a:cubicBezTo>
                      <a:lnTo>
                        <a:pt x="61" y="6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91" name="Freeform 224"/>
                <p:cNvSpPr>
                  <a:spLocks/>
                </p:cNvSpPr>
                <p:nvPr/>
              </p:nvSpPr>
              <p:spPr bwMode="auto">
                <a:xfrm>
                  <a:off x="7877346" y="7288274"/>
                  <a:ext cx="731389" cy="392730"/>
                </a:xfrm>
                <a:custGeom>
                  <a:avLst/>
                  <a:gdLst>
                    <a:gd name="T0" fmla="*/ 923 w 957"/>
                    <a:gd name="T1" fmla="*/ 0 h 517"/>
                    <a:gd name="T2" fmla="*/ 34 w 957"/>
                    <a:gd name="T3" fmla="*/ 0 h 517"/>
                    <a:gd name="T4" fmla="*/ 0 w 957"/>
                    <a:gd name="T5" fmla="*/ 33 h 517"/>
                    <a:gd name="T6" fmla="*/ 0 w 957"/>
                    <a:gd name="T7" fmla="*/ 483 h 517"/>
                    <a:gd name="T8" fmla="*/ 34 w 957"/>
                    <a:gd name="T9" fmla="*/ 517 h 517"/>
                    <a:gd name="T10" fmla="*/ 923 w 957"/>
                    <a:gd name="T11" fmla="*/ 517 h 517"/>
                    <a:gd name="T12" fmla="*/ 957 w 957"/>
                    <a:gd name="T13" fmla="*/ 483 h 517"/>
                    <a:gd name="T14" fmla="*/ 957 w 957"/>
                    <a:gd name="T15" fmla="*/ 33 h 517"/>
                    <a:gd name="T16" fmla="*/ 923 w 957"/>
                    <a:gd name="T17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57" h="517">
                      <a:moveTo>
                        <a:pt x="923" y="0"/>
                      </a:move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483"/>
                        <a:pt x="0" y="483"/>
                        <a:pt x="0" y="483"/>
                      </a:cubicBezTo>
                      <a:cubicBezTo>
                        <a:pt x="0" y="502"/>
                        <a:pt x="15" y="517"/>
                        <a:pt x="34" y="517"/>
                      </a:cubicBezTo>
                      <a:cubicBezTo>
                        <a:pt x="923" y="517"/>
                        <a:pt x="923" y="517"/>
                        <a:pt x="923" y="517"/>
                      </a:cubicBezTo>
                      <a:cubicBezTo>
                        <a:pt x="942" y="517"/>
                        <a:pt x="957" y="502"/>
                        <a:pt x="957" y="483"/>
                      </a:cubicBezTo>
                      <a:cubicBezTo>
                        <a:pt x="957" y="33"/>
                        <a:pt x="957" y="33"/>
                        <a:pt x="957" y="33"/>
                      </a:cubicBezTo>
                      <a:cubicBezTo>
                        <a:pt x="957" y="15"/>
                        <a:pt x="942" y="0"/>
                        <a:pt x="92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92" name="Freeform 225"/>
                <p:cNvSpPr>
                  <a:spLocks/>
                </p:cNvSpPr>
                <p:nvPr/>
              </p:nvSpPr>
              <p:spPr bwMode="auto">
                <a:xfrm>
                  <a:off x="7478924" y="7902982"/>
                  <a:ext cx="1488390" cy="51226"/>
                </a:xfrm>
                <a:custGeom>
                  <a:avLst/>
                  <a:gdLst>
                    <a:gd name="T0" fmla="*/ 1951 w 1951"/>
                    <a:gd name="T1" fmla="*/ 34 h 67"/>
                    <a:gd name="T2" fmla="*/ 1917 w 1951"/>
                    <a:gd name="T3" fmla="*/ 0 h 67"/>
                    <a:gd name="T4" fmla="*/ 33 w 1951"/>
                    <a:gd name="T5" fmla="*/ 0 h 67"/>
                    <a:gd name="T6" fmla="*/ 0 w 1951"/>
                    <a:gd name="T7" fmla="*/ 34 h 67"/>
                    <a:gd name="T8" fmla="*/ 0 w 1951"/>
                    <a:gd name="T9" fmla="*/ 67 h 67"/>
                    <a:gd name="T10" fmla="*/ 1951 w 1951"/>
                    <a:gd name="T11" fmla="*/ 67 h 67"/>
                    <a:gd name="T12" fmla="*/ 1951 w 1951"/>
                    <a:gd name="T13" fmla="*/ 34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51" h="67">
                      <a:moveTo>
                        <a:pt x="1951" y="34"/>
                      </a:moveTo>
                      <a:cubicBezTo>
                        <a:pt x="1951" y="15"/>
                        <a:pt x="1936" y="0"/>
                        <a:pt x="1917" y="0"/>
                      </a:cubicBez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15" y="0"/>
                        <a:pt x="0" y="15"/>
                        <a:pt x="0" y="34"/>
                      </a:cubicBezTo>
                      <a:cubicBezTo>
                        <a:pt x="0" y="67"/>
                        <a:pt x="0" y="67"/>
                        <a:pt x="0" y="67"/>
                      </a:cubicBezTo>
                      <a:cubicBezTo>
                        <a:pt x="1951" y="67"/>
                        <a:pt x="1951" y="67"/>
                        <a:pt x="1951" y="67"/>
                      </a:cubicBezTo>
                      <a:lnTo>
                        <a:pt x="1951" y="34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93" name="Freeform 226"/>
                <p:cNvSpPr>
                  <a:spLocks/>
                </p:cNvSpPr>
                <p:nvPr/>
              </p:nvSpPr>
              <p:spPr bwMode="auto">
                <a:xfrm>
                  <a:off x="7478924" y="7976974"/>
                  <a:ext cx="1488390" cy="406960"/>
                </a:xfrm>
                <a:custGeom>
                  <a:avLst/>
                  <a:gdLst>
                    <a:gd name="T0" fmla="*/ 33 w 1951"/>
                    <a:gd name="T1" fmla="*/ 409 h 534"/>
                    <a:gd name="T2" fmla="*/ 95 w 1951"/>
                    <a:gd name="T3" fmla="*/ 409 h 534"/>
                    <a:gd name="T4" fmla="*/ 95 w 1951"/>
                    <a:gd name="T5" fmla="*/ 500 h 534"/>
                    <a:gd name="T6" fmla="*/ 129 w 1951"/>
                    <a:gd name="T7" fmla="*/ 534 h 534"/>
                    <a:gd name="T8" fmla="*/ 182 w 1951"/>
                    <a:gd name="T9" fmla="*/ 534 h 534"/>
                    <a:gd name="T10" fmla="*/ 236 w 1951"/>
                    <a:gd name="T11" fmla="*/ 507 h 534"/>
                    <a:gd name="T12" fmla="*/ 310 w 1951"/>
                    <a:gd name="T13" fmla="*/ 409 h 534"/>
                    <a:gd name="T14" fmla="*/ 1641 w 1951"/>
                    <a:gd name="T15" fmla="*/ 409 h 534"/>
                    <a:gd name="T16" fmla="*/ 1715 w 1951"/>
                    <a:gd name="T17" fmla="*/ 507 h 534"/>
                    <a:gd name="T18" fmla="*/ 1769 w 1951"/>
                    <a:gd name="T19" fmla="*/ 534 h 534"/>
                    <a:gd name="T20" fmla="*/ 1822 w 1951"/>
                    <a:gd name="T21" fmla="*/ 534 h 534"/>
                    <a:gd name="T22" fmla="*/ 1855 w 1951"/>
                    <a:gd name="T23" fmla="*/ 500 h 534"/>
                    <a:gd name="T24" fmla="*/ 1855 w 1951"/>
                    <a:gd name="T25" fmla="*/ 409 h 534"/>
                    <a:gd name="T26" fmla="*/ 1917 w 1951"/>
                    <a:gd name="T27" fmla="*/ 409 h 534"/>
                    <a:gd name="T28" fmla="*/ 1951 w 1951"/>
                    <a:gd name="T29" fmla="*/ 375 h 534"/>
                    <a:gd name="T30" fmla="*/ 1951 w 1951"/>
                    <a:gd name="T31" fmla="*/ 0 h 534"/>
                    <a:gd name="T32" fmla="*/ 1396 w 1951"/>
                    <a:gd name="T33" fmla="*/ 0 h 534"/>
                    <a:gd name="T34" fmla="*/ 1396 w 1951"/>
                    <a:gd name="T35" fmla="*/ 224 h 534"/>
                    <a:gd name="T36" fmla="*/ 1362 w 1951"/>
                    <a:gd name="T37" fmla="*/ 258 h 534"/>
                    <a:gd name="T38" fmla="*/ 575 w 1951"/>
                    <a:gd name="T39" fmla="*/ 257 h 534"/>
                    <a:gd name="T40" fmla="*/ 542 w 1951"/>
                    <a:gd name="T41" fmla="*/ 223 h 534"/>
                    <a:gd name="T42" fmla="*/ 542 w 1951"/>
                    <a:gd name="T43" fmla="*/ 0 h 534"/>
                    <a:gd name="T44" fmla="*/ 0 w 1951"/>
                    <a:gd name="T45" fmla="*/ 0 h 534"/>
                    <a:gd name="T46" fmla="*/ 0 w 1951"/>
                    <a:gd name="T47" fmla="*/ 375 h 534"/>
                    <a:gd name="T48" fmla="*/ 33 w 1951"/>
                    <a:gd name="T49" fmla="*/ 409 h 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51" h="534">
                      <a:moveTo>
                        <a:pt x="33" y="409"/>
                      </a:moveTo>
                      <a:cubicBezTo>
                        <a:pt x="95" y="409"/>
                        <a:pt x="95" y="409"/>
                        <a:pt x="95" y="409"/>
                      </a:cubicBezTo>
                      <a:cubicBezTo>
                        <a:pt x="95" y="500"/>
                        <a:pt x="95" y="500"/>
                        <a:pt x="95" y="500"/>
                      </a:cubicBezTo>
                      <a:cubicBezTo>
                        <a:pt x="95" y="519"/>
                        <a:pt x="110" y="534"/>
                        <a:pt x="129" y="534"/>
                      </a:cubicBezTo>
                      <a:cubicBezTo>
                        <a:pt x="182" y="534"/>
                        <a:pt x="182" y="534"/>
                        <a:pt x="182" y="534"/>
                      </a:cubicBezTo>
                      <a:cubicBezTo>
                        <a:pt x="203" y="534"/>
                        <a:pt x="223" y="524"/>
                        <a:pt x="236" y="507"/>
                      </a:cubicBezTo>
                      <a:cubicBezTo>
                        <a:pt x="310" y="409"/>
                        <a:pt x="310" y="409"/>
                        <a:pt x="310" y="409"/>
                      </a:cubicBezTo>
                      <a:cubicBezTo>
                        <a:pt x="1641" y="409"/>
                        <a:pt x="1641" y="409"/>
                        <a:pt x="1641" y="409"/>
                      </a:cubicBezTo>
                      <a:cubicBezTo>
                        <a:pt x="1715" y="507"/>
                        <a:pt x="1715" y="507"/>
                        <a:pt x="1715" y="507"/>
                      </a:cubicBezTo>
                      <a:cubicBezTo>
                        <a:pt x="1728" y="524"/>
                        <a:pt x="1748" y="534"/>
                        <a:pt x="1769" y="534"/>
                      </a:cubicBezTo>
                      <a:cubicBezTo>
                        <a:pt x="1822" y="534"/>
                        <a:pt x="1822" y="534"/>
                        <a:pt x="1822" y="534"/>
                      </a:cubicBezTo>
                      <a:cubicBezTo>
                        <a:pt x="1840" y="534"/>
                        <a:pt x="1855" y="519"/>
                        <a:pt x="1855" y="500"/>
                      </a:cubicBezTo>
                      <a:cubicBezTo>
                        <a:pt x="1855" y="409"/>
                        <a:pt x="1855" y="409"/>
                        <a:pt x="1855" y="409"/>
                      </a:cubicBezTo>
                      <a:cubicBezTo>
                        <a:pt x="1917" y="409"/>
                        <a:pt x="1917" y="409"/>
                        <a:pt x="1917" y="409"/>
                      </a:cubicBezTo>
                      <a:cubicBezTo>
                        <a:pt x="1936" y="409"/>
                        <a:pt x="1951" y="394"/>
                        <a:pt x="1951" y="375"/>
                      </a:cubicBezTo>
                      <a:cubicBezTo>
                        <a:pt x="1951" y="0"/>
                        <a:pt x="1951" y="0"/>
                        <a:pt x="1951" y="0"/>
                      </a:cubicBezTo>
                      <a:cubicBezTo>
                        <a:pt x="1396" y="0"/>
                        <a:pt x="1396" y="0"/>
                        <a:pt x="1396" y="0"/>
                      </a:cubicBezTo>
                      <a:cubicBezTo>
                        <a:pt x="1396" y="224"/>
                        <a:pt x="1396" y="224"/>
                        <a:pt x="1396" y="224"/>
                      </a:cubicBezTo>
                      <a:cubicBezTo>
                        <a:pt x="1396" y="242"/>
                        <a:pt x="1381" y="258"/>
                        <a:pt x="1362" y="258"/>
                      </a:cubicBezTo>
                      <a:cubicBezTo>
                        <a:pt x="575" y="257"/>
                        <a:pt x="575" y="257"/>
                        <a:pt x="575" y="257"/>
                      </a:cubicBezTo>
                      <a:cubicBezTo>
                        <a:pt x="557" y="257"/>
                        <a:pt x="542" y="242"/>
                        <a:pt x="542" y="223"/>
                      </a:cubicBezTo>
                      <a:cubicBezTo>
                        <a:pt x="542" y="0"/>
                        <a:pt x="542" y="0"/>
                        <a:pt x="54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375"/>
                        <a:pt x="0" y="375"/>
                        <a:pt x="0" y="375"/>
                      </a:cubicBezTo>
                      <a:cubicBezTo>
                        <a:pt x="0" y="394"/>
                        <a:pt x="15" y="409"/>
                        <a:pt x="33" y="409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94" name="Freeform 227"/>
                <p:cNvSpPr>
                  <a:spLocks/>
                </p:cNvSpPr>
                <p:nvPr/>
              </p:nvSpPr>
              <p:spPr bwMode="auto">
                <a:xfrm>
                  <a:off x="7917188" y="8025353"/>
                  <a:ext cx="594788" cy="28459"/>
                </a:xfrm>
                <a:custGeom>
                  <a:avLst/>
                  <a:gdLst>
                    <a:gd name="T0" fmla="*/ 762 w 779"/>
                    <a:gd name="T1" fmla="*/ 0 h 35"/>
                    <a:gd name="T2" fmla="*/ 17 w 779"/>
                    <a:gd name="T3" fmla="*/ 0 h 35"/>
                    <a:gd name="T4" fmla="*/ 17 w 779"/>
                    <a:gd name="T5" fmla="*/ 0 h 35"/>
                    <a:gd name="T6" fmla="*/ 0 w 779"/>
                    <a:gd name="T7" fmla="*/ 17 h 35"/>
                    <a:gd name="T8" fmla="*/ 17 w 779"/>
                    <a:gd name="T9" fmla="*/ 34 h 35"/>
                    <a:gd name="T10" fmla="*/ 762 w 779"/>
                    <a:gd name="T11" fmla="*/ 35 h 35"/>
                    <a:gd name="T12" fmla="*/ 762 w 779"/>
                    <a:gd name="T13" fmla="*/ 35 h 35"/>
                    <a:gd name="T14" fmla="*/ 779 w 779"/>
                    <a:gd name="T15" fmla="*/ 17 h 35"/>
                    <a:gd name="T16" fmla="*/ 762 w 779"/>
                    <a:gd name="T1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79" h="35">
                      <a:moveTo>
                        <a:pt x="762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8" y="0"/>
                        <a:pt x="0" y="7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762" y="35"/>
                        <a:pt x="762" y="35"/>
                        <a:pt x="762" y="35"/>
                      </a:cubicBezTo>
                      <a:cubicBezTo>
                        <a:pt x="762" y="35"/>
                        <a:pt x="762" y="35"/>
                        <a:pt x="762" y="35"/>
                      </a:cubicBezTo>
                      <a:cubicBezTo>
                        <a:pt x="771" y="35"/>
                        <a:pt x="779" y="27"/>
                        <a:pt x="779" y="17"/>
                      </a:cubicBezTo>
                      <a:cubicBezTo>
                        <a:pt x="779" y="8"/>
                        <a:pt x="771" y="0"/>
                        <a:pt x="762" y="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495" name="Freeform 228"/>
                <p:cNvSpPr>
                  <a:spLocks/>
                </p:cNvSpPr>
                <p:nvPr/>
              </p:nvSpPr>
              <p:spPr bwMode="auto">
                <a:xfrm>
                  <a:off x="7917188" y="8105037"/>
                  <a:ext cx="594788" cy="25614"/>
                </a:xfrm>
                <a:custGeom>
                  <a:avLst/>
                  <a:gdLst>
                    <a:gd name="T0" fmla="*/ 762 w 779"/>
                    <a:gd name="T1" fmla="*/ 0 h 35"/>
                    <a:gd name="T2" fmla="*/ 17 w 779"/>
                    <a:gd name="T3" fmla="*/ 0 h 35"/>
                    <a:gd name="T4" fmla="*/ 17 w 779"/>
                    <a:gd name="T5" fmla="*/ 0 h 35"/>
                    <a:gd name="T6" fmla="*/ 0 w 779"/>
                    <a:gd name="T7" fmla="*/ 17 h 35"/>
                    <a:gd name="T8" fmla="*/ 17 w 779"/>
                    <a:gd name="T9" fmla="*/ 34 h 35"/>
                    <a:gd name="T10" fmla="*/ 762 w 779"/>
                    <a:gd name="T11" fmla="*/ 35 h 35"/>
                    <a:gd name="T12" fmla="*/ 762 w 779"/>
                    <a:gd name="T13" fmla="*/ 35 h 35"/>
                    <a:gd name="T14" fmla="*/ 779 w 779"/>
                    <a:gd name="T15" fmla="*/ 17 h 35"/>
                    <a:gd name="T16" fmla="*/ 762 w 779"/>
                    <a:gd name="T17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79" h="35">
                      <a:moveTo>
                        <a:pt x="762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8" y="0"/>
                        <a:pt x="0" y="7"/>
                        <a:pt x="0" y="17"/>
                      </a:cubicBezTo>
                      <a:cubicBezTo>
                        <a:pt x="0" y="27"/>
                        <a:pt x="8" y="34"/>
                        <a:pt x="17" y="34"/>
                      </a:cubicBezTo>
                      <a:cubicBezTo>
                        <a:pt x="762" y="35"/>
                        <a:pt x="762" y="35"/>
                        <a:pt x="762" y="35"/>
                      </a:cubicBezTo>
                      <a:cubicBezTo>
                        <a:pt x="762" y="35"/>
                        <a:pt x="762" y="35"/>
                        <a:pt x="762" y="35"/>
                      </a:cubicBezTo>
                      <a:cubicBezTo>
                        <a:pt x="771" y="35"/>
                        <a:pt x="779" y="27"/>
                        <a:pt x="779" y="17"/>
                      </a:cubicBezTo>
                      <a:cubicBezTo>
                        <a:pt x="779" y="8"/>
                        <a:pt x="771" y="0"/>
                        <a:pt x="762" y="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grpSp>
              <p:nvGrpSpPr>
                <p:cNvPr id="496" name="Group 495"/>
                <p:cNvGrpSpPr/>
                <p:nvPr/>
              </p:nvGrpSpPr>
              <p:grpSpPr>
                <a:xfrm>
                  <a:off x="5556515" y="6858000"/>
                  <a:ext cx="343258" cy="200127"/>
                  <a:chOff x="1069911" y="239035"/>
                  <a:chExt cx="511773" cy="298376"/>
                </a:xfrm>
              </p:grpSpPr>
              <p:sp>
                <p:nvSpPr>
                  <p:cNvPr id="510" name="Freeform 36"/>
                  <p:cNvSpPr>
                    <a:spLocks/>
                  </p:cNvSpPr>
                  <p:nvPr/>
                </p:nvSpPr>
                <p:spPr bwMode="auto">
                  <a:xfrm>
                    <a:off x="1225807" y="453712"/>
                    <a:ext cx="201259" cy="83699"/>
                  </a:xfrm>
                  <a:custGeom>
                    <a:avLst/>
                    <a:gdLst>
                      <a:gd name="T0" fmla="*/ 12 w 168"/>
                      <a:gd name="T1" fmla="*/ 22 h 70"/>
                      <a:gd name="T2" fmla="*/ 1 w 168"/>
                      <a:gd name="T3" fmla="*/ 41 h 70"/>
                      <a:gd name="T4" fmla="*/ 8 w 168"/>
                      <a:gd name="T5" fmla="*/ 61 h 70"/>
                      <a:gd name="T6" fmla="*/ 9 w 168"/>
                      <a:gd name="T7" fmla="*/ 61 h 70"/>
                      <a:gd name="T8" fmla="*/ 39 w 168"/>
                      <a:gd name="T9" fmla="*/ 64 h 70"/>
                      <a:gd name="T10" fmla="*/ 84 w 168"/>
                      <a:gd name="T11" fmla="*/ 50 h 70"/>
                      <a:gd name="T12" fmla="*/ 129 w 168"/>
                      <a:gd name="T13" fmla="*/ 64 h 70"/>
                      <a:gd name="T14" fmla="*/ 159 w 168"/>
                      <a:gd name="T15" fmla="*/ 61 h 70"/>
                      <a:gd name="T16" fmla="*/ 159 w 168"/>
                      <a:gd name="T17" fmla="*/ 61 h 70"/>
                      <a:gd name="T18" fmla="*/ 167 w 168"/>
                      <a:gd name="T19" fmla="*/ 41 h 70"/>
                      <a:gd name="T20" fmla="*/ 156 w 168"/>
                      <a:gd name="T21" fmla="*/ 22 h 70"/>
                      <a:gd name="T22" fmla="*/ 84 w 168"/>
                      <a:gd name="T23" fmla="*/ 0 h 70"/>
                      <a:gd name="T24" fmla="*/ 12 w 168"/>
                      <a:gd name="T25" fmla="*/ 22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68" h="70">
                        <a:moveTo>
                          <a:pt x="12" y="22"/>
                        </a:moveTo>
                        <a:cubicBezTo>
                          <a:pt x="5" y="26"/>
                          <a:pt x="1" y="33"/>
                          <a:pt x="1" y="41"/>
                        </a:cubicBezTo>
                        <a:cubicBezTo>
                          <a:pt x="0" y="48"/>
                          <a:pt x="3" y="56"/>
                          <a:pt x="8" y="61"/>
                        </a:cubicBezTo>
                        <a:cubicBezTo>
                          <a:pt x="9" y="61"/>
                          <a:pt x="9" y="61"/>
                          <a:pt x="9" y="61"/>
                        </a:cubicBezTo>
                        <a:cubicBezTo>
                          <a:pt x="17" y="69"/>
                          <a:pt x="29" y="70"/>
                          <a:pt x="39" y="64"/>
                        </a:cubicBezTo>
                        <a:cubicBezTo>
                          <a:pt x="53" y="55"/>
                          <a:pt x="68" y="50"/>
                          <a:pt x="84" y="50"/>
                        </a:cubicBezTo>
                        <a:cubicBezTo>
                          <a:pt x="100" y="50"/>
                          <a:pt x="115" y="55"/>
                          <a:pt x="129" y="64"/>
                        </a:cubicBezTo>
                        <a:cubicBezTo>
                          <a:pt x="138" y="70"/>
                          <a:pt x="151" y="69"/>
                          <a:pt x="159" y="61"/>
                        </a:cubicBezTo>
                        <a:cubicBezTo>
                          <a:pt x="159" y="61"/>
                          <a:pt x="159" y="61"/>
                          <a:pt x="159" y="61"/>
                        </a:cubicBezTo>
                        <a:cubicBezTo>
                          <a:pt x="165" y="56"/>
                          <a:pt x="168" y="48"/>
                          <a:pt x="167" y="41"/>
                        </a:cubicBezTo>
                        <a:cubicBezTo>
                          <a:pt x="166" y="33"/>
                          <a:pt x="162" y="26"/>
                          <a:pt x="156" y="22"/>
                        </a:cubicBezTo>
                        <a:cubicBezTo>
                          <a:pt x="134" y="8"/>
                          <a:pt x="109" y="0"/>
                          <a:pt x="84" y="0"/>
                        </a:cubicBezTo>
                        <a:cubicBezTo>
                          <a:pt x="58" y="0"/>
                          <a:pt x="34" y="8"/>
                          <a:pt x="12" y="2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1" name="Freeform 37"/>
                  <p:cNvSpPr>
                    <a:spLocks/>
                  </p:cNvSpPr>
                  <p:nvPr/>
                </p:nvSpPr>
                <p:spPr bwMode="auto">
                  <a:xfrm>
                    <a:off x="1147860" y="347012"/>
                    <a:ext cx="355878" cy="118839"/>
                  </a:xfrm>
                  <a:custGeom>
                    <a:avLst/>
                    <a:gdLst>
                      <a:gd name="T0" fmla="*/ 149 w 297"/>
                      <a:gd name="T1" fmla="*/ 0 h 99"/>
                      <a:gd name="T2" fmla="*/ 9 w 297"/>
                      <a:gd name="T3" fmla="*/ 53 h 99"/>
                      <a:gd name="T4" fmla="*/ 0 w 297"/>
                      <a:gd name="T5" fmla="*/ 71 h 99"/>
                      <a:gd name="T6" fmla="*/ 8 w 297"/>
                      <a:gd name="T7" fmla="*/ 90 h 99"/>
                      <a:gd name="T8" fmla="*/ 8 w 297"/>
                      <a:gd name="T9" fmla="*/ 90 h 99"/>
                      <a:gd name="T10" fmla="*/ 41 w 297"/>
                      <a:gd name="T11" fmla="*/ 91 h 99"/>
                      <a:gd name="T12" fmla="*/ 149 w 297"/>
                      <a:gd name="T13" fmla="*/ 49 h 99"/>
                      <a:gd name="T14" fmla="*/ 256 w 297"/>
                      <a:gd name="T15" fmla="*/ 91 h 99"/>
                      <a:gd name="T16" fmla="*/ 289 w 297"/>
                      <a:gd name="T17" fmla="*/ 90 h 99"/>
                      <a:gd name="T18" fmla="*/ 289 w 297"/>
                      <a:gd name="T19" fmla="*/ 90 h 99"/>
                      <a:gd name="T20" fmla="*/ 297 w 297"/>
                      <a:gd name="T21" fmla="*/ 71 h 99"/>
                      <a:gd name="T22" fmla="*/ 288 w 297"/>
                      <a:gd name="T23" fmla="*/ 53 h 99"/>
                      <a:gd name="T24" fmla="*/ 149 w 297"/>
                      <a:gd name="T25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97" h="99">
                        <a:moveTo>
                          <a:pt x="149" y="0"/>
                        </a:moveTo>
                        <a:cubicBezTo>
                          <a:pt x="98" y="0"/>
                          <a:pt x="50" y="18"/>
                          <a:pt x="9" y="53"/>
                        </a:cubicBezTo>
                        <a:cubicBezTo>
                          <a:pt x="4" y="57"/>
                          <a:pt x="1" y="64"/>
                          <a:pt x="0" y="71"/>
                        </a:cubicBezTo>
                        <a:cubicBezTo>
                          <a:pt x="0" y="78"/>
                          <a:pt x="3" y="85"/>
                          <a:pt x="8" y="90"/>
                        </a:cubicBezTo>
                        <a:cubicBezTo>
                          <a:pt x="8" y="90"/>
                          <a:pt x="8" y="90"/>
                          <a:pt x="8" y="90"/>
                        </a:cubicBezTo>
                        <a:cubicBezTo>
                          <a:pt x="18" y="98"/>
                          <a:pt x="32" y="99"/>
                          <a:pt x="41" y="91"/>
                        </a:cubicBezTo>
                        <a:cubicBezTo>
                          <a:pt x="73" y="64"/>
                          <a:pt x="110" y="49"/>
                          <a:pt x="149" y="49"/>
                        </a:cubicBezTo>
                        <a:cubicBezTo>
                          <a:pt x="188" y="49"/>
                          <a:pt x="225" y="64"/>
                          <a:pt x="256" y="91"/>
                        </a:cubicBezTo>
                        <a:cubicBezTo>
                          <a:pt x="266" y="99"/>
                          <a:pt x="280" y="98"/>
                          <a:pt x="289" y="90"/>
                        </a:cubicBezTo>
                        <a:cubicBezTo>
                          <a:pt x="289" y="90"/>
                          <a:pt x="289" y="90"/>
                          <a:pt x="289" y="90"/>
                        </a:cubicBezTo>
                        <a:cubicBezTo>
                          <a:pt x="295" y="85"/>
                          <a:pt x="297" y="78"/>
                          <a:pt x="297" y="71"/>
                        </a:cubicBezTo>
                        <a:cubicBezTo>
                          <a:pt x="297" y="64"/>
                          <a:pt x="294" y="57"/>
                          <a:pt x="288" y="53"/>
                        </a:cubicBezTo>
                        <a:cubicBezTo>
                          <a:pt x="248" y="18"/>
                          <a:pt x="200" y="0"/>
                          <a:pt x="14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2" name="Freeform 38"/>
                  <p:cNvSpPr>
                    <a:spLocks/>
                  </p:cNvSpPr>
                  <p:nvPr/>
                </p:nvSpPr>
                <p:spPr bwMode="auto">
                  <a:xfrm>
                    <a:off x="1069911" y="239035"/>
                    <a:ext cx="511773" cy="154619"/>
                  </a:xfrm>
                  <a:custGeom>
                    <a:avLst/>
                    <a:gdLst>
                      <a:gd name="T0" fmla="*/ 214 w 427"/>
                      <a:gd name="T1" fmla="*/ 0 h 129"/>
                      <a:gd name="T2" fmla="*/ 8 w 427"/>
                      <a:gd name="T3" fmla="*/ 84 h 129"/>
                      <a:gd name="T4" fmla="*/ 0 w 427"/>
                      <a:gd name="T5" fmla="*/ 102 h 129"/>
                      <a:gd name="T6" fmla="*/ 8 w 427"/>
                      <a:gd name="T7" fmla="*/ 120 h 129"/>
                      <a:gd name="T8" fmla="*/ 9 w 427"/>
                      <a:gd name="T9" fmla="*/ 120 h 129"/>
                      <a:gd name="T10" fmla="*/ 43 w 427"/>
                      <a:gd name="T11" fmla="*/ 120 h 129"/>
                      <a:gd name="T12" fmla="*/ 214 w 427"/>
                      <a:gd name="T13" fmla="*/ 50 h 129"/>
                      <a:gd name="T14" fmla="*/ 385 w 427"/>
                      <a:gd name="T15" fmla="*/ 120 h 129"/>
                      <a:gd name="T16" fmla="*/ 419 w 427"/>
                      <a:gd name="T17" fmla="*/ 120 h 129"/>
                      <a:gd name="T18" fmla="*/ 419 w 427"/>
                      <a:gd name="T19" fmla="*/ 120 h 129"/>
                      <a:gd name="T20" fmla="*/ 427 w 427"/>
                      <a:gd name="T21" fmla="*/ 102 h 129"/>
                      <a:gd name="T22" fmla="*/ 419 w 427"/>
                      <a:gd name="T23" fmla="*/ 84 h 129"/>
                      <a:gd name="T24" fmla="*/ 214 w 427"/>
                      <a:gd name="T25" fmla="*/ 0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27" h="129">
                        <a:moveTo>
                          <a:pt x="214" y="0"/>
                        </a:moveTo>
                        <a:cubicBezTo>
                          <a:pt x="131" y="0"/>
                          <a:pt x="55" y="40"/>
                          <a:pt x="8" y="84"/>
                        </a:cubicBezTo>
                        <a:cubicBezTo>
                          <a:pt x="3" y="88"/>
                          <a:pt x="0" y="95"/>
                          <a:pt x="0" y="102"/>
                        </a:cubicBezTo>
                        <a:cubicBezTo>
                          <a:pt x="1" y="109"/>
                          <a:pt x="3" y="115"/>
                          <a:pt x="8" y="120"/>
                        </a:cubicBezTo>
                        <a:cubicBezTo>
                          <a:pt x="9" y="120"/>
                          <a:pt x="9" y="120"/>
                          <a:pt x="9" y="120"/>
                        </a:cubicBezTo>
                        <a:cubicBezTo>
                          <a:pt x="18" y="129"/>
                          <a:pt x="33" y="129"/>
                          <a:pt x="43" y="120"/>
                        </a:cubicBezTo>
                        <a:cubicBezTo>
                          <a:pt x="78" y="87"/>
                          <a:pt x="141" y="50"/>
                          <a:pt x="214" y="50"/>
                        </a:cubicBezTo>
                        <a:cubicBezTo>
                          <a:pt x="286" y="50"/>
                          <a:pt x="349" y="87"/>
                          <a:pt x="385" y="120"/>
                        </a:cubicBezTo>
                        <a:cubicBezTo>
                          <a:pt x="395" y="129"/>
                          <a:pt x="409" y="129"/>
                          <a:pt x="419" y="120"/>
                        </a:cubicBezTo>
                        <a:cubicBezTo>
                          <a:pt x="419" y="120"/>
                          <a:pt x="419" y="120"/>
                          <a:pt x="419" y="120"/>
                        </a:cubicBezTo>
                        <a:cubicBezTo>
                          <a:pt x="424" y="115"/>
                          <a:pt x="427" y="109"/>
                          <a:pt x="427" y="102"/>
                        </a:cubicBezTo>
                        <a:cubicBezTo>
                          <a:pt x="427" y="95"/>
                          <a:pt x="424" y="88"/>
                          <a:pt x="419" y="84"/>
                        </a:cubicBezTo>
                        <a:cubicBezTo>
                          <a:pt x="372" y="40"/>
                          <a:pt x="297" y="0"/>
                          <a:pt x="214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497" name="Group 496"/>
                <p:cNvGrpSpPr/>
                <p:nvPr/>
              </p:nvGrpSpPr>
              <p:grpSpPr>
                <a:xfrm>
                  <a:off x="6100281" y="7213980"/>
                  <a:ext cx="343258" cy="200127"/>
                  <a:chOff x="1069911" y="239035"/>
                  <a:chExt cx="511773" cy="298376"/>
                </a:xfrm>
              </p:grpSpPr>
              <p:sp>
                <p:nvSpPr>
                  <p:cNvPr id="507" name="Freeform 36"/>
                  <p:cNvSpPr>
                    <a:spLocks/>
                  </p:cNvSpPr>
                  <p:nvPr/>
                </p:nvSpPr>
                <p:spPr bwMode="auto">
                  <a:xfrm>
                    <a:off x="1225807" y="453712"/>
                    <a:ext cx="201259" cy="83699"/>
                  </a:xfrm>
                  <a:custGeom>
                    <a:avLst/>
                    <a:gdLst>
                      <a:gd name="T0" fmla="*/ 12 w 168"/>
                      <a:gd name="T1" fmla="*/ 22 h 70"/>
                      <a:gd name="T2" fmla="*/ 1 w 168"/>
                      <a:gd name="T3" fmla="*/ 41 h 70"/>
                      <a:gd name="T4" fmla="*/ 8 w 168"/>
                      <a:gd name="T5" fmla="*/ 61 h 70"/>
                      <a:gd name="T6" fmla="*/ 9 w 168"/>
                      <a:gd name="T7" fmla="*/ 61 h 70"/>
                      <a:gd name="T8" fmla="*/ 39 w 168"/>
                      <a:gd name="T9" fmla="*/ 64 h 70"/>
                      <a:gd name="T10" fmla="*/ 84 w 168"/>
                      <a:gd name="T11" fmla="*/ 50 h 70"/>
                      <a:gd name="T12" fmla="*/ 129 w 168"/>
                      <a:gd name="T13" fmla="*/ 64 h 70"/>
                      <a:gd name="T14" fmla="*/ 159 w 168"/>
                      <a:gd name="T15" fmla="*/ 61 h 70"/>
                      <a:gd name="T16" fmla="*/ 159 w 168"/>
                      <a:gd name="T17" fmla="*/ 61 h 70"/>
                      <a:gd name="T18" fmla="*/ 167 w 168"/>
                      <a:gd name="T19" fmla="*/ 41 h 70"/>
                      <a:gd name="T20" fmla="*/ 156 w 168"/>
                      <a:gd name="T21" fmla="*/ 22 h 70"/>
                      <a:gd name="T22" fmla="*/ 84 w 168"/>
                      <a:gd name="T23" fmla="*/ 0 h 70"/>
                      <a:gd name="T24" fmla="*/ 12 w 168"/>
                      <a:gd name="T25" fmla="*/ 22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68" h="70">
                        <a:moveTo>
                          <a:pt x="12" y="22"/>
                        </a:moveTo>
                        <a:cubicBezTo>
                          <a:pt x="5" y="26"/>
                          <a:pt x="1" y="33"/>
                          <a:pt x="1" y="41"/>
                        </a:cubicBezTo>
                        <a:cubicBezTo>
                          <a:pt x="0" y="48"/>
                          <a:pt x="3" y="56"/>
                          <a:pt x="8" y="61"/>
                        </a:cubicBezTo>
                        <a:cubicBezTo>
                          <a:pt x="9" y="61"/>
                          <a:pt x="9" y="61"/>
                          <a:pt x="9" y="61"/>
                        </a:cubicBezTo>
                        <a:cubicBezTo>
                          <a:pt x="17" y="69"/>
                          <a:pt x="29" y="70"/>
                          <a:pt x="39" y="64"/>
                        </a:cubicBezTo>
                        <a:cubicBezTo>
                          <a:pt x="53" y="55"/>
                          <a:pt x="68" y="50"/>
                          <a:pt x="84" y="50"/>
                        </a:cubicBezTo>
                        <a:cubicBezTo>
                          <a:pt x="100" y="50"/>
                          <a:pt x="115" y="55"/>
                          <a:pt x="129" y="64"/>
                        </a:cubicBezTo>
                        <a:cubicBezTo>
                          <a:pt x="138" y="70"/>
                          <a:pt x="151" y="69"/>
                          <a:pt x="159" y="61"/>
                        </a:cubicBezTo>
                        <a:cubicBezTo>
                          <a:pt x="159" y="61"/>
                          <a:pt x="159" y="61"/>
                          <a:pt x="159" y="61"/>
                        </a:cubicBezTo>
                        <a:cubicBezTo>
                          <a:pt x="165" y="56"/>
                          <a:pt x="168" y="48"/>
                          <a:pt x="167" y="41"/>
                        </a:cubicBezTo>
                        <a:cubicBezTo>
                          <a:pt x="166" y="33"/>
                          <a:pt x="162" y="26"/>
                          <a:pt x="156" y="22"/>
                        </a:cubicBezTo>
                        <a:cubicBezTo>
                          <a:pt x="134" y="8"/>
                          <a:pt x="109" y="0"/>
                          <a:pt x="84" y="0"/>
                        </a:cubicBezTo>
                        <a:cubicBezTo>
                          <a:pt x="58" y="0"/>
                          <a:pt x="34" y="8"/>
                          <a:pt x="12" y="2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8" name="Freeform 37"/>
                  <p:cNvSpPr>
                    <a:spLocks/>
                  </p:cNvSpPr>
                  <p:nvPr/>
                </p:nvSpPr>
                <p:spPr bwMode="auto">
                  <a:xfrm>
                    <a:off x="1147860" y="347012"/>
                    <a:ext cx="355878" cy="118839"/>
                  </a:xfrm>
                  <a:custGeom>
                    <a:avLst/>
                    <a:gdLst>
                      <a:gd name="T0" fmla="*/ 149 w 297"/>
                      <a:gd name="T1" fmla="*/ 0 h 99"/>
                      <a:gd name="T2" fmla="*/ 9 w 297"/>
                      <a:gd name="T3" fmla="*/ 53 h 99"/>
                      <a:gd name="T4" fmla="*/ 0 w 297"/>
                      <a:gd name="T5" fmla="*/ 71 h 99"/>
                      <a:gd name="T6" fmla="*/ 8 w 297"/>
                      <a:gd name="T7" fmla="*/ 90 h 99"/>
                      <a:gd name="T8" fmla="*/ 8 w 297"/>
                      <a:gd name="T9" fmla="*/ 90 h 99"/>
                      <a:gd name="T10" fmla="*/ 41 w 297"/>
                      <a:gd name="T11" fmla="*/ 91 h 99"/>
                      <a:gd name="T12" fmla="*/ 149 w 297"/>
                      <a:gd name="T13" fmla="*/ 49 h 99"/>
                      <a:gd name="T14" fmla="*/ 256 w 297"/>
                      <a:gd name="T15" fmla="*/ 91 h 99"/>
                      <a:gd name="T16" fmla="*/ 289 w 297"/>
                      <a:gd name="T17" fmla="*/ 90 h 99"/>
                      <a:gd name="T18" fmla="*/ 289 w 297"/>
                      <a:gd name="T19" fmla="*/ 90 h 99"/>
                      <a:gd name="T20" fmla="*/ 297 w 297"/>
                      <a:gd name="T21" fmla="*/ 71 h 99"/>
                      <a:gd name="T22" fmla="*/ 288 w 297"/>
                      <a:gd name="T23" fmla="*/ 53 h 99"/>
                      <a:gd name="T24" fmla="*/ 149 w 297"/>
                      <a:gd name="T25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97" h="99">
                        <a:moveTo>
                          <a:pt x="149" y="0"/>
                        </a:moveTo>
                        <a:cubicBezTo>
                          <a:pt x="98" y="0"/>
                          <a:pt x="50" y="18"/>
                          <a:pt x="9" y="53"/>
                        </a:cubicBezTo>
                        <a:cubicBezTo>
                          <a:pt x="4" y="57"/>
                          <a:pt x="1" y="64"/>
                          <a:pt x="0" y="71"/>
                        </a:cubicBezTo>
                        <a:cubicBezTo>
                          <a:pt x="0" y="78"/>
                          <a:pt x="3" y="85"/>
                          <a:pt x="8" y="90"/>
                        </a:cubicBezTo>
                        <a:cubicBezTo>
                          <a:pt x="8" y="90"/>
                          <a:pt x="8" y="90"/>
                          <a:pt x="8" y="90"/>
                        </a:cubicBezTo>
                        <a:cubicBezTo>
                          <a:pt x="18" y="98"/>
                          <a:pt x="32" y="99"/>
                          <a:pt x="41" y="91"/>
                        </a:cubicBezTo>
                        <a:cubicBezTo>
                          <a:pt x="73" y="64"/>
                          <a:pt x="110" y="49"/>
                          <a:pt x="149" y="49"/>
                        </a:cubicBezTo>
                        <a:cubicBezTo>
                          <a:pt x="188" y="49"/>
                          <a:pt x="225" y="64"/>
                          <a:pt x="256" y="91"/>
                        </a:cubicBezTo>
                        <a:cubicBezTo>
                          <a:pt x="266" y="99"/>
                          <a:pt x="280" y="98"/>
                          <a:pt x="289" y="90"/>
                        </a:cubicBezTo>
                        <a:cubicBezTo>
                          <a:pt x="289" y="90"/>
                          <a:pt x="289" y="90"/>
                          <a:pt x="289" y="90"/>
                        </a:cubicBezTo>
                        <a:cubicBezTo>
                          <a:pt x="295" y="85"/>
                          <a:pt x="297" y="78"/>
                          <a:pt x="297" y="71"/>
                        </a:cubicBezTo>
                        <a:cubicBezTo>
                          <a:pt x="297" y="64"/>
                          <a:pt x="294" y="57"/>
                          <a:pt x="288" y="53"/>
                        </a:cubicBezTo>
                        <a:cubicBezTo>
                          <a:pt x="248" y="18"/>
                          <a:pt x="200" y="0"/>
                          <a:pt x="14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9" name="Freeform 38"/>
                  <p:cNvSpPr>
                    <a:spLocks/>
                  </p:cNvSpPr>
                  <p:nvPr/>
                </p:nvSpPr>
                <p:spPr bwMode="auto">
                  <a:xfrm>
                    <a:off x="1069911" y="239035"/>
                    <a:ext cx="511773" cy="154619"/>
                  </a:xfrm>
                  <a:custGeom>
                    <a:avLst/>
                    <a:gdLst>
                      <a:gd name="T0" fmla="*/ 214 w 427"/>
                      <a:gd name="T1" fmla="*/ 0 h 129"/>
                      <a:gd name="T2" fmla="*/ 8 w 427"/>
                      <a:gd name="T3" fmla="*/ 84 h 129"/>
                      <a:gd name="T4" fmla="*/ 0 w 427"/>
                      <a:gd name="T5" fmla="*/ 102 h 129"/>
                      <a:gd name="T6" fmla="*/ 8 w 427"/>
                      <a:gd name="T7" fmla="*/ 120 h 129"/>
                      <a:gd name="T8" fmla="*/ 9 w 427"/>
                      <a:gd name="T9" fmla="*/ 120 h 129"/>
                      <a:gd name="T10" fmla="*/ 43 w 427"/>
                      <a:gd name="T11" fmla="*/ 120 h 129"/>
                      <a:gd name="T12" fmla="*/ 214 w 427"/>
                      <a:gd name="T13" fmla="*/ 50 h 129"/>
                      <a:gd name="T14" fmla="*/ 385 w 427"/>
                      <a:gd name="T15" fmla="*/ 120 h 129"/>
                      <a:gd name="T16" fmla="*/ 419 w 427"/>
                      <a:gd name="T17" fmla="*/ 120 h 129"/>
                      <a:gd name="T18" fmla="*/ 419 w 427"/>
                      <a:gd name="T19" fmla="*/ 120 h 129"/>
                      <a:gd name="T20" fmla="*/ 427 w 427"/>
                      <a:gd name="T21" fmla="*/ 102 h 129"/>
                      <a:gd name="T22" fmla="*/ 419 w 427"/>
                      <a:gd name="T23" fmla="*/ 84 h 129"/>
                      <a:gd name="T24" fmla="*/ 214 w 427"/>
                      <a:gd name="T25" fmla="*/ 0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27" h="129">
                        <a:moveTo>
                          <a:pt x="214" y="0"/>
                        </a:moveTo>
                        <a:cubicBezTo>
                          <a:pt x="131" y="0"/>
                          <a:pt x="55" y="40"/>
                          <a:pt x="8" y="84"/>
                        </a:cubicBezTo>
                        <a:cubicBezTo>
                          <a:pt x="3" y="88"/>
                          <a:pt x="0" y="95"/>
                          <a:pt x="0" y="102"/>
                        </a:cubicBezTo>
                        <a:cubicBezTo>
                          <a:pt x="1" y="109"/>
                          <a:pt x="3" y="115"/>
                          <a:pt x="8" y="120"/>
                        </a:cubicBezTo>
                        <a:cubicBezTo>
                          <a:pt x="9" y="120"/>
                          <a:pt x="9" y="120"/>
                          <a:pt x="9" y="120"/>
                        </a:cubicBezTo>
                        <a:cubicBezTo>
                          <a:pt x="18" y="129"/>
                          <a:pt x="33" y="129"/>
                          <a:pt x="43" y="120"/>
                        </a:cubicBezTo>
                        <a:cubicBezTo>
                          <a:pt x="78" y="87"/>
                          <a:pt x="141" y="50"/>
                          <a:pt x="214" y="50"/>
                        </a:cubicBezTo>
                        <a:cubicBezTo>
                          <a:pt x="286" y="50"/>
                          <a:pt x="349" y="87"/>
                          <a:pt x="385" y="120"/>
                        </a:cubicBezTo>
                        <a:cubicBezTo>
                          <a:pt x="395" y="129"/>
                          <a:pt x="409" y="129"/>
                          <a:pt x="419" y="120"/>
                        </a:cubicBezTo>
                        <a:cubicBezTo>
                          <a:pt x="419" y="120"/>
                          <a:pt x="419" y="120"/>
                          <a:pt x="419" y="120"/>
                        </a:cubicBezTo>
                        <a:cubicBezTo>
                          <a:pt x="424" y="115"/>
                          <a:pt x="427" y="109"/>
                          <a:pt x="427" y="102"/>
                        </a:cubicBezTo>
                        <a:cubicBezTo>
                          <a:pt x="427" y="95"/>
                          <a:pt x="424" y="88"/>
                          <a:pt x="419" y="84"/>
                        </a:cubicBezTo>
                        <a:cubicBezTo>
                          <a:pt x="372" y="40"/>
                          <a:pt x="297" y="0"/>
                          <a:pt x="214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498" name="Group 497"/>
                <p:cNvGrpSpPr/>
                <p:nvPr/>
              </p:nvGrpSpPr>
              <p:grpSpPr>
                <a:xfrm>
                  <a:off x="6880987" y="7217126"/>
                  <a:ext cx="343258" cy="200127"/>
                  <a:chOff x="1069911" y="239035"/>
                  <a:chExt cx="511773" cy="298376"/>
                </a:xfrm>
              </p:grpSpPr>
              <p:sp>
                <p:nvSpPr>
                  <p:cNvPr id="504" name="Freeform 36"/>
                  <p:cNvSpPr>
                    <a:spLocks/>
                  </p:cNvSpPr>
                  <p:nvPr/>
                </p:nvSpPr>
                <p:spPr bwMode="auto">
                  <a:xfrm>
                    <a:off x="1225807" y="453712"/>
                    <a:ext cx="201259" cy="83699"/>
                  </a:xfrm>
                  <a:custGeom>
                    <a:avLst/>
                    <a:gdLst>
                      <a:gd name="T0" fmla="*/ 12 w 168"/>
                      <a:gd name="T1" fmla="*/ 22 h 70"/>
                      <a:gd name="T2" fmla="*/ 1 w 168"/>
                      <a:gd name="T3" fmla="*/ 41 h 70"/>
                      <a:gd name="T4" fmla="*/ 8 w 168"/>
                      <a:gd name="T5" fmla="*/ 61 h 70"/>
                      <a:gd name="T6" fmla="*/ 9 w 168"/>
                      <a:gd name="T7" fmla="*/ 61 h 70"/>
                      <a:gd name="T8" fmla="*/ 39 w 168"/>
                      <a:gd name="T9" fmla="*/ 64 h 70"/>
                      <a:gd name="T10" fmla="*/ 84 w 168"/>
                      <a:gd name="T11" fmla="*/ 50 h 70"/>
                      <a:gd name="T12" fmla="*/ 129 w 168"/>
                      <a:gd name="T13" fmla="*/ 64 h 70"/>
                      <a:gd name="T14" fmla="*/ 159 w 168"/>
                      <a:gd name="T15" fmla="*/ 61 h 70"/>
                      <a:gd name="T16" fmla="*/ 159 w 168"/>
                      <a:gd name="T17" fmla="*/ 61 h 70"/>
                      <a:gd name="T18" fmla="*/ 167 w 168"/>
                      <a:gd name="T19" fmla="*/ 41 h 70"/>
                      <a:gd name="T20" fmla="*/ 156 w 168"/>
                      <a:gd name="T21" fmla="*/ 22 h 70"/>
                      <a:gd name="T22" fmla="*/ 84 w 168"/>
                      <a:gd name="T23" fmla="*/ 0 h 70"/>
                      <a:gd name="T24" fmla="*/ 12 w 168"/>
                      <a:gd name="T25" fmla="*/ 22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68" h="70">
                        <a:moveTo>
                          <a:pt x="12" y="22"/>
                        </a:moveTo>
                        <a:cubicBezTo>
                          <a:pt x="5" y="26"/>
                          <a:pt x="1" y="33"/>
                          <a:pt x="1" y="41"/>
                        </a:cubicBezTo>
                        <a:cubicBezTo>
                          <a:pt x="0" y="48"/>
                          <a:pt x="3" y="56"/>
                          <a:pt x="8" y="61"/>
                        </a:cubicBezTo>
                        <a:cubicBezTo>
                          <a:pt x="9" y="61"/>
                          <a:pt x="9" y="61"/>
                          <a:pt x="9" y="61"/>
                        </a:cubicBezTo>
                        <a:cubicBezTo>
                          <a:pt x="17" y="69"/>
                          <a:pt x="29" y="70"/>
                          <a:pt x="39" y="64"/>
                        </a:cubicBezTo>
                        <a:cubicBezTo>
                          <a:pt x="53" y="55"/>
                          <a:pt x="68" y="50"/>
                          <a:pt x="84" y="50"/>
                        </a:cubicBezTo>
                        <a:cubicBezTo>
                          <a:pt x="100" y="50"/>
                          <a:pt x="115" y="55"/>
                          <a:pt x="129" y="64"/>
                        </a:cubicBezTo>
                        <a:cubicBezTo>
                          <a:pt x="138" y="70"/>
                          <a:pt x="151" y="69"/>
                          <a:pt x="159" y="61"/>
                        </a:cubicBezTo>
                        <a:cubicBezTo>
                          <a:pt x="159" y="61"/>
                          <a:pt x="159" y="61"/>
                          <a:pt x="159" y="61"/>
                        </a:cubicBezTo>
                        <a:cubicBezTo>
                          <a:pt x="165" y="56"/>
                          <a:pt x="168" y="48"/>
                          <a:pt x="167" y="41"/>
                        </a:cubicBezTo>
                        <a:cubicBezTo>
                          <a:pt x="166" y="33"/>
                          <a:pt x="162" y="26"/>
                          <a:pt x="156" y="22"/>
                        </a:cubicBezTo>
                        <a:cubicBezTo>
                          <a:pt x="134" y="8"/>
                          <a:pt x="109" y="0"/>
                          <a:pt x="84" y="0"/>
                        </a:cubicBezTo>
                        <a:cubicBezTo>
                          <a:pt x="58" y="0"/>
                          <a:pt x="34" y="8"/>
                          <a:pt x="12" y="2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5" name="Freeform 37"/>
                  <p:cNvSpPr>
                    <a:spLocks/>
                  </p:cNvSpPr>
                  <p:nvPr/>
                </p:nvSpPr>
                <p:spPr bwMode="auto">
                  <a:xfrm>
                    <a:off x="1147860" y="347012"/>
                    <a:ext cx="355878" cy="118839"/>
                  </a:xfrm>
                  <a:custGeom>
                    <a:avLst/>
                    <a:gdLst>
                      <a:gd name="T0" fmla="*/ 149 w 297"/>
                      <a:gd name="T1" fmla="*/ 0 h 99"/>
                      <a:gd name="T2" fmla="*/ 9 w 297"/>
                      <a:gd name="T3" fmla="*/ 53 h 99"/>
                      <a:gd name="T4" fmla="*/ 0 w 297"/>
                      <a:gd name="T5" fmla="*/ 71 h 99"/>
                      <a:gd name="T6" fmla="*/ 8 w 297"/>
                      <a:gd name="T7" fmla="*/ 90 h 99"/>
                      <a:gd name="T8" fmla="*/ 8 w 297"/>
                      <a:gd name="T9" fmla="*/ 90 h 99"/>
                      <a:gd name="T10" fmla="*/ 41 w 297"/>
                      <a:gd name="T11" fmla="*/ 91 h 99"/>
                      <a:gd name="T12" fmla="*/ 149 w 297"/>
                      <a:gd name="T13" fmla="*/ 49 h 99"/>
                      <a:gd name="T14" fmla="*/ 256 w 297"/>
                      <a:gd name="T15" fmla="*/ 91 h 99"/>
                      <a:gd name="T16" fmla="*/ 289 w 297"/>
                      <a:gd name="T17" fmla="*/ 90 h 99"/>
                      <a:gd name="T18" fmla="*/ 289 w 297"/>
                      <a:gd name="T19" fmla="*/ 90 h 99"/>
                      <a:gd name="T20" fmla="*/ 297 w 297"/>
                      <a:gd name="T21" fmla="*/ 71 h 99"/>
                      <a:gd name="T22" fmla="*/ 288 w 297"/>
                      <a:gd name="T23" fmla="*/ 53 h 99"/>
                      <a:gd name="T24" fmla="*/ 149 w 297"/>
                      <a:gd name="T25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97" h="99">
                        <a:moveTo>
                          <a:pt x="149" y="0"/>
                        </a:moveTo>
                        <a:cubicBezTo>
                          <a:pt x="98" y="0"/>
                          <a:pt x="50" y="18"/>
                          <a:pt x="9" y="53"/>
                        </a:cubicBezTo>
                        <a:cubicBezTo>
                          <a:pt x="4" y="57"/>
                          <a:pt x="1" y="64"/>
                          <a:pt x="0" y="71"/>
                        </a:cubicBezTo>
                        <a:cubicBezTo>
                          <a:pt x="0" y="78"/>
                          <a:pt x="3" y="85"/>
                          <a:pt x="8" y="90"/>
                        </a:cubicBezTo>
                        <a:cubicBezTo>
                          <a:pt x="8" y="90"/>
                          <a:pt x="8" y="90"/>
                          <a:pt x="8" y="90"/>
                        </a:cubicBezTo>
                        <a:cubicBezTo>
                          <a:pt x="18" y="98"/>
                          <a:pt x="32" y="99"/>
                          <a:pt x="41" y="91"/>
                        </a:cubicBezTo>
                        <a:cubicBezTo>
                          <a:pt x="73" y="64"/>
                          <a:pt x="110" y="49"/>
                          <a:pt x="149" y="49"/>
                        </a:cubicBezTo>
                        <a:cubicBezTo>
                          <a:pt x="188" y="49"/>
                          <a:pt x="225" y="64"/>
                          <a:pt x="256" y="91"/>
                        </a:cubicBezTo>
                        <a:cubicBezTo>
                          <a:pt x="266" y="99"/>
                          <a:pt x="280" y="98"/>
                          <a:pt x="289" y="90"/>
                        </a:cubicBezTo>
                        <a:cubicBezTo>
                          <a:pt x="289" y="90"/>
                          <a:pt x="289" y="90"/>
                          <a:pt x="289" y="90"/>
                        </a:cubicBezTo>
                        <a:cubicBezTo>
                          <a:pt x="295" y="85"/>
                          <a:pt x="297" y="78"/>
                          <a:pt x="297" y="71"/>
                        </a:cubicBezTo>
                        <a:cubicBezTo>
                          <a:pt x="297" y="64"/>
                          <a:pt x="294" y="57"/>
                          <a:pt x="288" y="53"/>
                        </a:cubicBezTo>
                        <a:cubicBezTo>
                          <a:pt x="248" y="18"/>
                          <a:pt x="200" y="0"/>
                          <a:pt x="14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6" name="Freeform 38"/>
                  <p:cNvSpPr>
                    <a:spLocks/>
                  </p:cNvSpPr>
                  <p:nvPr/>
                </p:nvSpPr>
                <p:spPr bwMode="auto">
                  <a:xfrm>
                    <a:off x="1069911" y="239035"/>
                    <a:ext cx="511773" cy="154619"/>
                  </a:xfrm>
                  <a:custGeom>
                    <a:avLst/>
                    <a:gdLst>
                      <a:gd name="T0" fmla="*/ 214 w 427"/>
                      <a:gd name="T1" fmla="*/ 0 h 129"/>
                      <a:gd name="T2" fmla="*/ 8 w 427"/>
                      <a:gd name="T3" fmla="*/ 84 h 129"/>
                      <a:gd name="T4" fmla="*/ 0 w 427"/>
                      <a:gd name="T5" fmla="*/ 102 h 129"/>
                      <a:gd name="T6" fmla="*/ 8 w 427"/>
                      <a:gd name="T7" fmla="*/ 120 h 129"/>
                      <a:gd name="T8" fmla="*/ 9 w 427"/>
                      <a:gd name="T9" fmla="*/ 120 h 129"/>
                      <a:gd name="T10" fmla="*/ 43 w 427"/>
                      <a:gd name="T11" fmla="*/ 120 h 129"/>
                      <a:gd name="T12" fmla="*/ 214 w 427"/>
                      <a:gd name="T13" fmla="*/ 50 h 129"/>
                      <a:gd name="T14" fmla="*/ 385 w 427"/>
                      <a:gd name="T15" fmla="*/ 120 h 129"/>
                      <a:gd name="T16" fmla="*/ 419 w 427"/>
                      <a:gd name="T17" fmla="*/ 120 h 129"/>
                      <a:gd name="T18" fmla="*/ 419 w 427"/>
                      <a:gd name="T19" fmla="*/ 120 h 129"/>
                      <a:gd name="T20" fmla="*/ 427 w 427"/>
                      <a:gd name="T21" fmla="*/ 102 h 129"/>
                      <a:gd name="T22" fmla="*/ 419 w 427"/>
                      <a:gd name="T23" fmla="*/ 84 h 129"/>
                      <a:gd name="T24" fmla="*/ 214 w 427"/>
                      <a:gd name="T25" fmla="*/ 0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27" h="129">
                        <a:moveTo>
                          <a:pt x="214" y="0"/>
                        </a:moveTo>
                        <a:cubicBezTo>
                          <a:pt x="131" y="0"/>
                          <a:pt x="55" y="40"/>
                          <a:pt x="8" y="84"/>
                        </a:cubicBezTo>
                        <a:cubicBezTo>
                          <a:pt x="3" y="88"/>
                          <a:pt x="0" y="95"/>
                          <a:pt x="0" y="102"/>
                        </a:cubicBezTo>
                        <a:cubicBezTo>
                          <a:pt x="1" y="109"/>
                          <a:pt x="3" y="115"/>
                          <a:pt x="8" y="120"/>
                        </a:cubicBezTo>
                        <a:cubicBezTo>
                          <a:pt x="9" y="120"/>
                          <a:pt x="9" y="120"/>
                          <a:pt x="9" y="120"/>
                        </a:cubicBezTo>
                        <a:cubicBezTo>
                          <a:pt x="18" y="129"/>
                          <a:pt x="33" y="129"/>
                          <a:pt x="43" y="120"/>
                        </a:cubicBezTo>
                        <a:cubicBezTo>
                          <a:pt x="78" y="87"/>
                          <a:pt x="141" y="50"/>
                          <a:pt x="214" y="50"/>
                        </a:cubicBezTo>
                        <a:cubicBezTo>
                          <a:pt x="286" y="50"/>
                          <a:pt x="349" y="87"/>
                          <a:pt x="385" y="120"/>
                        </a:cubicBezTo>
                        <a:cubicBezTo>
                          <a:pt x="395" y="129"/>
                          <a:pt x="409" y="129"/>
                          <a:pt x="419" y="120"/>
                        </a:cubicBezTo>
                        <a:cubicBezTo>
                          <a:pt x="419" y="120"/>
                          <a:pt x="419" y="120"/>
                          <a:pt x="419" y="120"/>
                        </a:cubicBezTo>
                        <a:cubicBezTo>
                          <a:pt x="424" y="115"/>
                          <a:pt x="427" y="109"/>
                          <a:pt x="427" y="102"/>
                        </a:cubicBezTo>
                        <a:cubicBezTo>
                          <a:pt x="427" y="95"/>
                          <a:pt x="424" y="88"/>
                          <a:pt x="419" y="84"/>
                        </a:cubicBezTo>
                        <a:cubicBezTo>
                          <a:pt x="372" y="40"/>
                          <a:pt x="297" y="0"/>
                          <a:pt x="214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499" name="Group 498"/>
                <p:cNvGrpSpPr/>
                <p:nvPr/>
              </p:nvGrpSpPr>
              <p:grpSpPr>
                <a:xfrm>
                  <a:off x="8300212" y="6969755"/>
                  <a:ext cx="343258" cy="200127"/>
                  <a:chOff x="1069911" y="239035"/>
                  <a:chExt cx="511773" cy="298376"/>
                </a:xfrm>
              </p:grpSpPr>
              <p:sp>
                <p:nvSpPr>
                  <p:cNvPr id="501" name="Freeform 36"/>
                  <p:cNvSpPr>
                    <a:spLocks/>
                  </p:cNvSpPr>
                  <p:nvPr/>
                </p:nvSpPr>
                <p:spPr bwMode="auto">
                  <a:xfrm>
                    <a:off x="1225807" y="453712"/>
                    <a:ext cx="201259" cy="83699"/>
                  </a:xfrm>
                  <a:custGeom>
                    <a:avLst/>
                    <a:gdLst>
                      <a:gd name="T0" fmla="*/ 12 w 168"/>
                      <a:gd name="T1" fmla="*/ 22 h 70"/>
                      <a:gd name="T2" fmla="*/ 1 w 168"/>
                      <a:gd name="T3" fmla="*/ 41 h 70"/>
                      <a:gd name="T4" fmla="*/ 8 w 168"/>
                      <a:gd name="T5" fmla="*/ 61 h 70"/>
                      <a:gd name="T6" fmla="*/ 9 w 168"/>
                      <a:gd name="T7" fmla="*/ 61 h 70"/>
                      <a:gd name="T8" fmla="*/ 39 w 168"/>
                      <a:gd name="T9" fmla="*/ 64 h 70"/>
                      <a:gd name="T10" fmla="*/ 84 w 168"/>
                      <a:gd name="T11" fmla="*/ 50 h 70"/>
                      <a:gd name="T12" fmla="*/ 129 w 168"/>
                      <a:gd name="T13" fmla="*/ 64 h 70"/>
                      <a:gd name="T14" fmla="*/ 159 w 168"/>
                      <a:gd name="T15" fmla="*/ 61 h 70"/>
                      <a:gd name="T16" fmla="*/ 159 w 168"/>
                      <a:gd name="T17" fmla="*/ 61 h 70"/>
                      <a:gd name="T18" fmla="*/ 167 w 168"/>
                      <a:gd name="T19" fmla="*/ 41 h 70"/>
                      <a:gd name="T20" fmla="*/ 156 w 168"/>
                      <a:gd name="T21" fmla="*/ 22 h 70"/>
                      <a:gd name="T22" fmla="*/ 84 w 168"/>
                      <a:gd name="T23" fmla="*/ 0 h 70"/>
                      <a:gd name="T24" fmla="*/ 12 w 168"/>
                      <a:gd name="T25" fmla="*/ 22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68" h="70">
                        <a:moveTo>
                          <a:pt x="12" y="22"/>
                        </a:moveTo>
                        <a:cubicBezTo>
                          <a:pt x="5" y="26"/>
                          <a:pt x="1" y="33"/>
                          <a:pt x="1" y="41"/>
                        </a:cubicBezTo>
                        <a:cubicBezTo>
                          <a:pt x="0" y="48"/>
                          <a:pt x="3" y="56"/>
                          <a:pt x="8" y="61"/>
                        </a:cubicBezTo>
                        <a:cubicBezTo>
                          <a:pt x="9" y="61"/>
                          <a:pt x="9" y="61"/>
                          <a:pt x="9" y="61"/>
                        </a:cubicBezTo>
                        <a:cubicBezTo>
                          <a:pt x="17" y="69"/>
                          <a:pt x="29" y="70"/>
                          <a:pt x="39" y="64"/>
                        </a:cubicBezTo>
                        <a:cubicBezTo>
                          <a:pt x="53" y="55"/>
                          <a:pt x="68" y="50"/>
                          <a:pt x="84" y="50"/>
                        </a:cubicBezTo>
                        <a:cubicBezTo>
                          <a:pt x="100" y="50"/>
                          <a:pt x="115" y="55"/>
                          <a:pt x="129" y="64"/>
                        </a:cubicBezTo>
                        <a:cubicBezTo>
                          <a:pt x="138" y="70"/>
                          <a:pt x="151" y="69"/>
                          <a:pt x="159" y="61"/>
                        </a:cubicBezTo>
                        <a:cubicBezTo>
                          <a:pt x="159" y="61"/>
                          <a:pt x="159" y="61"/>
                          <a:pt x="159" y="61"/>
                        </a:cubicBezTo>
                        <a:cubicBezTo>
                          <a:pt x="165" y="56"/>
                          <a:pt x="168" y="48"/>
                          <a:pt x="167" y="41"/>
                        </a:cubicBezTo>
                        <a:cubicBezTo>
                          <a:pt x="166" y="33"/>
                          <a:pt x="162" y="26"/>
                          <a:pt x="156" y="22"/>
                        </a:cubicBezTo>
                        <a:cubicBezTo>
                          <a:pt x="134" y="8"/>
                          <a:pt x="109" y="0"/>
                          <a:pt x="84" y="0"/>
                        </a:cubicBezTo>
                        <a:cubicBezTo>
                          <a:pt x="58" y="0"/>
                          <a:pt x="34" y="8"/>
                          <a:pt x="12" y="2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2" name="Freeform 37"/>
                  <p:cNvSpPr>
                    <a:spLocks/>
                  </p:cNvSpPr>
                  <p:nvPr/>
                </p:nvSpPr>
                <p:spPr bwMode="auto">
                  <a:xfrm>
                    <a:off x="1147860" y="347012"/>
                    <a:ext cx="355878" cy="118839"/>
                  </a:xfrm>
                  <a:custGeom>
                    <a:avLst/>
                    <a:gdLst>
                      <a:gd name="T0" fmla="*/ 149 w 297"/>
                      <a:gd name="T1" fmla="*/ 0 h 99"/>
                      <a:gd name="T2" fmla="*/ 9 w 297"/>
                      <a:gd name="T3" fmla="*/ 53 h 99"/>
                      <a:gd name="T4" fmla="*/ 0 w 297"/>
                      <a:gd name="T5" fmla="*/ 71 h 99"/>
                      <a:gd name="T6" fmla="*/ 8 w 297"/>
                      <a:gd name="T7" fmla="*/ 90 h 99"/>
                      <a:gd name="T8" fmla="*/ 8 w 297"/>
                      <a:gd name="T9" fmla="*/ 90 h 99"/>
                      <a:gd name="T10" fmla="*/ 41 w 297"/>
                      <a:gd name="T11" fmla="*/ 91 h 99"/>
                      <a:gd name="T12" fmla="*/ 149 w 297"/>
                      <a:gd name="T13" fmla="*/ 49 h 99"/>
                      <a:gd name="T14" fmla="*/ 256 w 297"/>
                      <a:gd name="T15" fmla="*/ 91 h 99"/>
                      <a:gd name="T16" fmla="*/ 289 w 297"/>
                      <a:gd name="T17" fmla="*/ 90 h 99"/>
                      <a:gd name="T18" fmla="*/ 289 w 297"/>
                      <a:gd name="T19" fmla="*/ 90 h 99"/>
                      <a:gd name="T20" fmla="*/ 297 w 297"/>
                      <a:gd name="T21" fmla="*/ 71 h 99"/>
                      <a:gd name="T22" fmla="*/ 288 w 297"/>
                      <a:gd name="T23" fmla="*/ 53 h 99"/>
                      <a:gd name="T24" fmla="*/ 149 w 297"/>
                      <a:gd name="T25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297" h="99">
                        <a:moveTo>
                          <a:pt x="149" y="0"/>
                        </a:moveTo>
                        <a:cubicBezTo>
                          <a:pt x="98" y="0"/>
                          <a:pt x="50" y="18"/>
                          <a:pt x="9" y="53"/>
                        </a:cubicBezTo>
                        <a:cubicBezTo>
                          <a:pt x="4" y="57"/>
                          <a:pt x="1" y="64"/>
                          <a:pt x="0" y="71"/>
                        </a:cubicBezTo>
                        <a:cubicBezTo>
                          <a:pt x="0" y="78"/>
                          <a:pt x="3" y="85"/>
                          <a:pt x="8" y="90"/>
                        </a:cubicBezTo>
                        <a:cubicBezTo>
                          <a:pt x="8" y="90"/>
                          <a:pt x="8" y="90"/>
                          <a:pt x="8" y="90"/>
                        </a:cubicBezTo>
                        <a:cubicBezTo>
                          <a:pt x="18" y="98"/>
                          <a:pt x="32" y="99"/>
                          <a:pt x="41" y="91"/>
                        </a:cubicBezTo>
                        <a:cubicBezTo>
                          <a:pt x="73" y="64"/>
                          <a:pt x="110" y="49"/>
                          <a:pt x="149" y="49"/>
                        </a:cubicBezTo>
                        <a:cubicBezTo>
                          <a:pt x="188" y="49"/>
                          <a:pt x="225" y="64"/>
                          <a:pt x="256" y="91"/>
                        </a:cubicBezTo>
                        <a:cubicBezTo>
                          <a:pt x="266" y="99"/>
                          <a:pt x="280" y="98"/>
                          <a:pt x="289" y="90"/>
                        </a:cubicBezTo>
                        <a:cubicBezTo>
                          <a:pt x="289" y="90"/>
                          <a:pt x="289" y="90"/>
                          <a:pt x="289" y="90"/>
                        </a:cubicBezTo>
                        <a:cubicBezTo>
                          <a:pt x="295" y="85"/>
                          <a:pt x="297" y="78"/>
                          <a:pt x="297" y="71"/>
                        </a:cubicBezTo>
                        <a:cubicBezTo>
                          <a:pt x="297" y="64"/>
                          <a:pt x="294" y="57"/>
                          <a:pt x="288" y="53"/>
                        </a:cubicBezTo>
                        <a:cubicBezTo>
                          <a:pt x="248" y="18"/>
                          <a:pt x="200" y="0"/>
                          <a:pt x="14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3" name="Freeform 38"/>
                  <p:cNvSpPr>
                    <a:spLocks/>
                  </p:cNvSpPr>
                  <p:nvPr/>
                </p:nvSpPr>
                <p:spPr bwMode="auto">
                  <a:xfrm>
                    <a:off x="1069911" y="239035"/>
                    <a:ext cx="511773" cy="154619"/>
                  </a:xfrm>
                  <a:custGeom>
                    <a:avLst/>
                    <a:gdLst>
                      <a:gd name="T0" fmla="*/ 214 w 427"/>
                      <a:gd name="T1" fmla="*/ 0 h 129"/>
                      <a:gd name="T2" fmla="*/ 8 w 427"/>
                      <a:gd name="T3" fmla="*/ 84 h 129"/>
                      <a:gd name="T4" fmla="*/ 0 w 427"/>
                      <a:gd name="T5" fmla="*/ 102 h 129"/>
                      <a:gd name="T6" fmla="*/ 8 w 427"/>
                      <a:gd name="T7" fmla="*/ 120 h 129"/>
                      <a:gd name="T8" fmla="*/ 9 w 427"/>
                      <a:gd name="T9" fmla="*/ 120 h 129"/>
                      <a:gd name="T10" fmla="*/ 43 w 427"/>
                      <a:gd name="T11" fmla="*/ 120 h 129"/>
                      <a:gd name="T12" fmla="*/ 214 w 427"/>
                      <a:gd name="T13" fmla="*/ 50 h 129"/>
                      <a:gd name="T14" fmla="*/ 385 w 427"/>
                      <a:gd name="T15" fmla="*/ 120 h 129"/>
                      <a:gd name="T16" fmla="*/ 419 w 427"/>
                      <a:gd name="T17" fmla="*/ 120 h 129"/>
                      <a:gd name="T18" fmla="*/ 419 w 427"/>
                      <a:gd name="T19" fmla="*/ 120 h 129"/>
                      <a:gd name="T20" fmla="*/ 427 w 427"/>
                      <a:gd name="T21" fmla="*/ 102 h 129"/>
                      <a:gd name="T22" fmla="*/ 419 w 427"/>
                      <a:gd name="T23" fmla="*/ 84 h 129"/>
                      <a:gd name="T24" fmla="*/ 214 w 427"/>
                      <a:gd name="T25" fmla="*/ 0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27" h="129">
                        <a:moveTo>
                          <a:pt x="214" y="0"/>
                        </a:moveTo>
                        <a:cubicBezTo>
                          <a:pt x="131" y="0"/>
                          <a:pt x="55" y="40"/>
                          <a:pt x="8" y="84"/>
                        </a:cubicBezTo>
                        <a:cubicBezTo>
                          <a:pt x="3" y="88"/>
                          <a:pt x="0" y="95"/>
                          <a:pt x="0" y="102"/>
                        </a:cubicBezTo>
                        <a:cubicBezTo>
                          <a:pt x="1" y="109"/>
                          <a:pt x="3" y="115"/>
                          <a:pt x="8" y="120"/>
                        </a:cubicBezTo>
                        <a:cubicBezTo>
                          <a:pt x="9" y="120"/>
                          <a:pt x="9" y="120"/>
                          <a:pt x="9" y="120"/>
                        </a:cubicBezTo>
                        <a:cubicBezTo>
                          <a:pt x="18" y="129"/>
                          <a:pt x="33" y="129"/>
                          <a:pt x="43" y="120"/>
                        </a:cubicBezTo>
                        <a:cubicBezTo>
                          <a:pt x="78" y="87"/>
                          <a:pt x="141" y="50"/>
                          <a:pt x="214" y="50"/>
                        </a:cubicBezTo>
                        <a:cubicBezTo>
                          <a:pt x="286" y="50"/>
                          <a:pt x="349" y="87"/>
                          <a:pt x="385" y="120"/>
                        </a:cubicBezTo>
                        <a:cubicBezTo>
                          <a:pt x="395" y="129"/>
                          <a:pt x="409" y="129"/>
                          <a:pt x="419" y="120"/>
                        </a:cubicBezTo>
                        <a:cubicBezTo>
                          <a:pt x="419" y="120"/>
                          <a:pt x="419" y="120"/>
                          <a:pt x="419" y="120"/>
                        </a:cubicBezTo>
                        <a:cubicBezTo>
                          <a:pt x="424" y="115"/>
                          <a:pt x="427" y="109"/>
                          <a:pt x="427" y="102"/>
                        </a:cubicBezTo>
                        <a:cubicBezTo>
                          <a:pt x="427" y="95"/>
                          <a:pt x="424" y="88"/>
                          <a:pt x="419" y="84"/>
                        </a:cubicBezTo>
                        <a:cubicBezTo>
                          <a:pt x="372" y="40"/>
                          <a:pt x="297" y="0"/>
                          <a:pt x="214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436" name="clothes"/>
              <p:cNvGrpSpPr/>
              <p:nvPr/>
            </p:nvGrpSpPr>
            <p:grpSpPr>
              <a:xfrm>
                <a:off x="295411" y="2308332"/>
                <a:ext cx="3326549" cy="2131297"/>
                <a:chOff x="5547508" y="5949502"/>
                <a:chExt cx="3326549" cy="2131297"/>
              </a:xfrm>
            </p:grpSpPr>
            <p:grpSp>
              <p:nvGrpSpPr>
                <p:cNvPr id="437" name="Group 436"/>
                <p:cNvGrpSpPr/>
                <p:nvPr/>
              </p:nvGrpSpPr>
              <p:grpSpPr>
                <a:xfrm>
                  <a:off x="5547508" y="5949502"/>
                  <a:ext cx="3326549" cy="1403203"/>
                  <a:chOff x="5709782" y="6216202"/>
                  <a:chExt cx="3326549" cy="1403203"/>
                </a:xfrm>
              </p:grpSpPr>
              <p:grpSp>
                <p:nvGrpSpPr>
                  <p:cNvPr id="439" name="Group 438"/>
                  <p:cNvGrpSpPr>
                    <a:grpSpLocks noChangeAspect="1"/>
                  </p:cNvGrpSpPr>
                  <p:nvPr/>
                </p:nvGrpSpPr>
                <p:grpSpPr>
                  <a:xfrm>
                    <a:off x="5709782" y="7244125"/>
                    <a:ext cx="528818" cy="320040"/>
                    <a:chOff x="5502270" y="7093654"/>
                    <a:chExt cx="740668" cy="448251"/>
                  </a:xfrm>
                  <a:solidFill>
                    <a:srgbClr val="626262"/>
                  </a:solidFill>
                </p:grpSpPr>
                <p:sp>
                  <p:nvSpPr>
                    <p:cNvPr id="454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502270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55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885061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40" name="Group 439"/>
                  <p:cNvGrpSpPr/>
                  <p:nvPr/>
                </p:nvGrpSpPr>
                <p:grpSpPr>
                  <a:xfrm>
                    <a:off x="6336319" y="6216202"/>
                    <a:ext cx="790151" cy="1403203"/>
                    <a:chOff x="6215400" y="6715704"/>
                    <a:chExt cx="465238" cy="826201"/>
                  </a:xfrm>
                </p:grpSpPr>
                <p:grpSp>
                  <p:nvGrpSpPr>
                    <p:cNvPr id="449" name="Group 448"/>
                    <p:cNvGrpSpPr/>
                    <p:nvPr/>
                  </p:nvGrpSpPr>
                  <p:grpSpPr>
                    <a:xfrm>
                      <a:off x="6215400" y="6715704"/>
                      <a:ext cx="465238" cy="271245"/>
                      <a:chOff x="1069911" y="239035"/>
                      <a:chExt cx="511773" cy="298376"/>
                    </a:xfrm>
                  </p:grpSpPr>
                  <p:sp>
                    <p:nvSpPr>
                      <p:cNvPr id="451" name="Freeform 3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225807" y="453712"/>
                        <a:ext cx="201259" cy="83699"/>
                      </a:xfrm>
                      <a:custGeom>
                        <a:avLst/>
                        <a:gdLst>
                          <a:gd name="T0" fmla="*/ 12 w 168"/>
                          <a:gd name="T1" fmla="*/ 22 h 70"/>
                          <a:gd name="T2" fmla="*/ 1 w 168"/>
                          <a:gd name="T3" fmla="*/ 41 h 70"/>
                          <a:gd name="T4" fmla="*/ 8 w 168"/>
                          <a:gd name="T5" fmla="*/ 61 h 70"/>
                          <a:gd name="T6" fmla="*/ 9 w 168"/>
                          <a:gd name="T7" fmla="*/ 61 h 70"/>
                          <a:gd name="T8" fmla="*/ 39 w 168"/>
                          <a:gd name="T9" fmla="*/ 64 h 70"/>
                          <a:gd name="T10" fmla="*/ 84 w 168"/>
                          <a:gd name="T11" fmla="*/ 50 h 70"/>
                          <a:gd name="T12" fmla="*/ 129 w 168"/>
                          <a:gd name="T13" fmla="*/ 64 h 70"/>
                          <a:gd name="T14" fmla="*/ 159 w 168"/>
                          <a:gd name="T15" fmla="*/ 61 h 70"/>
                          <a:gd name="T16" fmla="*/ 159 w 168"/>
                          <a:gd name="T17" fmla="*/ 61 h 70"/>
                          <a:gd name="T18" fmla="*/ 167 w 168"/>
                          <a:gd name="T19" fmla="*/ 41 h 70"/>
                          <a:gd name="T20" fmla="*/ 156 w 168"/>
                          <a:gd name="T21" fmla="*/ 22 h 70"/>
                          <a:gd name="T22" fmla="*/ 84 w 168"/>
                          <a:gd name="T23" fmla="*/ 0 h 70"/>
                          <a:gd name="T24" fmla="*/ 12 w 168"/>
                          <a:gd name="T25" fmla="*/ 22 h 7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</a:cxnLst>
                        <a:rect l="0" t="0" r="r" b="b"/>
                        <a:pathLst>
                          <a:path w="168" h="70">
                            <a:moveTo>
                              <a:pt x="12" y="22"/>
                            </a:moveTo>
                            <a:cubicBezTo>
                              <a:pt x="5" y="26"/>
                              <a:pt x="1" y="33"/>
                              <a:pt x="1" y="41"/>
                            </a:cubicBezTo>
                            <a:cubicBezTo>
                              <a:pt x="0" y="48"/>
                              <a:pt x="3" y="56"/>
                              <a:pt x="8" y="61"/>
                            </a:cubicBezTo>
                            <a:cubicBezTo>
                              <a:pt x="9" y="61"/>
                              <a:pt x="9" y="61"/>
                              <a:pt x="9" y="61"/>
                            </a:cubicBezTo>
                            <a:cubicBezTo>
                              <a:pt x="17" y="69"/>
                              <a:pt x="29" y="70"/>
                              <a:pt x="39" y="64"/>
                            </a:cubicBezTo>
                            <a:cubicBezTo>
                              <a:pt x="53" y="55"/>
                              <a:pt x="68" y="50"/>
                              <a:pt x="84" y="50"/>
                            </a:cubicBezTo>
                            <a:cubicBezTo>
                              <a:pt x="100" y="50"/>
                              <a:pt x="115" y="55"/>
                              <a:pt x="129" y="64"/>
                            </a:cubicBezTo>
                            <a:cubicBezTo>
                              <a:pt x="138" y="70"/>
                              <a:pt x="151" y="69"/>
                              <a:pt x="159" y="61"/>
                            </a:cubicBezTo>
                            <a:cubicBezTo>
                              <a:pt x="159" y="61"/>
                              <a:pt x="159" y="61"/>
                              <a:pt x="159" y="61"/>
                            </a:cubicBezTo>
                            <a:cubicBezTo>
                              <a:pt x="165" y="56"/>
                              <a:pt x="168" y="48"/>
                              <a:pt x="167" y="41"/>
                            </a:cubicBezTo>
                            <a:cubicBezTo>
                              <a:pt x="166" y="33"/>
                              <a:pt x="162" y="26"/>
                              <a:pt x="156" y="22"/>
                            </a:cubicBezTo>
                            <a:cubicBezTo>
                              <a:pt x="134" y="8"/>
                              <a:pt x="109" y="0"/>
                              <a:pt x="84" y="0"/>
                            </a:cubicBezTo>
                            <a:cubicBezTo>
                              <a:pt x="58" y="0"/>
                              <a:pt x="34" y="8"/>
                              <a:pt x="12" y="22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2" name="Freeform 3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147860" y="347012"/>
                        <a:ext cx="355878" cy="118839"/>
                      </a:xfrm>
                      <a:custGeom>
                        <a:avLst/>
                        <a:gdLst>
                          <a:gd name="T0" fmla="*/ 149 w 297"/>
                          <a:gd name="T1" fmla="*/ 0 h 99"/>
                          <a:gd name="T2" fmla="*/ 9 w 297"/>
                          <a:gd name="T3" fmla="*/ 53 h 99"/>
                          <a:gd name="T4" fmla="*/ 0 w 297"/>
                          <a:gd name="T5" fmla="*/ 71 h 99"/>
                          <a:gd name="T6" fmla="*/ 8 w 297"/>
                          <a:gd name="T7" fmla="*/ 90 h 99"/>
                          <a:gd name="T8" fmla="*/ 8 w 297"/>
                          <a:gd name="T9" fmla="*/ 90 h 99"/>
                          <a:gd name="T10" fmla="*/ 41 w 297"/>
                          <a:gd name="T11" fmla="*/ 91 h 99"/>
                          <a:gd name="T12" fmla="*/ 149 w 297"/>
                          <a:gd name="T13" fmla="*/ 49 h 99"/>
                          <a:gd name="T14" fmla="*/ 256 w 297"/>
                          <a:gd name="T15" fmla="*/ 91 h 99"/>
                          <a:gd name="T16" fmla="*/ 289 w 297"/>
                          <a:gd name="T17" fmla="*/ 90 h 99"/>
                          <a:gd name="T18" fmla="*/ 289 w 297"/>
                          <a:gd name="T19" fmla="*/ 90 h 99"/>
                          <a:gd name="T20" fmla="*/ 297 w 297"/>
                          <a:gd name="T21" fmla="*/ 71 h 99"/>
                          <a:gd name="T22" fmla="*/ 288 w 297"/>
                          <a:gd name="T23" fmla="*/ 53 h 99"/>
                          <a:gd name="T24" fmla="*/ 149 w 297"/>
                          <a:gd name="T25" fmla="*/ 0 h 9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</a:cxnLst>
                        <a:rect l="0" t="0" r="r" b="b"/>
                        <a:pathLst>
                          <a:path w="297" h="99">
                            <a:moveTo>
                              <a:pt x="149" y="0"/>
                            </a:moveTo>
                            <a:cubicBezTo>
                              <a:pt x="98" y="0"/>
                              <a:pt x="50" y="18"/>
                              <a:pt x="9" y="53"/>
                            </a:cubicBezTo>
                            <a:cubicBezTo>
                              <a:pt x="4" y="57"/>
                              <a:pt x="1" y="64"/>
                              <a:pt x="0" y="71"/>
                            </a:cubicBezTo>
                            <a:cubicBezTo>
                              <a:pt x="0" y="78"/>
                              <a:pt x="3" y="85"/>
                              <a:pt x="8" y="90"/>
                            </a:cubicBezTo>
                            <a:cubicBezTo>
                              <a:pt x="8" y="90"/>
                              <a:pt x="8" y="90"/>
                              <a:pt x="8" y="90"/>
                            </a:cubicBezTo>
                            <a:cubicBezTo>
                              <a:pt x="18" y="98"/>
                              <a:pt x="32" y="99"/>
                              <a:pt x="41" y="91"/>
                            </a:cubicBezTo>
                            <a:cubicBezTo>
                              <a:pt x="73" y="64"/>
                              <a:pt x="110" y="49"/>
                              <a:pt x="149" y="49"/>
                            </a:cubicBezTo>
                            <a:cubicBezTo>
                              <a:pt x="188" y="49"/>
                              <a:pt x="225" y="64"/>
                              <a:pt x="256" y="91"/>
                            </a:cubicBezTo>
                            <a:cubicBezTo>
                              <a:pt x="266" y="99"/>
                              <a:pt x="280" y="98"/>
                              <a:pt x="289" y="90"/>
                            </a:cubicBezTo>
                            <a:cubicBezTo>
                              <a:pt x="289" y="90"/>
                              <a:pt x="289" y="90"/>
                              <a:pt x="289" y="90"/>
                            </a:cubicBezTo>
                            <a:cubicBezTo>
                              <a:pt x="295" y="85"/>
                              <a:pt x="297" y="78"/>
                              <a:pt x="297" y="71"/>
                            </a:cubicBezTo>
                            <a:cubicBezTo>
                              <a:pt x="297" y="64"/>
                              <a:pt x="294" y="57"/>
                              <a:pt x="288" y="53"/>
                            </a:cubicBezTo>
                            <a:cubicBezTo>
                              <a:pt x="248" y="18"/>
                              <a:pt x="200" y="0"/>
                              <a:pt x="149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3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069911" y="239035"/>
                        <a:ext cx="511773" cy="154619"/>
                      </a:xfrm>
                      <a:custGeom>
                        <a:avLst/>
                        <a:gdLst>
                          <a:gd name="T0" fmla="*/ 214 w 427"/>
                          <a:gd name="T1" fmla="*/ 0 h 129"/>
                          <a:gd name="T2" fmla="*/ 8 w 427"/>
                          <a:gd name="T3" fmla="*/ 84 h 129"/>
                          <a:gd name="T4" fmla="*/ 0 w 427"/>
                          <a:gd name="T5" fmla="*/ 102 h 129"/>
                          <a:gd name="T6" fmla="*/ 8 w 427"/>
                          <a:gd name="T7" fmla="*/ 120 h 129"/>
                          <a:gd name="T8" fmla="*/ 9 w 427"/>
                          <a:gd name="T9" fmla="*/ 120 h 129"/>
                          <a:gd name="T10" fmla="*/ 43 w 427"/>
                          <a:gd name="T11" fmla="*/ 120 h 129"/>
                          <a:gd name="T12" fmla="*/ 214 w 427"/>
                          <a:gd name="T13" fmla="*/ 50 h 129"/>
                          <a:gd name="T14" fmla="*/ 385 w 427"/>
                          <a:gd name="T15" fmla="*/ 120 h 129"/>
                          <a:gd name="T16" fmla="*/ 419 w 427"/>
                          <a:gd name="T17" fmla="*/ 120 h 129"/>
                          <a:gd name="T18" fmla="*/ 419 w 427"/>
                          <a:gd name="T19" fmla="*/ 120 h 129"/>
                          <a:gd name="T20" fmla="*/ 427 w 427"/>
                          <a:gd name="T21" fmla="*/ 102 h 129"/>
                          <a:gd name="T22" fmla="*/ 419 w 427"/>
                          <a:gd name="T23" fmla="*/ 84 h 129"/>
                          <a:gd name="T24" fmla="*/ 214 w 427"/>
                          <a:gd name="T25" fmla="*/ 0 h 12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</a:cxnLst>
                        <a:rect l="0" t="0" r="r" b="b"/>
                        <a:pathLst>
                          <a:path w="427" h="129">
                            <a:moveTo>
                              <a:pt x="214" y="0"/>
                            </a:moveTo>
                            <a:cubicBezTo>
                              <a:pt x="131" y="0"/>
                              <a:pt x="55" y="40"/>
                              <a:pt x="8" y="84"/>
                            </a:cubicBezTo>
                            <a:cubicBezTo>
                              <a:pt x="3" y="88"/>
                              <a:pt x="0" y="95"/>
                              <a:pt x="0" y="102"/>
                            </a:cubicBezTo>
                            <a:cubicBezTo>
                              <a:pt x="1" y="109"/>
                              <a:pt x="3" y="115"/>
                              <a:pt x="8" y="120"/>
                            </a:cubicBezTo>
                            <a:cubicBezTo>
                              <a:pt x="9" y="120"/>
                              <a:pt x="9" y="120"/>
                              <a:pt x="9" y="120"/>
                            </a:cubicBezTo>
                            <a:cubicBezTo>
                              <a:pt x="18" y="129"/>
                              <a:pt x="33" y="129"/>
                              <a:pt x="43" y="120"/>
                            </a:cubicBezTo>
                            <a:cubicBezTo>
                              <a:pt x="78" y="87"/>
                              <a:pt x="141" y="50"/>
                              <a:pt x="214" y="50"/>
                            </a:cubicBezTo>
                            <a:cubicBezTo>
                              <a:pt x="286" y="50"/>
                              <a:pt x="349" y="87"/>
                              <a:pt x="385" y="120"/>
                            </a:cubicBezTo>
                            <a:cubicBezTo>
                              <a:pt x="395" y="129"/>
                              <a:pt x="409" y="129"/>
                              <a:pt x="419" y="120"/>
                            </a:cubicBezTo>
                            <a:cubicBezTo>
                              <a:pt x="419" y="120"/>
                              <a:pt x="419" y="120"/>
                              <a:pt x="419" y="120"/>
                            </a:cubicBezTo>
                            <a:cubicBezTo>
                              <a:pt x="424" y="115"/>
                              <a:pt x="427" y="109"/>
                              <a:pt x="427" y="102"/>
                            </a:cubicBezTo>
                            <a:cubicBezTo>
                              <a:pt x="427" y="95"/>
                              <a:pt x="424" y="88"/>
                              <a:pt x="419" y="84"/>
                            </a:cubicBezTo>
                            <a:cubicBezTo>
                              <a:pt x="372" y="40"/>
                              <a:pt x="297" y="0"/>
                              <a:pt x="214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Segoe UI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450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267852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441" name="Group 440"/>
                  <p:cNvGrpSpPr/>
                  <p:nvPr/>
                </p:nvGrpSpPr>
                <p:grpSpPr>
                  <a:xfrm>
                    <a:off x="7168023" y="7244125"/>
                    <a:ext cx="1868308" cy="315476"/>
                    <a:chOff x="6650643" y="7093654"/>
                    <a:chExt cx="2654629" cy="448251"/>
                  </a:xfrm>
                  <a:solidFill>
                    <a:srgbClr val="626262"/>
                  </a:solidFill>
                </p:grpSpPr>
                <p:sp>
                  <p:nvSpPr>
                    <p:cNvPr id="442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650643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43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033434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44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416224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45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799015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46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8181806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47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8564597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448" name="Freeform 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8947395" y="7093654"/>
                      <a:ext cx="357877" cy="448251"/>
                    </a:xfrm>
                    <a:custGeom>
                      <a:avLst/>
                      <a:gdLst>
                        <a:gd name="T0" fmla="*/ 471 w 3922"/>
                        <a:gd name="T1" fmla="*/ 1650 h 4912"/>
                        <a:gd name="T2" fmla="*/ 50 w 3922"/>
                        <a:gd name="T3" fmla="*/ 4554 h 4912"/>
                        <a:gd name="T4" fmla="*/ 137 w 3922"/>
                        <a:gd name="T5" fmla="*/ 4632 h 4912"/>
                        <a:gd name="T6" fmla="*/ 586 w 3922"/>
                        <a:gd name="T7" fmla="*/ 4666 h 4912"/>
                        <a:gd name="T8" fmla="*/ 667 w 3922"/>
                        <a:gd name="T9" fmla="*/ 4588 h 4912"/>
                        <a:gd name="T10" fmla="*/ 759 w 3922"/>
                        <a:gd name="T11" fmla="*/ 3128 h 4912"/>
                        <a:gd name="T12" fmla="*/ 806 w 3922"/>
                        <a:gd name="T13" fmla="*/ 4222 h 4912"/>
                        <a:gd name="T14" fmla="*/ 995 w 3922"/>
                        <a:gd name="T15" fmla="*/ 4496 h 4912"/>
                        <a:gd name="T16" fmla="*/ 1839 w 3922"/>
                        <a:gd name="T17" fmla="*/ 4575 h 4912"/>
                        <a:gd name="T18" fmla="*/ 1839 w 3922"/>
                        <a:gd name="T19" fmla="*/ 1254 h 4912"/>
                        <a:gd name="T20" fmla="*/ 1457 w 3922"/>
                        <a:gd name="T21" fmla="*/ 941 h 4912"/>
                        <a:gd name="T22" fmla="*/ 1955 w 3922"/>
                        <a:gd name="T23" fmla="*/ 619 h 4912"/>
                        <a:gd name="T24" fmla="*/ 2452 w 3922"/>
                        <a:gd name="T25" fmla="*/ 941 h 4912"/>
                        <a:gd name="T26" fmla="*/ 2070 w 3922"/>
                        <a:gd name="T27" fmla="*/ 1254 h 4912"/>
                        <a:gd name="T28" fmla="*/ 2070 w 3922"/>
                        <a:gd name="T29" fmla="*/ 4545 h 4912"/>
                        <a:gd name="T30" fmla="*/ 2068 w 3922"/>
                        <a:gd name="T31" fmla="*/ 4550 h 4912"/>
                        <a:gd name="T32" fmla="*/ 2046 w 3922"/>
                        <a:gd name="T33" fmla="*/ 4763 h 4912"/>
                        <a:gd name="T34" fmla="*/ 2039 w 3922"/>
                        <a:gd name="T35" fmla="*/ 4834 h 4912"/>
                        <a:gd name="T36" fmla="*/ 2138 w 3922"/>
                        <a:gd name="T37" fmla="*/ 4912 h 4912"/>
                        <a:gd name="T38" fmla="*/ 2238 w 3922"/>
                        <a:gd name="T39" fmla="*/ 4834 h 4912"/>
                        <a:gd name="T40" fmla="*/ 2211 w 3922"/>
                        <a:gd name="T41" fmla="*/ 4572 h 4912"/>
                        <a:gd name="T42" fmla="*/ 2939 w 3922"/>
                        <a:gd name="T43" fmla="*/ 4496 h 4912"/>
                        <a:gd name="T44" fmla="*/ 3102 w 3922"/>
                        <a:gd name="T45" fmla="*/ 4222 h 4912"/>
                        <a:gd name="T46" fmla="*/ 3150 w 3922"/>
                        <a:gd name="T47" fmla="*/ 3134 h 4912"/>
                        <a:gd name="T48" fmla="*/ 3241 w 3922"/>
                        <a:gd name="T49" fmla="*/ 4588 h 4912"/>
                        <a:gd name="T50" fmla="*/ 3322 w 3922"/>
                        <a:gd name="T51" fmla="*/ 4666 h 4912"/>
                        <a:gd name="T52" fmla="*/ 3770 w 3922"/>
                        <a:gd name="T53" fmla="*/ 4632 h 4912"/>
                        <a:gd name="T54" fmla="*/ 3857 w 3922"/>
                        <a:gd name="T55" fmla="*/ 4554 h 4912"/>
                        <a:gd name="T56" fmla="*/ 3436 w 3922"/>
                        <a:gd name="T57" fmla="*/ 1650 h 4912"/>
                        <a:gd name="T58" fmla="*/ 2813 w 3922"/>
                        <a:gd name="T59" fmla="*/ 1358 h 4912"/>
                        <a:gd name="T60" fmla="*/ 1953 w 3922"/>
                        <a:gd name="T61" fmla="*/ 0 h 4912"/>
                        <a:gd name="T62" fmla="*/ 1088 w 3922"/>
                        <a:gd name="T63" fmla="*/ 1358 h 4912"/>
                        <a:gd name="T64" fmla="*/ 471 w 3922"/>
                        <a:gd name="T65" fmla="*/ 1650 h 4912"/>
                        <a:gd name="T66" fmla="*/ 1214 w 3922"/>
                        <a:gd name="T67" fmla="*/ 2376 h 4912"/>
                        <a:gd name="T68" fmla="*/ 1387 w 3922"/>
                        <a:gd name="T69" fmla="*/ 2376 h 4912"/>
                        <a:gd name="T70" fmla="*/ 1387 w 3922"/>
                        <a:gd name="T71" fmla="*/ 3008 h 4912"/>
                        <a:gd name="T72" fmla="*/ 1214 w 3922"/>
                        <a:gd name="T73" fmla="*/ 3008 h 4912"/>
                        <a:gd name="T74" fmla="*/ 1214 w 3922"/>
                        <a:gd name="T75" fmla="*/ 2376 h 491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</a:cxnLst>
                      <a:rect l="0" t="0" r="r" b="b"/>
                      <a:pathLst>
                        <a:path w="3922" h="4912">
                          <a:moveTo>
                            <a:pt x="471" y="1650"/>
                          </a:moveTo>
                          <a:cubicBezTo>
                            <a:pt x="0" y="2605"/>
                            <a:pt x="50" y="4554"/>
                            <a:pt x="50" y="4554"/>
                          </a:cubicBezTo>
                          <a:cubicBezTo>
                            <a:pt x="54" y="4597"/>
                            <a:pt x="93" y="4632"/>
                            <a:pt x="137" y="4632"/>
                          </a:cubicBezTo>
                          <a:cubicBezTo>
                            <a:pt x="586" y="4666"/>
                            <a:pt x="586" y="4666"/>
                            <a:pt x="586" y="4666"/>
                          </a:cubicBezTo>
                          <a:cubicBezTo>
                            <a:pt x="630" y="4666"/>
                            <a:pt x="666" y="4631"/>
                            <a:pt x="667" y="4588"/>
                          </a:cubicBezTo>
                          <a:cubicBezTo>
                            <a:pt x="667" y="4588"/>
                            <a:pt x="635" y="3669"/>
                            <a:pt x="759" y="3128"/>
                          </a:cubicBezTo>
                          <a:cubicBezTo>
                            <a:pt x="763" y="3473"/>
                            <a:pt x="779" y="3825"/>
                            <a:pt x="806" y="4222"/>
                          </a:cubicBezTo>
                          <a:cubicBezTo>
                            <a:pt x="818" y="4351"/>
                            <a:pt x="884" y="4476"/>
                            <a:pt x="995" y="4496"/>
                          </a:cubicBezTo>
                          <a:cubicBezTo>
                            <a:pt x="1261" y="4543"/>
                            <a:pt x="1549" y="4569"/>
                            <a:pt x="1839" y="4575"/>
                          </a:cubicBezTo>
                          <a:cubicBezTo>
                            <a:pt x="1839" y="1254"/>
                            <a:pt x="1839" y="1254"/>
                            <a:pt x="1839" y="1254"/>
                          </a:cubicBezTo>
                          <a:cubicBezTo>
                            <a:pt x="1620" y="1221"/>
                            <a:pt x="1457" y="1093"/>
                            <a:pt x="1457" y="941"/>
                          </a:cubicBezTo>
                          <a:cubicBezTo>
                            <a:pt x="1457" y="764"/>
                            <a:pt x="1680" y="619"/>
                            <a:pt x="1955" y="619"/>
                          </a:cubicBezTo>
                          <a:cubicBezTo>
                            <a:pt x="2229" y="619"/>
                            <a:pt x="2452" y="764"/>
                            <a:pt x="2452" y="941"/>
                          </a:cubicBezTo>
                          <a:cubicBezTo>
                            <a:pt x="2452" y="1093"/>
                            <a:pt x="2289" y="1221"/>
                            <a:pt x="2070" y="1254"/>
                          </a:cubicBezTo>
                          <a:cubicBezTo>
                            <a:pt x="2070" y="4545"/>
                            <a:pt x="2070" y="4545"/>
                            <a:pt x="2070" y="4545"/>
                          </a:cubicBezTo>
                          <a:cubicBezTo>
                            <a:pt x="2069" y="4547"/>
                            <a:pt x="2068" y="4548"/>
                            <a:pt x="2068" y="4550"/>
                          </a:cubicBezTo>
                          <a:cubicBezTo>
                            <a:pt x="2046" y="4763"/>
                            <a:pt x="2046" y="4763"/>
                            <a:pt x="2046" y="4763"/>
                          </a:cubicBezTo>
                          <a:cubicBezTo>
                            <a:pt x="2039" y="4834"/>
                            <a:pt x="2039" y="4834"/>
                            <a:pt x="2039" y="4834"/>
                          </a:cubicBezTo>
                          <a:cubicBezTo>
                            <a:pt x="2039" y="4877"/>
                            <a:pt x="2084" y="4912"/>
                            <a:pt x="2138" y="4912"/>
                          </a:cubicBezTo>
                          <a:cubicBezTo>
                            <a:pt x="2193" y="4912"/>
                            <a:pt x="2238" y="4877"/>
                            <a:pt x="2238" y="4834"/>
                          </a:cubicBezTo>
                          <a:cubicBezTo>
                            <a:pt x="2211" y="4572"/>
                            <a:pt x="2211" y="4572"/>
                            <a:pt x="2211" y="4572"/>
                          </a:cubicBezTo>
                          <a:cubicBezTo>
                            <a:pt x="2461" y="4562"/>
                            <a:pt x="2708" y="4537"/>
                            <a:pt x="2939" y="4496"/>
                          </a:cubicBezTo>
                          <a:cubicBezTo>
                            <a:pt x="3050" y="4476"/>
                            <a:pt x="3091" y="4351"/>
                            <a:pt x="3102" y="4222"/>
                          </a:cubicBezTo>
                          <a:cubicBezTo>
                            <a:pt x="3130" y="3827"/>
                            <a:pt x="3146" y="3477"/>
                            <a:pt x="3150" y="3134"/>
                          </a:cubicBezTo>
                          <a:cubicBezTo>
                            <a:pt x="3272" y="3676"/>
                            <a:pt x="3241" y="4588"/>
                            <a:pt x="3241" y="4588"/>
                          </a:cubicBezTo>
                          <a:cubicBezTo>
                            <a:pt x="3241" y="4631"/>
                            <a:pt x="3278" y="4666"/>
                            <a:pt x="3322" y="4666"/>
                          </a:cubicBezTo>
                          <a:cubicBezTo>
                            <a:pt x="3770" y="4632"/>
                            <a:pt x="3770" y="4632"/>
                            <a:pt x="3770" y="4632"/>
                          </a:cubicBezTo>
                          <a:cubicBezTo>
                            <a:pt x="3814" y="4632"/>
                            <a:pt x="3854" y="4597"/>
                            <a:pt x="3857" y="4554"/>
                          </a:cubicBezTo>
                          <a:cubicBezTo>
                            <a:pt x="3857" y="4554"/>
                            <a:pt x="3922" y="2564"/>
                            <a:pt x="3436" y="1650"/>
                          </a:cubicBezTo>
                          <a:cubicBezTo>
                            <a:pt x="3380" y="1545"/>
                            <a:pt x="3080" y="1436"/>
                            <a:pt x="2813" y="1358"/>
                          </a:cubicBezTo>
                          <a:cubicBezTo>
                            <a:pt x="2888" y="661"/>
                            <a:pt x="2578" y="0"/>
                            <a:pt x="1953" y="0"/>
                          </a:cubicBezTo>
                          <a:cubicBezTo>
                            <a:pt x="1321" y="0"/>
                            <a:pt x="1005" y="619"/>
                            <a:pt x="1088" y="1358"/>
                          </a:cubicBezTo>
                          <a:cubicBezTo>
                            <a:pt x="823" y="1435"/>
                            <a:pt x="524" y="1544"/>
                            <a:pt x="471" y="1650"/>
                          </a:cubicBezTo>
                          <a:close/>
                          <a:moveTo>
                            <a:pt x="1214" y="2376"/>
                          </a:moveTo>
                          <a:cubicBezTo>
                            <a:pt x="1387" y="2376"/>
                            <a:pt x="1387" y="2376"/>
                            <a:pt x="1387" y="2376"/>
                          </a:cubicBezTo>
                          <a:cubicBezTo>
                            <a:pt x="1387" y="3008"/>
                            <a:pt x="1387" y="3008"/>
                            <a:pt x="1387" y="3008"/>
                          </a:cubicBezTo>
                          <a:cubicBezTo>
                            <a:pt x="1214" y="3008"/>
                            <a:pt x="1214" y="3008"/>
                            <a:pt x="1214" y="3008"/>
                          </a:cubicBezTo>
                          <a:lnTo>
                            <a:pt x="1214" y="2376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438" name="Freeform: Shape 437"/>
                <p:cNvSpPr>
                  <a:spLocks noChangeAspect="1"/>
                </p:cNvSpPr>
                <p:nvPr/>
              </p:nvSpPr>
              <p:spPr>
                <a:xfrm>
                  <a:off x="5652097" y="7577879"/>
                  <a:ext cx="3117372" cy="502920"/>
                </a:xfrm>
                <a:custGeom>
                  <a:avLst/>
                  <a:gdLst>
                    <a:gd name="connsiteX0" fmla="*/ 2661419 w 2778398"/>
                    <a:gd name="connsiteY0" fmla="*/ 337729 h 448234"/>
                    <a:gd name="connsiteX1" fmla="*/ 2634798 w 2778398"/>
                    <a:gd name="connsiteY1" fmla="*/ 348500 h 448234"/>
                    <a:gd name="connsiteX2" fmla="*/ 2621794 w 2778398"/>
                    <a:gd name="connsiteY2" fmla="*/ 379364 h 448234"/>
                    <a:gd name="connsiteX3" fmla="*/ 2695241 w 2778398"/>
                    <a:gd name="connsiteY3" fmla="*/ 379364 h 448234"/>
                    <a:gd name="connsiteX4" fmla="*/ 2685753 w 2778398"/>
                    <a:gd name="connsiteY4" fmla="*/ 348668 h 448234"/>
                    <a:gd name="connsiteX5" fmla="*/ 2661419 w 2778398"/>
                    <a:gd name="connsiteY5" fmla="*/ 337729 h 448234"/>
                    <a:gd name="connsiteX6" fmla="*/ 2347094 w 2778398"/>
                    <a:gd name="connsiteY6" fmla="*/ 337729 h 448234"/>
                    <a:gd name="connsiteX7" fmla="*/ 2320473 w 2778398"/>
                    <a:gd name="connsiteY7" fmla="*/ 348500 h 448234"/>
                    <a:gd name="connsiteX8" fmla="*/ 2307469 w 2778398"/>
                    <a:gd name="connsiteY8" fmla="*/ 379364 h 448234"/>
                    <a:gd name="connsiteX9" fmla="*/ 2380915 w 2778398"/>
                    <a:gd name="connsiteY9" fmla="*/ 379364 h 448234"/>
                    <a:gd name="connsiteX10" fmla="*/ 2371428 w 2778398"/>
                    <a:gd name="connsiteY10" fmla="*/ 348668 h 448234"/>
                    <a:gd name="connsiteX11" fmla="*/ 2347094 w 2778398"/>
                    <a:gd name="connsiteY11" fmla="*/ 337729 h 448234"/>
                    <a:gd name="connsiteX12" fmla="*/ 1922599 w 2778398"/>
                    <a:gd name="connsiteY12" fmla="*/ 337729 h 448234"/>
                    <a:gd name="connsiteX13" fmla="*/ 1890397 w 2778398"/>
                    <a:gd name="connsiteY13" fmla="*/ 351347 h 448234"/>
                    <a:gd name="connsiteX14" fmla="*/ 1878397 w 2778398"/>
                    <a:gd name="connsiteY14" fmla="*/ 389186 h 448234"/>
                    <a:gd name="connsiteX15" fmla="*/ 1890117 w 2778398"/>
                    <a:gd name="connsiteY15" fmla="*/ 425240 h 448234"/>
                    <a:gd name="connsiteX16" fmla="*/ 1922153 w 2778398"/>
                    <a:gd name="connsiteY16" fmla="*/ 438858 h 448234"/>
                    <a:gd name="connsiteX17" fmla="*/ 1953965 w 2778398"/>
                    <a:gd name="connsiteY17" fmla="*/ 425463 h 448234"/>
                    <a:gd name="connsiteX18" fmla="*/ 1965127 w 2778398"/>
                    <a:gd name="connsiteY18" fmla="*/ 388293 h 448234"/>
                    <a:gd name="connsiteX19" fmla="*/ 1954021 w 2778398"/>
                    <a:gd name="connsiteY19" fmla="*/ 350789 h 448234"/>
                    <a:gd name="connsiteX20" fmla="*/ 1922599 w 2778398"/>
                    <a:gd name="connsiteY20" fmla="*/ 337729 h 448234"/>
                    <a:gd name="connsiteX21" fmla="*/ 1546994 w 2778398"/>
                    <a:gd name="connsiteY21" fmla="*/ 337729 h 448234"/>
                    <a:gd name="connsiteX22" fmla="*/ 1520373 w 2778398"/>
                    <a:gd name="connsiteY22" fmla="*/ 348500 h 448234"/>
                    <a:gd name="connsiteX23" fmla="*/ 1507369 w 2778398"/>
                    <a:gd name="connsiteY23" fmla="*/ 379364 h 448234"/>
                    <a:gd name="connsiteX24" fmla="*/ 1580815 w 2778398"/>
                    <a:gd name="connsiteY24" fmla="*/ 379364 h 448234"/>
                    <a:gd name="connsiteX25" fmla="*/ 1571328 w 2778398"/>
                    <a:gd name="connsiteY25" fmla="*/ 348668 h 448234"/>
                    <a:gd name="connsiteX26" fmla="*/ 1546994 w 2778398"/>
                    <a:gd name="connsiteY26" fmla="*/ 337729 h 448234"/>
                    <a:gd name="connsiteX27" fmla="*/ 1261244 w 2778398"/>
                    <a:gd name="connsiteY27" fmla="*/ 337729 h 448234"/>
                    <a:gd name="connsiteX28" fmla="*/ 1234623 w 2778398"/>
                    <a:gd name="connsiteY28" fmla="*/ 348500 h 448234"/>
                    <a:gd name="connsiteX29" fmla="*/ 1221619 w 2778398"/>
                    <a:gd name="connsiteY29" fmla="*/ 379364 h 448234"/>
                    <a:gd name="connsiteX30" fmla="*/ 1295065 w 2778398"/>
                    <a:gd name="connsiteY30" fmla="*/ 379364 h 448234"/>
                    <a:gd name="connsiteX31" fmla="*/ 1285578 w 2778398"/>
                    <a:gd name="connsiteY31" fmla="*/ 348668 h 448234"/>
                    <a:gd name="connsiteX32" fmla="*/ 1261244 w 2778398"/>
                    <a:gd name="connsiteY32" fmla="*/ 337729 h 448234"/>
                    <a:gd name="connsiteX33" fmla="*/ 893899 w 2778398"/>
                    <a:gd name="connsiteY33" fmla="*/ 337729 h 448234"/>
                    <a:gd name="connsiteX34" fmla="*/ 861697 w 2778398"/>
                    <a:gd name="connsiteY34" fmla="*/ 351347 h 448234"/>
                    <a:gd name="connsiteX35" fmla="*/ 849697 w 2778398"/>
                    <a:gd name="connsiteY35" fmla="*/ 389186 h 448234"/>
                    <a:gd name="connsiteX36" fmla="*/ 861417 w 2778398"/>
                    <a:gd name="connsiteY36" fmla="*/ 425240 h 448234"/>
                    <a:gd name="connsiteX37" fmla="*/ 893453 w 2778398"/>
                    <a:gd name="connsiteY37" fmla="*/ 438858 h 448234"/>
                    <a:gd name="connsiteX38" fmla="*/ 925265 w 2778398"/>
                    <a:gd name="connsiteY38" fmla="*/ 425463 h 448234"/>
                    <a:gd name="connsiteX39" fmla="*/ 936427 w 2778398"/>
                    <a:gd name="connsiteY39" fmla="*/ 388293 h 448234"/>
                    <a:gd name="connsiteX40" fmla="*/ 925321 w 2778398"/>
                    <a:gd name="connsiteY40" fmla="*/ 350789 h 448234"/>
                    <a:gd name="connsiteX41" fmla="*/ 893899 w 2778398"/>
                    <a:gd name="connsiteY41" fmla="*/ 337729 h 448234"/>
                    <a:gd name="connsiteX42" fmla="*/ 518294 w 2778398"/>
                    <a:gd name="connsiteY42" fmla="*/ 337729 h 448234"/>
                    <a:gd name="connsiteX43" fmla="*/ 491672 w 2778398"/>
                    <a:gd name="connsiteY43" fmla="*/ 348500 h 448234"/>
                    <a:gd name="connsiteX44" fmla="*/ 478669 w 2778398"/>
                    <a:gd name="connsiteY44" fmla="*/ 379364 h 448234"/>
                    <a:gd name="connsiteX45" fmla="*/ 552115 w 2778398"/>
                    <a:gd name="connsiteY45" fmla="*/ 379364 h 448234"/>
                    <a:gd name="connsiteX46" fmla="*/ 542627 w 2778398"/>
                    <a:gd name="connsiteY46" fmla="*/ 348668 h 448234"/>
                    <a:gd name="connsiteX47" fmla="*/ 518294 w 2778398"/>
                    <a:gd name="connsiteY47" fmla="*/ 337729 h 448234"/>
                    <a:gd name="connsiteX48" fmla="*/ 208099 w 2778398"/>
                    <a:gd name="connsiteY48" fmla="*/ 337729 h 448234"/>
                    <a:gd name="connsiteX49" fmla="*/ 175896 w 2778398"/>
                    <a:gd name="connsiteY49" fmla="*/ 351347 h 448234"/>
                    <a:gd name="connsiteX50" fmla="*/ 163897 w 2778398"/>
                    <a:gd name="connsiteY50" fmla="*/ 389186 h 448234"/>
                    <a:gd name="connsiteX51" fmla="*/ 175617 w 2778398"/>
                    <a:gd name="connsiteY51" fmla="*/ 425240 h 448234"/>
                    <a:gd name="connsiteX52" fmla="*/ 207653 w 2778398"/>
                    <a:gd name="connsiteY52" fmla="*/ 438858 h 448234"/>
                    <a:gd name="connsiteX53" fmla="*/ 239465 w 2778398"/>
                    <a:gd name="connsiteY53" fmla="*/ 425463 h 448234"/>
                    <a:gd name="connsiteX54" fmla="*/ 250627 w 2778398"/>
                    <a:gd name="connsiteY54" fmla="*/ 388293 h 448234"/>
                    <a:gd name="connsiteX55" fmla="*/ 239520 w 2778398"/>
                    <a:gd name="connsiteY55" fmla="*/ 350789 h 448234"/>
                    <a:gd name="connsiteX56" fmla="*/ 208099 w 2778398"/>
                    <a:gd name="connsiteY56" fmla="*/ 337729 h 448234"/>
                    <a:gd name="connsiteX57" fmla="*/ 1662634 w 2778398"/>
                    <a:gd name="connsiteY57" fmla="*/ 337728 h 448234"/>
                    <a:gd name="connsiteX58" fmla="*/ 1632942 w 2778398"/>
                    <a:gd name="connsiteY58" fmla="*/ 351513 h 448234"/>
                    <a:gd name="connsiteX59" fmla="*/ 1621222 w 2778398"/>
                    <a:gd name="connsiteY59" fmla="*/ 389408 h 448234"/>
                    <a:gd name="connsiteX60" fmla="*/ 1631770 w 2778398"/>
                    <a:gd name="connsiteY60" fmla="*/ 425964 h 448234"/>
                    <a:gd name="connsiteX61" fmla="*/ 1658950 w 2778398"/>
                    <a:gd name="connsiteY61" fmla="*/ 438857 h 448234"/>
                    <a:gd name="connsiteX62" fmla="*/ 1689200 w 2778398"/>
                    <a:gd name="connsiteY62" fmla="*/ 426746 h 448234"/>
                    <a:gd name="connsiteX63" fmla="*/ 1699915 w 2778398"/>
                    <a:gd name="connsiteY63" fmla="*/ 397222 h 448234"/>
                    <a:gd name="connsiteX64" fmla="*/ 1699915 w 2778398"/>
                    <a:gd name="connsiteY64" fmla="*/ 375902 h 448234"/>
                    <a:gd name="connsiteX65" fmla="*/ 1689813 w 2778398"/>
                    <a:gd name="connsiteY65" fmla="*/ 348834 h 448234"/>
                    <a:gd name="connsiteX66" fmla="*/ 1662634 w 2778398"/>
                    <a:gd name="connsiteY66" fmla="*/ 337728 h 448234"/>
                    <a:gd name="connsiteX67" fmla="*/ 2461394 w 2778398"/>
                    <a:gd name="connsiteY67" fmla="*/ 328910 h 448234"/>
                    <a:gd name="connsiteX68" fmla="*/ 2472780 w 2778398"/>
                    <a:gd name="connsiteY68" fmla="*/ 330919 h 448234"/>
                    <a:gd name="connsiteX69" fmla="*/ 2472780 w 2778398"/>
                    <a:gd name="connsiteY69" fmla="*/ 341858 h 448234"/>
                    <a:gd name="connsiteX70" fmla="*/ 2460725 w 2778398"/>
                    <a:gd name="connsiteY70" fmla="*/ 338174 h 448234"/>
                    <a:gd name="connsiteX71" fmla="*/ 2438065 w 2778398"/>
                    <a:gd name="connsiteY71" fmla="*/ 352127 h 448234"/>
                    <a:gd name="connsiteX72" fmla="*/ 2428912 w 2778398"/>
                    <a:gd name="connsiteY72" fmla="*/ 391752 h 448234"/>
                    <a:gd name="connsiteX73" fmla="*/ 2428912 w 2778398"/>
                    <a:gd name="connsiteY73" fmla="*/ 445442 h 448234"/>
                    <a:gd name="connsiteX74" fmla="*/ 2418867 w 2778398"/>
                    <a:gd name="connsiteY74" fmla="*/ 445442 h 448234"/>
                    <a:gd name="connsiteX75" fmla="*/ 2418867 w 2778398"/>
                    <a:gd name="connsiteY75" fmla="*/ 331142 h 448234"/>
                    <a:gd name="connsiteX76" fmla="*/ 2428912 w 2778398"/>
                    <a:gd name="connsiteY76" fmla="*/ 331142 h 448234"/>
                    <a:gd name="connsiteX77" fmla="*/ 2428912 w 2778398"/>
                    <a:gd name="connsiteY77" fmla="*/ 356480 h 448234"/>
                    <a:gd name="connsiteX78" fmla="*/ 2429359 w 2778398"/>
                    <a:gd name="connsiteY78" fmla="*/ 356480 h 448234"/>
                    <a:gd name="connsiteX79" fmla="*/ 2441749 w 2778398"/>
                    <a:gd name="connsiteY79" fmla="*/ 336165 h 448234"/>
                    <a:gd name="connsiteX80" fmla="*/ 2461394 w 2778398"/>
                    <a:gd name="connsiteY80" fmla="*/ 328910 h 448234"/>
                    <a:gd name="connsiteX81" fmla="*/ 2661866 w 2778398"/>
                    <a:gd name="connsiteY81" fmla="*/ 328353 h 448234"/>
                    <a:gd name="connsiteX82" fmla="*/ 2694571 w 2778398"/>
                    <a:gd name="connsiteY82" fmla="*/ 343310 h 448234"/>
                    <a:gd name="connsiteX83" fmla="*/ 2705956 w 2778398"/>
                    <a:gd name="connsiteY83" fmla="*/ 384163 h 448234"/>
                    <a:gd name="connsiteX84" fmla="*/ 2705956 w 2778398"/>
                    <a:gd name="connsiteY84" fmla="*/ 388740 h 448234"/>
                    <a:gd name="connsiteX85" fmla="*/ 2621347 w 2778398"/>
                    <a:gd name="connsiteY85" fmla="*/ 388740 h 448234"/>
                    <a:gd name="connsiteX86" fmla="*/ 2632230 w 2778398"/>
                    <a:gd name="connsiteY86" fmla="*/ 425575 h 448234"/>
                    <a:gd name="connsiteX87" fmla="*/ 2662089 w 2778398"/>
                    <a:gd name="connsiteY87" fmla="*/ 438858 h 448234"/>
                    <a:gd name="connsiteX88" fmla="*/ 2699594 w 2778398"/>
                    <a:gd name="connsiteY88" fmla="*/ 424682 h 448234"/>
                    <a:gd name="connsiteX89" fmla="*/ 2699594 w 2778398"/>
                    <a:gd name="connsiteY89" fmla="*/ 435621 h 448234"/>
                    <a:gd name="connsiteX90" fmla="*/ 2659968 w 2778398"/>
                    <a:gd name="connsiteY90" fmla="*/ 448234 h 448234"/>
                    <a:gd name="connsiteX91" fmla="*/ 2624250 w 2778398"/>
                    <a:gd name="connsiteY91" fmla="*/ 432384 h 448234"/>
                    <a:gd name="connsiteX92" fmla="*/ 2610632 w 2778398"/>
                    <a:gd name="connsiteY92" fmla="*/ 387624 h 448234"/>
                    <a:gd name="connsiteX93" fmla="*/ 2624863 w 2778398"/>
                    <a:gd name="connsiteY93" fmla="*/ 345487 h 448234"/>
                    <a:gd name="connsiteX94" fmla="*/ 2661866 w 2778398"/>
                    <a:gd name="connsiteY94" fmla="*/ 328353 h 448234"/>
                    <a:gd name="connsiteX95" fmla="*/ 2347541 w 2778398"/>
                    <a:gd name="connsiteY95" fmla="*/ 328353 h 448234"/>
                    <a:gd name="connsiteX96" fmla="*/ 2380246 w 2778398"/>
                    <a:gd name="connsiteY96" fmla="*/ 343310 h 448234"/>
                    <a:gd name="connsiteX97" fmla="*/ 2391631 w 2778398"/>
                    <a:gd name="connsiteY97" fmla="*/ 384163 h 448234"/>
                    <a:gd name="connsiteX98" fmla="*/ 2391631 w 2778398"/>
                    <a:gd name="connsiteY98" fmla="*/ 388740 h 448234"/>
                    <a:gd name="connsiteX99" fmla="*/ 2307022 w 2778398"/>
                    <a:gd name="connsiteY99" fmla="*/ 388740 h 448234"/>
                    <a:gd name="connsiteX100" fmla="*/ 2317905 w 2778398"/>
                    <a:gd name="connsiteY100" fmla="*/ 425575 h 448234"/>
                    <a:gd name="connsiteX101" fmla="*/ 2347764 w 2778398"/>
                    <a:gd name="connsiteY101" fmla="*/ 438858 h 448234"/>
                    <a:gd name="connsiteX102" fmla="*/ 2385269 w 2778398"/>
                    <a:gd name="connsiteY102" fmla="*/ 424682 h 448234"/>
                    <a:gd name="connsiteX103" fmla="*/ 2385269 w 2778398"/>
                    <a:gd name="connsiteY103" fmla="*/ 435621 h 448234"/>
                    <a:gd name="connsiteX104" fmla="*/ 2345643 w 2778398"/>
                    <a:gd name="connsiteY104" fmla="*/ 448234 h 448234"/>
                    <a:gd name="connsiteX105" fmla="*/ 2309924 w 2778398"/>
                    <a:gd name="connsiteY105" fmla="*/ 432384 h 448234"/>
                    <a:gd name="connsiteX106" fmla="*/ 2296307 w 2778398"/>
                    <a:gd name="connsiteY106" fmla="*/ 387624 h 448234"/>
                    <a:gd name="connsiteX107" fmla="*/ 2310538 w 2778398"/>
                    <a:gd name="connsiteY107" fmla="*/ 345487 h 448234"/>
                    <a:gd name="connsiteX108" fmla="*/ 2347541 w 2778398"/>
                    <a:gd name="connsiteY108" fmla="*/ 328353 h 448234"/>
                    <a:gd name="connsiteX109" fmla="*/ 1923046 w 2778398"/>
                    <a:gd name="connsiteY109" fmla="*/ 328353 h 448234"/>
                    <a:gd name="connsiteX110" fmla="*/ 1961667 w 2778398"/>
                    <a:gd name="connsiteY110" fmla="*/ 344315 h 448234"/>
                    <a:gd name="connsiteX111" fmla="*/ 1975842 w 2778398"/>
                    <a:gd name="connsiteY111" fmla="*/ 388516 h 448234"/>
                    <a:gd name="connsiteX112" fmla="*/ 1961388 w 2778398"/>
                    <a:gd name="connsiteY112" fmla="*/ 431714 h 448234"/>
                    <a:gd name="connsiteX113" fmla="*/ 1921818 w 2778398"/>
                    <a:gd name="connsiteY113" fmla="*/ 448234 h 448234"/>
                    <a:gd name="connsiteX114" fmla="*/ 1882248 w 2778398"/>
                    <a:gd name="connsiteY114" fmla="*/ 431770 h 448234"/>
                    <a:gd name="connsiteX115" fmla="*/ 1867682 w 2778398"/>
                    <a:gd name="connsiteY115" fmla="*/ 388963 h 448234"/>
                    <a:gd name="connsiteX116" fmla="*/ 1882918 w 2778398"/>
                    <a:gd name="connsiteY116" fmla="*/ 344426 h 448234"/>
                    <a:gd name="connsiteX117" fmla="*/ 1923046 w 2778398"/>
                    <a:gd name="connsiteY117" fmla="*/ 328353 h 448234"/>
                    <a:gd name="connsiteX118" fmla="*/ 1547441 w 2778398"/>
                    <a:gd name="connsiteY118" fmla="*/ 328353 h 448234"/>
                    <a:gd name="connsiteX119" fmla="*/ 1580146 w 2778398"/>
                    <a:gd name="connsiteY119" fmla="*/ 343310 h 448234"/>
                    <a:gd name="connsiteX120" fmla="*/ 1591531 w 2778398"/>
                    <a:gd name="connsiteY120" fmla="*/ 384163 h 448234"/>
                    <a:gd name="connsiteX121" fmla="*/ 1591531 w 2778398"/>
                    <a:gd name="connsiteY121" fmla="*/ 388740 h 448234"/>
                    <a:gd name="connsiteX122" fmla="*/ 1506922 w 2778398"/>
                    <a:gd name="connsiteY122" fmla="*/ 388740 h 448234"/>
                    <a:gd name="connsiteX123" fmla="*/ 1517805 w 2778398"/>
                    <a:gd name="connsiteY123" fmla="*/ 425575 h 448234"/>
                    <a:gd name="connsiteX124" fmla="*/ 1547664 w 2778398"/>
                    <a:gd name="connsiteY124" fmla="*/ 438858 h 448234"/>
                    <a:gd name="connsiteX125" fmla="*/ 1585169 w 2778398"/>
                    <a:gd name="connsiteY125" fmla="*/ 424682 h 448234"/>
                    <a:gd name="connsiteX126" fmla="*/ 1585169 w 2778398"/>
                    <a:gd name="connsiteY126" fmla="*/ 435621 h 448234"/>
                    <a:gd name="connsiteX127" fmla="*/ 1545543 w 2778398"/>
                    <a:gd name="connsiteY127" fmla="*/ 448234 h 448234"/>
                    <a:gd name="connsiteX128" fmla="*/ 1509824 w 2778398"/>
                    <a:gd name="connsiteY128" fmla="*/ 432384 h 448234"/>
                    <a:gd name="connsiteX129" fmla="*/ 1496207 w 2778398"/>
                    <a:gd name="connsiteY129" fmla="*/ 387624 h 448234"/>
                    <a:gd name="connsiteX130" fmla="*/ 1510438 w 2778398"/>
                    <a:gd name="connsiteY130" fmla="*/ 345487 h 448234"/>
                    <a:gd name="connsiteX131" fmla="*/ 1547441 w 2778398"/>
                    <a:gd name="connsiteY131" fmla="*/ 328353 h 448234"/>
                    <a:gd name="connsiteX132" fmla="*/ 1382130 w 2778398"/>
                    <a:gd name="connsiteY132" fmla="*/ 328353 h 448234"/>
                    <a:gd name="connsiteX133" fmla="*/ 1407468 w 2778398"/>
                    <a:gd name="connsiteY133" fmla="*/ 333711 h 448234"/>
                    <a:gd name="connsiteX134" fmla="*/ 1407468 w 2778398"/>
                    <a:gd name="connsiteY134" fmla="*/ 345319 h 448234"/>
                    <a:gd name="connsiteX135" fmla="*/ 1380567 w 2778398"/>
                    <a:gd name="connsiteY135" fmla="*/ 337729 h 448234"/>
                    <a:gd name="connsiteX136" fmla="*/ 1347974 w 2778398"/>
                    <a:gd name="connsiteY136" fmla="*/ 352184 h 448234"/>
                    <a:gd name="connsiteX137" fmla="*/ 1335472 w 2778398"/>
                    <a:gd name="connsiteY137" fmla="*/ 389633 h 448234"/>
                    <a:gd name="connsiteX138" fmla="*/ 1346913 w 2778398"/>
                    <a:gd name="connsiteY138" fmla="*/ 425351 h 448234"/>
                    <a:gd name="connsiteX139" fmla="*/ 1377107 w 2778398"/>
                    <a:gd name="connsiteY139" fmla="*/ 438858 h 448234"/>
                    <a:gd name="connsiteX140" fmla="*/ 1407021 w 2778398"/>
                    <a:gd name="connsiteY140" fmla="*/ 429705 h 448234"/>
                    <a:gd name="connsiteX141" fmla="*/ 1407021 w 2778398"/>
                    <a:gd name="connsiteY141" fmla="*/ 440420 h 448234"/>
                    <a:gd name="connsiteX142" fmla="*/ 1376660 w 2778398"/>
                    <a:gd name="connsiteY142" fmla="*/ 448234 h 448234"/>
                    <a:gd name="connsiteX143" fmla="*/ 1339044 w 2778398"/>
                    <a:gd name="connsiteY143" fmla="*/ 432216 h 448234"/>
                    <a:gd name="connsiteX144" fmla="*/ 1324757 w 2778398"/>
                    <a:gd name="connsiteY144" fmla="*/ 390302 h 448234"/>
                    <a:gd name="connsiteX145" fmla="*/ 1340830 w 2778398"/>
                    <a:gd name="connsiteY145" fmla="*/ 345710 h 448234"/>
                    <a:gd name="connsiteX146" fmla="*/ 1382130 w 2778398"/>
                    <a:gd name="connsiteY146" fmla="*/ 328353 h 448234"/>
                    <a:gd name="connsiteX147" fmla="*/ 1261691 w 2778398"/>
                    <a:gd name="connsiteY147" fmla="*/ 328353 h 448234"/>
                    <a:gd name="connsiteX148" fmla="*/ 1294396 w 2778398"/>
                    <a:gd name="connsiteY148" fmla="*/ 343310 h 448234"/>
                    <a:gd name="connsiteX149" fmla="*/ 1305781 w 2778398"/>
                    <a:gd name="connsiteY149" fmla="*/ 384163 h 448234"/>
                    <a:gd name="connsiteX150" fmla="*/ 1305781 w 2778398"/>
                    <a:gd name="connsiteY150" fmla="*/ 388740 h 448234"/>
                    <a:gd name="connsiteX151" fmla="*/ 1221172 w 2778398"/>
                    <a:gd name="connsiteY151" fmla="*/ 388740 h 448234"/>
                    <a:gd name="connsiteX152" fmla="*/ 1232055 w 2778398"/>
                    <a:gd name="connsiteY152" fmla="*/ 425575 h 448234"/>
                    <a:gd name="connsiteX153" fmla="*/ 1261914 w 2778398"/>
                    <a:gd name="connsiteY153" fmla="*/ 438858 h 448234"/>
                    <a:gd name="connsiteX154" fmla="*/ 1299419 w 2778398"/>
                    <a:gd name="connsiteY154" fmla="*/ 424682 h 448234"/>
                    <a:gd name="connsiteX155" fmla="*/ 1299419 w 2778398"/>
                    <a:gd name="connsiteY155" fmla="*/ 435621 h 448234"/>
                    <a:gd name="connsiteX156" fmla="*/ 1259793 w 2778398"/>
                    <a:gd name="connsiteY156" fmla="*/ 448234 h 448234"/>
                    <a:gd name="connsiteX157" fmla="*/ 1224074 w 2778398"/>
                    <a:gd name="connsiteY157" fmla="*/ 432384 h 448234"/>
                    <a:gd name="connsiteX158" fmla="*/ 1210457 w 2778398"/>
                    <a:gd name="connsiteY158" fmla="*/ 387624 h 448234"/>
                    <a:gd name="connsiteX159" fmla="*/ 1224688 w 2778398"/>
                    <a:gd name="connsiteY159" fmla="*/ 345487 h 448234"/>
                    <a:gd name="connsiteX160" fmla="*/ 1261691 w 2778398"/>
                    <a:gd name="connsiteY160" fmla="*/ 328353 h 448234"/>
                    <a:gd name="connsiteX161" fmla="*/ 894346 w 2778398"/>
                    <a:gd name="connsiteY161" fmla="*/ 328353 h 448234"/>
                    <a:gd name="connsiteX162" fmla="*/ 932967 w 2778398"/>
                    <a:gd name="connsiteY162" fmla="*/ 344315 h 448234"/>
                    <a:gd name="connsiteX163" fmla="*/ 947142 w 2778398"/>
                    <a:gd name="connsiteY163" fmla="*/ 388516 h 448234"/>
                    <a:gd name="connsiteX164" fmla="*/ 932688 w 2778398"/>
                    <a:gd name="connsiteY164" fmla="*/ 431714 h 448234"/>
                    <a:gd name="connsiteX165" fmla="*/ 893118 w 2778398"/>
                    <a:gd name="connsiteY165" fmla="*/ 448234 h 448234"/>
                    <a:gd name="connsiteX166" fmla="*/ 853548 w 2778398"/>
                    <a:gd name="connsiteY166" fmla="*/ 431770 h 448234"/>
                    <a:gd name="connsiteX167" fmla="*/ 838982 w 2778398"/>
                    <a:gd name="connsiteY167" fmla="*/ 388963 h 448234"/>
                    <a:gd name="connsiteX168" fmla="*/ 854218 w 2778398"/>
                    <a:gd name="connsiteY168" fmla="*/ 344426 h 448234"/>
                    <a:gd name="connsiteX169" fmla="*/ 894346 w 2778398"/>
                    <a:gd name="connsiteY169" fmla="*/ 328353 h 448234"/>
                    <a:gd name="connsiteX170" fmla="*/ 791580 w 2778398"/>
                    <a:gd name="connsiteY170" fmla="*/ 328353 h 448234"/>
                    <a:gd name="connsiteX171" fmla="*/ 816918 w 2778398"/>
                    <a:gd name="connsiteY171" fmla="*/ 333711 h 448234"/>
                    <a:gd name="connsiteX172" fmla="*/ 816918 w 2778398"/>
                    <a:gd name="connsiteY172" fmla="*/ 345319 h 448234"/>
                    <a:gd name="connsiteX173" fmla="*/ 790017 w 2778398"/>
                    <a:gd name="connsiteY173" fmla="*/ 337729 h 448234"/>
                    <a:gd name="connsiteX174" fmla="*/ 757424 w 2778398"/>
                    <a:gd name="connsiteY174" fmla="*/ 352184 h 448234"/>
                    <a:gd name="connsiteX175" fmla="*/ 744922 w 2778398"/>
                    <a:gd name="connsiteY175" fmla="*/ 389633 h 448234"/>
                    <a:gd name="connsiteX176" fmla="*/ 756363 w 2778398"/>
                    <a:gd name="connsiteY176" fmla="*/ 425351 h 448234"/>
                    <a:gd name="connsiteX177" fmla="*/ 786557 w 2778398"/>
                    <a:gd name="connsiteY177" fmla="*/ 438858 h 448234"/>
                    <a:gd name="connsiteX178" fmla="*/ 816471 w 2778398"/>
                    <a:gd name="connsiteY178" fmla="*/ 429705 h 448234"/>
                    <a:gd name="connsiteX179" fmla="*/ 816471 w 2778398"/>
                    <a:gd name="connsiteY179" fmla="*/ 440420 h 448234"/>
                    <a:gd name="connsiteX180" fmla="*/ 786110 w 2778398"/>
                    <a:gd name="connsiteY180" fmla="*/ 448234 h 448234"/>
                    <a:gd name="connsiteX181" fmla="*/ 748494 w 2778398"/>
                    <a:gd name="connsiteY181" fmla="*/ 432216 h 448234"/>
                    <a:gd name="connsiteX182" fmla="*/ 734206 w 2778398"/>
                    <a:gd name="connsiteY182" fmla="*/ 390302 h 448234"/>
                    <a:gd name="connsiteX183" fmla="*/ 750280 w 2778398"/>
                    <a:gd name="connsiteY183" fmla="*/ 345710 h 448234"/>
                    <a:gd name="connsiteX184" fmla="*/ 791580 w 2778398"/>
                    <a:gd name="connsiteY184" fmla="*/ 328353 h 448234"/>
                    <a:gd name="connsiteX185" fmla="*/ 621544 w 2778398"/>
                    <a:gd name="connsiteY185" fmla="*/ 328353 h 448234"/>
                    <a:gd name="connsiteX186" fmla="*/ 646770 w 2778398"/>
                    <a:gd name="connsiteY186" fmla="*/ 334380 h 448234"/>
                    <a:gd name="connsiteX187" fmla="*/ 646770 w 2778398"/>
                    <a:gd name="connsiteY187" fmla="*/ 345989 h 448234"/>
                    <a:gd name="connsiteX188" fmla="*/ 620427 w 2778398"/>
                    <a:gd name="connsiteY188" fmla="*/ 337729 h 448234"/>
                    <a:gd name="connsiteX189" fmla="*/ 602233 w 2778398"/>
                    <a:gd name="connsiteY189" fmla="*/ 343589 h 448234"/>
                    <a:gd name="connsiteX190" fmla="*/ 595313 w 2778398"/>
                    <a:gd name="connsiteY190" fmla="*/ 358825 h 448234"/>
                    <a:gd name="connsiteX191" fmla="*/ 599666 w 2778398"/>
                    <a:gd name="connsiteY191" fmla="*/ 372052 h 448234"/>
                    <a:gd name="connsiteX192" fmla="*/ 618865 w 2778398"/>
                    <a:gd name="connsiteY192" fmla="*/ 383717 h 448234"/>
                    <a:gd name="connsiteX193" fmla="*/ 643421 w 2778398"/>
                    <a:gd name="connsiteY193" fmla="*/ 398618 h 448234"/>
                    <a:gd name="connsiteX194" fmla="*/ 650119 w 2778398"/>
                    <a:gd name="connsiteY194" fmla="*/ 416868 h 448234"/>
                    <a:gd name="connsiteX195" fmla="*/ 639905 w 2778398"/>
                    <a:gd name="connsiteY195" fmla="*/ 439360 h 448234"/>
                    <a:gd name="connsiteX196" fmla="*/ 611721 w 2778398"/>
                    <a:gd name="connsiteY196" fmla="*/ 448234 h 448234"/>
                    <a:gd name="connsiteX197" fmla="*/ 584151 w 2778398"/>
                    <a:gd name="connsiteY197" fmla="*/ 440420 h 448234"/>
                    <a:gd name="connsiteX198" fmla="*/ 584151 w 2778398"/>
                    <a:gd name="connsiteY198" fmla="*/ 428030 h 448234"/>
                    <a:gd name="connsiteX199" fmla="*/ 598215 w 2778398"/>
                    <a:gd name="connsiteY199" fmla="*/ 435955 h 448234"/>
                    <a:gd name="connsiteX200" fmla="*/ 612502 w 2778398"/>
                    <a:gd name="connsiteY200" fmla="*/ 438858 h 448234"/>
                    <a:gd name="connsiteX201" fmla="*/ 639403 w 2778398"/>
                    <a:gd name="connsiteY201" fmla="*/ 416868 h 448234"/>
                    <a:gd name="connsiteX202" fmla="*/ 633487 w 2778398"/>
                    <a:gd name="connsiteY202" fmla="*/ 403920 h 448234"/>
                    <a:gd name="connsiteX203" fmla="*/ 614288 w 2778398"/>
                    <a:gd name="connsiteY203" fmla="*/ 392870 h 448234"/>
                    <a:gd name="connsiteX204" fmla="*/ 591238 w 2778398"/>
                    <a:gd name="connsiteY204" fmla="*/ 378080 h 448234"/>
                    <a:gd name="connsiteX205" fmla="*/ 584597 w 2778398"/>
                    <a:gd name="connsiteY205" fmla="*/ 359495 h 448234"/>
                    <a:gd name="connsiteX206" fmla="*/ 595257 w 2778398"/>
                    <a:gd name="connsiteY206" fmla="*/ 336948 h 448234"/>
                    <a:gd name="connsiteX207" fmla="*/ 621544 w 2778398"/>
                    <a:gd name="connsiteY207" fmla="*/ 328353 h 448234"/>
                    <a:gd name="connsiteX208" fmla="*/ 518741 w 2778398"/>
                    <a:gd name="connsiteY208" fmla="*/ 328353 h 448234"/>
                    <a:gd name="connsiteX209" fmla="*/ 551446 w 2778398"/>
                    <a:gd name="connsiteY209" fmla="*/ 343310 h 448234"/>
                    <a:gd name="connsiteX210" fmla="*/ 562831 w 2778398"/>
                    <a:gd name="connsiteY210" fmla="*/ 384163 h 448234"/>
                    <a:gd name="connsiteX211" fmla="*/ 562831 w 2778398"/>
                    <a:gd name="connsiteY211" fmla="*/ 388740 h 448234"/>
                    <a:gd name="connsiteX212" fmla="*/ 478222 w 2778398"/>
                    <a:gd name="connsiteY212" fmla="*/ 388740 h 448234"/>
                    <a:gd name="connsiteX213" fmla="*/ 489105 w 2778398"/>
                    <a:gd name="connsiteY213" fmla="*/ 425575 h 448234"/>
                    <a:gd name="connsiteX214" fmla="*/ 518964 w 2778398"/>
                    <a:gd name="connsiteY214" fmla="*/ 438858 h 448234"/>
                    <a:gd name="connsiteX215" fmla="*/ 556469 w 2778398"/>
                    <a:gd name="connsiteY215" fmla="*/ 424682 h 448234"/>
                    <a:gd name="connsiteX216" fmla="*/ 556469 w 2778398"/>
                    <a:gd name="connsiteY216" fmla="*/ 435621 h 448234"/>
                    <a:gd name="connsiteX217" fmla="*/ 516843 w 2778398"/>
                    <a:gd name="connsiteY217" fmla="*/ 448234 h 448234"/>
                    <a:gd name="connsiteX218" fmla="*/ 481124 w 2778398"/>
                    <a:gd name="connsiteY218" fmla="*/ 432384 h 448234"/>
                    <a:gd name="connsiteX219" fmla="*/ 467506 w 2778398"/>
                    <a:gd name="connsiteY219" fmla="*/ 387624 h 448234"/>
                    <a:gd name="connsiteX220" fmla="*/ 481738 w 2778398"/>
                    <a:gd name="connsiteY220" fmla="*/ 345487 h 448234"/>
                    <a:gd name="connsiteX221" fmla="*/ 518741 w 2778398"/>
                    <a:gd name="connsiteY221" fmla="*/ 328353 h 448234"/>
                    <a:gd name="connsiteX222" fmla="*/ 208546 w 2778398"/>
                    <a:gd name="connsiteY222" fmla="*/ 328353 h 448234"/>
                    <a:gd name="connsiteX223" fmla="*/ 247167 w 2778398"/>
                    <a:gd name="connsiteY223" fmla="*/ 344315 h 448234"/>
                    <a:gd name="connsiteX224" fmla="*/ 261342 w 2778398"/>
                    <a:gd name="connsiteY224" fmla="*/ 388516 h 448234"/>
                    <a:gd name="connsiteX225" fmla="*/ 246887 w 2778398"/>
                    <a:gd name="connsiteY225" fmla="*/ 431714 h 448234"/>
                    <a:gd name="connsiteX226" fmla="*/ 207318 w 2778398"/>
                    <a:gd name="connsiteY226" fmla="*/ 448234 h 448234"/>
                    <a:gd name="connsiteX227" fmla="*/ 167748 w 2778398"/>
                    <a:gd name="connsiteY227" fmla="*/ 431770 h 448234"/>
                    <a:gd name="connsiteX228" fmla="*/ 153182 w 2778398"/>
                    <a:gd name="connsiteY228" fmla="*/ 388963 h 448234"/>
                    <a:gd name="connsiteX229" fmla="*/ 168418 w 2778398"/>
                    <a:gd name="connsiteY229" fmla="*/ 344426 h 448234"/>
                    <a:gd name="connsiteX230" fmla="*/ 208546 w 2778398"/>
                    <a:gd name="connsiteY230" fmla="*/ 328353 h 448234"/>
                    <a:gd name="connsiteX231" fmla="*/ 58155 w 2778398"/>
                    <a:gd name="connsiteY231" fmla="*/ 328353 h 448234"/>
                    <a:gd name="connsiteX232" fmla="*/ 83493 w 2778398"/>
                    <a:gd name="connsiteY232" fmla="*/ 333711 h 448234"/>
                    <a:gd name="connsiteX233" fmla="*/ 83493 w 2778398"/>
                    <a:gd name="connsiteY233" fmla="*/ 345319 h 448234"/>
                    <a:gd name="connsiteX234" fmla="*/ 56592 w 2778398"/>
                    <a:gd name="connsiteY234" fmla="*/ 337729 h 448234"/>
                    <a:gd name="connsiteX235" fmla="*/ 23999 w 2778398"/>
                    <a:gd name="connsiteY235" fmla="*/ 352184 h 448234"/>
                    <a:gd name="connsiteX236" fmla="*/ 11497 w 2778398"/>
                    <a:gd name="connsiteY236" fmla="*/ 389633 h 448234"/>
                    <a:gd name="connsiteX237" fmla="*/ 22938 w 2778398"/>
                    <a:gd name="connsiteY237" fmla="*/ 425351 h 448234"/>
                    <a:gd name="connsiteX238" fmla="*/ 53132 w 2778398"/>
                    <a:gd name="connsiteY238" fmla="*/ 438858 h 448234"/>
                    <a:gd name="connsiteX239" fmla="*/ 83046 w 2778398"/>
                    <a:gd name="connsiteY239" fmla="*/ 429705 h 448234"/>
                    <a:gd name="connsiteX240" fmla="*/ 83046 w 2778398"/>
                    <a:gd name="connsiteY240" fmla="*/ 440420 h 448234"/>
                    <a:gd name="connsiteX241" fmla="*/ 52685 w 2778398"/>
                    <a:gd name="connsiteY241" fmla="*/ 448234 h 448234"/>
                    <a:gd name="connsiteX242" fmla="*/ 15069 w 2778398"/>
                    <a:gd name="connsiteY242" fmla="*/ 432216 h 448234"/>
                    <a:gd name="connsiteX243" fmla="*/ 782 w 2778398"/>
                    <a:gd name="connsiteY243" fmla="*/ 390302 h 448234"/>
                    <a:gd name="connsiteX244" fmla="*/ 16855 w 2778398"/>
                    <a:gd name="connsiteY244" fmla="*/ 345710 h 448234"/>
                    <a:gd name="connsiteX245" fmla="*/ 58155 w 2778398"/>
                    <a:gd name="connsiteY245" fmla="*/ 328353 h 448234"/>
                    <a:gd name="connsiteX246" fmla="*/ 2544850 w 2778398"/>
                    <a:gd name="connsiteY246" fmla="*/ 328352 h 448234"/>
                    <a:gd name="connsiteX247" fmla="*/ 2573201 w 2778398"/>
                    <a:gd name="connsiteY247" fmla="*/ 340686 h 448234"/>
                    <a:gd name="connsiteX248" fmla="*/ 2583024 w 2778398"/>
                    <a:gd name="connsiteY248" fmla="*/ 375902 h 448234"/>
                    <a:gd name="connsiteX249" fmla="*/ 2583024 w 2778398"/>
                    <a:gd name="connsiteY249" fmla="*/ 445442 h 448234"/>
                    <a:gd name="connsiteX250" fmla="*/ 2572755 w 2778398"/>
                    <a:gd name="connsiteY250" fmla="*/ 445442 h 448234"/>
                    <a:gd name="connsiteX251" fmla="*/ 2572755 w 2778398"/>
                    <a:gd name="connsiteY251" fmla="*/ 378916 h 448234"/>
                    <a:gd name="connsiteX252" fmla="*/ 2543064 w 2778398"/>
                    <a:gd name="connsiteY252" fmla="*/ 337728 h 448234"/>
                    <a:gd name="connsiteX253" fmla="*/ 2515940 w 2778398"/>
                    <a:gd name="connsiteY253" fmla="*/ 349839 h 448234"/>
                    <a:gd name="connsiteX254" fmla="*/ 2505336 w 2778398"/>
                    <a:gd name="connsiteY254" fmla="*/ 379809 h 448234"/>
                    <a:gd name="connsiteX255" fmla="*/ 2505336 w 2778398"/>
                    <a:gd name="connsiteY255" fmla="*/ 445442 h 448234"/>
                    <a:gd name="connsiteX256" fmla="*/ 2495067 w 2778398"/>
                    <a:gd name="connsiteY256" fmla="*/ 445442 h 448234"/>
                    <a:gd name="connsiteX257" fmla="*/ 2495067 w 2778398"/>
                    <a:gd name="connsiteY257" fmla="*/ 331142 h 448234"/>
                    <a:gd name="connsiteX258" fmla="*/ 2505336 w 2778398"/>
                    <a:gd name="connsiteY258" fmla="*/ 331142 h 448234"/>
                    <a:gd name="connsiteX259" fmla="*/ 2505336 w 2778398"/>
                    <a:gd name="connsiteY259" fmla="*/ 351904 h 448234"/>
                    <a:gd name="connsiteX260" fmla="*/ 2505782 w 2778398"/>
                    <a:gd name="connsiteY260" fmla="*/ 351904 h 448234"/>
                    <a:gd name="connsiteX261" fmla="*/ 2544850 w 2778398"/>
                    <a:gd name="connsiteY261" fmla="*/ 328352 h 448234"/>
                    <a:gd name="connsiteX262" fmla="*/ 2163850 w 2778398"/>
                    <a:gd name="connsiteY262" fmla="*/ 328352 h 448234"/>
                    <a:gd name="connsiteX263" fmla="*/ 2192201 w 2778398"/>
                    <a:gd name="connsiteY263" fmla="*/ 340686 h 448234"/>
                    <a:gd name="connsiteX264" fmla="*/ 2202024 w 2778398"/>
                    <a:gd name="connsiteY264" fmla="*/ 375902 h 448234"/>
                    <a:gd name="connsiteX265" fmla="*/ 2202024 w 2778398"/>
                    <a:gd name="connsiteY265" fmla="*/ 445442 h 448234"/>
                    <a:gd name="connsiteX266" fmla="*/ 2191755 w 2778398"/>
                    <a:gd name="connsiteY266" fmla="*/ 445442 h 448234"/>
                    <a:gd name="connsiteX267" fmla="*/ 2191755 w 2778398"/>
                    <a:gd name="connsiteY267" fmla="*/ 378916 h 448234"/>
                    <a:gd name="connsiteX268" fmla="*/ 2162064 w 2778398"/>
                    <a:gd name="connsiteY268" fmla="*/ 337728 h 448234"/>
                    <a:gd name="connsiteX269" fmla="*/ 2134940 w 2778398"/>
                    <a:gd name="connsiteY269" fmla="*/ 349839 h 448234"/>
                    <a:gd name="connsiteX270" fmla="*/ 2124336 w 2778398"/>
                    <a:gd name="connsiteY270" fmla="*/ 379809 h 448234"/>
                    <a:gd name="connsiteX271" fmla="*/ 2124336 w 2778398"/>
                    <a:gd name="connsiteY271" fmla="*/ 445442 h 448234"/>
                    <a:gd name="connsiteX272" fmla="*/ 2114067 w 2778398"/>
                    <a:gd name="connsiteY272" fmla="*/ 445442 h 448234"/>
                    <a:gd name="connsiteX273" fmla="*/ 2114067 w 2778398"/>
                    <a:gd name="connsiteY273" fmla="*/ 331142 h 448234"/>
                    <a:gd name="connsiteX274" fmla="*/ 2124336 w 2778398"/>
                    <a:gd name="connsiteY274" fmla="*/ 331142 h 448234"/>
                    <a:gd name="connsiteX275" fmla="*/ 2124336 w 2778398"/>
                    <a:gd name="connsiteY275" fmla="*/ 351904 h 448234"/>
                    <a:gd name="connsiteX276" fmla="*/ 2124782 w 2778398"/>
                    <a:gd name="connsiteY276" fmla="*/ 351904 h 448234"/>
                    <a:gd name="connsiteX277" fmla="*/ 2163850 w 2778398"/>
                    <a:gd name="connsiteY277" fmla="*/ 328352 h 448234"/>
                    <a:gd name="connsiteX278" fmla="*/ 1144675 w 2778398"/>
                    <a:gd name="connsiteY278" fmla="*/ 328352 h 448234"/>
                    <a:gd name="connsiteX279" fmla="*/ 1173026 w 2778398"/>
                    <a:gd name="connsiteY279" fmla="*/ 340686 h 448234"/>
                    <a:gd name="connsiteX280" fmla="*/ 1182849 w 2778398"/>
                    <a:gd name="connsiteY280" fmla="*/ 375902 h 448234"/>
                    <a:gd name="connsiteX281" fmla="*/ 1182849 w 2778398"/>
                    <a:gd name="connsiteY281" fmla="*/ 445442 h 448234"/>
                    <a:gd name="connsiteX282" fmla="*/ 1172580 w 2778398"/>
                    <a:gd name="connsiteY282" fmla="*/ 445442 h 448234"/>
                    <a:gd name="connsiteX283" fmla="*/ 1172580 w 2778398"/>
                    <a:gd name="connsiteY283" fmla="*/ 378916 h 448234"/>
                    <a:gd name="connsiteX284" fmla="*/ 1142889 w 2778398"/>
                    <a:gd name="connsiteY284" fmla="*/ 337728 h 448234"/>
                    <a:gd name="connsiteX285" fmla="*/ 1115765 w 2778398"/>
                    <a:gd name="connsiteY285" fmla="*/ 349839 h 448234"/>
                    <a:gd name="connsiteX286" fmla="*/ 1105161 w 2778398"/>
                    <a:gd name="connsiteY286" fmla="*/ 379809 h 448234"/>
                    <a:gd name="connsiteX287" fmla="*/ 1105161 w 2778398"/>
                    <a:gd name="connsiteY287" fmla="*/ 445442 h 448234"/>
                    <a:gd name="connsiteX288" fmla="*/ 1094892 w 2778398"/>
                    <a:gd name="connsiteY288" fmla="*/ 445442 h 448234"/>
                    <a:gd name="connsiteX289" fmla="*/ 1094892 w 2778398"/>
                    <a:gd name="connsiteY289" fmla="*/ 331142 h 448234"/>
                    <a:gd name="connsiteX290" fmla="*/ 1105161 w 2778398"/>
                    <a:gd name="connsiteY290" fmla="*/ 331142 h 448234"/>
                    <a:gd name="connsiteX291" fmla="*/ 1105161 w 2778398"/>
                    <a:gd name="connsiteY291" fmla="*/ 351904 h 448234"/>
                    <a:gd name="connsiteX292" fmla="*/ 1105607 w 2778398"/>
                    <a:gd name="connsiteY292" fmla="*/ 351904 h 448234"/>
                    <a:gd name="connsiteX293" fmla="*/ 1144675 w 2778398"/>
                    <a:gd name="connsiteY293" fmla="*/ 328352 h 448234"/>
                    <a:gd name="connsiteX294" fmla="*/ 1020850 w 2778398"/>
                    <a:gd name="connsiteY294" fmla="*/ 328352 h 448234"/>
                    <a:gd name="connsiteX295" fmla="*/ 1049201 w 2778398"/>
                    <a:gd name="connsiteY295" fmla="*/ 340686 h 448234"/>
                    <a:gd name="connsiteX296" fmla="*/ 1059024 w 2778398"/>
                    <a:gd name="connsiteY296" fmla="*/ 375902 h 448234"/>
                    <a:gd name="connsiteX297" fmla="*/ 1059024 w 2778398"/>
                    <a:gd name="connsiteY297" fmla="*/ 445442 h 448234"/>
                    <a:gd name="connsiteX298" fmla="*/ 1048755 w 2778398"/>
                    <a:gd name="connsiteY298" fmla="*/ 445442 h 448234"/>
                    <a:gd name="connsiteX299" fmla="*/ 1048755 w 2778398"/>
                    <a:gd name="connsiteY299" fmla="*/ 378916 h 448234"/>
                    <a:gd name="connsiteX300" fmla="*/ 1019064 w 2778398"/>
                    <a:gd name="connsiteY300" fmla="*/ 337728 h 448234"/>
                    <a:gd name="connsiteX301" fmla="*/ 991940 w 2778398"/>
                    <a:gd name="connsiteY301" fmla="*/ 349839 h 448234"/>
                    <a:gd name="connsiteX302" fmla="*/ 981336 w 2778398"/>
                    <a:gd name="connsiteY302" fmla="*/ 379809 h 448234"/>
                    <a:gd name="connsiteX303" fmla="*/ 981336 w 2778398"/>
                    <a:gd name="connsiteY303" fmla="*/ 445442 h 448234"/>
                    <a:gd name="connsiteX304" fmla="*/ 971067 w 2778398"/>
                    <a:gd name="connsiteY304" fmla="*/ 445442 h 448234"/>
                    <a:gd name="connsiteX305" fmla="*/ 971067 w 2778398"/>
                    <a:gd name="connsiteY305" fmla="*/ 331142 h 448234"/>
                    <a:gd name="connsiteX306" fmla="*/ 981336 w 2778398"/>
                    <a:gd name="connsiteY306" fmla="*/ 331142 h 448234"/>
                    <a:gd name="connsiteX307" fmla="*/ 981336 w 2778398"/>
                    <a:gd name="connsiteY307" fmla="*/ 351904 h 448234"/>
                    <a:gd name="connsiteX308" fmla="*/ 981782 w 2778398"/>
                    <a:gd name="connsiteY308" fmla="*/ 351904 h 448234"/>
                    <a:gd name="connsiteX309" fmla="*/ 1020850 w 2778398"/>
                    <a:gd name="connsiteY309" fmla="*/ 328352 h 448234"/>
                    <a:gd name="connsiteX310" fmla="*/ 2748260 w 2778398"/>
                    <a:gd name="connsiteY310" fmla="*/ 297991 h 448234"/>
                    <a:gd name="connsiteX311" fmla="*/ 2748260 w 2778398"/>
                    <a:gd name="connsiteY311" fmla="*/ 331142 h 448234"/>
                    <a:gd name="connsiteX312" fmla="*/ 2778398 w 2778398"/>
                    <a:gd name="connsiteY312" fmla="*/ 331142 h 448234"/>
                    <a:gd name="connsiteX313" fmla="*/ 2778398 w 2778398"/>
                    <a:gd name="connsiteY313" fmla="*/ 340518 h 448234"/>
                    <a:gd name="connsiteX314" fmla="*/ 2748260 w 2778398"/>
                    <a:gd name="connsiteY314" fmla="*/ 340518 h 448234"/>
                    <a:gd name="connsiteX315" fmla="*/ 2748260 w 2778398"/>
                    <a:gd name="connsiteY315" fmla="*/ 415974 h 448234"/>
                    <a:gd name="connsiteX316" fmla="*/ 2752000 w 2778398"/>
                    <a:gd name="connsiteY316" fmla="*/ 433108 h 448234"/>
                    <a:gd name="connsiteX317" fmla="*/ 2764668 w 2778398"/>
                    <a:gd name="connsiteY317" fmla="*/ 438410 h 448234"/>
                    <a:gd name="connsiteX318" fmla="*/ 2778398 w 2778398"/>
                    <a:gd name="connsiteY318" fmla="*/ 434280 h 448234"/>
                    <a:gd name="connsiteX319" fmla="*/ 2778398 w 2778398"/>
                    <a:gd name="connsiteY319" fmla="*/ 443880 h 448234"/>
                    <a:gd name="connsiteX320" fmla="*/ 2763329 w 2778398"/>
                    <a:gd name="connsiteY320" fmla="*/ 447675 h 448234"/>
                    <a:gd name="connsiteX321" fmla="*/ 2737991 w 2778398"/>
                    <a:gd name="connsiteY321" fmla="*/ 417314 h 448234"/>
                    <a:gd name="connsiteX322" fmla="*/ 2737991 w 2778398"/>
                    <a:gd name="connsiteY322" fmla="*/ 340518 h 448234"/>
                    <a:gd name="connsiteX323" fmla="*/ 2717453 w 2778398"/>
                    <a:gd name="connsiteY323" fmla="*/ 340518 h 448234"/>
                    <a:gd name="connsiteX324" fmla="*/ 2717453 w 2778398"/>
                    <a:gd name="connsiteY324" fmla="*/ 331142 h 448234"/>
                    <a:gd name="connsiteX325" fmla="*/ 2737991 w 2778398"/>
                    <a:gd name="connsiteY325" fmla="*/ 331142 h 448234"/>
                    <a:gd name="connsiteX326" fmla="*/ 2737991 w 2778398"/>
                    <a:gd name="connsiteY326" fmla="*/ 301451 h 448234"/>
                    <a:gd name="connsiteX327" fmla="*/ 2743126 w 2778398"/>
                    <a:gd name="connsiteY327" fmla="*/ 299665 h 448234"/>
                    <a:gd name="connsiteX328" fmla="*/ 2748260 w 2778398"/>
                    <a:gd name="connsiteY328" fmla="*/ 297991 h 448234"/>
                    <a:gd name="connsiteX329" fmla="*/ 2252960 w 2778398"/>
                    <a:gd name="connsiteY329" fmla="*/ 297991 h 448234"/>
                    <a:gd name="connsiteX330" fmla="*/ 2252960 w 2778398"/>
                    <a:gd name="connsiteY330" fmla="*/ 331142 h 448234"/>
                    <a:gd name="connsiteX331" fmla="*/ 2283098 w 2778398"/>
                    <a:gd name="connsiteY331" fmla="*/ 331142 h 448234"/>
                    <a:gd name="connsiteX332" fmla="*/ 2283098 w 2778398"/>
                    <a:gd name="connsiteY332" fmla="*/ 340518 h 448234"/>
                    <a:gd name="connsiteX333" fmla="*/ 2252960 w 2778398"/>
                    <a:gd name="connsiteY333" fmla="*/ 340518 h 448234"/>
                    <a:gd name="connsiteX334" fmla="*/ 2252960 w 2778398"/>
                    <a:gd name="connsiteY334" fmla="*/ 415974 h 448234"/>
                    <a:gd name="connsiteX335" fmla="*/ 2256700 w 2778398"/>
                    <a:gd name="connsiteY335" fmla="*/ 433108 h 448234"/>
                    <a:gd name="connsiteX336" fmla="*/ 2269369 w 2778398"/>
                    <a:gd name="connsiteY336" fmla="*/ 438410 h 448234"/>
                    <a:gd name="connsiteX337" fmla="*/ 2283098 w 2778398"/>
                    <a:gd name="connsiteY337" fmla="*/ 434280 h 448234"/>
                    <a:gd name="connsiteX338" fmla="*/ 2283098 w 2778398"/>
                    <a:gd name="connsiteY338" fmla="*/ 443880 h 448234"/>
                    <a:gd name="connsiteX339" fmla="*/ 2268029 w 2778398"/>
                    <a:gd name="connsiteY339" fmla="*/ 447675 h 448234"/>
                    <a:gd name="connsiteX340" fmla="*/ 2242691 w 2778398"/>
                    <a:gd name="connsiteY340" fmla="*/ 417314 h 448234"/>
                    <a:gd name="connsiteX341" fmla="*/ 2242691 w 2778398"/>
                    <a:gd name="connsiteY341" fmla="*/ 340518 h 448234"/>
                    <a:gd name="connsiteX342" fmla="*/ 2222153 w 2778398"/>
                    <a:gd name="connsiteY342" fmla="*/ 340518 h 448234"/>
                    <a:gd name="connsiteX343" fmla="*/ 2222153 w 2778398"/>
                    <a:gd name="connsiteY343" fmla="*/ 331142 h 448234"/>
                    <a:gd name="connsiteX344" fmla="*/ 2242691 w 2778398"/>
                    <a:gd name="connsiteY344" fmla="*/ 331142 h 448234"/>
                    <a:gd name="connsiteX345" fmla="*/ 2242691 w 2778398"/>
                    <a:gd name="connsiteY345" fmla="*/ 301451 h 448234"/>
                    <a:gd name="connsiteX346" fmla="*/ 2247826 w 2778398"/>
                    <a:gd name="connsiteY346" fmla="*/ 299665 h 448234"/>
                    <a:gd name="connsiteX347" fmla="*/ 2252960 w 2778398"/>
                    <a:gd name="connsiteY347" fmla="*/ 297991 h 448234"/>
                    <a:gd name="connsiteX348" fmla="*/ 1824335 w 2778398"/>
                    <a:gd name="connsiteY348" fmla="*/ 297991 h 448234"/>
                    <a:gd name="connsiteX349" fmla="*/ 1824335 w 2778398"/>
                    <a:gd name="connsiteY349" fmla="*/ 331142 h 448234"/>
                    <a:gd name="connsiteX350" fmla="*/ 1854473 w 2778398"/>
                    <a:gd name="connsiteY350" fmla="*/ 331142 h 448234"/>
                    <a:gd name="connsiteX351" fmla="*/ 1854473 w 2778398"/>
                    <a:gd name="connsiteY351" fmla="*/ 340518 h 448234"/>
                    <a:gd name="connsiteX352" fmla="*/ 1824335 w 2778398"/>
                    <a:gd name="connsiteY352" fmla="*/ 340518 h 448234"/>
                    <a:gd name="connsiteX353" fmla="*/ 1824335 w 2778398"/>
                    <a:gd name="connsiteY353" fmla="*/ 415974 h 448234"/>
                    <a:gd name="connsiteX354" fmla="*/ 1828075 w 2778398"/>
                    <a:gd name="connsiteY354" fmla="*/ 433108 h 448234"/>
                    <a:gd name="connsiteX355" fmla="*/ 1840744 w 2778398"/>
                    <a:gd name="connsiteY355" fmla="*/ 438410 h 448234"/>
                    <a:gd name="connsiteX356" fmla="*/ 1854473 w 2778398"/>
                    <a:gd name="connsiteY356" fmla="*/ 434280 h 448234"/>
                    <a:gd name="connsiteX357" fmla="*/ 1854473 w 2778398"/>
                    <a:gd name="connsiteY357" fmla="*/ 443880 h 448234"/>
                    <a:gd name="connsiteX358" fmla="*/ 1839404 w 2778398"/>
                    <a:gd name="connsiteY358" fmla="*/ 447675 h 448234"/>
                    <a:gd name="connsiteX359" fmla="*/ 1814066 w 2778398"/>
                    <a:gd name="connsiteY359" fmla="*/ 417314 h 448234"/>
                    <a:gd name="connsiteX360" fmla="*/ 1814066 w 2778398"/>
                    <a:gd name="connsiteY360" fmla="*/ 340518 h 448234"/>
                    <a:gd name="connsiteX361" fmla="*/ 1793528 w 2778398"/>
                    <a:gd name="connsiteY361" fmla="*/ 340518 h 448234"/>
                    <a:gd name="connsiteX362" fmla="*/ 1793528 w 2778398"/>
                    <a:gd name="connsiteY362" fmla="*/ 331142 h 448234"/>
                    <a:gd name="connsiteX363" fmla="*/ 1814066 w 2778398"/>
                    <a:gd name="connsiteY363" fmla="*/ 331142 h 448234"/>
                    <a:gd name="connsiteX364" fmla="*/ 1814066 w 2778398"/>
                    <a:gd name="connsiteY364" fmla="*/ 301451 h 448234"/>
                    <a:gd name="connsiteX365" fmla="*/ 1819201 w 2778398"/>
                    <a:gd name="connsiteY365" fmla="*/ 299665 h 448234"/>
                    <a:gd name="connsiteX366" fmla="*/ 1824335 w 2778398"/>
                    <a:gd name="connsiteY366" fmla="*/ 297991 h 448234"/>
                    <a:gd name="connsiteX367" fmla="*/ 1452860 w 2778398"/>
                    <a:gd name="connsiteY367" fmla="*/ 297991 h 448234"/>
                    <a:gd name="connsiteX368" fmla="*/ 1452860 w 2778398"/>
                    <a:gd name="connsiteY368" fmla="*/ 331142 h 448234"/>
                    <a:gd name="connsiteX369" fmla="*/ 1482998 w 2778398"/>
                    <a:gd name="connsiteY369" fmla="*/ 331142 h 448234"/>
                    <a:gd name="connsiteX370" fmla="*/ 1482998 w 2778398"/>
                    <a:gd name="connsiteY370" fmla="*/ 340518 h 448234"/>
                    <a:gd name="connsiteX371" fmla="*/ 1452860 w 2778398"/>
                    <a:gd name="connsiteY371" fmla="*/ 340518 h 448234"/>
                    <a:gd name="connsiteX372" fmla="*/ 1452860 w 2778398"/>
                    <a:gd name="connsiteY372" fmla="*/ 415974 h 448234"/>
                    <a:gd name="connsiteX373" fmla="*/ 1456600 w 2778398"/>
                    <a:gd name="connsiteY373" fmla="*/ 433108 h 448234"/>
                    <a:gd name="connsiteX374" fmla="*/ 1469269 w 2778398"/>
                    <a:gd name="connsiteY374" fmla="*/ 438410 h 448234"/>
                    <a:gd name="connsiteX375" fmla="*/ 1482998 w 2778398"/>
                    <a:gd name="connsiteY375" fmla="*/ 434280 h 448234"/>
                    <a:gd name="connsiteX376" fmla="*/ 1482998 w 2778398"/>
                    <a:gd name="connsiteY376" fmla="*/ 443880 h 448234"/>
                    <a:gd name="connsiteX377" fmla="*/ 1467929 w 2778398"/>
                    <a:gd name="connsiteY377" fmla="*/ 447675 h 448234"/>
                    <a:gd name="connsiteX378" fmla="*/ 1442591 w 2778398"/>
                    <a:gd name="connsiteY378" fmla="*/ 417314 h 448234"/>
                    <a:gd name="connsiteX379" fmla="*/ 1442591 w 2778398"/>
                    <a:gd name="connsiteY379" fmla="*/ 340518 h 448234"/>
                    <a:gd name="connsiteX380" fmla="*/ 1422053 w 2778398"/>
                    <a:gd name="connsiteY380" fmla="*/ 340518 h 448234"/>
                    <a:gd name="connsiteX381" fmla="*/ 1422053 w 2778398"/>
                    <a:gd name="connsiteY381" fmla="*/ 331142 h 448234"/>
                    <a:gd name="connsiteX382" fmla="*/ 1442591 w 2778398"/>
                    <a:gd name="connsiteY382" fmla="*/ 331142 h 448234"/>
                    <a:gd name="connsiteX383" fmla="*/ 1442591 w 2778398"/>
                    <a:gd name="connsiteY383" fmla="*/ 301451 h 448234"/>
                    <a:gd name="connsiteX384" fmla="*/ 1447726 w 2778398"/>
                    <a:gd name="connsiteY384" fmla="*/ 299665 h 448234"/>
                    <a:gd name="connsiteX385" fmla="*/ 1452860 w 2778398"/>
                    <a:gd name="connsiteY385" fmla="*/ 297991 h 448234"/>
                    <a:gd name="connsiteX386" fmla="*/ 300335 w 2778398"/>
                    <a:gd name="connsiteY386" fmla="*/ 297991 h 448234"/>
                    <a:gd name="connsiteX387" fmla="*/ 300335 w 2778398"/>
                    <a:gd name="connsiteY387" fmla="*/ 331142 h 448234"/>
                    <a:gd name="connsiteX388" fmla="*/ 330473 w 2778398"/>
                    <a:gd name="connsiteY388" fmla="*/ 331142 h 448234"/>
                    <a:gd name="connsiteX389" fmla="*/ 330473 w 2778398"/>
                    <a:gd name="connsiteY389" fmla="*/ 340518 h 448234"/>
                    <a:gd name="connsiteX390" fmla="*/ 300335 w 2778398"/>
                    <a:gd name="connsiteY390" fmla="*/ 340518 h 448234"/>
                    <a:gd name="connsiteX391" fmla="*/ 300335 w 2778398"/>
                    <a:gd name="connsiteY391" fmla="*/ 415974 h 448234"/>
                    <a:gd name="connsiteX392" fmla="*/ 304075 w 2778398"/>
                    <a:gd name="connsiteY392" fmla="*/ 433108 h 448234"/>
                    <a:gd name="connsiteX393" fmla="*/ 316744 w 2778398"/>
                    <a:gd name="connsiteY393" fmla="*/ 438410 h 448234"/>
                    <a:gd name="connsiteX394" fmla="*/ 330473 w 2778398"/>
                    <a:gd name="connsiteY394" fmla="*/ 434280 h 448234"/>
                    <a:gd name="connsiteX395" fmla="*/ 330473 w 2778398"/>
                    <a:gd name="connsiteY395" fmla="*/ 443880 h 448234"/>
                    <a:gd name="connsiteX396" fmla="*/ 315404 w 2778398"/>
                    <a:gd name="connsiteY396" fmla="*/ 447675 h 448234"/>
                    <a:gd name="connsiteX397" fmla="*/ 290066 w 2778398"/>
                    <a:gd name="connsiteY397" fmla="*/ 417314 h 448234"/>
                    <a:gd name="connsiteX398" fmla="*/ 290066 w 2778398"/>
                    <a:gd name="connsiteY398" fmla="*/ 340518 h 448234"/>
                    <a:gd name="connsiteX399" fmla="*/ 269528 w 2778398"/>
                    <a:gd name="connsiteY399" fmla="*/ 340518 h 448234"/>
                    <a:gd name="connsiteX400" fmla="*/ 269528 w 2778398"/>
                    <a:gd name="connsiteY400" fmla="*/ 331142 h 448234"/>
                    <a:gd name="connsiteX401" fmla="*/ 290066 w 2778398"/>
                    <a:gd name="connsiteY401" fmla="*/ 331142 h 448234"/>
                    <a:gd name="connsiteX402" fmla="*/ 290066 w 2778398"/>
                    <a:gd name="connsiteY402" fmla="*/ 301451 h 448234"/>
                    <a:gd name="connsiteX403" fmla="*/ 295201 w 2778398"/>
                    <a:gd name="connsiteY403" fmla="*/ 299665 h 448234"/>
                    <a:gd name="connsiteX404" fmla="*/ 300335 w 2778398"/>
                    <a:gd name="connsiteY404" fmla="*/ 297991 h 448234"/>
                    <a:gd name="connsiteX405" fmla="*/ 2068674 w 2778398"/>
                    <a:gd name="connsiteY405" fmla="*/ 285378 h 448234"/>
                    <a:gd name="connsiteX406" fmla="*/ 2079725 w 2778398"/>
                    <a:gd name="connsiteY406" fmla="*/ 285378 h 448234"/>
                    <a:gd name="connsiteX407" fmla="*/ 2079725 w 2778398"/>
                    <a:gd name="connsiteY407" fmla="*/ 445442 h 448234"/>
                    <a:gd name="connsiteX408" fmla="*/ 2068674 w 2778398"/>
                    <a:gd name="connsiteY408" fmla="*/ 445442 h 448234"/>
                    <a:gd name="connsiteX409" fmla="*/ 351942 w 2778398"/>
                    <a:gd name="connsiteY409" fmla="*/ 276226 h 448234"/>
                    <a:gd name="connsiteX410" fmla="*/ 362211 w 2778398"/>
                    <a:gd name="connsiteY410" fmla="*/ 276226 h 448234"/>
                    <a:gd name="connsiteX411" fmla="*/ 362211 w 2778398"/>
                    <a:gd name="connsiteY411" fmla="*/ 351682 h 448234"/>
                    <a:gd name="connsiteX412" fmla="*/ 362657 w 2778398"/>
                    <a:gd name="connsiteY412" fmla="*/ 351682 h 448234"/>
                    <a:gd name="connsiteX413" fmla="*/ 401948 w 2778398"/>
                    <a:gd name="connsiteY413" fmla="*/ 328353 h 448234"/>
                    <a:gd name="connsiteX414" fmla="*/ 430188 w 2778398"/>
                    <a:gd name="connsiteY414" fmla="*/ 340296 h 448234"/>
                    <a:gd name="connsiteX415" fmla="*/ 439899 w 2778398"/>
                    <a:gd name="connsiteY415" fmla="*/ 374564 h 448234"/>
                    <a:gd name="connsiteX416" fmla="*/ 439899 w 2778398"/>
                    <a:gd name="connsiteY416" fmla="*/ 445443 h 448234"/>
                    <a:gd name="connsiteX417" fmla="*/ 429630 w 2778398"/>
                    <a:gd name="connsiteY417" fmla="*/ 445443 h 448234"/>
                    <a:gd name="connsiteX418" fmla="*/ 429630 w 2778398"/>
                    <a:gd name="connsiteY418" fmla="*/ 376908 h 448234"/>
                    <a:gd name="connsiteX419" fmla="*/ 422263 w 2778398"/>
                    <a:gd name="connsiteY419" fmla="*/ 347161 h 448234"/>
                    <a:gd name="connsiteX420" fmla="*/ 399269 w 2778398"/>
                    <a:gd name="connsiteY420" fmla="*/ 337729 h 448234"/>
                    <a:gd name="connsiteX421" fmla="*/ 373373 w 2778398"/>
                    <a:gd name="connsiteY421" fmla="*/ 349226 h 448234"/>
                    <a:gd name="connsiteX422" fmla="*/ 362211 w 2778398"/>
                    <a:gd name="connsiteY422" fmla="*/ 382154 h 448234"/>
                    <a:gd name="connsiteX423" fmla="*/ 362211 w 2778398"/>
                    <a:gd name="connsiteY423" fmla="*/ 445443 h 448234"/>
                    <a:gd name="connsiteX424" fmla="*/ 351942 w 2778398"/>
                    <a:gd name="connsiteY424" fmla="*/ 445443 h 448234"/>
                    <a:gd name="connsiteX425" fmla="*/ 113817 w 2778398"/>
                    <a:gd name="connsiteY425" fmla="*/ 276226 h 448234"/>
                    <a:gd name="connsiteX426" fmla="*/ 124086 w 2778398"/>
                    <a:gd name="connsiteY426" fmla="*/ 276226 h 448234"/>
                    <a:gd name="connsiteX427" fmla="*/ 124086 w 2778398"/>
                    <a:gd name="connsiteY427" fmla="*/ 445443 h 448234"/>
                    <a:gd name="connsiteX428" fmla="*/ 113817 w 2778398"/>
                    <a:gd name="connsiteY428" fmla="*/ 445443 h 448234"/>
                    <a:gd name="connsiteX429" fmla="*/ 1699915 w 2778398"/>
                    <a:gd name="connsiteY429" fmla="*/ 276225 h 448234"/>
                    <a:gd name="connsiteX430" fmla="*/ 1710184 w 2778398"/>
                    <a:gd name="connsiteY430" fmla="*/ 276225 h 448234"/>
                    <a:gd name="connsiteX431" fmla="*/ 1710184 w 2778398"/>
                    <a:gd name="connsiteY431" fmla="*/ 445442 h 448234"/>
                    <a:gd name="connsiteX432" fmla="*/ 1699915 w 2778398"/>
                    <a:gd name="connsiteY432" fmla="*/ 445442 h 448234"/>
                    <a:gd name="connsiteX433" fmla="*/ 1699915 w 2778398"/>
                    <a:gd name="connsiteY433" fmla="*/ 424681 h 448234"/>
                    <a:gd name="connsiteX434" fmla="*/ 1699469 w 2778398"/>
                    <a:gd name="connsiteY434" fmla="*/ 424681 h 448234"/>
                    <a:gd name="connsiteX435" fmla="*/ 1682949 w 2778398"/>
                    <a:gd name="connsiteY435" fmla="*/ 441870 h 448234"/>
                    <a:gd name="connsiteX436" fmla="*/ 1658280 w 2778398"/>
                    <a:gd name="connsiteY436" fmla="*/ 448233 h 448234"/>
                    <a:gd name="connsiteX437" fmla="*/ 1623845 w 2778398"/>
                    <a:gd name="connsiteY437" fmla="*/ 432829 h 448234"/>
                    <a:gd name="connsiteX438" fmla="*/ 1610507 w 2778398"/>
                    <a:gd name="connsiteY438" fmla="*/ 390301 h 448234"/>
                    <a:gd name="connsiteX439" fmla="*/ 1625073 w 2778398"/>
                    <a:gd name="connsiteY439" fmla="*/ 345486 h 448234"/>
                    <a:gd name="connsiteX440" fmla="*/ 1662857 w 2778398"/>
                    <a:gd name="connsiteY440" fmla="*/ 328352 h 448234"/>
                    <a:gd name="connsiteX441" fmla="*/ 1699469 w 2778398"/>
                    <a:gd name="connsiteY441" fmla="*/ 349448 h 448234"/>
                    <a:gd name="connsiteX442" fmla="*/ 1699915 w 2778398"/>
                    <a:gd name="connsiteY442" fmla="*/ 349448 h 448234"/>
                    <a:gd name="connsiteX443" fmla="*/ 2372879 w 2778398"/>
                    <a:gd name="connsiteY443" fmla="*/ 107715 h 448234"/>
                    <a:gd name="connsiteX444" fmla="*/ 2341402 w 2778398"/>
                    <a:gd name="connsiteY444" fmla="*/ 112291 h 448234"/>
                    <a:gd name="connsiteX445" fmla="*/ 2316175 w 2778398"/>
                    <a:gd name="connsiteY445" fmla="*/ 120607 h 448234"/>
                    <a:gd name="connsiteX446" fmla="*/ 2308920 w 2778398"/>
                    <a:gd name="connsiteY446" fmla="*/ 139304 h 448234"/>
                    <a:gd name="connsiteX447" fmla="*/ 2315673 w 2778398"/>
                    <a:gd name="connsiteY447" fmla="*/ 156047 h 448234"/>
                    <a:gd name="connsiteX448" fmla="*/ 2334481 w 2778398"/>
                    <a:gd name="connsiteY448" fmla="*/ 162633 h 448234"/>
                    <a:gd name="connsiteX449" fmla="*/ 2361940 w 2778398"/>
                    <a:gd name="connsiteY449" fmla="*/ 150410 h 448234"/>
                    <a:gd name="connsiteX450" fmla="*/ 2372879 w 2778398"/>
                    <a:gd name="connsiteY450" fmla="*/ 118877 h 448234"/>
                    <a:gd name="connsiteX451" fmla="*/ 2232794 w 2778398"/>
                    <a:gd name="connsiteY451" fmla="*/ 61504 h 448234"/>
                    <a:gd name="connsiteX452" fmla="*/ 2206173 w 2778398"/>
                    <a:gd name="connsiteY452" fmla="*/ 72275 h 448234"/>
                    <a:gd name="connsiteX453" fmla="*/ 2193169 w 2778398"/>
                    <a:gd name="connsiteY453" fmla="*/ 103139 h 448234"/>
                    <a:gd name="connsiteX454" fmla="*/ 2266615 w 2778398"/>
                    <a:gd name="connsiteY454" fmla="*/ 103139 h 448234"/>
                    <a:gd name="connsiteX455" fmla="*/ 2257128 w 2778398"/>
                    <a:gd name="connsiteY455" fmla="*/ 72443 h 448234"/>
                    <a:gd name="connsiteX456" fmla="*/ 2232794 w 2778398"/>
                    <a:gd name="connsiteY456" fmla="*/ 61504 h 448234"/>
                    <a:gd name="connsiteX457" fmla="*/ 1899419 w 2778398"/>
                    <a:gd name="connsiteY457" fmla="*/ 61504 h 448234"/>
                    <a:gd name="connsiteX458" fmla="*/ 1872798 w 2778398"/>
                    <a:gd name="connsiteY458" fmla="*/ 72275 h 448234"/>
                    <a:gd name="connsiteX459" fmla="*/ 1859794 w 2778398"/>
                    <a:gd name="connsiteY459" fmla="*/ 103139 h 448234"/>
                    <a:gd name="connsiteX460" fmla="*/ 1933240 w 2778398"/>
                    <a:gd name="connsiteY460" fmla="*/ 103139 h 448234"/>
                    <a:gd name="connsiteX461" fmla="*/ 1923753 w 2778398"/>
                    <a:gd name="connsiteY461" fmla="*/ 72443 h 448234"/>
                    <a:gd name="connsiteX462" fmla="*/ 1899419 w 2778398"/>
                    <a:gd name="connsiteY462" fmla="*/ 61504 h 448234"/>
                    <a:gd name="connsiteX463" fmla="*/ 1223144 w 2778398"/>
                    <a:gd name="connsiteY463" fmla="*/ 61504 h 448234"/>
                    <a:gd name="connsiteX464" fmla="*/ 1196523 w 2778398"/>
                    <a:gd name="connsiteY464" fmla="*/ 72275 h 448234"/>
                    <a:gd name="connsiteX465" fmla="*/ 1183519 w 2778398"/>
                    <a:gd name="connsiteY465" fmla="*/ 103139 h 448234"/>
                    <a:gd name="connsiteX466" fmla="*/ 1256965 w 2778398"/>
                    <a:gd name="connsiteY466" fmla="*/ 103139 h 448234"/>
                    <a:gd name="connsiteX467" fmla="*/ 1247478 w 2778398"/>
                    <a:gd name="connsiteY467" fmla="*/ 72443 h 448234"/>
                    <a:gd name="connsiteX468" fmla="*/ 1223144 w 2778398"/>
                    <a:gd name="connsiteY468" fmla="*/ 61504 h 448234"/>
                    <a:gd name="connsiteX469" fmla="*/ 931999 w 2778398"/>
                    <a:gd name="connsiteY469" fmla="*/ 61504 h 448234"/>
                    <a:gd name="connsiteX470" fmla="*/ 899797 w 2778398"/>
                    <a:gd name="connsiteY470" fmla="*/ 75122 h 448234"/>
                    <a:gd name="connsiteX471" fmla="*/ 887797 w 2778398"/>
                    <a:gd name="connsiteY471" fmla="*/ 112961 h 448234"/>
                    <a:gd name="connsiteX472" fmla="*/ 899517 w 2778398"/>
                    <a:gd name="connsiteY472" fmla="*/ 149015 h 448234"/>
                    <a:gd name="connsiteX473" fmla="*/ 931553 w 2778398"/>
                    <a:gd name="connsiteY473" fmla="*/ 162633 h 448234"/>
                    <a:gd name="connsiteX474" fmla="*/ 963365 w 2778398"/>
                    <a:gd name="connsiteY474" fmla="*/ 149238 h 448234"/>
                    <a:gd name="connsiteX475" fmla="*/ 974527 w 2778398"/>
                    <a:gd name="connsiteY475" fmla="*/ 112068 h 448234"/>
                    <a:gd name="connsiteX476" fmla="*/ 963421 w 2778398"/>
                    <a:gd name="connsiteY476" fmla="*/ 74564 h 448234"/>
                    <a:gd name="connsiteX477" fmla="*/ 931999 w 2778398"/>
                    <a:gd name="connsiteY477" fmla="*/ 61504 h 448234"/>
                    <a:gd name="connsiteX478" fmla="*/ 813569 w 2778398"/>
                    <a:gd name="connsiteY478" fmla="*/ 61504 h 448234"/>
                    <a:gd name="connsiteX479" fmla="*/ 786948 w 2778398"/>
                    <a:gd name="connsiteY479" fmla="*/ 72275 h 448234"/>
                    <a:gd name="connsiteX480" fmla="*/ 773944 w 2778398"/>
                    <a:gd name="connsiteY480" fmla="*/ 103139 h 448234"/>
                    <a:gd name="connsiteX481" fmla="*/ 847390 w 2778398"/>
                    <a:gd name="connsiteY481" fmla="*/ 103139 h 448234"/>
                    <a:gd name="connsiteX482" fmla="*/ 837903 w 2778398"/>
                    <a:gd name="connsiteY482" fmla="*/ 72443 h 448234"/>
                    <a:gd name="connsiteX483" fmla="*/ 813569 w 2778398"/>
                    <a:gd name="connsiteY483" fmla="*/ 61504 h 448234"/>
                    <a:gd name="connsiteX484" fmla="*/ 2710830 w 2778398"/>
                    <a:gd name="connsiteY484" fmla="*/ 61503 h 448234"/>
                    <a:gd name="connsiteX485" fmla="*/ 2680469 w 2778398"/>
                    <a:gd name="connsiteY485" fmla="*/ 75679 h 448234"/>
                    <a:gd name="connsiteX486" fmla="*/ 2668972 w 2778398"/>
                    <a:gd name="connsiteY486" fmla="*/ 113183 h 448234"/>
                    <a:gd name="connsiteX487" fmla="*/ 2679521 w 2778398"/>
                    <a:gd name="connsiteY487" fmla="*/ 149628 h 448234"/>
                    <a:gd name="connsiteX488" fmla="*/ 2707370 w 2778398"/>
                    <a:gd name="connsiteY488" fmla="*/ 162632 h 448234"/>
                    <a:gd name="connsiteX489" fmla="*/ 2736726 w 2778398"/>
                    <a:gd name="connsiteY489" fmla="*/ 150688 h 448234"/>
                    <a:gd name="connsiteX490" fmla="*/ 2747665 w 2778398"/>
                    <a:gd name="connsiteY490" fmla="*/ 121443 h 448234"/>
                    <a:gd name="connsiteX491" fmla="*/ 2747665 w 2778398"/>
                    <a:gd name="connsiteY491" fmla="*/ 98784 h 448234"/>
                    <a:gd name="connsiteX492" fmla="*/ 2737452 w 2778398"/>
                    <a:gd name="connsiteY492" fmla="*/ 72553 h 448234"/>
                    <a:gd name="connsiteX493" fmla="*/ 2710830 w 2778398"/>
                    <a:gd name="connsiteY493" fmla="*/ 61503 h 448234"/>
                    <a:gd name="connsiteX494" fmla="*/ 1785194 w 2778398"/>
                    <a:gd name="connsiteY494" fmla="*/ 61503 h 448234"/>
                    <a:gd name="connsiteX495" fmla="*/ 1754275 w 2778398"/>
                    <a:gd name="connsiteY495" fmla="*/ 74897 h 448234"/>
                    <a:gd name="connsiteX496" fmla="*/ 1743336 w 2778398"/>
                    <a:gd name="connsiteY496" fmla="*/ 106375 h 448234"/>
                    <a:gd name="connsiteX497" fmla="*/ 1743336 w 2778398"/>
                    <a:gd name="connsiteY497" fmla="*/ 120774 h 448234"/>
                    <a:gd name="connsiteX498" fmla="*/ 1754163 w 2778398"/>
                    <a:gd name="connsiteY498" fmla="*/ 150297 h 448234"/>
                    <a:gd name="connsiteX499" fmla="*/ 1782626 w 2778398"/>
                    <a:gd name="connsiteY499" fmla="*/ 162632 h 448234"/>
                    <a:gd name="connsiteX500" fmla="*/ 1811090 w 2778398"/>
                    <a:gd name="connsiteY500" fmla="*/ 147619 h 448234"/>
                    <a:gd name="connsiteX501" fmla="*/ 1822029 w 2778398"/>
                    <a:gd name="connsiteY501" fmla="*/ 108161 h 448234"/>
                    <a:gd name="connsiteX502" fmla="*/ 1811983 w 2778398"/>
                    <a:gd name="connsiteY502" fmla="*/ 74116 h 448234"/>
                    <a:gd name="connsiteX503" fmla="*/ 1785194 w 2778398"/>
                    <a:gd name="connsiteY503" fmla="*/ 61503 h 448234"/>
                    <a:gd name="connsiteX504" fmla="*/ 1061294 w 2778398"/>
                    <a:gd name="connsiteY504" fmla="*/ 61503 h 448234"/>
                    <a:gd name="connsiteX505" fmla="*/ 1030375 w 2778398"/>
                    <a:gd name="connsiteY505" fmla="*/ 74897 h 448234"/>
                    <a:gd name="connsiteX506" fmla="*/ 1019436 w 2778398"/>
                    <a:gd name="connsiteY506" fmla="*/ 106375 h 448234"/>
                    <a:gd name="connsiteX507" fmla="*/ 1019436 w 2778398"/>
                    <a:gd name="connsiteY507" fmla="*/ 120774 h 448234"/>
                    <a:gd name="connsiteX508" fmla="*/ 1030263 w 2778398"/>
                    <a:gd name="connsiteY508" fmla="*/ 150297 h 448234"/>
                    <a:gd name="connsiteX509" fmla="*/ 1058726 w 2778398"/>
                    <a:gd name="connsiteY509" fmla="*/ 162632 h 448234"/>
                    <a:gd name="connsiteX510" fmla="*/ 1087190 w 2778398"/>
                    <a:gd name="connsiteY510" fmla="*/ 147619 h 448234"/>
                    <a:gd name="connsiteX511" fmla="*/ 1098129 w 2778398"/>
                    <a:gd name="connsiteY511" fmla="*/ 108161 h 448234"/>
                    <a:gd name="connsiteX512" fmla="*/ 1088083 w 2778398"/>
                    <a:gd name="connsiteY512" fmla="*/ 74116 h 448234"/>
                    <a:gd name="connsiteX513" fmla="*/ 1061294 w 2778398"/>
                    <a:gd name="connsiteY513" fmla="*/ 61503 h 448234"/>
                    <a:gd name="connsiteX514" fmla="*/ 699344 w 2778398"/>
                    <a:gd name="connsiteY514" fmla="*/ 61503 h 448234"/>
                    <a:gd name="connsiteX515" fmla="*/ 668425 w 2778398"/>
                    <a:gd name="connsiteY515" fmla="*/ 74897 h 448234"/>
                    <a:gd name="connsiteX516" fmla="*/ 657486 w 2778398"/>
                    <a:gd name="connsiteY516" fmla="*/ 106375 h 448234"/>
                    <a:gd name="connsiteX517" fmla="*/ 657486 w 2778398"/>
                    <a:gd name="connsiteY517" fmla="*/ 120774 h 448234"/>
                    <a:gd name="connsiteX518" fmla="*/ 668313 w 2778398"/>
                    <a:gd name="connsiteY518" fmla="*/ 150297 h 448234"/>
                    <a:gd name="connsiteX519" fmla="*/ 696776 w 2778398"/>
                    <a:gd name="connsiteY519" fmla="*/ 162632 h 448234"/>
                    <a:gd name="connsiteX520" fmla="*/ 725240 w 2778398"/>
                    <a:gd name="connsiteY520" fmla="*/ 147619 h 448234"/>
                    <a:gd name="connsiteX521" fmla="*/ 736179 w 2778398"/>
                    <a:gd name="connsiteY521" fmla="*/ 108161 h 448234"/>
                    <a:gd name="connsiteX522" fmla="*/ 726133 w 2778398"/>
                    <a:gd name="connsiteY522" fmla="*/ 74116 h 448234"/>
                    <a:gd name="connsiteX523" fmla="*/ 699344 w 2778398"/>
                    <a:gd name="connsiteY523" fmla="*/ 61503 h 448234"/>
                    <a:gd name="connsiteX524" fmla="*/ 2495067 w 2778398"/>
                    <a:gd name="connsiteY524" fmla="*/ 54917 h 448234"/>
                    <a:gd name="connsiteX525" fmla="*/ 2505336 w 2778398"/>
                    <a:gd name="connsiteY525" fmla="*/ 54917 h 448234"/>
                    <a:gd name="connsiteX526" fmla="*/ 2505336 w 2778398"/>
                    <a:gd name="connsiteY526" fmla="*/ 169217 h 448234"/>
                    <a:gd name="connsiteX527" fmla="*/ 2495067 w 2778398"/>
                    <a:gd name="connsiteY527" fmla="*/ 169217 h 448234"/>
                    <a:gd name="connsiteX528" fmla="*/ 2023691 w 2778398"/>
                    <a:gd name="connsiteY528" fmla="*/ 54917 h 448234"/>
                    <a:gd name="connsiteX529" fmla="*/ 2035076 w 2778398"/>
                    <a:gd name="connsiteY529" fmla="*/ 54917 h 448234"/>
                    <a:gd name="connsiteX530" fmla="*/ 2061642 w 2778398"/>
                    <a:gd name="connsiteY530" fmla="*/ 146112 h 448234"/>
                    <a:gd name="connsiteX531" fmla="*/ 2063205 w 2778398"/>
                    <a:gd name="connsiteY531" fmla="*/ 155711 h 448234"/>
                    <a:gd name="connsiteX532" fmla="*/ 2064098 w 2778398"/>
                    <a:gd name="connsiteY532" fmla="*/ 155711 h 448234"/>
                    <a:gd name="connsiteX533" fmla="*/ 2066218 w 2778398"/>
                    <a:gd name="connsiteY533" fmla="*/ 146112 h 448234"/>
                    <a:gd name="connsiteX534" fmla="*/ 2095240 w 2778398"/>
                    <a:gd name="connsiteY534" fmla="*/ 54917 h 448234"/>
                    <a:gd name="connsiteX535" fmla="*/ 2102272 w 2778398"/>
                    <a:gd name="connsiteY535" fmla="*/ 54917 h 448234"/>
                    <a:gd name="connsiteX536" fmla="*/ 2128168 w 2778398"/>
                    <a:gd name="connsiteY536" fmla="*/ 146112 h 448234"/>
                    <a:gd name="connsiteX537" fmla="*/ 2129731 w 2778398"/>
                    <a:gd name="connsiteY537" fmla="*/ 155711 h 448234"/>
                    <a:gd name="connsiteX538" fmla="*/ 2130624 w 2778398"/>
                    <a:gd name="connsiteY538" fmla="*/ 155711 h 448234"/>
                    <a:gd name="connsiteX539" fmla="*/ 2132521 w 2778398"/>
                    <a:gd name="connsiteY539" fmla="*/ 146112 h 448234"/>
                    <a:gd name="connsiteX540" fmla="*/ 2159645 w 2778398"/>
                    <a:gd name="connsiteY540" fmla="*/ 54917 h 448234"/>
                    <a:gd name="connsiteX541" fmla="*/ 2170249 w 2778398"/>
                    <a:gd name="connsiteY541" fmla="*/ 54917 h 448234"/>
                    <a:gd name="connsiteX542" fmla="*/ 2134754 w 2778398"/>
                    <a:gd name="connsiteY542" fmla="*/ 169217 h 448234"/>
                    <a:gd name="connsiteX543" fmla="*/ 2125154 w 2778398"/>
                    <a:gd name="connsiteY543" fmla="*/ 169217 h 448234"/>
                    <a:gd name="connsiteX544" fmla="*/ 2100263 w 2778398"/>
                    <a:gd name="connsiteY544" fmla="*/ 83046 h 448234"/>
                    <a:gd name="connsiteX545" fmla="*/ 2098477 w 2778398"/>
                    <a:gd name="connsiteY545" fmla="*/ 73446 h 448234"/>
                    <a:gd name="connsiteX546" fmla="*/ 2097919 w 2778398"/>
                    <a:gd name="connsiteY546" fmla="*/ 73446 h 448234"/>
                    <a:gd name="connsiteX547" fmla="*/ 2095686 w 2778398"/>
                    <a:gd name="connsiteY547" fmla="*/ 82823 h 448234"/>
                    <a:gd name="connsiteX548" fmla="*/ 2067781 w 2778398"/>
                    <a:gd name="connsiteY548" fmla="*/ 169217 h 448234"/>
                    <a:gd name="connsiteX549" fmla="*/ 2058182 w 2778398"/>
                    <a:gd name="connsiteY549" fmla="*/ 169217 h 448234"/>
                    <a:gd name="connsiteX550" fmla="*/ 1523517 w 2778398"/>
                    <a:gd name="connsiteY550" fmla="*/ 54917 h 448234"/>
                    <a:gd name="connsiteX551" fmla="*/ 1533786 w 2778398"/>
                    <a:gd name="connsiteY551" fmla="*/ 54917 h 448234"/>
                    <a:gd name="connsiteX552" fmla="*/ 1533786 w 2778398"/>
                    <a:gd name="connsiteY552" fmla="*/ 169217 h 448234"/>
                    <a:gd name="connsiteX553" fmla="*/ 1523517 w 2778398"/>
                    <a:gd name="connsiteY553" fmla="*/ 169217 h 448234"/>
                    <a:gd name="connsiteX554" fmla="*/ 1356941 w 2778398"/>
                    <a:gd name="connsiteY554" fmla="*/ 54917 h 448234"/>
                    <a:gd name="connsiteX555" fmla="*/ 1368326 w 2778398"/>
                    <a:gd name="connsiteY555" fmla="*/ 54917 h 448234"/>
                    <a:gd name="connsiteX556" fmla="*/ 1394892 w 2778398"/>
                    <a:gd name="connsiteY556" fmla="*/ 146112 h 448234"/>
                    <a:gd name="connsiteX557" fmla="*/ 1396455 w 2778398"/>
                    <a:gd name="connsiteY557" fmla="*/ 155711 h 448234"/>
                    <a:gd name="connsiteX558" fmla="*/ 1397348 w 2778398"/>
                    <a:gd name="connsiteY558" fmla="*/ 155711 h 448234"/>
                    <a:gd name="connsiteX559" fmla="*/ 1399468 w 2778398"/>
                    <a:gd name="connsiteY559" fmla="*/ 146112 h 448234"/>
                    <a:gd name="connsiteX560" fmla="*/ 1428490 w 2778398"/>
                    <a:gd name="connsiteY560" fmla="*/ 54917 h 448234"/>
                    <a:gd name="connsiteX561" fmla="*/ 1435522 w 2778398"/>
                    <a:gd name="connsiteY561" fmla="*/ 54917 h 448234"/>
                    <a:gd name="connsiteX562" fmla="*/ 1461418 w 2778398"/>
                    <a:gd name="connsiteY562" fmla="*/ 146112 h 448234"/>
                    <a:gd name="connsiteX563" fmla="*/ 1462981 w 2778398"/>
                    <a:gd name="connsiteY563" fmla="*/ 155711 h 448234"/>
                    <a:gd name="connsiteX564" fmla="*/ 1463874 w 2778398"/>
                    <a:gd name="connsiteY564" fmla="*/ 155711 h 448234"/>
                    <a:gd name="connsiteX565" fmla="*/ 1465771 w 2778398"/>
                    <a:gd name="connsiteY565" fmla="*/ 146112 h 448234"/>
                    <a:gd name="connsiteX566" fmla="*/ 1492895 w 2778398"/>
                    <a:gd name="connsiteY566" fmla="*/ 54917 h 448234"/>
                    <a:gd name="connsiteX567" fmla="*/ 1503499 w 2778398"/>
                    <a:gd name="connsiteY567" fmla="*/ 54917 h 448234"/>
                    <a:gd name="connsiteX568" fmla="*/ 1468004 w 2778398"/>
                    <a:gd name="connsiteY568" fmla="*/ 169217 h 448234"/>
                    <a:gd name="connsiteX569" fmla="*/ 1458404 w 2778398"/>
                    <a:gd name="connsiteY569" fmla="*/ 169217 h 448234"/>
                    <a:gd name="connsiteX570" fmla="*/ 1433513 w 2778398"/>
                    <a:gd name="connsiteY570" fmla="*/ 83046 h 448234"/>
                    <a:gd name="connsiteX571" fmla="*/ 1431727 w 2778398"/>
                    <a:gd name="connsiteY571" fmla="*/ 73446 h 448234"/>
                    <a:gd name="connsiteX572" fmla="*/ 1431169 w 2778398"/>
                    <a:gd name="connsiteY572" fmla="*/ 73446 h 448234"/>
                    <a:gd name="connsiteX573" fmla="*/ 1428936 w 2778398"/>
                    <a:gd name="connsiteY573" fmla="*/ 82823 h 448234"/>
                    <a:gd name="connsiteX574" fmla="*/ 1401031 w 2778398"/>
                    <a:gd name="connsiteY574" fmla="*/ 169217 h 448234"/>
                    <a:gd name="connsiteX575" fmla="*/ 1391432 w 2778398"/>
                    <a:gd name="connsiteY575" fmla="*/ 169217 h 448234"/>
                    <a:gd name="connsiteX576" fmla="*/ 151917 w 2778398"/>
                    <a:gd name="connsiteY576" fmla="*/ 54917 h 448234"/>
                    <a:gd name="connsiteX577" fmla="*/ 162186 w 2778398"/>
                    <a:gd name="connsiteY577" fmla="*/ 54917 h 448234"/>
                    <a:gd name="connsiteX578" fmla="*/ 162186 w 2778398"/>
                    <a:gd name="connsiteY578" fmla="*/ 169217 h 448234"/>
                    <a:gd name="connsiteX579" fmla="*/ 151917 w 2778398"/>
                    <a:gd name="connsiteY579" fmla="*/ 169217 h 448234"/>
                    <a:gd name="connsiteX580" fmla="*/ 2461394 w 2778398"/>
                    <a:gd name="connsiteY580" fmla="*/ 52685 h 448234"/>
                    <a:gd name="connsiteX581" fmla="*/ 2472780 w 2778398"/>
                    <a:gd name="connsiteY581" fmla="*/ 54694 h 448234"/>
                    <a:gd name="connsiteX582" fmla="*/ 2472780 w 2778398"/>
                    <a:gd name="connsiteY582" fmla="*/ 65633 h 448234"/>
                    <a:gd name="connsiteX583" fmla="*/ 2460725 w 2778398"/>
                    <a:gd name="connsiteY583" fmla="*/ 61949 h 448234"/>
                    <a:gd name="connsiteX584" fmla="*/ 2438065 w 2778398"/>
                    <a:gd name="connsiteY584" fmla="*/ 75902 h 448234"/>
                    <a:gd name="connsiteX585" fmla="*/ 2428912 w 2778398"/>
                    <a:gd name="connsiteY585" fmla="*/ 115527 h 448234"/>
                    <a:gd name="connsiteX586" fmla="*/ 2428912 w 2778398"/>
                    <a:gd name="connsiteY586" fmla="*/ 169217 h 448234"/>
                    <a:gd name="connsiteX587" fmla="*/ 2418867 w 2778398"/>
                    <a:gd name="connsiteY587" fmla="*/ 169217 h 448234"/>
                    <a:gd name="connsiteX588" fmla="*/ 2418867 w 2778398"/>
                    <a:gd name="connsiteY588" fmla="*/ 54917 h 448234"/>
                    <a:gd name="connsiteX589" fmla="*/ 2428912 w 2778398"/>
                    <a:gd name="connsiteY589" fmla="*/ 54917 h 448234"/>
                    <a:gd name="connsiteX590" fmla="*/ 2428912 w 2778398"/>
                    <a:gd name="connsiteY590" fmla="*/ 80255 h 448234"/>
                    <a:gd name="connsiteX591" fmla="*/ 2429359 w 2778398"/>
                    <a:gd name="connsiteY591" fmla="*/ 80255 h 448234"/>
                    <a:gd name="connsiteX592" fmla="*/ 2441749 w 2778398"/>
                    <a:gd name="connsiteY592" fmla="*/ 59940 h 448234"/>
                    <a:gd name="connsiteX593" fmla="*/ 2461394 w 2778398"/>
                    <a:gd name="connsiteY593" fmla="*/ 52685 h 448234"/>
                    <a:gd name="connsiteX594" fmla="*/ 2346201 w 2778398"/>
                    <a:gd name="connsiteY594" fmla="*/ 52128 h 448234"/>
                    <a:gd name="connsiteX595" fmla="*/ 2373493 w 2778398"/>
                    <a:gd name="connsiteY595" fmla="*/ 63067 h 448234"/>
                    <a:gd name="connsiteX596" fmla="*/ 2383148 w 2778398"/>
                    <a:gd name="connsiteY596" fmla="*/ 94879 h 448234"/>
                    <a:gd name="connsiteX597" fmla="*/ 2383148 w 2778398"/>
                    <a:gd name="connsiteY597" fmla="*/ 169218 h 448234"/>
                    <a:gd name="connsiteX598" fmla="*/ 2372879 w 2778398"/>
                    <a:gd name="connsiteY598" fmla="*/ 169218 h 448234"/>
                    <a:gd name="connsiteX599" fmla="*/ 2372879 w 2778398"/>
                    <a:gd name="connsiteY599" fmla="*/ 146336 h 448234"/>
                    <a:gd name="connsiteX600" fmla="*/ 2372432 w 2778398"/>
                    <a:gd name="connsiteY600" fmla="*/ 146336 h 448234"/>
                    <a:gd name="connsiteX601" fmla="*/ 2356526 w 2778398"/>
                    <a:gd name="connsiteY601" fmla="*/ 165032 h 448234"/>
                    <a:gd name="connsiteX602" fmla="*/ 2333365 w 2778398"/>
                    <a:gd name="connsiteY602" fmla="*/ 172009 h 448234"/>
                    <a:gd name="connsiteX603" fmla="*/ 2307580 w 2778398"/>
                    <a:gd name="connsiteY603" fmla="*/ 162856 h 448234"/>
                    <a:gd name="connsiteX604" fmla="*/ 2298093 w 2778398"/>
                    <a:gd name="connsiteY604" fmla="*/ 139750 h 448234"/>
                    <a:gd name="connsiteX605" fmla="*/ 2337718 w 2778398"/>
                    <a:gd name="connsiteY605" fmla="*/ 103585 h 448234"/>
                    <a:gd name="connsiteX606" fmla="*/ 2372879 w 2778398"/>
                    <a:gd name="connsiteY606" fmla="*/ 98339 h 448234"/>
                    <a:gd name="connsiteX607" fmla="*/ 2345197 w 2778398"/>
                    <a:gd name="connsiteY607" fmla="*/ 61504 h 448234"/>
                    <a:gd name="connsiteX608" fmla="*/ 2308473 w 2778398"/>
                    <a:gd name="connsiteY608" fmla="*/ 76684 h 448234"/>
                    <a:gd name="connsiteX609" fmla="*/ 2308473 w 2778398"/>
                    <a:gd name="connsiteY609" fmla="*/ 64294 h 448234"/>
                    <a:gd name="connsiteX610" fmla="*/ 2325719 w 2778398"/>
                    <a:gd name="connsiteY610" fmla="*/ 55700 h 448234"/>
                    <a:gd name="connsiteX611" fmla="*/ 2346201 w 2778398"/>
                    <a:gd name="connsiteY611" fmla="*/ 52128 h 448234"/>
                    <a:gd name="connsiteX612" fmla="*/ 2233241 w 2778398"/>
                    <a:gd name="connsiteY612" fmla="*/ 52128 h 448234"/>
                    <a:gd name="connsiteX613" fmla="*/ 2265946 w 2778398"/>
                    <a:gd name="connsiteY613" fmla="*/ 67085 h 448234"/>
                    <a:gd name="connsiteX614" fmla="*/ 2277331 w 2778398"/>
                    <a:gd name="connsiteY614" fmla="*/ 107938 h 448234"/>
                    <a:gd name="connsiteX615" fmla="*/ 2277331 w 2778398"/>
                    <a:gd name="connsiteY615" fmla="*/ 112515 h 448234"/>
                    <a:gd name="connsiteX616" fmla="*/ 2192722 w 2778398"/>
                    <a:gd name="connsiteY616" fmla="*/ 112515 h 448234"/>
                    <a:gd name="connsiteX617" fmla="*/ 2203605 w 2778398"/>
                    <a:gd name="connsiteY617" fmla="*/ 149350 h 448234"/>
                    <a:gd name="connsiteX618" fmla="*/ 2233464 w 2778398"/>
                    <a:gd name="connsiteY618" fmla="*/ 162633 h 448234"/>
                    <a:gd name="connsiteX619" fmla="*/ 2270969 w 2778398"/>
                    <a:gd name="connsiteY619" fmla="*/ 148457 h 448234"/>
                    <a:gd name="connsiteX620" fmla="*/ 2270969 w 2778398"/>
                    <a:gd name="connsiteY620" fmla="*/ 159396 h 448234"/>
                    <a:gd name="connsiteX621" fmla="*/ 2231343 w 2778398"/>
                    <a:gd name="connsiteY621" fmla="*/ 172009 h 448234"/>
                    <a:gd name="connsiteX622" fmla="*/ 2195624 w 2778398"/>
                    <a:gd name="connsiteY622" fmla="*/ 156159 h 448234"/>
                    <a:gd name="connsiteX623" fmla="*/ 2182007 w 2778398"/>
                    <a:gd name="connsiteY623" fmla="*/ 111399 h 448234"/>
                    <a:gd name="connsiteX624" fmla="*/ 2196238 w 2778398"/>
                    <a:gd name="connsiteY624" fmla="*/ 69262 h 448234"/>
                    <a:gd name="connsiteX625" fmla="*/ 2233241 w 2778398"/>
                    <a:gd name="connsiteY625" fmla="*/ 52128 h 448234"/>
                    <a:gd name="connsiteX626" fmla="*/ 1899866 w 2778398"/>
                    <a:gd name="connsiteY626" fmla="*/ 52128 h 448234"/>
                    <a:gd name="connsiteX627" fmla="*/ 1932571 w 2778398"/>
                    <a:gd name="connsiteY627" fmla="*/ 67085 h 448234"/>
                    <a:gd name="connsiteX628" fmla="*/ 1943956 w 2778398"/>
                    <a:gd name="connsiteY628" fmla="*/ 107938 h 448234"/>
                    <a:gd name="connsiteX629" fmla="*/ 1943956 w 2778398"/>
                    <a:gd name="connsiteY629" fmla="*/ 112515 h 448234"/>
                    <a:gd name="connsiteX630" fmla="*/ 1859347 w 2778398"/>
                    <a:gd name="connsiteY630" fmla="*/ 112515 h 448234"/>
                    <a:gd name="connsiteX631" fmla="*/ 1870230 w 2778398"/>
                    <a:gd name="connsiteY631" fmla="*/ 149350 h 448234"/>
                    <a:gd name="connsiteX632" fmla="*/ 1900089 w 2778398"/>
                    <a:gd name="connsiteY632" fmla="*/ 162633 h 448234"/>
                    <a:gd name="connsiteX633" fmla="*/ 1937594 w 2778398"/>
                    <a:gd name="connsiteY633" fmla="*/ 148457 h 448234"/>
                    <a:gd name="connsiteX634" fmla="*/ 1937594 w 2778398"/>
                    <a:gd name="connsiteY634" fmla="*/ 159396 h 448234"/>
                    <a:gd name="connsiteX635" fmla="*/ 1897968 w 2778398"/>
                    <a:gd name="connsiteY635" fmla="*/ 172009 h 448234"/>
                    <a:gd name="connsiteX636" fmla="*/ 1862249 w 2778398"/>
                    <a:gd name="connsiteY636" fmla="*/ 156159 h 448234"/>
                    <a:gd name="connsiteX637" fmla="*/ 1848632 w 2778398"/>
                    <a:gd name="connsiteY637" fmla="*/ 111399 h 448234"/>
                    <a:gd name="connsiteX638" fmla="*/ 1862863 w 2778398"/>
                    <a:gd name="connsiteY638" fmla="*/ 69262 h 448234"/>
                    <a:gd name="connsiteX639" fmla="*/ 1899866 w 2778398"/>
                    <a:gd name="connsiteY639" fmla="*/ 52128 h 448234"/>
                    <a:gd name="connsiteX640" fmla="*/ 1223591 w 2778398"/>
                    <a:gd name="connsiteY640" fmla="*/ 52128 h 448234"/>
                    <a:gd name="connsiteX641" fmla="*/ 1256296 w 2778398"/>
                    <a:gd name="connsiteY641" fmla="*/ 67085 h 448234"/>
                    <a:gd name="connsiteX642" fmla="*/ 1267681 w 2778398"/>
                    <a:gd name="connsiteY642" fmla="*/ 107938 h 448234"/>
                    <a:gd name="connsiteX643" fmla="*/ 1267681 w 2778398"/>
                    <a:gd name="connsiteY643" fmla="*/ 112515 h 448234"/>
                    <a:gd name="connsiteX644" fmla="*/ 1183072 w 2778398"/>
                    <a:gd name="connsiteY644" fmla="*/ 112515 h 448234"/>
                    <a:gd name="connsiteX645" fmla="*/ 1193955 w 2778398"/>
                    <a:gd name="connsiteY645" fmla="*/ 149350 h 448234"/>
                    <a:gd name="connsiteX646" fmla="*/ 1223814 w 2778398"/>
                    <a:gd name="connsiteY646" fmla="*/ 162633 h 448234"/>
                    <a:gd name="connsiteX647" fmla="*/ 1261319 w 2778398"/>
                    <a:gd name="connsiteY647" fmla="*/ 148457 h 448234"/>
                    <a:gd name="connsiteX648" fmla="*/ 1261319 w 2778398"/>
                    <a:gd name="connsiteY648" fmla="*/ 159396 h 448234"/>
                    <a:gd name="connsiteX649" fmla="*/ 1221693 w 2778398"/>
                    <a:gd name="connsiteY649" fmla="*/ 172009 h 448234"/>
                    <a:gd name="connsiteX650" fmla="*/ 1185974 w 2778398"/>
                    <a:gd name="connsiteY650" fmla="*/ 156159 h 448234"/>
                    <a:gd name="connsiteX651" fmla="*/ 1172357 w 2778398"/>
                    <a:gd name="connsiteY651" fmla="*/ 111399 h 448234"/>
                    <a:gd name="connsiteX652" fmla="*/ 1186588 w 2778398"/>
                    <a:gd name="connsiteY652" fmla="*/ 69262 h 448234"/>
                    <a:gd name="connsiteX653" fmla="*/ 1223591 w 2778398"/>
                    <a:gd name="connsiteY653" fmla="*/ 52128 h 448234"/>
                    <a:gd name="connsiteX654" fmla="*/ 932446 w 2778398"/>
                    <a:gd name="connsiteY654" fmla="*/ 52128 h 448234"/>
                    <a:gd name="connsiteX655" fmla="*/ 971067 w 2778398"/>
                    <a:gd name="connsiteY655" fmla="*/ 68090 h 448234"/>
                    <a:gd name="connsiteX656" fmla="*/ 985242 w 2778398"/>
                    <a:gd name="connsiteY656" fmla="*/ 112291 h 448234"/>
                    <a:gd name="connsiteX657" fmla="*/ 970788 w 2778398"/>
                    <a:gd name="connsiteY657" fmla="*/ 155489 h 448234"/>
                    <a:gd name="connsiteX658" fmla="*/ 931218 w 2778398"/>
                    <a:gd name="connsiteY658" fmla="*/ 172009 h 448234"/>
                    <a:gd name="connsiteX659" fmla="*/ 891648 w 2778398"/>
                    <a:gd name="connsiteY659" fmla="*/ 155545 h 448234"/>
                    <a:gd name="connsiteX660" fmla="*/ 877082 w 2778398"/>
                    <a:gd name="connsiteY660" fmla="*/ 112738 h 448234"/>
                    <a:gd name="connsiteX661" fmla="*/ 892318 w 2778398"/>
                    <a:gd name="connsiteY661" fmla="*/ 68201 h 448234"/>
                    <a:gd name="connsiteX662" fmla="*/ 932446 w 2778398"/>
                    <a:gd name="connsiteY662" fmla="*/ 52128 h 448234"/>
                    <a:gd name="connsiteX663" fmla="*/ 814016 w 2778398"/>
                    <a:gd name="connsiteY663" fmla="*/ 52128 h 448234"/>
                    <a:gd name="connsiteX664" fmla="*/ 846721 w 2778398"/>
                    <a:gd name="connsiteY664" fmla="*/ 67085 h 448234"/>
                    <a:gd name="connsiteX665" fmla="*/ 858106 w 2778398"/>
                    <a:gd name="connsiteY665" fmla="*/ 107938 h 448234"/>
                    <a:gd name="connsiteX666" fmla="*/ 858106 w 2778398"/>
                    <a:gd name="connsiteY666" fmla="*/ 112515 h 448234"/>
                    <a:gd name="connsiteX667" fmla="*/ 773497 w 2778398"/>
                    <a:gd name="connsiteY667" fmla="*/ 112515 h 448234"/>
                    <a:gd name="connsiteX668" fmla="*/ 784380 w 2778398"/>
                    <a:gd name="connsiteY668" fmla="*/ 149350 h 448234"/>
                    <a:gd name="connsiteX669" fmla="*/ 814239 w 2778398"/>
                    <a:gd name="connsiteY669" fmla="*/ 162633 h 448234"/>
                    <a:gd name="connsiteX670" fmla="*/ 851744 w 2778398"/>
                    <a:gd name="connsiteY670" fmla="*/ 148457 h 448234"/>
                    <a:gd name="connsiteX671" fmla="*/ 851744 w 2778398"/>
                    <a:gd name="connsiteY671" fmla="*/ 159396 h 448234"/>
                    <a:gd name="connsiteX672" fmla="*/ 812118 w 2778398"/>
                    <a:gd name="connsiteY672" fmla="*/ 172009 h 448234"/>
                    <a:gd name="connsiteX673" fmla="*/ 776399 w 2778398"/>
                    <a:gd name="connsiteY673" fmla="*/ 156159 h 448234"/>
                    <a:gd name="connsiteX674" fmla="*/ 762782 w 2778398"/>
                    <a:gd name="connsiteY674" fmla="*/ 111399 h 448234"/>
                    <a:gd name="connsiteX675" fmla="*/ 777013 w 2778398"/>
                    <a:gd name="connsiteY675" fmla="*/ 69262 h 448234"/>
                    <a:gd name="connsiteX676" fmla="*/ 814016 w 2778398"/>
                    <a:gd name="connsiteY676" fmla="*/ 52128 h 448234"/>
                    <a:gd name="connsiteX677" fmla="*/ 2710607 w 2778398"/>
                    <a:gd name="connsiteY677" fmla="*/ 52127 h 448234"/>
                    <a:gd name="connsiteX678" fmla="*/ 2747218 w 2778398"/>
                    <a:gd name="connsiteY678" fmla="*/ 73000 h 448234"/>
                    <a:gd name="connsiteX679" fmla="*/ 2747665 w 2778398"/>
                    <a:gd name="connsiteY679" fmla="*/ 73000 h 448234"/>
                    <a:gd name="connsiteX680" fmla="*/ 2747665 w 2778398"/>
                    <a:gd name="connsiteY680" fmla="*/ 54917 h 448234"/>
                    <a:gd name="connsiteX681" fmla="*/ 2757934 w 2778398"/>
                    <a:gd name="connsiteY681" fmla="*/ 54917 h 448234"/>
                    <a:gd name="connsiteX682" fmla="*/ 2757934 w 2778398"/>
                    <a:gd name="connsiteY682" fmla="*/ 160734 h 448234"/>
                    <a:gd name="connsiteX683" fmla="*/ 2743870 w 2778398"/>
                    <a:gd name="connsiteY683" fmla="*/ 207950 h 448234"/>
                    <a:gd name="connsiteX684" fmla="*/ 2700115 w 2778398"/>
                    <a:gd name="connsiteY684" fmla="*/ 222907 h 448234"/>
                    <a:gd name="connsiteX685" fmla="*/ 2666070 w 2778398"/>
                    <a:gd name="connsiteY685" fmla="*/ 214201 h 448234"/>
                    <a:gd name="connsiteX686" fmla="*/ 2666070 w 2778398"/>
                    <a:gd name="connsiteY686" fmla="*/ 203485 h 448234"/>
                    <a:gd name="connsiteX687" fmla="*/ 2700338 w 2778398"/>
                    <a:gd name="connsiteY687" fmla="*/ 213531 h 448234"/>
                    <a:gd name="connsiteX688" fmla="*/ 2747665 w 2778398"/>
                    <a:gd name="connsiteY688" fmla="*/ 163525 h 448234"/>
                    <a:gd name="connsiteX689" fmla="*/ 2747665 w 2778398"/>
                    <a:gd name="connsiteY689" fmla="*/ 148679 h 448234"/>
                    <a:gd name="connsiteX690" fmla="*/ 2747218 w 2778398"/>
                    <a:gd name="connsiteY690" fmla="*/ 148679 h 448234"/>
                    <a:gd name="connsiteX691" fmla="*/ 2706031 w 2778398"/>
                    <a:gd name="connsiteY691" fmla="*/ 172008 h 448234"/>
                    <a:gd name="connsiteX692" fmla="*/ 2671595 w 2778398"/>
                    <a:gd name="connsiteY692" fmla="*/ 156716 h 448234"/>
                    <a:gd name="connsiteX693" fmla="*/ 2658257 w 2778398"/>
                    <a:gd name="connsiteY693" fmla="*/ 114076 h 448234"/>
                    <a:gd name="connsiteX694" fmla="*/ 2672656 w 2778398"/>
                    <a:gd name="connsiteY694" fmla="*/ 69428 h 448234"/>
                    <a:gd name="connsiteX695" fmla="*/ 2710607 w 2778398"/>
                    <a:gd name="connsiteY695" fmla="*/ 52127 h 448234"/>
                    <a:gd name="connsiteX696" fmla="*/ 2592475 w 2778398"/>
                    <a:gd name="connsiteY696" fmla="*/ 52127 h 448234"/>
                    <a:gd name="connsiteX697" fmla="*/ 2620826 w 2778398"/>
                    <a:gd name="connsiteY697" fmla="*/ 64461 h 448234"/>
                    <a:gd name="connsiteX698" fmla="*/ 2630649 w 2778398"/>
                    <a:gd name="connsiteY698" fmla="*/ 99677 h 448234"/>
                    <a:gd name="connsiteX699" fmla="*/ 2630649 w 2778398"/>
                    <a:gd name="connsiteY699" fmla="*/ 169217 h 448234"/>
                    <a:gd name="connsiteX700" fmla="*/ 2620380 w 2778398"/>
                    <a:gd name="connsiteY700" fmla="*/ 169217 h 448234"/>
                    <a:gd name="connsiteX701" fmla="*/ 2620380 w 2778398"/>
                    <a:gd name="connsiteY701" fmla="*/ 102691 h 448234"/>
                    <a:gd name="connsiteX702" fmla="*/ 2590689 w 2778398"/>
                    <a:gd name="connsiteY702" fmla="*/ 61503 h 448234"/>
                    <a:gd name="connsiteX703" fmla="*/ 2563565 w 2778398"/>
                    <a:gd name="connsiteY703" fmla="*/ 73614 h 448234"/>
                    <a:gd name="connsiteX704" fmla="*/ 2552961 w 2778398"/>
                    <a:gd name="connsiteY704" fmla="*/ 103584 h 448234"/>
                    <a:gd name="connsiteX705" fmla="*/ 2552961 w 2778398"/>
                    <a:gd name="connsiteY705" fmla="*/ 169217 h 448234"/>
                    <a:gd name="connsiteX706" fmla="*/ 2542692 w 2778398"/>
                    <a:gd name="connsiteY706" fmla="*/ 169217 h 448234"/>
                    <a:gd name="connsiteX707" fmla="*/ 2542692 w 2778398"/>
                    <a:gd name="connsiteY707" fmla="*/ 54917 h 448234"/>
                    <a:gd name="connsiteX708" fmla="*/ 2552961 w 2778398"/>
                    <a:gd name="connsiteY708" fmla="*/ 54917 h 448234"/>
                    <a:gd name="connsiteX709" fmla="*/ 2552961 w 2778398"/>
                    <a:gd name="connsiteY709" fmla="*/ 75679 h 448234"/>
                    <a:gd name="connsiteX710" fmla="*/ 2553407 w 2778398"/>
                    <a:gd name="connsiteY710" fmla="*/ 75679 h 448234"/>
                    <a:gd name="connsiteX711" fmla="*/ 2592475 w 2778398"/>
                    <a:gd name="connsiteY711" fmla="*/ 52127 h 448234"/>
                    <a:gd name="connsiteX712" fmla="*/ 1062633 w 2778398"/>
                    <a:gd name="connsiteY712" fmla="*/ 52127 h 448234"/>
                    <a:gd name="connsiteX713" fmla="*/ 1096622 w 2778398"/>
                    <a:gd name="connsiteY713" fmla="*/ 67140 h 448234"/>
                    <a:gd name="connsiteX714" fmla="*/ 1108844 w 2778398"/>
                    <a:gd name="connsiteY714" fmla="*/ 107937 h 448234"/>
                    <a:gd name="connsiteX715" fmla="*/ 1094836 w 2778398"/>
                    <a:gd name="connsiteY715" fmla="*/ 154316 h 448234"/>
                    <a:gd name="connsiteX716" fmla="*/ 1057833 w 2778398"/>
                    <a:gd name="connsiteY716" fmla="*/ 172008 h 448234"/>
                    <a:gd name="connsiteX717" fmla="*/ 1019882 w 2778398"/>
                    <a:gd name="connsiteY717" fmla="*/ 148902 h 448234"/>
                    <a:gd name="connsiteX718" fmla="*/ 1019436 w 2778398"/>
                    <a:gd name="connsiteY718" fmla="*/ 148902 h 448234"/>
                    <a:gd name="connsiteX719" fmla="*/ 1019436 w 2778398"/>
                    <a:gd name="connsiteY719" fmla="*/ 221791 h 448234"/>
                    <a:gd name="connsiteX720" fmla="*/ 1009167 w 2778398"/>
                    <a:gd name="connsiteY720" fmla="*/ 221791 h 448234"/>
                    <a:gd name="connsiteX721" fmla="*/ 1009167 w 2778398"/>
                    <a:gd name="connsiteY721" fmla="*/ 54917 h 448234"/>
                    <a:gd name="connsiteX722" fmla="*/ 1019436 w 2778398"/>
                    <a:gd name="connsiteY722" fmla="*/ 54917 h 448234"/>
                    <a:gd name="connsiteX723" fmla="*/ 1019436 w 2778398"/>
                    <a:gd name="connsiteY723" fmla="*/ 78469 h 448234"/>
                    <a:gd name="connsiteX724" fmla="*/ 1019882 w 2778398"/>
                    <a:gd name="connsiteY724" fmla="*/ 78469 h 448234"/>
                    <a:gd name="connsiteX725" fmla="*/ 1037463 w 2778398"/>
                    <a:gd name="connsiteY725" fmla="*/ 58991 h 448234"/>
                    <a:gd name="connsiteX726" fmla="*/ 1062633 w 2778398"/>
                    <a:gd name="connsiteY726" fmla="*/ 52127 h 448234"/>
                    <a:gd name="connsiteX727" fmla="*/ 700683 w 2778398"/>
                    <a:gd name="connsiteY727" fmla="*/ 52127 h 448234"/>
                    <a:gd name="connsiteX728" fmla="*/ 734672 w 2778398"/>
                    <a:gd name="connsiteY728" fmla="*/ 67140 h 448234"/>
                    <a:gd name="connsiteX729" fmla="*/ 746894 w 2778398"/>
                    <a:gd name="connsiteY729" fmla="*/ 107937 h 448234"/>
                    <a:gd name="connsiteX730" fmla="*/ 732886 w 2778398"/>
                    <a:gd name="connsiteY730" fmla="*/ 154316 h 448234"/>
                    <a:gd name="connsiteX731" fmla="*/ 695883 w 2778398"/>
                    <a:gd name="connsiteY731" fmla="*/ 172008 h 448234"/>
                    <a:gd name="connsiteX732" fmla="*/ 657932 w 2778398"/>
                    <a:gd name="connsiteY732" fmla="*/ 148902 h 448234"/>
                    <a:gd name="connsiteX733" fmla="*/ 657486 w 2778398"/>
                    <a:gd name="connsiteY733" fmla="*/ 148902 h 448234"/>
                    <a:gd name="connsiteX734" fmla="*/ 657486 w 2778398"/>
                    <a:gd name="connsiteY734" fmla="*/ 221791 h 448234"/>
                    <a:gd name="connsiteX735" fmla="*/ 647216 w 2778398"/>
                    <a:gd name="connsiteY735" fmla="*/ 221791 h 448234"/>
                    <a:gd name="connsiteX736" fmla="*/ 647216 w 2778398"/>
                    <a:gd name="connsiteY736" fmla="*/ 54917 h 448234"/>
                    <a:gd name="connsiteX737" fmla="*/ 657486 w 2778398"/>
                    <a:gd name="connsiteY737" fmla="*/ 54917 h 448234"/>
                    <a:gd name="connsiteX738" fmla="*/ 657486 w 2778398"/>
                    <a:gd name="connsiteY738" fmla="*/ 78469 h 448234"/>
                    <a:gd name="connsiteX739" fmla="*/ 657932 w 2778398"/>
                    <a:gd name="connsiteY739" fmla="*/ 78469 h 448234"/>
                    <a:gd name="connsiteX740" fmla="*/ 675513 w 2778398"/>
                    <a:gd name="connsiteY740" fmla="*/ 58991 h 448234"/>
                    <a:gd name="connsiteX741" fmla="*/ 700683 w 2778398"/>
                    <a:gd name="connsiteY741" fmla="*/ 52127 h 448234"/>
                    <a:gd name="connsiteX742" fmla="*/ 249325 w 2778398"/>
                    <a:gd name="connsiteY742" fmla="*/ 52127 h 448234"/>
                    <a:gd name="connsiteX743" fmla="*/ 277676 w 2778398"/>
                    <a:gd name="connsiteY743" fmla="*/ 64461 h 448234"/>
                    <a:gd name="connsiteX744" fmla="*/ 287499 w 2778398"/>
                    <a:gd name="connsiteY744" fmla="*/ 99677 h 448234"/>
                    <a:gd name="connsiteX745" fmla="*/ 287499 w 2778398"/>
                    <a:gd name="connsiteY745" fmla="*/ 169217 h 448234"/>
                    <a:gd name="connsiteX746" fmla="*/ 277230 w 2778398"/>
                    <a:gd name="connsiteY746" fmla="*/ 169217 h 448234"/>
                    <a:gd name="connsiteX747" fmla="*/ 277230 w 2778398"/>
                    <a:gd name="connsiteY747" fmla="*/ 102691 h 448234"/>
                    <a:gd name="connsiteX748" fmla="*/ 247539 w 2778398"/>
                    <a:gd name="connsiteY748" fmla="*/ 61503 h 448234"/>
                    <a:gd name="connsiteX749" fmla="*/ 220415 w 2778398"/>
                    <a:gd name="connsiteY749" fmla="*/ 73614 h 448234"/>
                    <a:gd name="connsiteX750" fmla="*/ 209811 w 2778398"/>
                    <a:gd name="connsiteY750" fmla="*/ 103584 h 448234"/>
                    <a:gd name="connsiteX751" fmla="*/ 209811 w 2778398"/>
                    <a:gd name="connsiteY751" fmla="*/ 169217 h 448234"/>
                    <a:gd name="connsiteX752" fmla="*/ 199542 w 2778398"/>
                    <a:gd name="connsiteY752" fmla="*/ 169217 h 448234"/>
                    <a:gd name="connsiteX753" fmla="*/ 199542 w 2778398"/>
                    <a:gd name="connsiteY753" fmla="*/ 54917 h 448234"/>
                    <a:gd name="connsiteX754" fmla="*/ 209811 w 2778398"/>
                    <a:gd name="connsiteY754" fmla="*/ 54917 h 448234"/>
                    <a:gd name="connsiteX755" fmla="*/ 209811 w 2778398"/>
                    <a:gd name="connsiteY755" fmla="*/ 75679 h 448234"/>
                    <a:gd name="connsiteX756" fmla="*/ 210257 w 2778398"/>
                    <a:gd name="connsiteY756" fmla="*/ 75679 h 448234"/>
                    <a:gd name="connsiteX757" fmla="*/ 249325 w 2778398"/>
                    <a:gd name="connsiteY757" fmla="*/ 52127 h 448234"/>
                    <a:gd name="connsiteX758" fmla="*/ 508099 w 2778398"/>
                    <a:gd name="connsiteY758" fmla="*/ 15850 h 448234"/>
                    <a:gd name="connsiteX759" fmla="*/ 479413 w 2778398"/>
                    <a:gd name="connsiteY759" fmla="*/ 34714 h 448234"/>
                    <a:gd name="connsiteX760" fmla="*/ 469144 w 2778398"/>
                    <a:gd name="connsiteY760" fmla="*/ 91306 h 448234"/>
                    <a:gd name="connsiteX761" fmla="*/ 478966 w 2778398"/>
                    <a:gd name="connsiteY761" fmla="*/ 144158 h 448234"/>
                    <a:gd name="connsiteX762" fmla="*/ 506872 w 2778398"/>
                    <a:gd name="connsiteY762" fmla="*/ 162632 h 448234"/>
                    <a:gd name="connsiteX763" fmla="*/ 534498 w 2778398"/>
                    <a:gd name="connsiteY763" fmla="*/ 143823 h 448234"/>
                    <a:gd name="connsiteX764" fmla="*/ 544376 w 2778398"/>
                    <a:gd name="connsiteY764" fmla="*/ 90078 h 448234"/>
                    <a:gd name="connsiteX765" fmla="*/ 508099 w 2778398"/>
                    <a:gd name="connsiteY765" fmla="*/ 15850 h 448234"/>
                    <a:gd name="connsiteX766" fmla="*/ 2500090 w 2778398"/>
                    <a:gd name="connsiteY766" fmla="*/ 9153 h 448234"/>
                    <a:gd name="connsiteX767" fmla="*/ 2506173 w 2778398"/>
                    <a:gd name="connsiteY767" fmla="*/ 11385 h 448234"/>
                    <a:gd name="connsiteX768" fmla="*/ 2508796 w 2778398"/>
                    <a:gd name="connsiteY768" fmla="*/ 17413 h 448234"/>
                    <a:gd name="connsiteX769" fmla="*/ 2506229 w 2778398"/>
                    <a:gd name="connsiteY769" fmla="*/ 23552 h 448234"/>
                    <a:gd name="connsiteX770" fmla="*/ 2500090 w 2778398"/>
                    <a:gd name="connsiteY770" fmla="*/ 26119 h 448234"/>
                    <a:gd name="connsiteX771" fmla="*/ 2494174 w 2778398"/>
                    <a:gd name="connsiteY771" fmla="*/ 23663 h 448234"/>
                    <a:gd name="connsiteX772" fmla="*/ 2491606 w 2778398"/>
                    <a:gd name="connsiteY772" fmla="*/ 17413 h 448234"/>
                    <a:gd name="connsiteX773" fmla="*/ 2494229 w 2778398"/>
                    <a:gd name="connsiteY773" fmla="*/ 11441 h 448234"/>
                    <a:gd name="connsiteX774" fmla="*/ 2500090 w 2778398"/>
                    <a:gd name="connsiteY774" fmla="*/ 9153 h 448234"/>
                    <a:gd name="connsiteX775" fmla="*/ 1528540 w 2778398"/>
                    <a:gd name="connsiteY775" fmla="*/ 9153 h 448234"/>
                    <a:gd name="connsiteX776" fmla="*/ 1534623 w 2778398"/>
                    <a:gd name="connsiteY776" fmla="*/ 11385 h 448234"/>
                    <a:gd name="connsiteX777" fmla="*/ 1537246 w 2778398"/>
                    <a:gd name="connsiteY777" fmla="*/ 17413 h 448234"/>
                    <a:gd name="connsiteX778" fmla="*/ 1534679 w 2778398"/>
                    <a:gd name="connsiteY778" fmla="*/ 23552 h 448234"/>
                    <a:gd name="connsiteX779" fmla="*/ 1528540 w 2778398"/>
                    <a:gd name="connsiteY779" fmla="*/ 26119 h 448234"/>
                    <a:gd name="connsiteX780" fmla="*/ 1522624 w 2778398"/>
                    <a:gd name="connsiteY780" fmla="*/ 23663 h 448234"/>
                    <a:gd name="connsiteX781" fmla="*/ 1520056 w 2778398"/>
                    <a:gd name="connsiteY781" fmla="*/ 17413 h 448234"/>
                    <a:gd name="connsiteX782" fmla="*/ 1522679 w 2778398"/>
                    <a:gd name="connsiteY782" fmla="*/ 11441 h 448234"/>
                    <a:gd name="connsiteX783" fmla="*/ 1528540 w 2778398"/>
                    <a:gd name="connsiteY783" fmla="*/ 9153 h 448234"/>
                    <a:gd name="connsiteX784" fmla="*/ 156940 w 2778398"/>
                    <a:gd name="connsiteY784" fmla="*/ 9153 h 448234"/>
                    <a:gd name="connsiteX785" fmla="*/ 163023 w 2778398"/>
                    <a:gd name="connsiteY785" fmla="*/ 11385 h 448234"/>
                    <a:gd name="connsiteX786" fmla="*/ 165646 w 2778398"/>
                    <a:gd name="connsiteY786" fmla="*/ 17413 h 448234"/>
                    <a:gd name="connsiteX787" fmla="*/ 163079 w 2778398"/>
                    <a:gd name="connsiteY787" fmla="*/ 23552 h 448234"/>
                    <a:gd name="connsiteX788" fmla="*/ 156940 w 2778398"/>
                    <a:gd name="connsiteY788" fmla="*/ 26119 h 448234"/>
                    <a:gd name="connsiteX789" fmla="*/ 151024 w 2778398"/>
                    <a:gd name="connsiteY789" fmla="*/ 23663 h 448234"/>
                    <a:gd name="connsiteX790" fmla="*/ 148456 w 2778398"/>
                    <a:gd name="connsiteY790" fmla="*/ 17413 h 448234"/>
                    <a:gd name="connsiteX791" fmla="*/ 151080 w 2778398"/>
                    <a:gd name="connsiteY791" fmla="*/ 11441 h 448234"/>
                    <a:gd name="connsiteX792" fmla="*/ 156940 w 2778398"/>
                    <a:gd name="connsiteY792" fmla="*/ 9153 h 448234"/>
                    <a:gd name="connsiteX793" fmla="*/ 508992 w 2778398"/>
                    <a:gd name="connsiteY793" fmla="*/ 6474 h 448234"/>
                    <a:gd name="connsiteX794" fmla="*/ 555203 w 2778398"/>
                    <a:gd name="connsiteY794" fmla="*/ 88515 h 448234"/>
                    <a:gd name="connsiteX795" fmla="*/ 542144 w 2778398"/>
                    <a:gd name="connsiteY795" fmla="*/ 150688 h 448234"/>
                    <a:gd name="connsiteX796" fmla="*/ 505532 w 2778398"/>
                    <a:gd name="connsiteY796" fmla="*/ 172008 h 448234"/>
                    <a:gd name="connsiteX797" fmla="*/ 470930 w 2778398"/>
                    <a:gd name="connsiteY797" fmla="*/ 151693 h 448234"/>
                    <a:gd name="connsiteX798" fmla="*/ 458428 w 2778398"/>
                    <a:gd name="connsiteY798" fmla="*/ 92645 h 448234"/>
                    <a:gd name="connsiteX799" fmla="*/ 471544 w 2778398"/>
                    <a:gd name="connsiteY799" fmla="*/ 28184 h 448234"/>
                    <a:gd name="connsiteX800" fmla="*/ 508992 w 2778398"/>
                    <a:gd name="connsiteY800" fmla="*/ 6474 h 448234"/>
                    <a:gd name="connsiteX801" fmla="*/ 417351 w 2778398"/>
                    <a:gd name="connsiteY801" fmla="*/ 5581 h 448234"/>
                    <a:gd name="connsiteX802" fmla="*/ 420923 w 2778398"/>
                    <a:gd name="connsiteY802" fmla="*/ 5581 h 448234"/>
                    <a:gd name="connsiteX803" fmla="*/ 420923 w 2778398"/>
                    <a:gd name="connsiteY803" fmla="*/ 169217 h 448234"/>
                    <a:gd name="connsiteX804" fmla="*/ 410654 w 2778398"/>
                    <a:gd name="connsiteY804" fmla="*/ 169217 h 448234"/>
                    <a:gd name="connsiteX805" fmla="*/ 410654 w 2778398"/>
                    <a:gd name="connsiteY805" fmla="*/ 21766 h 448234"/>
                    <a:gd name="connsiteX806" fmla="*/ 393074 w 2778398"/>
                    <a:gd name="connsiteY806" fmla="*/ 34491 h 448234"/>
                    <a:gd name="connsiteX807" fmla="*/ 371475 w 2778398"/>
                    <a:gd name="connsiteY807" fmla="*/ 43978 h 448234"/>
                    <a:gd name="connsiteX808" fmla="*/ 371475 w 2778398"/>
                    <a:gd name="connsiteY808" fmla="*/ 34602 h 448234"/>
                    <a:gd name="connsiteX809" fmla="*/ 384535 w 2778398"/>
                    <a:gd name="connsiteY809" fmla="*/ 29300 h 448234"/>
                    <a:gd name="connsiteX810" fmla="*/ 396088 w 2778398"/>
                    <a:gd name="connsiteY810" fmla="*/ 22770 h 448234"/>
                    <a:gd name="connsiteX811" fmla="*/ 406803 w 2778398"/>
                    <a:gd name="connsiteY811" fmla="*/ 14901 h 448234"/>
                    <a:gd name="connsiteX812" fmla="*/ 417351 w 2778398"/>
                    <a:gd name="connsiteY812" fmla="*/ 5581 h 448234"/>
                    <a:gd name="connsiteX813" fmla="*/ 45877 w 2778398"/>
                    <a:gd name="connsiteY813" fmla="*/ 5581 h 448234"/>
                    <a:gd name="connsiteX814" fmla="*/ 49448 w 2778398"/>
                    <a:gd name="connsiteY814" fmla="*/ 5581 h 448234"/>
                    <a:gd name="connsiteX815" fmla="*/ 49448 w 2778398"/>
                    <a:gd name="connsiteY815" fmla="*/ 169217 h 448234"/>
                    <a:gd name="connsiteX816" fmla="*/ 39179 w 2778398"/>
                    <a:gd name="connsiteY816" fmla="*/ 169217 h 448234"/>
                    <a:gd name="connsiteX817" fmla="*/ 39179 w 2778398"/>
                    <a:gd name="connsiteY817" fmla="*/ 21766 h 448234"/>
                    <a:gd name="connsiteX818" fmla="*/ 21599 w 2778398"/>
                    <a:gd name="connsiteY818" fmla="*/ 34491 h 448234"/>
                    <a:gd name="connsiteX819" fmla="*/ 0 w 2778398"/>
                    <a:gd name="connsiteY819" fmla="*/ 43978 h 448234"/>
                    <a:gd name="connsiteX820" fmla="*/ 0 w 2778398"/>
                    <a:gd name="connsiteY820" fmla="*/ 34602 h 448234"/>
                    <a:gd name="connsiteX821" fmla="*/ 13060 w 2778398"/>
                    <a:gd name="connsiteY821" fmla="*/ 29300 h 448234"/>
                    <a:gd name="connsiteX822" fmla="*/ 24613 w 2778398"/>
                    <a:gd name="connsiteY822" fmla="*/ 22770 h 448234"/>
                    <a:gd name="connsiteX823" fmla="*/ 35328 w 2778398"/>
                    <a:gd name="connsiteY823" fmla="*/ 14901 h 448234"/>
                    <a:gd name="connsiteX824" fmla="*/ 45877 w 2778398"/>
                    <a:gd name="connsiteY824" fmla="*/ 5581 h 448234"/>
                    <a:gd name="connsiteX825" fmla="*/ 1618767 w 2778398"/>
                    <a:gd name="connsiteY825" fmla="*/ 1 h 448234"/>
                    <a:gd name="connsiteX826" fmla="*/ 1629036 w 2778398"/>
                    <a:gd name="connsiteY826" fmla="*/ 1 h 448234"/>
                    <a:gd name="connsiteX827" fmla="*/ 1629036 w 2778398"/>
                    <a:gd name="connsiteY827" fmla="*/ 169218 h 448234"/>
                    <a:gd name="connsiteX828" fmla="*/ 1618767 w 2778398"/>
                    <a:gd name="connsiteY828" fmla="*/ 169218 h 448234"/>
                    <a:gd name="connsiteX829" fmla="*/ 1571142 w 2778398"/>
                    <a:gd name="connsiteY829" fmla="*/ 1 h 448234"/>
                    <a:gd name="connsiteX830" fmla="*/ 1581411 w 2778398"/>
                    <a:gd name="connsiteY830" fmla="*/ 1 h 448234"/>
                    <a:gd name="connsiteX831" fmla="*/ 1581411 w 2778398"/>
                    <a:gd name="connsiteY831" fmla="*/ 169218 h 448234"/>
                    <a:gd name="connsiteX832" fmla="*/ 1571142 w 2778398"/>
                    <a:gd name="connsiteY832" fmla="*/ 169218 h 448234"/>
                    <a:gd name="connsiteX833" fmla="*/ 1132992 w 2778398"/>
                    <a:gd name="connsiteY833" fmla="*/ 1 h 448234"/>
                    <a:gd name="connsiteX834" fmla="*/ 1143261 w 2778398"/>
                    <a:gd name="connsiteY834" fmla="*/ 1 h 448234"/>
                    <a:gd name="connsiteX835" fmla="*/ 1143261 w 2778398"/>
                    <a:gd name="connsiteY835" fmla="*/ 169218 h 448234"/>
                    <a:gd name="connsiteX836" fmla="*/ 1132992 w 2778398"/>
                    <a:gd name="connsiteY836" fmla="*/ 169218 h 448234"/>
                    <a:gd name="connsiteX837" fmla="*/ 1733067 w 2778398"/>
                    <a:gd name="connsiteY837" fmla="*/ 0 h 448234"/>
                    <a:gd name="connsiteX838" fmla="*/ 1743336 w 2778398"/>
                    <a:gd name="connsiteY838" fmla="*/ 0 h 448234"/>
                    <a:gd name="connsiteX839" fmla="*/ 1743336 w 2778398"/>
                    <a:gd name="connsiteY839" fmla="*/ 78469 h 448234"/>
                    <a:gd name="connsiteX840" fmla="*/ 1743782 w 2778398"/>
                    <a:gd name="connsiteY840" fmla="*/ 78469 h 448234"/>
                    <a:gd name="connsiteX841" fmla="*/ 1761363 w 2778398"/>
                    <a:gd name="connsiteY841" fmla="*/ 58991 h 448234"/>
                    <a:gd name="connsiteX842" fmla="*/ 1786533 w 2778398"/>
                    <a:gd name="connsiteY842" fmla="*/ 52127 h 448234"/>
                    <a:gd name="connsiteX843" fmla="*/ 1820522 w 2778398"/>
                    <a:gd name="connsiteY843" fmla="*/ 67140 h 448234"/>
                    <a:gd name="connsiteX844" fmla="*/ 1832744 w 2778398"/>
                    <a:gd name="connsiteY844" fmla="*/ 107937 h 448234"/>
                    <a:gd name="connsiteX845" fmla="*/ 1818568 w 2778398"/>
                    <a:gd name="connsiteY845" fmla="*/ 154316 h 448234"/>
                    <a:gd name="connsiteX846" fmla="*/ 1781733 w 2778398"/>
                    <a:gd name="connsiteY846" fmla="*/ 172008 h 448234"/>
                    <a:gd name="connsiteX847" fmla="*/ 1743782 w 2778398"/>
                    <a:gd name="connsiteY847" fmla="*/ 148902 h 448234"/>
                    <a:gd name="connsiteX848" fmla="*/ 1743336 w 2778398"/>
                    <a:gd name="connsiteY848" fmla="*/ 148902 h 448234"/>
                    <a:gd name="connsiteX849" fmla="*/ 1743336 w 2778398"/>
                    <a:gd name="connsiteY849" fmla="*/ 169217 h 448234"/>
                    <a:gd name="connsiteX850" fmla="*/ 1733067 w 2778398"/>
                    <a:gd name="connsiteY850" fmla="*/ 169217 h 4482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  <a:cxn ang="0">
                      <a:pos x="connsiteX828" y="connsiteY828"/>
                    </a:cxn>
                    <a:cxn ang="0">
                      <a:pos x="connsiteX829" y="connsiteY829"/>
                    </a:cxn>
                    <a:cxn ang="0">
                      <a:pos x="connsiteX830" y="connsiteY830"/>
                    </a:cxn>
                    <a:cxn ang="0">
                      <a:pos x="connsiteX831" y="connsiteY831"/>
                    </a:cxn>
                    <a:cxn ang="0">
                      <a:pos x="connsiteX832" y="connsiteY832"/>
                    </a:cxn>
                    <a:cxn ang="0">
                      <a:pos x="connsiteX833" y="connsiteY833"/>
                    </a:cxn>
                    <a:cxn ang="0">
                      <a:pos x="connsiteX834" y="connsiteY834"/>
                    </a:cxn>
                    <a:cxn ang="0">
                      <a:pos x="connsiteX835" y="connsiteY835"/>
                    </a:cxn>
                    <a:cxn ang="0">
                      <a:pos x="connsiteX836" y="connsiteY836"/>
                    </a:cxn>
                    <a:cxn ang="0">
                      <a:pos x="connsiteX837" y="connsiteY837"/>
                    </a:cxn>
                    <a:cxn ang="0">
                      <a:pos x="connsiteX838" y="connsiteY838"/>
                    </a:cxn>
                    <a:cxn ang="0">
                      <a:pos x="connsiteX839" y="connsiteY839"/>
                    </a:cxn>
                    <a:cxn ang="0">
                      <a:pos x="connsiteX840" y="connsiteY840"/>
                    </a:cxn>
                    <a:cxn ang="0">
                      <a:pos x="connsiteX841" y="connsiteY841"/>
                    </a:cxn>
                    <a:cxn ang="0">
                      <a:pos x="connsiteX842" y="connsiteY842"/>
                    </a:cxn>
                    <a:cxn ang="0">
                      <a:pos x="connsiteX843" y="connsiteY843"/>
                    </a:cxn>
                    <a:cxn ang="0">
                      <a:pos x="connsiteX844" y="connsiteY844"/>
                    </a:cxn>
                    <a:cxn ang="0">
                      <a:pos x="connsiteX845" y="connsiteY845"/>
                    </a:cxn>
                    <a:cxn ang="0">
                      <a:pos x="connsiteX846" y="connsiteY846"/>
                    </a:cxn>
                    <a:cxn ang="0">
                      <a:pos x="connsiteX847" y="connsiteY847"/>
                    </a:cxn>
                    <a:cxn ang="0">
                      <a:pos x="connsiteX848" y="connsiteY848"/>
                    </a:cxn>
                    <a:cxn ang="0">
                      <a:pos x="connsiteX849" y="connsiteY849"/>
                    </a:cxn>
                    <a:cxn ang="0">
                      <a:pos x="connsiteX850" y="connsiteY850"/>
                    </a:cxn>
                  </a:cxnLst>
                  <a:rect l="l" t="t" r="r" b="b"/>
                  <a:pathLst>
                    <a:path w="2778398" h="448234">
                      <a:moveTo>
                        <a:pt x="2661419" y="337729"/>
                      </a:moveTo>
                      <a:cubicBezTo>
                        <a:pt x="2650704" y="337729"/>
                        <a:pt x="2641830" y="341319"/>
                        <a:pt x="2634798" y="348500"/>
                      </a:cubicBezTo>
                      <a:cubicBezTo>
                        <a:pt x="2627766" y="355681"/>
                        <a:pt x="2623431" y="365969"/>
                        <a:pt x="2621794" y="379364"/>
                      </a:cubicBezTo>
                      <a:lnTo>
                        <a:pt x="2695241" y="379364"/>
                      </a:lnTo>
                      <a:cubicBezTo>
                        <a:pt x="2694794" y="366192"/>
                        <a:pt x="2691631" y="355960"/>
                        <a:pt x="2685753" y="348668"/>
                      </a:cubicBezTo>
                      <a:cubicBezTo>
                        <a:pt x="2679874" y="341375"/>
                        <a:pt x="2671763" y="337729"/>
                        <a:pt x="2661419" y="337729"/>
                      </a:cubicBezTo>
                      <a:close/>
                      <a:moveTo>
                        <a:pt x="2347094" y="337729"/>
                      </a:moveTo>
                      <a:cubicBezTo>
                        <a:pt x="2336379" y="337729"/>
                        <a:pt x="2327505" y="341319"/>
                        <a:pt x="2320473" y="348500"/>
                      </a:cubicBezTo>
                      <a:cubicBezTo>
                        <a:pt x="2313440" y="355681"/>
                        <a:pt x="2309106" y="365969"/>
                        <a:pt x="2307469" y="379364"/>
                      </a:cubicBezTo>
                      <a:lnTo>
                        <a:pt x="2380915" y="379364"/>
                      </a:lnTo>
                      <a:cubicBezTo>
                        <a:pt x="2380469" y="366192"/>
                        <a:pt x="2377306" y="355960"/>
                        <a:pt x="2371428" y="348668"/>
                      </a:cubicBezTo>
                      <a:cubicBezTo>
                        <a:pt x="2365549" y="341375"/>
                        <a:pt x="2357438" y="337729"/>
                        <a:pt x="2347094" y="337729"/>
                      </a:cubicBezTo>
                      <a:close/>
                      <a:moveTo>
                        <a:pt x="1922599" y="337729"/>
                      </a:moveTo>
                      <a:cubicBezTo>
                        <a:pt x="1909130" y="337729"/>
                        <a:pt x="1898396" y="342268"/>
                        <a:pt x="1890397" y="351347"/>
                      </a:cubicBezTo>
                      <a:cubicBezTo>
                        <a:pt x="1882397" y="360425"/>
                        <a:pt x="1878397" y="373038"/>
                        <a:pt x="1878397" y="389186"/>
                      </a:cubicBezTo>
                      <a:cubicBezTo>
                        <a:pt x="1878397" y="404143"/>
                        <a:pt x="1882304" y="416161"/>
                        <a:pt x="1890117" y="425240"/>
                      </a:cubicBezTo>
                      <a:cubicBezTo>
                        <a:pt x="1897931" y="434318"/>
                        <a:pt x="1908609" y="438858"/>
                        <a:pt x="1922153" y="438858"/>
                      </a:cubicBezTo>
                      <a:cubicBezTo>
                        <a:pt x="1935919" y="438858"/>
                        <a:pt x="1946523" y="434393"/>
                        <a:pt x="1953965" y="425463"/>
                      </a:cubicBezTo>
                      <a:cubicBezTo>
                        <a:pt x="1961406" y="416533"/>
                        <a:pt x="1965127" y="404143"/>
                        <a:pt x="1965127" y="388293"/>
                      </a:cubicBezTo>
                      <a:cubicBezTo>
                        <a:pt x="1965127" y="371997"/>
                        <a:pt x="1961425" y="359495"/>
                        <a:pt x="1954021" y="350789"/>
                      </a:cubicBezTo>
                      <a:cubicBezTo>
                        <a:pt x="1946616" y="342082"/>
                        <a:pt x="1936143" y="337729"/>
                        <a:pt x="1922599" y="337729"/>
                      </a:cubicBezTo>
                      <a:close/>
                      <a:moveTo>
                        <a:pt x="1546994" y="337729"/>
                      </a:moveTo>
                      <a:cubicBezTo>
                        <a:pt x="1536279" y="337729"/>
                        <a:pt x="1527405" y="341319"/>
                        <a:pt x="1520373" y="348500"/>
                      </a:cubicBezTo>
                      <a:cubicBezTo>
                        <a:pt x="1513340" y="355681"/>
                        <a:pt x="1509006" y="365969"/>
                        <a:pt x="1507369" y="379364"/>
                      </a:cubicBezTo>
                      <a:lnTo>
                        <a:pt x="1580815" y="379364"/>
                      </a:lnTo>
                      <a:cubicBezTo>
                        <a:pt x="1580369" y="366192"/>
                        <a:pt x="1577206" y="355960"/>
                        <a:pt x="1571328" y="348668"/>
                      </a:cubicBezTo>
                      <a:cubicBezTo>
                        <a:pt x="1565449" y="341375"/>
                        <a:pt x="1557338" y="337729"/>
                        <a:pt x="1546994" y="337729"/>
                      </a:cubicBezTo>
                      <a:close/>
                      <a:moveTo>
                        <a:pt x="1261244" y="337729"/>
                      </a:moveTo>
                      <a:cubicBezTo>
                        <a:pt x="1250529" y="337729"/>
                        <a:pt x="1241655" y="341319"/>
                        <a:pt x="1234623" y="348500"/>
                      </a:cubicBezTo>
                      <a:cubicBezTo>
                        <a:pt x="1227590" y="355681"/>
                        <a:pt x="1223256" y="365969"/>
                        <a:pt x="1221619" y="379364"/>
                      </a:cubicBezTo>
                      <a:lnTo>
                        <a:pt x="1295065" y="379364"/>
                      </a:lnTo>
                      <a:cubicBezTo>
                        <a:pt x="1294619" y="366192"/>
                        <a:pt x="1291456" y="355960"/>
                        <a:pt x="1285578" y="348668"/>
                      </a:cubicBezTo>
                      <a:cubicBezTo>
                        <a:pt x="1279699" y="341375"/>
                        <a:pt x="1271588" y="337729"/>
                        <a:pt x="1261244" y="337729"/>
                      </a:cubicBezTo>
                      <a:close/>
                      <a:moveTo>
                        <a:pt x="893899" y="337729"/>
                      </a:moveTo>
                      <a:cubicBezTo>
                        <a:pt x="880430" y="337729"/>
                        <a:pt x="869696" y="342268"/>
                        <a:pt x="861697" y="351347"/>
                      </a:cubicBezTo>
                      <a:cubicBezTo>
                        <a:pt x="853697" y="360425"/>
                        <a:pt x="849697" y="373038"/>
                        <a:pt x="849697" y="389186"/>
                      </a:cubicBezTo>
                      <a:cubicBezTo>
                        <a:pt x="849697" y="404143"/>
                        <a:pt x="853604" y="416161"/>
                        <a:pt x="861417" y="425240"/>
                      </a:cubicBezTo>
                      <a:cubicBezTo>
                        <a:pt x="869231" y="434318"/>
                        <a:pt x="879909" y="438858"/>
                        <a:pt x="893453" y="438858"/>
                      </a:cubicBezTo>
                      <a:cubicBezTo>
                        <a:pt x="907219" y="438858"/>
                        <a:pt x="917823" y="434393"/>
                        <a:pt x="925265" y="425463"/>
                      </a:cubicBezTo>
                      <a:cubicBezTo>
                        <a:pt x="932706" y="416533"/>
                        <a:pt x="936427" y="404143"/>
                        <a:pt x="936427" y="388293"/>
                      </a:cubicBezTo>
                      <a:cubicBezTo>
                        <a:pt x="936427" y="371997"/>
                        <a:pt x="932725" y="359495"/>
                        <a:pt x="925321" y="350789"/>
                      </a:cubicBezTo>
                      <a:cubicBezTo>
                        <a:pt x="917916" y="342082"/>
                        <a:pt x="907443" y="337729"/>
                        <a:pt x="893899" y="337729"/>
                      </a:cubicBezTo>
                      <a:close/>
                      <a:moveTo>
                        <a:pt x="518294" y="337729"/>
                      </a:moveTo>
                      <a:cubicBezTo>
                        <a:pt x="507578" y="337729"/>
                        <a:pt x="498705" y="341319"/>
                        <a:pt x="491672" y="348500"/>
                      </a:cubicBezTo>
                      <a:cubicBezTo>
                        <a:pt x="484640" y="355681"/>
                        <a:pt x="480306" y="365969"/>
                        <a:pt x="478669" y="379364"/>
                      </a:cubicBezTo>
                      <a:lnTo>
                        <a:pt x="552115" y="379364"/>
                      </a:lnTo>
                      <a:cubicBezTo>
                        <a:pt x="551669" y="366192"/>
                        <a:pt x="548506" y="355960"/>
                        <a:pt x="542627" y="348668"/>
                      </a:cubicBezTo>
                      <a:cubicBezTo>
                        <a:pt x="536749" y="341375"/>
                        <a:pt x="528638" y="337729"/>
                        <a:pt x="518294" y="337729"/>
                      </a:cubicBezTo>
                      <a:close/>
                      <a:moveTo>
                        <a:pt x="208099" y="337729"/>
                      </a:moveTo>
                      <a:cubicBezTo>
                        <a:pt x="194630" y="337729"/>
                        <a:pt x="183896" y="342268"/>
                        <a:pt x="175896" y="351347"/>
                      </a:cubicBezTo>
                      <a:cubicBezTo>
                        <a:pt x="167897" y="360425"/>
                        <a:pt x="163897" y="373038"/>
                        <a:pt x="163897" y="389186"/>
                      </a:cubicBezTo>
                      <a:cubicBezTo>
                        <a:pt x="163897" y="404143"/>
                        <a:pt x="167804" y="416161"/>
                        <a:pt x="175617" y="425240"/>
                      </a:cubicBezTo>
                      <a:cubicBezTo>
                        <a:pt x="183431" y="434318"/>
                        <a:pt x="194109" y="438858"/>
                        <a:pt x="207653" y="438858"/>
                      </a:cubicBezTo>
                      <a:cubicBezTo>
                        <a:pt x="221419" y="438858"/>
                        <a:pt x="232023" y="434393"/>
                        <a:pt x="239465" y="425463"/>
                      </a:cubicBezTo>
                      <a:cubicBezTo>
                        <a:pt x="246906" y="416533"/>
                        <a:pt x="250627" y="404143"/>
                        <a:pt x="250627" y="388293"/>
                      </a:cubicBezTo>
                      <a:cubicBezTo>
                        <a:pt x="250627" y="371997"/>
                        <a:pt x="246925" y="359495"/>
                        <a:pt x="239520" y="350789"/>
                      </a:cubicBezTo>
                      <a:cubicBezTo>
                        <a:pt x="232116" y="342082"/>
                        <a:pt x="221642" y="337729"/>
                        <a:pt x="208099" y="337729"/>
                      </a:cubicBezTo>
                      <a:close/>
                      <a:moveTo>
                        <a:pt x="1662634" y="337728"/>
                      </a:moveTo>
                      <a:cubicBezTo>
                        <a:pt x="1650653" y="337728"/>
                        <a:pt x="1640756" y="342323"/>
                        <a:pt x="1632942" y="351513"/>
                      </a:cubicBezTo>
                      <a:cubicBezTo>
                        <a:pt x="1625129" y="360703"/>
                        <a:pt x="1621222" y="373335"/>
                        <a:pt x="1621222" y="389408"/>
                      </a:cubicBezTo>
                      <a:cubicBezTo>
                        <a:pt x="1621222" y="405184"/>
                        <a:pt x="1624738" y="417370"/>
                        <a:pt x="1631770" y="425964"/>
                      </a:cubicBezTo>
                      <a:cubicBezTo>
                        <a:pt x="1638803" y="434559"/>
                        <a:pt x="1647862" y="438857"/>
                        <a:pt x="1658950" y="438857"/>
                      </a:cubicBezTo>
                      <a:cubicBezTo>
                        <a:pt x="1671973" y="438857"/>
                        <a:pt x="1682056" y="434820"/>
                        <a:pt x="1689200" y="426746"/>
                      </a:cubicBezTo>
                      <a:cubicBezTo>
                        <a:pt x="1696343" y="418672"/>
                        <a:pt x="1699915" y="408831"/>
                        <a:pt x="1699915" y="397222"/>
                      </a:cubicBezTo>
                      <a:lnTo>
                        <a:pt x="1699915" y="375902"/>
                      </a:lnTo>
                      <a:cubicBezTo>
                        <a:pt x="1699915" y="365261"/>
                        <a:pt x="1696548" y="356238"/>
                        <a:pt x="1689813" y="348834"/>
                      </a:cubicBezTo>
                      <a:cubicBezTo>
                        <a:pt x="1683079" y="341430"/>
                        <a:pt x="1674019" y="337728"/>
                        <a:pt x="1662634" y="337728"/>
                      </a:cubicBezTo>
                      <a:close/>
                      <a:moveTo>
                        <a:pt x="2461394" y="328910"/>
                      </a:moveTo>
                      <a:cubicBezTo>
                        <a:pt x="2465636" y="328910"/>
                        <a:pt x="2469431" y="329580"/>
                        <a:pt x="2472780" y="330919"/>
                      </a:cubicBezTo>
                      <a:lnTo>
                        <a:pt x="2472780" y="341858"/>
                      </a:lnTo>
                      <a:cubicBezTo>
                        <a:pt x="2469357" y="339402"/>
                        <a:pt x="2465338" y="338174"/>
                        <a:pt x="2460725" y="338174"/>
                      </a:cubicBezTo>
                      <a:cubicBezTo>
                        <a:pt x="2451720" y="338174"/>
                        <a:pt x="2444167" y="342825"/>
                        <a:pt x="2438065" y="352127"/>
                      </a:cubicBezTo>
                      <a:cubicBezTo>
                        <a:pt x="2431963" y="361429"/>
                        <a:pt x="2428912" y="374637"/>
                        <a:pt x="2428912" y="391752"/>
                      </a:cubicBezTo>
                      <a:lnTo>
                        <a:pt x="2428912" y="445442"/>
                      </a:lnTo>
                      <a:lnTo>
                        <a:pt x="2418867" y="445442"/>
                      </a:lnTo>
                      <a:lnTo>
                        <a:pt x="2418867" y="331142"/>
                      </a:lnTo>
                      <a:lnTo>
                        <a:pt x="2428912" y="331142"/>
                      </a:lnTo>
                      <a:lnTo>
                        <a:pt x="2428912" y="356480"/>
                      </a:lnTo>
                      <a:lnTo>
                        <a:pt x="2429359" y="356480"/>
                      </a:lnTo>
                      <a:cubicBezTo>
                        <a:pt x="2431963" y="347774"/>
                        <a:pt x="2436093" y="341002"/>
                        <a:pt x="2441749" y="336165"/>
                      </a:cubicBezTo>
                      <a:cubicBezTo>
                        <a:pt x="2447404" y="331328"/>
                        <a:pt x="2453953" y="328910"/>
                        <a:pt x="2461394" y="328910"/>
                      </a:cubicBezTo>
                      <a:close/>
                      <a:moveTo>
                        <a:pt x="2661866" y="328353"/>
                      </a:moveTo>
                      <a:cubicBezTo>
                        <a:pt x="2676079" y="328353"/>
                        <a:pt x="2686981" y="333338"/>
                        <a:pt x="2694571" y="343310"/>
                      </a:cubicBezTo>
                      <a:cubicBezTo>
                        <a:pt x="2702161" y="353281"/>
                        <a:pt x="2705956" y="366899"/>
                        <a:pt x="2705956" y="384163"/>
                      </a:cubicBezTo>
                      <a:lnTo>
                        <a:pt x="2705956" y="388740"/>
                      </a:lnTo>
                      <a:lnTo>
                        <a:pt x="2621347" y="388740"/>
                      </a:lnTo>
                      <a:cubicBezTo>
                        <a:pt x="2621347" y="404441"/>
                        <a:pt x="2624975" y="416719"/>
                        <a:pt x="2632230" y="425575"/>
                      </a:cubicBezTo>
                      <a:cubicBezTo>
                        <a:pt x="2639486" y="434430"/>
                        <a:pt x="2649439" y="438858"/>
                        <a:pt x="2662089" y="438858"/>
                      </a:cubicBezTo>
                      <a:cubicBezTo>
                        <a:pt x="2674888" y="438858"/>
                        <a:pt x="2687390" y="434132"/>
                        <a:pt x="2699594" y="424682"/>
                      </a:cubicBezTo>
                      <a:lnTo>
                        <a:pt x="2699594" y="435621"/>
                      </a:lnTo>
                      <a:cubicBezTo>
                        <a:pt x="2687762" y="444029"/>
                        <a:pt x="2674553" y="448234"/>
                        <a:pt x="2659968" y="448234"/>
                      </a:cubicBezTo>
                      <a:cubicBezTo>
                        <a:pt x="2645234" y="448234"/>
                        <a:pt x="2633328" y="442950"/>
                        <a:pt x="2624250" y="432384"/>
                      </a:cubicBezTo>
                      <a:cubicBezTo>
                        <a:pt x="2615171" y="421817"/>
                        <a:pt x="2610632" y="406897"/>
                        <a:pt x="2610632" y="387624"/>
                      </a:cubicBezTo>
                      <a:cubicBezTo>
                        <a:pt x="2610632" y="370955"/>
                        <a:pt x="2615376" y="356909"/>
                        <a:pt x="2624863" y="345487"/>
                      </a:cubicBezTo>
                      <a:cubicBezTo>
                        <a:pt x="2634351" y="334064"/>
                        <a:pt x="2646685" y="328353"/>
                        <a:pt x="2661866" y="328353"/>
                      </a:cubicBezTo>
                      <a:close/>
                      <a:moveTo>
                        <a:pt x="2347541" y="328353"/>
                      </a:moveTo>
                      <a:cubicBezTo>
                        <a:pt x="2361754" y="328353"/>
                        <a:pt x="2372655" y="333338"/>
                        <a:pt x="2380246" y="343310"/>
                      </a:cubicBezTo>
                      <a:cubicBezTo>
                        <a:pt x="2387836" y="353281"/>
                        <a:pt x="2391631" y="366899"/>
                        <a:pt x="2391631" y="384163"/>
                      </a:cubicBezTo>
                      <a:lnTo>
                        <a:pt x="2391631" y="388740"/>
                      </a:lnTo>
                      <a:lnTo>
                        <a:pt x="2307022" y="388740"/>
                      </a:lnTo>
                      <a:cubicBezTo>
                        <a:pt x="2307022" y="404441"/>
                        <a:pt x="2310650" y="416719"/>
                        <a:pt x="2317905" y="425575"/>
                      </a:cubicBezTo>
                      <a:cubicBezTo>
                        <a:pt x="2325161" y="434430"/>
                        <a:pt x="2335114" y="438858"/>
                        <a:pt x="2347764" y="438858"/>
                      </a:cubicBezTo>
                      <a:cubicBezTo>
                        <a:pt x="2360563" y="438858"/>
                        <a:pt x="2373065" y="434132"/>
                        <a:pt x="2385269" y="424682"/>
                      </a:cubicBezTo>
                      <a:lnTo>
                        <a:pt x="2385269" y="435621"/>
                      </a:lnTo>
                      <a:cubicBezTo>
                        <a:pt x="2373437" y="444029"/>
                        <a:pt x="2360228" y="448234"/>
                        <a:pt x="2345643" y="448234"/>
                      </a:cubicBezTo>
                      <a:cubicBezTo>
                        <a:pt x="2330909" y="448234"/>
                        <a:pt x="2319003" y="442950"/>
                        <a:pt x="2309924" y="432384"/>
                      </a:cubicBezTo>
                      <a:cubicBezTo>
                        <a:pt x="2300846" y="421817"/>
                        <a:pt x="2296307" y="406897"/>
                        <a:pt x="2296307" y="387624"/>
                      </a:cubicBezTo>
                      <a:cubicBezTo>
                        <a:pt x="2296307" y="370955"/>
                        <a:pt x="2301051" y="356909"/>
                        <a:pt x="2310538" y="345487"/>
                      </a:cubicBezTo>
                      <a:cubicBezTo>
                        <a:pt x="2320026" y="334064"/>
                        <a:pt x="2332360" y="328353"/>
                        <a:pt x="2347541" y="328353"/>
                      </a:cubicBezTo>
                      <a:close/>
                      <a:moveTo>
                        <a:pt x="1923046" y="328353"/>
                      </a:moveTo>
                      <a:cubicBezTo>
                        <a:pt x="1939342" y="328353"/>
                        <a:pt x="1952216" y="333673"/>
                        <a:pt x="1961667" y="344315"/>
                      </a:cubicBezTo>
                      <a:cubicBezTo>
                        <a:pt x="1971117" y="354956"/>
                        <a:pt x="1975842" y="369690"/>
                        <a:pt x="1975842" y="388516"/>
                      </a:cubicBezTo>
                      <a:cubicBezTo>
                        <a:pt x="1975842" y="406301"/>
                        <a:pt x="1971024" y="420701"/>
                        <a:pt x="1961388" y="431714"/>
                      </a:cubicBezTo>
                      <a:cubicBezTo>
                        <a:pt x="1951751" y="442727"/>
                        <a:pt x="1938561" y="448234"/>
                        <a:pt x="1921818" y="448234"/>
                      </a:cubicBezTo>
                      <a:cubicBezTo>
                        <a:pt x="1905149" y="448234"/>
                        <a:pt x="1891959" y="442746"/>
                        <a:pt x="1882248" y="431770"/>
                      </a:cubicBezTo>
                      <a:cubicBezTo>
                        <a:pt x="1872537" y="420794"/>
                        <a:pt x="1867682" y="406525"/>
                        <a:pt x="1867682" y="388963"/>
                      </a:cubicBezTo>
                      <a:cubicBezTo>
                        <a:pt x="1867682" y="369987"/>
                        <a:pt x="1872760" y="355142"/>
                        <a:pt x="1882918" y="344426"/>
                      </a:cubicBezTo>
                      <a:cubicBezTo>
                        <a:pt x="1893075" y="333711"/>
                        <a:pt x="1906451" y="328353"/>
                        <a:pt x="1923046" y="328353"/>
                      </a:cubicBezTo>
                      <a:close/>
                      <a:moveTo>
                        <a:pt x="1547441" y="328353"/>
                      </a:moveTo>
                      <a:cubicBezTo>
                        <a:pt x="1561654" y="328353"/>
                        <a:pt x="1572555" y="333338"/>
                        <a:pt x="1580146" y="343310"/>
                      </a:cubicBezTo>
                      <a:cubicBezTo>
                        <a:pt x="1587736" y="353281"/>
                        <a:pt x="1591531" y="366899"/>
                        <a:pt x="1591531" y="384163"/>
                      </a:cubicBezTo>
                      <a:lnTo>
                        <a:pt x="1591531" y="388740"/>
                      </a:lnTo>
                      <a:lnTo>
                        <a:pt x="1506922" y="388740"/>
                      </a:lnTo>
                      <a:cubicBezTo>
                        <a:pt x="1506922" y="404441"/>
                        <a:pt x="1510550" y="416719"/>
                        <a:pt x="1517805" y="425575"/>
                      </a:cubicBezTo>
                      <a:cubicBezTo>
                        <a:pt x="1525061" y="434430"/>
                        <a:pt x="1535014" y="438858"/>
                        <a:pt x="1547664" y="438858"/>
                      </a:cubicBezTo>
                      <a:cubicBezTo>
                        <a:pt x="1560463" y="438858"/>
                        <a:pt x="1572965" y="434132"/>
                        <a:pt x="1585169" y="424682"/>
                      </a:cubicBezTo>
                      <a:lnTo>
                        <a:pt x="1585169" y="435621"/>
                      </a:lnTo>
                      <a:cubicBezTo>
                        <a:pt x="1573337" y="444029"/>
                        <a:pt x="1560128" y="448234"/>
                        <a:pt x="1545543" y="448234"/>
                      </a:cubicBezTo>
                      <a:cubicBezTo>
                        <a:pt x="1530809" y="448234"/>
                        <a:pt x="1518903" y="442950"/>
                        <a:pt x="1509824" y="432384"/>
                      </a:cubicBezTo>
                      <a:cubicBezTo>
                        <a:pt x="1500746" y="421817"/>
                        <a:pt x="1496207" y="406897"/>
                        <a:pt x="1496207" y="387624"/>
                      </a:cubicBezTo>
                      <a:cubicBezTo>
                        <a:pt x="1496207" y="370955"/>
                        <a:pt x="1500951" y="356909"/>
                        <a:pt x="1510438" y="345487"/>
                      </a:cubicBezTo>
                      <a:cubicBezTo>
                        <a:pt x="1519926" y="334064"/>
                        <a:pt x="1532260" y="328353"/>
                        <a:pt x="1547441" y="328353"/>
                      </a:cubicBezTo>
                      <a:close/>
                      <a:moveTo>
                        <a:pt x="1382130" y="328353"/>
                      </a:moveTo>
                      <a:cubicBezTo>
                        <a:pt x="1390836" y="328353"/>
                        <a:pt x="1399282" y="330139"/>
                        <a:pt x="1407468" y="333711"/>
                      </a:cubicBezTo>
                      <a:lnTo>
                        <a:pt x="1407468" y="345319"/>
                      </a:lnTo>
                      <a:cubicBezTo>
                        <a:pt x="1399282" y="340259"/>
                        <a:pt x="1390315" y="337729"/>
                        <a:pt x="1380567" y="337729"/>
                      </a:cubicBezTo>
                      <a:cubicBezTo>
                        <a:pt x="1367173" y="337729"/>
                        <a:pt x="1356308" y="342547"/>
                        <a:pt x="1347974" y="352184"/>
                      </a:cubicBezTo>
                      <a:cubicBezTo>
                        <a:pt x="1339639" y="361820"/>
                        <a:pt x="1335472" y="374303"/>
                        <a:pt x="1335472" y="389633"/>
                      </a:cubicBezTo>
                      <a:cubicBezTo>
                        <a:pt x="1335472" y="404441"/>
                        <a:pt x="1339286" y="416347"/>
                        <a:pt x="1346913" y="425351"/>
                      </a:cubicBezTo>
                      <a:cubicBezTo>
                        <a:pt x="1354541" y="434356"/>
                        <a:pt x="1364605" y="438858"/>
                        <a:pt x="1377107" y="438858"/>
                      </a:cubicBezTo>
                      <a:cubicBezTo>
                        <a:pt x="1388567" y="438858"/>
                        <a:pt x="1398538" y="435807"/>
                        <a:pt x="1407021" y="429705"/>
                      </a:cubicBezTo>
                      <a:lnTo>
                        <a:pt x="1407021" y="440420"/>
                      </a:lnTo>
                      <a:cubicBezTo>
                        <a:pt x="1398538" y="445629"/>
                        <a:pt x="1388418" y="448234"/>
                        <a:pt x="1376660" y="448234"/>
                      </a:cubicBezTo>
                      <a:cubicBezTo>
                        <a:pt x="1361108" y="448234"/>
                        <a:pt x="1348569" y="442895"/>
                        <a:pt x="1339044" y="432216"/>
                      </a:cubicBezTo>
                      <a:cubicBezTo>
                        <a:pt x="1329519" y="421538"/>
                        <a:pt x="1324757" y="407566"/>
                        <a:pt x="1324757" y="390302"/>
                      </a:cubicBezTo>
                      <a:cubicBezTo>
                        <a:pt x="1324757" y="372145"/>
                        <a:pt x="1330114" y="357281"/>
                        <a:pt x="1340830" y="345710"/>
                      </a:cubicBezTo>
                      <a:cubicBezTo>
                        <a:pt x="1351546" y="334138"/>
                        <a:pt x="1365312" y="328353"/>
                        <a:pt x="1382130" y="328353"/>
                      </a:cubicBezTo>
                      <a:close/>
                      <a:moveTo>
                        <a:pt x="1261691" y="328353"/>
                      </a:moveTo>
                      <a:cubicBezTo>
                        <a:pt x="1275904" y="328353"/>
                        <a:pt x="1286805" y="333338"/>
                        <a:pt x="1294396" y="343310"/>
                      </a:cubicBezTo>
                      <a:cubicBezTo>
                        <a:pt x="1301986" y="353281"/>
                        <a:pt x="1305781" y="366899"/>
                        <a:pt x="1305781" y="384163"/>
                      </a:cubicBezTo>
                      <a:lnTo>
                        <a:pt x="1305781" y="388740"/>
                      </a:lnTo>
                      <a:lnTo>
                        <a:pt x="1221172" y="388740"/>
                      </a:lnTo>
                      <a:cubicBezTo>
                        <a:pt x="1221172" y="404441"/>
                        <a:pt x="1224800" y="416719"/>
                        <a:pt x="1232055" y="425575"/>
                      </a:cubicBezTo>
                      <a:cubicBezTo>
                        <a:pt x="1239311" y="434430"/>
                        <a:pt x="1249264" y="438858"/>
                        <a:pt x="1261914" y="438858"/>
                      </a:cubicBezTo>
                      <a:cubicBezTo>
                        <a:pt x="1274713" y="438858"/>
                        <a:pt x="1287215" y="434132"/>
                        <a:pt x="1299419" y="424682"/>
                      </a:cubicBezTo>
                      <a:lnTo>
                        <a:pt x="1299419" y="435621"/>
                      </a:lnTo>
                      <a:cubicBezTo>
                        <a:pt x="1287587" y="444029"/>
                        <a:pt x="1274378" y="448234"/>
                        <a:pt x="1259793" y="448234"/>
                      </a:cubicBezTo>
                      <a:cubicBezTo>
                        <a:pt x="1245059" y="448234"/>
                        <a:pt x="1233153" y="442950"/>
                        <a:pt x="1224074" y="432384"/>
                      </a:cubicBezTo>
                      <a:cubicBezTo>
                        <a:pt x="1214996" y="421817"/>
                        <a:pt x="1210457" y="406897"/>
                        <a:pt x="1210457" y="387624"/>
                      </a:cubicBezTo>
                      <a:cubicBezTo>
                        <a:pt x="1210457" y="370955"/>
                        <a:pt x="1215201" y="356909"/>
                        <a:pt x="1224688" y="345487"/>
                      </a:cubicBezTo>
                      <a:cubicBezTo>
                        <a:pt x="1234176" y="334064"/>
                        <a:pt x="1246510" y="328353"/>
                        <a:pt x="1261691" y="328353"/>
                      </a:cubicBezTo>
                      <a:close/>
                      <a:moveTo>
                        <a:pt x="894346" y="328353"/>
                      </a:moveTo>
                      <a:cubicBezTo>
                        <a:pt x="910642" y="328353"/>
                        <a:pt x="923516" y="333673"/>
                        <a:pt x="932967" y="344315"/>
                      </a:cubicBezTo>
                      <a:cubicBezTo>
                        <a:pt x="942417" y="354956"/>
                        <a:pt x="947142" y="369690"/>
                        <a:pt x="947142" y="388516"/>
                      </a:cubicBezTo>
                      <a:cubicBezTo>
                        <a:pt x="947142" y="406301"/>
                        <a:pt x="942324" y="420701"/>
                        <a:pt x="932688" y="431714"/>
                      </a:cubicBezTo>
                      <a:cubicBezTo>
                        <a:pt x="923051" y="442727"/>
                        <a:pt x="909861" y="448234"/>
                        <a:pt x="893118" y="448234"/>
                      </a:cubicBezTo>
                      <a:cubicBezTo>
                        <a:pt x="876449" y="448234"/>
                        <a:pt x="863259" y="442746"/>
                        <a:pt x="853548" y="431770"/>
                      </a:cubicBezTo>
                      <a:cubicBezTo>
                        <a:pt x="843837" y="420794"/>
                        <a:pt x="838982" y="406525"/>
                        <a:pt x="838982" y="388963"/>
                      </a:cubicBezTo>
                      <a:cubicBezTo>
                        <a:pt x="838982" y="369987"/>
                        <a:pt x="844060" y="355142"/>
                        <a:pt x="854218" y="344426"/>
                      </a:cubicBezTo>
                      <a:cubicBezTo>
                        <a:pt x="864375" y="333711"/>
                        <a:pt x="877751" y="328353"/>
                        <a:pt x="894346" y="328353"/>
                      </a:cubicBezTo>
                      <a:close/>
                      <a:moveTo>
                        <a:pt x="791580" y="328353"/>
                      </a:moveTo>
                      <a:cubicBezTo>
                        <a:pt x="800286" y="328353"/>
                        <a:pt x="808732" y="330139"/>
                        <a:pt x="816918" y="333711"/>
                      </a:cubicBezTo>
                      <a:lnTo>
                        <a:pt x="816918" y="345319"/>
                      </a:lnTo>
                      <a:cubicBezTo>
                        <a:pt x="808732" y="340259"/>
                        <a:pt x="799765" y="337729"/>
                        <a:pt x="790017" y="337729"/>
                      </a:cubicBezTo>
                      <a:cubicBezTo>
                        <a:pt x="776623" y="337729"/>
                        <a:pt x="765758" y="342547"/>
                        <a:pt x="757424" y="352184"/>
                      </a:cubicBezTo>
                      <a:cubicBezTo>
                        <a:pt x="749089" y="361820"/>
                        <a:pt x="744922" y="374303"/>
                        <a:pt x="744922" y="389633"/>
                      </a:cubicBezTo>
                      <a:cubicBezTo>
                        <a:pt x="744922" y="404441"/>
                        <a:pt x="748736" y="416347"/>
                        <a:pt x="756363" y="425351"/>
                      </a:cubicBezTo>
                      <a:cubicBezTo>
                        <a:pt x="763991" y="434356"/>
                        <a:pt x="774055" y="438858"/>
                        <a:pt x="786557" y="438858"/>
                      </a:cubicBezTo>
                      <a:cubicBezTo>
                        <a:pt x="798017" y="438858"/>
                        <a:pt x="807988" y="435807"/>
                        <a:pt x="816471" y="429705"/>
                      </a:cubicBezTo>
                      <a:lnTo>
                        <a:pt x="816471" y="440420"/>
                      </a:lnTo>
                      <a:cubicBezTo>
                        <a:pt x="807988" y="445629"/>
                        <a:pt x="797868" y="448234"/>
                        <a:pt x="786110" y="448234"/>
                      </a:cubicBezTo>
                      <a:cubicBezTo>
                        <a:pt x="770558" y="448234"/>
                        <a:pt x="758019" y="442895"/>
                        <a:pt x="748494" y="432216"/>
                      </a:cubicBezTo>
                      <a:cubicBezTo>
                        <a:pt x="738969" y="421538"/>
                        <a:pt x="734206" y="407566"/>
                        <a:pt x="734206" y="390302"/>
                      </a:cubicBezTo>
                      <a:cubicBezTo>
                        <a:pt x="734206" y="372145"/>
                        <a:pt x="739564" y="357281"/>
                        <a:pt x="750280" y="345710"/>
                      </a:cubicBezTo>
                      <a:cubicBezTo>
                        <a:pt x="760996" y="334138"/>
                        <a:pt x="774762" y="328353"/>
                        <a:pt x="791580" y="328353"/>
                      </a:cubicBezTo>
                      <a:close/>
                      <a:moveTo>
                        <a:pt x="621544" y="328353"/>
                      </a:moveTo>
                      <a:cubicBezTo>
                        <a:pt x="631366" y="328353"/>
                        <a:pt x="639775" y="330362"/>
                        <a:pt x="646770" y="334380"/>
                      </a:cubicBezTo>
                      <a:lnTo>
                        <a:pt x="646770" y="345989"/>
                      </a:lnTo>
                      <a:cubicBezTo>
                        <a:pt x="638287" y="340482"/>
                        <a:pt x="629506" y="337729"/>
                        <a:pt x="620427" y="337729"/>
                      </a:cubicBezTo>
                      <a:cubicBezTo>
                        <a:pt x="612912" y="337729"/>
                        <a:pt x="606847" y="339682"/>
                        <a:pt x="602233" y="343589"/>
                      </a:cubicBezTo>
                      <a:cubicBezTo>
                        <a:pt x="597619" y="347496"/>
                        <a:pt x="595313" y="352574"/>
                        <a:pt x="595313" y="358825"/>
                      </a:cubicBezTo>
                      <a:cubicBezTo>
                        <a:pt x="595313" y="364257"/>
                        <a:pt x="596764" y="368667"/>
                        <a:pt x="599666" y="372052"/>
                      </a:cubicBezTo>
                      <a:cubicBezTo>
                        <a:pt x="602568" y="375438"/>
                        <a:pt x="608968" y="379326"/>
                        <a:pt x="618865" y="383717"/>
                      </a:cubicBezTo>
                      <a:cubicBezTo>
                        <a:pt x="630771" y="389075"/>
                        <a:pt x="638956" y="394042"/>
                        <a:pt x="643421" y="398618"/>
                      </a:cubicBezTo>
                      <a:cubicBezTo>
                        <a:pt x="647886" y="403195"/>
                        <a:pt x="650119" y="409278"/>
                        <a:pt x="650119" y="416868"/>
                      </a:cubicBezTo>
                      <a:cubicBezTo>
                        <a:pt x="650119" y="425947"/>
                        <a:pt x="646714" y="433444"/>
                        <a:pt x="639905" y="439360"/>
                      </a:cubicBezTo>
                      <a:cubicBezTo>
                        <a:pt x="633096" y="445276"/>
                        <a:pt x="623702" y="448234"/>
                        <a:pt x="611721" y="448234"/>
                      </a:cubicBezTo>
                      <a:cubicBezTo>
                        <a:pt x="600708" y="448234"/>
                        <a:pt x="591518" y="445629"/>
                        <a:pt x="584151" y="440420"/>
                      </a:cubicBezTo>
                      <a:lnTo>
                        <a:pt x="584151" y="428030"/>
                      </a:lnTo>
                      <a:cubicBezTo>
                        <a:pt x="588020" y="431379"/>
                        <a:pt x="592708" y="434021"/>
                        <a:pt x="598215" y="435955"/>
                      </a:cubicBezTo>
                      <a:cubicBezTo>
                        <a:pt x="603721" y="437890"/>
                        <a:pt x="608484" y="438858"/>
                        <a:pt x="612502" y="438858"/>
                      </a:cubicBezTo>
                      <a:cubicBezTo>
                        <a:pt x="630436" y="438858"/>
                        <a:pt x="639403" y="431528"/>
                        <a:pt x="639403" y="416868"/>
                      </a:cubicBezTo>
                      <a:cubicBezTo>
                        <a:pt x="639403" y="411808"/>
                        <a:pt x="637431" y="407492"/>
                        <a:pt x="633487" y="403920"/>
                      </a:cubicBezTo>
                      <a:cubicBezTo>
                        <a:pt x="629543" y="400348"/>
                        <a:pt x="623144" y="396665"/>
                        <a:pt x="614288" y="392870"/>
                      </a:cubicBezTo>
                      <a:cubicBezTo>
                        <a:pt x="603349" y="388107"/>
                        <a:pt x="595666" y="383177"/>
                        <a:pt x="591238" y="378080"/>
                      </a:cubicBezTo>
                      <a:cubicBezTo>
                        <a:pt x="586811" y="372983"/>
                        <a:pt x="584597" y="366788"/>
                        <a:pt x="584597" y="359495"/>
                      </a:cubicBezTo>
                      <a:cubicBezTo>
                        <a:pt x="584597" y="350193"/>
                        <a:pt x="588150" y="342677"/>
                        <a:pt x="595257" y="336948"/>
                      </a:cubicBezTo>
                      <a:cubicBezTo>
                        <a:pt x="602363" y="331218"/>
                        <a:pt x="611126" y="328353"/>
                        <a:pt x="621544" y="328353"/>
                      </a:cubicBezTo>
                      <a:close/>
                      <a:moveTo>
                        <a:pt x="518741" y="328353"/>
                      </a:moveTo>
                      <a:cubicBezTo>
                        <a:pt x="532954" y="328353"/>
                        <a:pt x="543855" y="333338"/>
                        <a:pt x="551446" y="343310"/>
                      </a:cubicBezTo>
                      <a:cubicBezTo>
                        <a:pt x="559036" y="353281"/>
                        <a:pt x="562831" y="366899"/>
                        <a:pt x="562831" y="384163"/>
                      </a:cubicBezTo>
                      <a:lnTo>
                        <a:pt x="562831" y="388740"/>
                      </a:lnTo>
                      <a:lnTo>
                        <a:pt x="478222" y="388740"/>
                      </a:lnTo>
                      <a:cubicBezTo>
                        <a:pt x="478222" y="404441"/>
                        <a:pt x="481850" y="416719"/>
                        <a:pt x="489105" y="425575"/>
                      </a:cubicBezTo>
                      <a:cubicBezTo>
                        <a:pt x="496361" y="434430"/>
                        <a:pt x="506313" y="438858"/>
                        <a:pt x="518964" y="438858"/>
                      </a:cubicBezTo>
                      <a:cubicBezTo>
                        <a:pt x="531763" y="438858"/>
                        <a:pt x="544265" y="434132"/>
                        <a:pt x="556469" y="424682"/>
                      </a:cubicBezTo>
                      <a:lnTo>
                        <a:pt x="556469" y="435621"/>
                      </a:lnTo>
                      <a:cubicBezTo>
                        <a:pt x="544637" y="444029"/>
                        <a:pt x="531428" y="448234"/>
                        <a:pt x="516843" y="448234"/>
                      </a:cubicBezTo>
                      <a:cubicBezTo>
                        <a:pt x="502109" y="448234"/>
                        <a:pt x="490203" y="442950"/>
                        <a:pt x="481124" y="432384"/>
                      </a:cubicBezTo>
                      <a:cubicBezTo>
                        <a:pt x="472046" y="421817"/>
                        <a:pt x="467506" y="406897"/>
                        <a:pt x="467506" y="387624"/>
                      </a:cubicBezTo>
                      <a:cubicBezTo>
                        <a:pt x="467506" y="370955"/>
                        <a:pt x="472250" y="356909"/>
                        <a:pt x="481738" y="345487"/>
                      </a:cubicBezTo>
                      <a:cubicBezTo>
                        <a:pt x="491226" y="334064"/>
                        <a:pt x="503560" y="328353"/>
                        <a:pt x="518741" y="328353"/>
                      </a:cubicBezTo>
                      <a:close/>
                      <a:moveTo>
                        <a:pt x="208546" y="328353"/>
                      </a:moveTo>
                      <a:cubicBezTo>
                        <a:pt x="224842" y="328353"/>
                        <a:pt x="237716" y="333673"/>
                        <a:pt x="247167" y="344315"/>
                      </a:cubicBezTo>
                      <a:cubicBezTo>
                        <a:pt x="256617" y="354956"/>
                        <a:pt x="261342" y="369690"/>
                        <a:pt x="261342" y="388516"/>
                      </a:cubicBezTo>
                      <a:cubicBezTo>
                        <a:pt x="261342" y="406301"/>
                        <a:pt x="256524" y="420701"/>
                        <a:pt x="246887" y="431714"/>
                      </a:cubicBezTo>
                      <a:cubicBezTo>
                        <a:pt x="237251" y="442727"/>
                        <a:pt x="224061" y="448234"/>
                        <a:pt x="207318" y="448234"/>
                      </a:cubicBezTo>
                      <a:cubicBezTo>
                        <a:pt x="190649" y="448234"/>
                        <a:pt x="177459" y="442746"/>
                        <a:pt x="167748" y="431770"/>
                      </a:cubicBezTo>
                      <a:cubicBezTo>
                        <a:pt x="158037" y="420794"/>
                        <a:pt x="153182" y="406525"/>
                        <a:pt x="153182" y="388963"/>
                      </a:cubicBezTo>
                      <a:cubicBezTo>
                        <a:pt x="153182" y="369987"/>
                        <a:pt x="158260" y="355142"/>
                        <a:pt x="168418" y="344426"/>
                      </a:cubicBezTo>
                      <a:cubicBezTo>
                        <a:pt x="178575" y="333711"/>
                        <a:pt x="191951" y="328353"/>
                        <a:pt x="208546" y="328353"/>
                      </a:cubicBezTo>
                      <a:close/>
                      <a:moveTo>
                        <a:pt x="58155" y="328353"/>
                      </a:moveTo>
                      <a:cubicBezTo>
                        <a:pt x="66861" y="328353"/>
                        <a:pt x="75307" y="330139"/>
                        <a:pt x="83493" y="333711"/>
                      </a:cubicBezTo>
                      <a:lnTo>
                        <a:pt x="83493" y="345319"/>
                      </a:lnTo>
                      <a:cubicBezTo>
                        <a:pt x="75307" y="340259"/>
                        <a:pt x="66340" y="337729"/>
                        <a:pt x="56592" y="337729"/>
                      </a:cubicBezTo>
                      <a:cubicBezTo>
                        <a:pt x="43198" y="337729"/>
                        <a:pt x="32333" y="342547"/>
                        <a:pt x="23999" y="352184"/>
                      </a:cubicBezTo>
                      <a:cubicBezTo>
                        <a:pt x="15664" y="361820"/>
                        <a:pt x="11497" y="374303"/>
                        <a:pt x="11497" y="389633"/>
                      </a:cubicBezTo>
                      <a:cubicBezTo>
                        <a:pt x="11497" y="404441"/>
                        <a:pt x="15311" y="416347"/>
                        <a:pt x="22938" y="425351"/>
                      </a:cubicBezTo>
                      <a:cubicBezTo>
                        <a:pt x="30566" y="434356"/>
                        <a:pt x="40630" y="438858"/>
                        <a:pt x="53132" y="438858"/>
                      </a:cubicBezTo>
                      <a:cubicBezTo>
                        <a:pt x="64592" y="438858"/>
                        <a:pt x="74563" y="435807"/>
                        <a:pt x="83046" y="429705"/>
                      </a:cubicBezTo>
                      <a:lnTo>
                        <a:pt x="83046" y="440420"/>
                      </a:lnTo>
                      <a:cubicBezTo>
                        <a:pt x="74563" y="445629"/>
                        <a:pt x="64443" y="448234"/>
                        <a:pt x="52685" y="448234"/>
                      </a:cubicBezTo>
                      <a:cubicBezTo>
                        <a:pt x="37133" y="448234"/>
                        <a:pt x="24594" y="442895"/>
                        <a:pt x="15069" y="432216"/>
                      </a:cubicBezTo>
                      <a:cubicBezTo>
                        <a:pt x="5544" y="421538"/>
                        <a:pt x="782" y="407566"/>
                        <a:pt x="782" y="390302"/>
                      </a:cubicBezTo>
                      <a:cubicBezTo>
                        <a:pt x="782" y="372145"/>
                        <a:pt x="6139" y="357281"/>
                        <a:pt x="16855" y="345710"/>
                      </a:cubicBezTo>
                      <a:cubicBezTo>
                        <a:pt x="27571" y="334138"/>
                        <a:pt x="41337" y="328353"/>
                        <a:pt x="58155" y="328353"/>
                      </a:cubicBezTo>
                      <a:close/>
                      <a:moveTo>
                        <a:pt x="2544850" y="328352"/>
                      </a:moveTo>
                      <a:cubicBezTo>
                        <a:pt x="2557202" y="328352"/>
                        <a:pt x="2566653" y="332463"/>
                        <a:pt x="2573201" y="340686"/>
                      </a:cubicBezTo>
                      <a:cubicBezTo>
                        <a:pt x="2579750" y="348909"/>
                        <a:pt x="2583024" y="360647"/>
                        <a:pt x="2583024" y="375902"/>
                      </a:cubicBezTo>
                      <a:lnTo>
                        <a:pt x="2583024" y="445442"/>
                      </a:lnTo>
                      <a:lnTo>
                        <a:pt x="2572755" y="445442"/>
                      </a:lnTo>
                      <a:lnTo>
                        <a:pt x="2572755" y="378916"/>
                      </a:lnTo>
                      <a:cubicBezTo>
                        <a:pt x="2572755" y="351457"/>
                        <a:pt x="2562858" y="337728"/>
                        <a:pt x="2543064" y="337728"/>
                      </a:cubicBezTo>
                      <a:cubicBezTo>
                        <a:pt x="2532051" y="337728"/>
                        <a:pt x="2523009" y="341765"/>
                        <a:pt x="2515940" y="349839"/>
                      </a:cubicBezTo>
                      <a:cubicBezTo>
                        <a:pt x="2508870" y="357913"/>
                        <a:pt x="2505336" y="367903"/>
                        <a:pt x="2505336" y="379809"/>
                      </a:cubicBezTo>
                      <a:lnTo>
                        <a:pt x="2505336" y="445442"/>
                      </a:lnTo>
                      <a:lnTo>
                        <a:pt x="2495067" y="445442"/>
                      </a:lnTo>
                      <a:lnTo>
                        <a:pt x="2495067" y="331142"/>
                      </a:lnTo>
                      <a:lnTo>
                        <a:pt x="2505336" y="331142"/>
                      </a:lnTo>
                      <a:lnTo>
                        <a:pt x="2505336" y="351904"/>
                      </a:lnTo>
                      <a:lnTo>
                        <a:pt x="2505782" y="351904"/>
                      </a:lnTo>
                      <a:cubicBezTo>
                        <a:pt x="2514117" y="336202"/>
                        <a:pt x="2527139" y="328352"/>
                        <a:pt x="2544850" y="328352"/>
                      </a:cubicBezTo>
                      <a:close/>
                      <a:moveTo>
                        <a:pt x="2163850" y="328352"/>
                      </a:moveTo>
                      <a:cubicBezTo>
                        <a:pt x="2176202" y="328352"/>
                        <a:pt x="2185653" y="332463"/>
                        <a:pt x="2192201" y="340686"/>
                      </a:cubicBezTo>
                      <a:cubicBezTo>
                        <a:pt x="2198750" y="348909"/>
                        <a:pt x="2202024" y="360647"/>
                        <a:pt x="2202024" y="375902"/>
                      </a:cubicBezTo>
                      <a:lnTo>
                        <a:pt x="2202024" y="445442"/>
                      </a:lnTo>
                      <a:lnTo>
                        <a:pt x="2191755" y="445442"/>
                      </a:lnTo>
                      <a:lnTo>
                        <a:pt x="2191755" y="378916"/>
                      </a:lnTo>
                      <a:cubicBezTo>
                        <a:pt x="2191755" y="351457"/>
                        <a:pt x="2181858" y="337728"/>
                        <a:pt x="2162064" y="337728"/>
                      </a:cubicBezTo>
                      <a:cubicBezTo>
                        <a:pt x="2151050" y="337728"/>
                        <a:pt x="2142009" y="341765"/>
                        <a:pt x="2134940" y="349839"/>
                      </a:cubicBezTo>
                      <a:cubicBezTo>
                        <a:pt x="2127870" y="357913"/>
                        <a:pt x="2124336" y="367903"/>
                        <a:pt x="2124336" y="379809"/>
                      </a:cubicBezTo>
                      <a:lnTo>
                        <a:pt x="2124336" y="445442"/>
                      </a:lnTo>
                      <a:lnTo>
                        <a:pt x="2114067" y="445442"/>
                      </a:lnTo>
                      <a:lnTo>
                        <a:pt x="2114067" y="331142"/>
                      </a:lnTo>
                      <a:lnTo>
                        <a:pt x="2124336" y="331142"/>
                      </a:lnTo>
                      <a:lnTo>
                        <a:pt x="2124336" y="351904"/>
                      </a:lnTo>
                      <a:lnTo>
                        <a:pt x="2124782" y="351904"/>
                      </a:lnTo>
                      <a:cubicBezTo>
                        <a:pt x="2133117" y="336202"/>
                        <a:pt x="2146139" y="328352"/>
                        <a:pt x="2163850" y="328352"/>
                      </a:cubicBezTo>
                      <a:close/>
                      <a:moveTo>
                        <a:pt x="1144675" y="328352"/>
                      </a:moveTo>
                      <a:cubicBezTo>
                        <a:pt x="1157027" y="328352"/>
                        <a:pt x="1166478" y="332463"/>
                        <a:pt x="1173026" y="340686"/>
                      </a:cubicBezTo>
                      <a:cubicBezTo>
                        <a:pt x="1179575" y="348909"/>
                        <a:pt x="1182849" y="360647"/>
                        <a:pt x="1182849" y="375902"/>
                      </a:cubicBezTo>
                      <a:lnTo>
                        <a:pt x="1182849" y="445442"/>
                      </a:lnTo>
                      <a:lnTo>
                        <a:pt x="1172580" y="445442"/>
                      </a:lnTo>
                      <a:lnTo>
                        <a:pt x="1172580" y="378916"/>
                      </a:lnTo>
                      <a:cubicBezTo>
                        <a:pt x="1172580" y="351457"/>
                        <a:pt x="1162683" y="337728"/>
                        <a:pt x="1142889" y="337728"/>
                      </a:cubicBezTo>
                      <a:cubicBezTo>
                        <a:pt x="1131875" y="337728"/>
                        <a:pt x="1122834" y="341765"/>
                        <a:pt x="1115765" y="349839"/>
                      </a:cubicBezTo>
                      <a:cubicBezTo>
                        <a:pt x="1108695" y="357913"/>
                        <a:pt x="1105161" y="367903"/>
                        <a:pt x="1105161" y="379809"/>
                      </a:cubicBezTo>
                      <a:lnTo>
                        <a:pt x="1105161" y="445442"/>
                      </a:lnTo>
                      <a:lnTo>
                        <a:pt x="1094892" y="445442"/>
                      </a:lnTo>
                      <a:lnTo>
                        <a:pt x="1094892" y="331142"/>
                      </a:lnTo>
                      <a:lnTo>
                        <a:pt x="1105161" y="331142"/>
                      </a:lnTo>
                      <a:lnTo>
                        <a:pt x="1105161" y="351904"/>
                      </a:lnTo>
                      <a:lnTo>
                        <a:pt x="1105607" y="351904"/>
                      </a:lnTo>
                      <a:cubicBezTo>
                        <a:pt x="1113942" y="336202"/>
                        <a:pt x="1126964" y="328352"/>
                        <a:pt x="1144675" y="328352"/>
                      </a:cubicBezTo>
                      <a:close/>
                      <a:moveTo>
                        <a:pt x="1020850" y="328352"/>
                      </a:moveTo>
                      <a:cubicBezTo>
                        <a:pt x="1033202" y="328352"/>
                        <a:pt x="1042653" y="332463"/>
                        <a:pt x="1049201" y="340686"/>
                      </a:cubicBezTo>
                      <a:cubicBezTo>
                        <a:pt x="1055750" y="348909"/>
                        <a:pt x="1059024" y="360647"/>
                        <a:pt x="1059024" y="375902"/>
                      </a:cubicBezTo>
                      <a:lnTo>
                        <a:pt x="1059024" y="445442"/>
                      </a:lnTo>
                      <a:lnTo>
                        <a:pt x="1048755" y="445442"/>
                      </a:lnTo>
                      <a:lnTo>
                        <a:pt x="1048755" y="378916"/>
                      </a:lnTo>
                      <a:cubicBezTo>
                        <a:pt x="1048755" y="351457"/>
                        <a:pt x="1038858" y="337728"/>
                        <a:pt x="1019064" y="337728"/>
                      </a:cubicBezTo>
                      <a:cubicBezTo>
                        <a:pt x="1008050" y="337728"/>
                        <a:pt x="999009" y="341765"/>
                        <a:pt x="991940" y="349839"/>
                      </a:cubicBezTo>
                      <a:cubicBezTo>
                        <a:pt x="984870" y="357913"/>
                        <a:pt x="981336" y="367903"/>
                        <a:pt x="981336" y="379809"/>
                      </a:cubicBezTo>
                      <a:lnTo>
                        <a:pt x="981336" y="445442"/>
                      </a:lnTo>
                      <a:lnTo>
                        <a:pt x="971067" y="445442"/>
                      </a:lnTo>
                      <a:lnTo>
                        <a:pt x="971067" y="331142"/>
                      </a:lnTo>
                      <a:lnTo>
                        <a:pt x="981336" y="331142"/>
                      </a:lnTo>
                      <a:lnTo>
                        <a:pt x="981336" y="351904"/>
                      </a:lnTo>
                      <a:lnTo>
                        <a:pt x="981782" y="351904"/>
                      </a:lnTo>
                      <a:cubicBezTo>
                        <a:pt x="990117" y="336202"/>
                        <a:pt x="1003139" y="328352"/>
                        <a:pt x="1020850" y="328352"/>
                      </a:cubicBezTo>
                      <a:close/>
                      <a:moveTo>
                        <a:pt x="2748260" y="297991"/>
                      </a:moveTo>
                      <a:lnTo>
                        <a:pt x="2748260" y="331142"/>
                      </a:lnTo>
                      <a:lnTo>
                        <a:pt x="2778398" y="331142"/>
                      </a:lnTo>
                      <a:lnTo>
                        <a:pt x="2778398" y="340518"/>
                      </a:lnTo>
                      <a:lnTo>
                        <a:pt x="2748260" y="340518"/>
                      </a:lnTo>
                      <a:lnTo>
                        <a:pt x="2748260" y="415974"/>
                      </a:lnTo>
                      <a:cubicBezTo>
                        <a:pt x="2748260" y="423862"/>
                        <a:pt x="2749507" y="429573"/>
                        <a:pt x="2752000" y="433108"/>
                      </a:cubicBezTo>
                      <a:cubicBezTo>
                        <a:pt x="2754492" y="436643"/>
                        <a:pt x="2758716" y="438410"/>
                        <a:pt x="2764668" y="438410"/>
                      </a:cubicBezTo>
                      <a:cubicBezTo>
                        <a:pt x="2768910" y="438410"/>
                        <a:pt x="2773486" y="437033"/>
                        <a:pt x="2778398" y="434280"/>
                      </a:cubicBezTo>
                      <a:lnTo>
                        <a:pt x="2778398" y="443880"/>
                      </a:lnTo>
                      <a:cubicBezTo>
                        <a:pt x="2773040" y="446410"/>
                        <a:pt x="2768018" y="447675"/>
                        <a:pt x="2763329" y="447675"/>
                      </a:cubicBezTo>
                      <a:cubicBezTo>
                        <a:pt x="2746437" y="447675"/>
                        <a:pt x="2737991" y="437554"/>
                        <a:pt x="2737991" y="417314"/>
                      </a:cubicBezTo>
                      <a:lnTo>
                        <a:pt x="2737991" y="340518"/>
                      </a:lnTo>
                      <a:lnTo>
                        <a:pt x="2717453" y="340518"/>
                      </a:lnTo>
                      <a:lnTo>
                        <a:pt x="2717453" y="331142"/>
                      </a:lnTo>
                      <a:lnTo>
                        <a:pt x="2737991" y="331142"/>
                      </a:lnTo>
                      <a:lnTo>
                        <a:pt x="2737991" y="301451"/>
                      </a:lnTo>
                      <a:cubicBezTo>
                        <a:pt x="2739628" y="300856"/>
                        <a:pt x="2741340" y="300260"/>
                        <a:pt x="2743126" y="299665"/>
                      </a:cubicBezTo>
                      <a:cubicBezTo>
                        <a:pt x="2744912" y="299144"/>
                        <a:pt x="2746623" y="298586"/>
                        <a:pt x="2748260" y="297991"/>
                      </a:cubicBezTo>
                      <a:close/>
                      <a:moveTo>
                        <a:pt x="2252960" y="297991"/>
                      </a:moveTo>
                      <a:lnTo>
                        <a:pt x="2252960" y="331142"/>
                      </a:lnTo>
                      <a:lnTo>
                        <a:pt x="2283098" y="331142"/>
                      </a:lnTo>
                      <a:lnTo>
                        <a:pt x="2283098" y="340518"/>
                      </a:lnTo>
                      <a:lnTo>
                        <a:pt x="2252960" y="340518"/>
                      </a:lnTo>
                      <a:lnTo>
                        <a:pt x="2252960" y="415974"/>
                      </a:lnTo>
                      <a:cubicBezTo>
                        <a:pt x="2252960" y="423862"/>
                        <a:pt x="2254207" y="429573"/>
                        <a:pt x="2256700" y="433108"/>
                      </a:cubicBezTo>
                      <a:cubicBezTo>
                        <a:pt x="2259193" y="436643"/>
                        <a:pt x="2263416" y="438410"/>
                        <a:pt x="2269369" y="438410"/>
                      </a:cubicBezTo>
                      <a:cubicBezTo>
                        <a:pt x="2273610" y="438410"/>
                        <a:pt x="2278187" y="437033"/>
                        <a:pt x="2283098" y="434280"/>
                      </a:cubicBezTo>
                      <a:lnTo>
                        <a:pt x="2283098" y="443880"/>
                      </a:lnTo>
                      <a:cubicBezTo>
                        <a:pt x="2277740" y="446410"/>
                        <a:pt x="2272717" y="447675"/>
                        <a:pt x="2268029" y="447675"/>
                      </a:cubicBezTo>
                      <a:cubicBezTo>
                        <a:pt x="2251137" y="447675"/>
                        <a:pt x="2242691" y="437554"/>
                        <a:pt x="2242691" y="417314"/>
                      </a:cubicBezTo>
                      <a:lnTo>
                        <a:pt x="2242691" y="340518"/>
                      </a:lnTo>
                      <a:lnTo>
                        <a:pt x="2222153" y="340518"/>
                      </a:lnTo>
                      <a:lnTo>
                        <a:pt x="2222153" y="331142"/>
                      </a:lnTo>
                      <a:lnTo>
                        <a:pt x="2242691" y="331142"/>
                      </a:lnTo>
                      <a:lnTo>
                        <a:pt x="2242691" y="301451"/>
                      </a:lnTo>
                      <a:cubicBezTo>
                        <a:pt x="2244328" y="300856"/>
                        <a:pt x="2246040" y="300260"/>
                        <a:pt x="2247826" y="299665"/>
                      </a:cubicBezTo>
                      <a:cubicBezTo>
                        <a:pt x="2249612" y="299144"/>
                        <a:pt x="2251323" y="298586"/>
                        <a:pt x="2252960" y="297991"/>
                      </a:cubicBezTo>
                      <a:close/>
                      <a:moveTo>
                        <a:pt x="1824335" y="297991"/>
                      </a:moveTo>
                      <a:lnTo>
                        <a:pt x="1824335" y="331142"/>
                      </a:lnTo>
                      <a:lnTo>
                        <a:pt x="1854473" y="331142"/>
                      </a:lnTo>
                      <a:lnTo>
                        <a:pt x="1854473" y="340518"/>
                      </a:lnTo>
                      <a:lnTo>
                        <a:pt x="1824335" y="340518"/>
                      </a:lnTo>
                      <a:lnTo>
                        <a:pt x="1824335" y="415974"/>
                      </a:lnTo>
                      <a:cubicBezTo>
                        <a:pt x="1824335" y="423862"/>
                        <a:pt x="1825582" y="429573"/>
                        <a:pt x="1828075" y="433108"/>
                      </a:cubicBezTo>
                      <a:cubicBezTo>
                        <a:pt x="1830568" y="436643"/>
                        <a:pt x="1834791" y="438410"/>
                        <a:pt x="1840744" y="438410"/>
                      </a:cubicBezTo>
                      <a:cubicBezTo>
                        <a:pt x="1844985" y="438410"/>
                        <a:pt x="1849562" y="437033"/>
                        <a:pt x="1854473" y="434280"/>
                      </a:cubicBezTo>
                      <a:lnTo>
                        <a:pt x="1854473" y="443880"/>
                      </a:lnTo>
                      <a:cubicBezTo>
                        <a:pt x="1849115" y="446410"/>
                        <a:pt x="1844092" y="447675"/>
                        <a:pt x="1839404" y="447675"/>
                      </a:cubicBezTo>
                      <a:cubicBezTo>
                        <a:pt x="1822512" y="447675"/>
                        <a:pt x="1814066" y="437554"/>
                        <a:pt x="1814066" y="417314"/>
                      </a:cubicBezTo>
                      <a:lnTo>
                        <a:pt x="1814066" y="340518"/>
                      </a:lnTo>
                      <a:lnTo>
                        <a:pt x="1793528" y="340518"/>
                      </a:lnTo>
                      <a:lnTo>
                        <a:pt x="1793528" y="331142"/>
                      </a:lnTo>
                      <a:lnTo>
                        <a:pt x="1814066" y="331142"/>
                      </a:lnTo>
                      <a:lnTo>
                        <a:pt x="1814066" y="301451"/>
                      </a:lnTo>
                      <a:cubicBezTo>
                        <a:pt x="1815703" y="300856"/>
                        <a:pt x="1817415" y="300260"/>
                        <a:pt x="1819201" y="299665"/>
                      </a:cubicBezTo>
                      <a:cubicBezTo>
                        <a:pt x="1820987" y="299144"/>
                        <a:pt x="1822698" y="298586"/>
                        <a:pt x="1824335" y="297991"/>
                      </a:cubicBezTo>
                      <a:close/>
                      <a:moveTo>
                        <a:pt x="1452860" y="297991"/>
                      </a:moveTo>
                      <a:lnTo>
                        <a:pt x="1452860" y="331142"/>
                      </a:lnTo>
                      <a:lnTo>
                        <a:pt x="1482998" y="331142"/>
                      </a:lnTo>
                      <a:lnTo>
                        <a:pt x="1482998" y="340518"/>
                      </a:lnTo>
                      <a:lnTo>
                        <a:pt x="1452860" y="340518"/>
                      </a:lnTo>
                      <a:lnTo>
                        <a:pt x="1452860" y="415974"/>
                      </a:lnTo>
                      <a:cubicBezTo>
                        <a:pt x="1452860" y="423862"/>
                        <a:pt x="1454107" y="429573"/>
                        <a:pt x="1456600" y="433108"/>
                      </a:cubicBezTo>
                      <a:cubicBezTo>
                        <a:pt x="1459093" y="436643"/>
                        <a:pt x="1463316" y="438410"/>
                        <a:pt x="1469269" y="438410"/>
                      </a:cubicBezTo>
                      <a:cubicBezTo>
                        <a:pt x="1473510" y="438410"/>
                        <a:pt x="1478087" y="437033"/>
                        <a:pt x="1482998" y="434280"/>
                      </a:cubicBezTo>
                      <a:lnTo>
                        <a:pt x="1482998" y="443880"/>
                      </a:lnTo>
                      <a:cubicBezTo>
                        <a:pt x="1477640" y="446410"/>
                        <a:pt x="1472617" y="447675"/>
                        <a:pt x="1467929" y="447675"/>
                      </a:cubicBezTo>
                      <a:cubicBezTo>
                        <a:pt x="1451037" y="447675"/>
                        <a:pt x="1442591" y="437554"/>
                        <a:pt x="1442591" y="417314"/>
                      </a:cubicBezTo>
                      <a:lnTo>
                        <a:pt x="1442591" y="340518"/>
                      </a:lnTo>
                      <a:lnTo>
                        <a:pt x="1422053" y="340518"/>
                      </a:lnTo>
                      <a:lnTo>
                        <a:pt x="1422053" y="331142"/>
                      </a:lnTo>
                      <a:lnTo>
                        <a:pt x="1442591" y="331142"/>
                      </a:lnTo>
                      <a:lnTo>
                        <a:pt x="1442591" y="301451"/>
                      </a:lnTo>
                      <a:cubicBezTo>
                        <a:pt x="1444228" y="300856"/>
                        <a:pt x="1445940" y="300260"/>
                        <a:pt x="1447726" y="299665"/>
                      </a:cubicBezTo>
                      <a:cubicBezTo>
                        <a:pt x="1449512" y="299144"/>
                        <a:pt x="1451223" y="298586"/>
                        <a:pt x="1452860" y="297991"/>
                      </a:cubicBezTo>
                      <a:close/>
                      <a:moveTo>
                        <a:pt x="300335" y="297991"/>
                      </a:moveTo>
                      <a:lnTo>
                        <a:pt x="300335" y="331142"/>
                      </a:lnTo>
                      <a:lnTo>
                        <a:pt x="330473" y="331142"/>
                      </a:lnTo>
                      <a:lnTo>
                        <a:pt x="330473" y="340518"/>
                      </a:lnTo>
                      <a:lnTo>
                        <a:pt x="300335" y="340518"/>
                      </a:lnTo>
                      <a:lnTo>
                        <a:pt x="300335" y="415974"/>
                      </a:lnTo>
                      <a:cubicBezTo>
                        <a:pt x="300335" y="423862"/>
                        <a:pt x="301582" y="429573"/>
                        <a:pt x="304075" y="433108"/>
                      </a:cubicBezTo>
                      <a:cubicBezTo>
                        <a:pt x="306568" y="436643"/>
                        <a:pt x="310791" y="438410"/>
                        <a:pt x="316744" y="438410"/>
                      </a:cubicBezTo>
                      <a:cubicBezTo>
                        <a:pt x="320985" y="438410"/>
                        <a:pt x="325562" y="437033"/>
                        <a:pt x="330473" y="434280"/>
                      </a:cubicBezTo>
                      <a:lnTo>
                        <a:pt x="330473" y="443880"/>
                      </a:lnTo>
                      <a:cubicBezTo>
                        <a:pt x="325115" y="446410"/>
                        <a:pt x="320092" y="447675"/>
                        <a:pt x="315404" y="447675"/>
                      </a:cubicBezTo>
                      <a:cubicBezTo>
                        <a:pt x="298512" y="447675"/>
                        <a:pt x="290066" y="437554"/>
                        <a:pt x="290066" y="417314"/>
                      </a:cubicBezTo>
                      <a:lnTo>
                        <a:pt x="290066" y="340518"/>
                      </a:lnTo>
                      <a:lnTo>
                        <a:pt x="269528" y="340518"/>
                      </a:lnTo>
                      <a:lnTo>
                        <a:pt x="269528" y="331142"/>
                      </a:lnTo>
                      <a:lnTo>
                        <a:pt x="290066" y="331142"/>
                      </a:lnTo>
                      <a:lnTo>
                        <a:pt x="290066" y="301451"/>
                      </a:lnTo>
                      <a:cubicBezTo>
                        <a:pt x="291703" y="300856"/>
                        <a:pt x="293415" y="300260"/>
                        <a:pt x="295201" y="299665"/>
                      </a:cubicBezTo>
                      <a:cubicBezTo>
                        <a:pt x="296987" y="299144"/>
                        <a:pt x="298698" y="298586"/>
                        <a:pt x="300335" y="297991"/>
                      </a:cubicBezTo>
                      <a:close/>
                      <a:moveTo>
                        <a:pt x="2068674" y="285378"/>
                      </a:moveTo>
                      <a:lnTo>
                        <a:pt x="2079725" y="285378"/>
                      </a:lnTo>
                      <a:lnTo>
                        <a:pt x="2079725" y="445442"/>
                      </a:lnTo>
                      <a:lnTo>
                        <a:pt x="2068674" y="445442"/>
                      </a:lnTo>
                      <a:close/>
                      <a:moveTo>
                        <a:pt x="351942" y="276226"/>
                      </a:moveTo>
                      <a:lnTo>
                        <a:pt x="362211" y="276226"/>
                      </a:lnTo>
                      <a:lnTo>
                        <a:pt x="362211" y="351682"/>
                      </a:lnTo>
                      <a:lnTo>
                        <a:pt x="362657" y="351682"/>
                      </a:lnTo>
                      <a:cubicBezTo>
                        <a:pt x="371661" y="336129"/>
                        <a:pt x="384758" y="328353"/>
                        <a:pt x="401948" y="328353"/>
                      </a:cubicBezTo>
                      <a:cubicBezTo>
                        <a:pt x="414300" y="328353"/>
                        <a:pt x="423714" y="332334"/>
                        <a:pt x="430188" y="340296"/>
                      </a:cubicBezTo>
                      <a:cubicBezTo>
                        <a:pt x="436662" y="348258"/>
                        <a:pt x="439899" y="359681"/>
                        <a:pt x="439899" y="374564"/>
                      </a:cubicBezTo>
                      <a:lnTo>
                        <a:pt x="439899" y="445443"/>
                      </a:lnTo>
                      <a:lnTo>
                        <a:pt x="429630" y="445443"/>
                      </a:lnTo>
                      <a:lnTo>
                        <a:pt x="429630" y="376908"/>
                      </a:lnTo>
                      <a:cubicBezTo>
                        <a:pt x="429630" y="363365"/>
                        <a:pt x="427174" y="353449"/>
                        <a:pt x="422263" y="347161"/>
                      </a:cubicBezTo>
                      <a:cubicBezTo>
                        <a:pt x="417351" y="340873"/>
                        <a:pt x="409687" y="337729"/>
                        <a:pt x="399269" y="337729"/>
                      </a:cubicBezTo>
                      <a:cubicBezTo>
                        <a:pt x="389446" y="337729"/>
                        <a:pt x="380814" y="341561"/>
                        <a:pt x="373373" y="349226"/>
                      </a:cubicBezTo>
                      <a:cubicBezTo>
                        <a:pt x="365931" y="356890"/>
                        <a:pt x="362211" y="367867"/>
                        <a:pt x="362211" y="382154"/>
                      </a:cubicBezTo>
                      <a:lnTo>
                        <a:pt x="362211" y="445443"/>
                      </a:lnTo>
                      <a:lnTo>
                        <a:pt x="351942" y="445443"/>
                      </a:lnTo>
                      <a:close/>
                      <a:moveTo>
                        <a:pt x="113817" y="276226"/>
                      </a:moveTo>
                      <a:lnTo>
                        <a:pt x="124086" y="276226"/>
                      </a:lnTo>
                      <a:lnTo>
                        <a:pt x="124086" y="445443"/>
                      </a:lnTo>
                      <a:lnTo>
                        <a:pt x="113817" y="445443"/>
                      </a:lnTo>
                      <a:close/>
                      <a:moveTo>
                        <a:pt x="1699915" y="276225"/>
                      </a:moveTo>
                      <a:lnTo>
                        <a:pt x="1710184" y="276225"/>
                      </a:lnTo>
                      <a:lnTo>
                        <a:pt x="1710184" y="445442"/>
                      </a:lnTo>
                      <a:lnTo>
                        <a:pt x="1699915" y="445442"/>
                      </a:lnTo>
                      <a:lnTo>
                        <a:pt x="1699915" y="424681"/>
                      </a:lnTo>
                      <a:lnTo>
                        <a:pt x="1699469" y="424681"/>
                      </a:lnTo>
                      <a:cubicBezTo>
                        <a:pt x="1695748" y="431899"/>
                        <a:pt x="1690241" y="437629"/>
                        <a:pt x="1682949" y="441870"/>
                      </a:cubicBezTo>
                      <a:cubicBezTo>
                        <a:pt x="1675656" y="446112"/>
                        <a:pt x="1667433" y="448233"/>
                        <a:pt x="1658280" y="448233"/>
                      </a:cubicBezTo>
                      <a:cubicBezTo>
                        <a:pt x="1644216" y="448233"/>
                        <a:pt x="1632738" y="443098"/>
                        <a:pt x="1623845" y="432829"/>
                      </a:cubicBezTo>
                      <a:cubicBezTo>
                        <a:pt x="1614953" y="422560"/>
                        <a:pt x="1610507" y="408384"/>
                        <a:pt x="1610507" y="390301"/>
                      </a:cubicBezTo>
                      <a:cubicBezTo>
                        <a:pt x="1610507" y="371847"/>
                        <a:pt x="1615362" y="356908"/>
                        <a:pt x="1625073" y="345486"/>
                      </a:cubicBezTo>
                      <a:cubicBezTo>
                        <a:pt x="1634784" y="334063"/>
                        <a:pt x="1647379" y="328352"/>
                        <a:pt x="1662857" y="328352"/>
                      </a:cubicBezTo>
                      <a:cubicBezTo>
                        <a:pt x="1679972" y="328352"/>
                        <a:pt x="1692176" y="335384"/>
                        <a:pt x="1699469" y="349448"/>
                      </a:cubicBezTo>
                      <a:lnTo>
                        <a:pt x="1699915" y="349448"/>
                      </a:lnTo>
                      <a:close/>
                      <a:moveTo>
                        <a:pt x="2372879" y="107715"/>
                      </a:moveTo>
                      <a:lnTo>
                        <a:pt x="2341402" y="112291"/>
                      </a:lnTo>
                      <a:cubicBezTo>
                        <a:pt x="2329421" y="114003"/>
                        <a:pt x="2321012" y="116775"/>
                        <a:pt x="2316175" y="120607"/>
                      </a:cubicBezTo>
                      <a:cubicBezTo>
                        <a:pt x="2311338" y="124440"/>
                        <a:pt x="2308920" y="130672"/>
                        <a:pt x="2308920" y="139304"/>
                      </a:cubicBezTo>
                      <a:cubicBezTo>
                        <a:pt x="2308920" y="146075"/>
                        <a:pt x="2311171" y="151657"/>
                        <a:pt x="2315673" y="156047"/>
                      </a:cubicBezTo>
                      <a:cubicBezTo>
                        <a:pt x="2320175" y="160437"/>
                        <a:pt x="2326444" y="162633"/>
                        <a:pt x="2334481" y="162633"/>
                      </a:cubicBezTo>
                      <a:cubicBezTo>
                        <a:pt x="2345494" y="162633"/>
                        <a:pt x="2354647" y="158558"/>
                        <a:pt x="2361940" y="150410"/>
                      </a:cubicBezTo>
                      <a:cubicBezTo>
                        <a:pt x="2369232" y="142262"/>
                        <a:pt x="2372879" y="131751"/>
                        <a:pt x="2372879" y="118877"/>
                      </a:cubicBezTo>
                      <a:close/>
                      <a:moveTo>
                        <a:pt x="2232794" y="61504"/>
                      </a:moveTo>
                      <a:cubicBezTo>
                        <a:pt x="2222079" y="61504"/>
                        <a:pt x="2213205" y="65094"/>
                        <a:pt x="2206173" y="72275"/>
                      </a:cubicBezTo>
                      <a:cubicBezTo>
                        <a:pt x="2199140" y="79456"/>
                        <a:pt x="2194806" y="89744"/>
                        <a:pt x="2193169" y="103139"/>
                      </a:cubicBezTo>
                      <a:lnTo>
                        <a:pt x="2266615" y="103139"/>
                      </a:lnTo>
                      <a:cubicBezTo>
                        <a:pt x="2266169" y="89967"/>
                        <a:pt x="2263006" y="79735"/>
                        <a:pt x="2257128" y="72443"/>
                      </a:cubicBezTo>
                      <a:cubicBezTo>
                        <a:pt x="2251249" y="65150"/>
                        <a:pt x="2243138" y="61504"/>
                        <a:pt x="2232794" y="61504"/>
                      </a:cubicBezTo>
                      <a:close/>
                      <a:moveTo>
                        <a:pt x="1899419" y="61504"/>
                      </a:moveTo>
                      <a:cubicBezTo>
                        <a:pt x="1888704" y="61504"/>
                        <a:pt x="1879830" y="65094"/>
                        <a:pt x="1872798" y="72275"/>
                      </a:cubicBezTo>
                      <a:cubicBezTo>
                        <a:pt x="1865765" y="79456"/>
                        <a:pt x="1861431" y="89744"/>
                        <a:pt x="1859794" y="103139"/>
                      </a:cubicBezTo>
                      <a:lnTo>
                        <a:pt x="1933240" y="103139"/>
                      </a:lnTo>
                      <a:cubicBezTo>
                        <a:pt x="1932794" y="89967"/>
                        <a:pt x="1929631" y="79735"/>
                        <a:pt x="1923753" y="72443"/>
                      </a:cubicBezTo>
                      <a:cubicBezTo>
                        <a:pt x="1917874" y="65150"/>
                        <a:pt x="1909763" y="61504"/>
                        <a:pt x="1899419" y="61504"/>
                      </a:cubicBezTo>
                      <a:close/>
                      <a:moveTo>
                        <a:pt x="1223144" y="61504"/>
                      </a:moveTo>
                      <a:cubicBezTo>
                        <a:pt x="1212429" y="61504"/>
                        <a:pt x="1203555" y="65094"/>
                        <a:pt x="1196523" y="72275"/>
                      </a:cubicBezTo>
                      <a:cubicBezTo>
                        <a:pt x="1189490" y="79456"/>
                        <a:pt x="1185156" y="89744"/>
                        <a:pt x="1183519" y="103139"/>
                      </a:cubicBezTo>
                      <a:lnTo>
                        <a:pt x="1256965" y="103139"/>
                      </a:lnTo>
                      <a:cubicBezTo>
                        <a:pt x="1256519" y="89967"/>
                        <a:pt x="1253356" y="79735"/>
                        <a:pt x="1247478" y="72443"/>
                      </a:cubicBezTo>
                      <a:cubicBezTo>
                        <a:pt x="1241599" y="65150"/>
                        <a:pt x="1233488" y="61504"/>
                        <a:pt x="1223144" y="61504"/>
                      </a:cubicBezTo>
                      <a:close/>
                      <a:moveTo>
                        <a:pt x="931999" y="61504"/>
                      </a:moveTo>
                      <a:cubicBezTo>
                        <a:pt x="918530" y="61504"/>
                        <a:pt x="907796" y="66043"/>
                        <a:pt x="899797" y="75122"/>
                      </a:cubicBezTo>
                      <a:cubicBezTo>
                        <a:pt x="891797" y="84200"/>
                        <a:pt x="887797" y="96813"/>
                        <a:pt x="887797" y="112961"/>
                      </a:cubicBezTo>
                      <a:cubicBezTo>
                        <a:pt x="887797" y="127918"/>
                        <a:pt x="891704" y="139936"/>
                        <a:pt x="899517" y="149015"/>
                      </a:cubicBezTo>
                      <a:cubicBezTo>
                        <a:pt x="907331" y="158093"/>
                        <a:pt x="918009" y="162633"/>
                        <a:pt x="931553" y="162633"/>
                      </a:cubicBezTo>
                      <a:cubicBezTo>
                        <a:pt x="945319" y="162633"/>
                        <a:pt x="955923" y="158168"/>
                        <a:pt x="963365" y="149238"/>
                      </a:cubicBezTo>
                      <a:cubicBezTo>
                        <a:pt x="970806" y="140308"/>
                        <a:pt x="974527" y="127918"/>
                        <a:pt x="974527" y="112068"/>
                      </a:cubicBezTo>
                      <a:cubicBezTo>
                        <a:pt x="974527" y="95772"/>
                        <a:pt x="970825" y="83270"/>
                        <a:pt x="963421" y="74564"/>
                      </a:cubicBezTo>
                      <a:cubicBezTo>
                        <a:pt x="956016" y="65857"/>
                        <a:pt x="945543" y="61504"/>
                        <a:pt x="931999" y="61504"/>
                      </a:cubicBezTo>
                      <a:close/>
                      <a:moveTo>
                        <a:pt x="813569" y="61504"/>
                      </a:moveTo>
                      <a:cubicBezTo>
                        <a:pt x="802854" y="61504"/>
                        <a:pt x="793980" y="65094"/>
                        <a:pt x="786948" y="72275"/>
                      </a:cubicBezTo>
                      <a:cubicBezTo>
                        <a:pt x="779915" y="79456"/>
                        <a:pt x="775581" y="89744"/>
                        <a:pt x="773944" y="103139"/>
                      </a:cubicBezTo>
                      <a:lnTo>
                        <a:pt x="847390" y="103139"/>
                      </a:lnTo>
                      <a:cubicBezTo>
                        <a:pt x="846944" y="89967"/>
                        <a:pt x="843781" y="79735"/>
                        <a:pt x="837903" y="72443"/>
                      </a:cubicBezTo>
                      <a:cubicBezTo>
                        <a:pt x="832024" y="65150"/>
                        <a:pt x="823913" y="61504"/>
                        <a:pt x="813569" y="61504"/>
                      </a:cubicBezTo>
                      <a:close/>
                      <a:moveTo>
                        <a:pt x="2710830" y="61503"/>
                      </a:moveTo>
                      <a:cubicBezTo>
                        <a:pt x="2698254" y="61503"/>
                        <a:pt x="2688134" y="66228"/>
                        <a:pt x="2680469" y="75679"/>
                      </a:cubicBezTo>
                      <a:cubicBezTo>
                        <a:pt x="2672805" y="85129"/>
                        <a:pt x="2668972" y="97631"/>
                        <a:pt x="2668972" y="113183"/>
                      </a:cubicBezTo>
                      <a:cubicBezTo>
                        <a:pt x="2668972" y="128810"/>
                        <a:pt x="2672488" y="140958"/>
                        <a:pt x="2679521" y="149628"/>
                      </a:cubicBezTo>
                      <a:cubicBezTo>
                        <a:pt x="2686553" y="158297"/>
                        <a:pt x="2695836" y="162632"/>
                        <a:pt x="2707370" y="162632"/>
                      </a:cubicBezTo>
                      <a:cubicBezTo>
                        <a:pt x="2719648" y="162632"/>
                        <a:pt x="2729434" y="158650"/>
                        <a:pt x="2736726" y="150688"/>
                      </a:cubicBezTo>
                      <a:cubicBezTo>
                        <a:pt x="2744018" y="142726"/>
                        <a:pt x="2747665" y="132978"/>
                        <a:pt x="2747665" y="121443"/>
                      </a:cubicBezTo>
                      <a:lnTo>
                        <a:pt x="2747665" y="98784"/>
                      </a:lnTo>
                      <a:cubicBezTo>
                        <a:pt x="2747665" y="88664"/>
                        <a:pt x="2744260" y="79920"/>
                        <a:pt x="2737452" y="72553"/>
                      </a:cubicBezTo>
                      <a:cubicBezTo>
                        <a:pt x="2730643" y="65186"/>
                        <a:pt x="2721769" y="61503"/>
                        <a:pt x="2710830" y="61503"/>
                      </a:cubicBezTo>
                      <a:close/>
                      <a:moveTo>
                        <a:pt x="1785194" y="61503"/>
                      </a:moveTo>
                      <a:cubicBezTo>
                        <a:pt x="1771874" y="61503"/>
                        <a:pt x="1761567" y="65968"/>
                        <a:pt x="1754275" y="74897"/>
                      </a:cubicBezTo>
                      <a:cubicBezTo>
                        <a:pt x="1746982" y="83827"/>
                        <a:pt x="1743336" y="94319"/>
                        <a:pt x="1743336" y="106375"/>
                      </a:cubicBezTo>
                      <a:lnTo>
                        <a:pt x="1743336" y="120774"/>
                      </a:lnTo>
                      <a:cubicBezTo>
                        <a:pt x="1743336" y="132233"/>
                        <a:pt x="1746945" y="142075"/>
                        <a:pt x="1754163" y="150297"/>
                      </a:cubicBezTo>
                      <a:cubicBezTo>
                        <a:pt x="1761381" y="158520"/>
                        <a:pt x="1770869" y="162632"/>
                        <a:pt x="1782626" y="162632"/>
                      </a:cubicBezTo>
                      <a:cubicBezTo>
                        <a:pt x="1794309" y="162632"/>
                        <a:pt x="1803797" y="157627"/>
                        <a:pt x="1811090" y="147619"/>
                      </a:cubicBezTo>
                      <a:cubicBezTo>
                        <a:pt x="1818382" y="137610"/>
                        <a:pt x="1822029" y="124457"/>
                        <a:pt x="1822029" y="108161"/>
                      </a:cubicBezTo>
                      <a:cubicBezTo>
                        <a:pt x="1822029" y="93873"/>
                        <a:pt x="1818680" y="82525"/>
                        <a:pt x="1811983" y="74116"/>
                      </a:cubicBezTo>
                      <a:cubicBezTo>
                        <a:pt x="1805285" y="65707"/>
                        <a:pt x="1796356" y="61503"/>
                        <a:pt x="1785194" y="61503"/>
                      </a:cubicBezTo>
                      <a:close/>
                      <a:moveTo>
                        <a:pt x="1061294" y="61503"/>
                      </a:moveTo>
                      <a:cubicBezTo>
                        <a:pt x="1047974" y="61503"/>
                        <a:pt x="1037667" y="65968"/>
                        <a:pt x="1030375" y="74897"/>
                      </a:cubicBezTo>
                      <a:cubicBezTo>
                        <a:pt x="1023082" y="83827"/>
                        <a:pt x="1019436" y="94319"/>
                        <a:pt x="1019436" y="106375"/>
                      </a:cubicBezTo>
                      <a:lnTo>
                        <a:pt x="1019436" y="120774"/>
                      </a:lnTo>
                      <a:cubicBezTo>
                        <a:pt x="1019436" y="132233"/>
                        <a:pt x="1023045" y="142075"/>
                        <a:pt x="1030263" y="150297"/>
                      </a:cubicBezTo>
                      <a:cubicBezTo>
                        <a:pt x="1037481" y="158520"/>
                        <a:pt x="1046969" y="162632"/>
                        <a:pt x="1058726" y="162632"/>
                      </a:cubicBezTo>
                      <a:cubicBezTo>
                        <a:pt x="1070409" y="162632"/>
                        <a:pt x="1079897" y="157627"/>
                        <a:pt x="1087190" y="147619"/>
                      </a:cubicBezTo>
                      <a:cubicBezTo>
                        <a:pt x="1094482" y="137610"/>
                        <a:pt x="1098129" y="124457"/>
                        <a:pt x="1098129" y="108161"/>
                      </a:cubicBezTo>
                      <a:cubicBezTo>
                        <a:pt x="1098129" y="93873"/>
                        <a:pt x="1094780" y="82525"/>
                        <a:pt x="1088083" y="74116"/>
                      </a:cubicBezTo>
                      <a:cubicBezTo>
                        <a:pt x="1081385" y="65707"/>
                        <a:pt x="1072456" y="61503"/>
                        <a:pt x="1061294" y="61503"/>
                      </a:cubicBezTo>
                      <a:close/>
                      <a:moveTo>
                        <a:pt x="699344" y="61503"/>
                      </a:moveTo>
                      <a:cubicBezTo>
                        <a:pt x="686024" y="61503"/>
                        <a:pt x="675717" y="65968"/>
                        <a:pt x="668425" y="74897"/>
                      </a:cubicBezTo>
                      <a:cubicBezTo>
                        <a:pt x="661132" y="83827"/>
                        <a:pt x="657486" y="94319"/>
                        <a:pt x="657486" y="106375"/>
                      </a:cubicBezTo>
                      <a:lnTo>
                        <a:pt x="657486" y="120774"/>
                      </a:lnTo>
                      <a:cubicBezTo>
                        <a:pt x="657486" y="132233"/>
                        <a:pt x="661095" y="142075"/>
                        <a:pt x="668313" y="150297"/>
                      </a:cubicBezTo>
                      <a:cubicBezTo>
                        <a:pt x="675531" y="158520"/>
                        <a:pt x="685019" y="162632"/>
                        <a:pt x="696776" y="162632"/>
                      </a:cubicBezTo>
                      <a:cubicBezTo>
                        <a:pt x="708459" y="162632"/>
                        <a:pt x="717947" y="157627"/>
                        <a:pt x="725240" y="147619"/>
                      </a:cubicBezTo>
                      <a:cubicBezTo>
                        <a:pt x="732532" y="137610"/>
                        <a:pt x="736179" y="124457"/>
                        <a:pt x="736179" y="108161"/>
                      </a:cubicBezTo>
                      <a:cubicBezTo>
                        <a:pt x="736179" y="93873"/>
                        <a:pt x="732830" y="82525"/>
                        <a:pt x="726133" y="74116"/>
                      </a:cubicBezTo>
                      <a:cubicBezTo>
                        <a:pt x="719435" y="65707"/>
                        <a:pt x="710506" y="61503"/>
                        <a:pt x="699344" y="61503"/>
                      </a:cubicBezTo>
                      <a:close/>
                      <a:moveTo>
                        <a:pt x="2495067" y="54917"/>
                      </a:moveTo>
                      <a:lnTo>
                        <a:pt x="2505336" y="54917"/>
                      </a:lnTo>
                      <a:lnTo>
                        <a:pt x="2505336" y="169217"/>
                      </a:lnTo>
                      <a:lnTo>
                        <a:pt x="2495067" y="169217"/>
                      </a:lnTo>
                      <a:close/>
                      <a:moveTo>
                        <a:pt x="2023691" y="54917"/>
                      </a:moveTo>
                      <a:lnTo>
                        <a:pt x="2035076" y="54917"/>
                      </a:lnTo>
                      <a:lnTo>
                        <a:pt x="2061642" y="146112"/>
                      </a:lnTo>
                      <a:cubicBezTo>
                        <a:pt x="2062312" y="148493"/>
                        <a:pt x="2062833" y="151693"/>
                        <a:pt x="2063205" y="155711"/>
                      </a:cubicBezTo>
                      <a:lnTo>
                        <a:pt x="2064098" y="155711"/>
                      </a:lnTo>
                      <a:cubicBezTo>
                        <a:pt x="2064246" y="153553"/>
                        <a:pt x="2064953" y="150353"/>
                        <a:pt x="2066218" y="146112"/>
                      </a:cubicBezTo>
                      <a:lnTo>
                        <a:pt x="2095240" y="54917"/>
                      </a:lnTo>
                      <a:lnTo>
                        <a:pt x="2102272" y="54917"/>
                      </a:lnTo>
                      <a:lnTo>
                        <a:pt x="2128168" y="146112"/>
                      </a:lnTo>
                      <a:cubicBezTo>
                        <a:pt x="2128763" y="148270"/>
                        <a:pt x="2129284" y="151469"/>
                        <a:pt x="2129731" y="155711"/>
                      </a:cubicBezTo>
                      <a:lnTo>
                        <a:pt x="2130624" y="155711"/>
                      </a:lnTo>
                      <a:cubicBezTo>
                        <a:pt x="2130624" y="153553"/>
                        <a:pt x="2131256" y="150353"/>
                        <a:pt x="2132521" y="146112"/>
                      </a:cubicBezTo>
                      <a:lnTo>
                        <a:pt x="2159645" y="54917"/>
                      </a:lnTo>
                      <a:lnTo>
                        <a:pt x="2170249" y="54917"/>
                      </a:lnTo>
                      <a:lnTo>
                        <a:pt x="2134754" y="169217"/>
                      </a:lnTo>
                      <a:lnTo>
                        <a:pt x="2125154" y="169217"/>
                      </a:lnTo>
                      <a:lnTo>
                        <a:pt x="2100263" y="83046"/>
                      </a:lnTo>
                      <a:cubicBezTo>
                        <a:pt x="2099593" y="80665"/>
                        <a:pt x="2098998" y="77465"/>
                        <a:pt x="2098477" y="73446"/>
                      </a:cubicBezTo>
                      <a:lnTo>
                        <a:pt x="2097919" y="73446"/>
                      </a:lnTo>
                      <a:cubicBezTo>
                        <a:pt x="2097770" y="75158"/>
                        <a:pt x="2097026" y="78283"/>
                        <a:pt x="2095686" y="82823"/>
                      </a:cubicBezTo>
                      <a:lnTo>
                        <a:pt x="2067781" y="169217"/>
                      </a:lnTo>
                      <a:lnTo>
                        <a:pt x="2058182" y="169217"/>
                      </a:lnTo>
                      <a:close/>
                      <a:moveTo>
                        <a:pt x="1523517" y="54917"/>
                      </a:moveTo>
                      <a:lnTo>
                        <a:pt x="1533786" y="54917"/>
                      </a:lnTo>
                      <a:lnTo>
                        <a:pt x="1533786" y="169217"/>
                      </a:lnTo>
                      <a:lnTo>
                        <a:pt x="1523517" y="169217"/>
                      </a:lnTo>
                      <a:close/>
                      <a:moveTo>
                        <a:pt x="1356941" y="54917"/>
                      </a:moveTo>
                      <a:lnTo>
                        <a:pt x="1368326" y="54917"/>
                      </a:lnTo>
                      <a:lnTo>
                        <a:pt x="1394892" y="146112"/>
                      </a:lnTo>
                      <a:cubicBezTo>
                        <a:pt x="1395562" y="148493"/>
                        <a:pt x="1396083" y="151693"/>
                        <a:pt x="1396455" y="155711"/>
                      </a:cubicBezTo>
                      <a:lnTo>
                        <a:pt x="1397348" y="155711"/>
                      </a:lnTo>
                      <a:cubicBezTo>
                        <a:pt x="1397496" y="153553"/>
                        <a:pt x="1398203" y="150353"/>
                        <a:pt x="1399468" y="146112"/>
                      </a:cubicBezTo>
                      <a:lnTo>
                        <a:pt x="1428490" y="54917"/>
                      </a:lnTo>
                      <a:lnTo>
                        <a:pt x="1435522" y="54917"/>
                      </a:lnTo>
                      <a:lnTo>
                        <a:pt x="1461418" y="146112"/>
                      </a:lnTo>
                      <a:cubicBezTo>
                        <a:pt x="1462013" y="148270"/>
                        <a:pt x="1462534" y="151469"/>
                        <a:pt x="1462981" y="155711"/>
                      </a:cubicBezTo>
                      <a:lnTo>
                        <a:pt x="1463874" y="155711"/>
                      </a:lnTo>
                      <a:cubicBezTo>
                        <a:pt x="1463874" y="153553"/>
                        <a:pt x="1464506" y="150353"/>
                        <a:pt x="1465771" y="146112"/>
                      </a:cubicBezTo>
                      <a:lnTo>
                        <a:pt x="1492895" y="54917"/>
                      </a:lnTo>
                      <a:lnTo>
                        <a:pt x="1503499" y="54917"/>
                      </a:lnTo>
                      <a:lnTo>
                        <a:pt x="1468004" y="169217"/>
                      </a:lnTo>
                      <a:lnTo>
                        <a:pt x="1458404" y="169217"/>
                      </a:lnTo>
                      <a:lnTo>
                        <a:pt x="1433513" y="83046"/>
                      </a:lnTo>
                      <a:cubicBezTo>
                        <a:pt x="1432843" y="80665"/>
                        <a:pt x="1432248" y="77465"/>
                        <a:pt x="1431727" y="73446"/>
                      </a:cubicBezTo>
                      <a:lnTo>
                        <a:pt x="1431169" y="73446"/>
                      </a:lnTo>
                      <a:cubicBezTo>
                        <a:pt x="1431020" y="75158"/>
                        <a:pt x="1430276" y="78283"/>
                        <a:pt x="1428936" y="82823"/>
                      </a:cubicBezTo>
                      <a:lnTo>
                        <a:pt x="1401031" y="169217"/>
                      </a:lnTo>
                      <a:lnTo>
                        <a:pt x="1391432" y="169217"/>
                      </a:lnTo>
                      <a:close/>
                      <a:moveTo>
                        <a:pt x="151917" y="54917"/>
                      </a:moveTo>
                      <a:lnTo>
                        <a:pt x="162186" y="54917"/>
                      </a:lnTo>
                      <a:lnTo>
                        <a:pt x="162186" y="169217"/>
                      </a:lnTo>
                      <a:lnTo>
                        <a:pt x="151917" y="169217"/>
                      </a:lnTo>
                      <a:close/>
                      <a:moveTo>
                        <a:pt x="2461394" y="52685"/>
                      </a:moveTo>
                      <a:cubicBezTo>
                        <a:pt x="2465636" y="52685"/>
                        <a:pt x="2469431" y="53355"/>
                        <a:pt x="2472780" y="54694"/>
                      </a:cubicBezTo>
                      <a:lnTo>
                        <a:pt x="2472780" y="65633"/>
                      </a:lnTo>
                      <a:cubicBezTo>
                        <a:pt x="2469357" y="63177"/>
                        <a:pt x="2465338" y="61949"/>
                        <a:pt x="2460725" y="61949"/>
                      </a:cubicBezTo>
                      <a:cubicBezTo>
                        <a:pt x="2451720" y="61949"/>
                        <a:pt x="2444167" y="66600"/>
                        <a:pt x="2438065" y="75902"/>
                      </a:cubicBezTo>
                      <a:cubicBezTo>
                        <a:pt x="2431963" y="85204"/>
                        <a:pt x="2428912" y="98412"/>
                        <a:pt x="2428912" y="115527"/>
                      </a:cubicBezTo>
                      <a:lnTo>
                        <a:pt x="2428912" y="169217"/>
                      </a:lnTo>
                      <a:lnTo>
                        <a:pt x="2418867" y="169217"/>
                      </a:lnTo>
                      <a:lnTo>
                        <a:pt x="2418867" y="54917"/>
                      </a:lnTo>
                      <a:lnTo>
                        <a:pt x="2428912" y="54917"/>
                      </a:lnTo>
                      <a:lnTo>
                        <a:pt x="2428912" y="80255"/>
                      </a:lnTo>
                      <a:lnTo>
                        <a:pt x="2429359" y="80255"/>
                      </a:lnTo>
                      <a:cubicBezTo>
                        <a:pt x="2431963" y="71549"/>
                        <a:pt x="2436093" y="64777"/>
                        <a:pt x="2441749" y="59940"/>
                      </a:cubicBezTo>
                      <a:cubicBezTo>
                        <a:pt x="2447404" y="55103"/>
                        <a:pt x="2453953" y="52685"/>
                        <a:pt x="2461394" y="52685"/>
                      </a:cubicBezTo>
                      <a:close/>
                      <a:moveTo>
                        <a:pt x="2346201" y="52128"/>
                      </a:moveTo>
                      <a:cubicBezTo>
                        <a:pt x="2357959" y="52128"/>
                        <a:pt x="2367056" y="55774"/>
                        <a:pt x="2373493" y="63067"/>
                      </a:cubicBezTo>
                      <a:cubicBezTo>
                        <a:pt x="2379929" y="70359"/>
                        <a:pt x="2383148" y="80963"/>
                        <a:pt x="2383148" y="94879"/>
                      </a:cubicBezTo>
                      <a:lnTo>
                        <a:pt x="2383148" y="169218"/>
                      </a:lnTo>
                      <a:lnTo>
                        <a:pt x="2372879" y="169218"/>
                      </a:lnTo>
                      <a:lnTo>
                        <a:pt x="2372879" y="146336"/>
                      </a:lnTo>
                      <a:lnTo>
                        <a:pt x="2372432" y="146336"/>
                      </a:lnTo>
                      <a:cubicBezTo>
                        <a:pt x="2368786" y="154149"/>
                        <a:pt x="2363484" y="160382"/>
                        <a:pt x="2356526" y="165032"/>
                      </a:cubicBezTo>
                      <a:cubicBezTo>
                        <a:pt x="2349569" y="169683"/>
                        <a:pt x="2341848" y="172009"/>
                        <a:pt x="2333365" y="172009"/>
                      </a:cubicBezTo>
                      <a:cubicBezTo>
                        <a:pt x="2322500" y="172009"/>
                        <a:pt x="2313906" y="168958"/>
                        <a:pt x="2307580" y="162856"/>
                      </a:cubicBezTo>
                      <a:cubicBezTo>
                        <a:pt x="2301255" y="156754"/>
                        <a:pt x="2298093" y="149052"/>
                        <a:pt x="2298093" y="139750"/>
                      </a:cubicBezTo>
                      <a:cubicBezTo>
                        <a:pt x="2298093" y="119807"/>
                        <a:pt x="2311301" y="107752"/>
                        <a:pt x="2337718" y="103585"/>
                      </a:cubicBezTo>
                      <a:lnTo>
                        <a:pt x="2372879" y="98339"/>
                      </a:lnTo>
                      <a:cubicBezTo>
                        <a:pt x="2372879" y="73782"/>
                        <a:pt x="2363651" y="61504"/>
                        <a:pt x="2345197" y="61504"/>
                      </a:cubicBezTo>
                      <a:cubicBezTo>
                        <a:pt x="2332621" y="61504"/>
                        <a:pt x="2320380" y="66564"/>
                        <a:pt x="2308473" y="76684"/>
                      </a:cubicBezTo>
                      <a:lnTo>
                        <a:pt x="2308473" y="64294"/>
                      </a:lnTo>
                      <a:cubicBezTo>
                        <a:pt x="2312715" y="60946"/>
                        <a:pt x="2318463" y="58081"/>
                        <a:pt x="2325719" y="55700"/>
                      </a:cubicBezTo>
                      <a:cubicBezTo>
                        <a:pt x="2332974" y="53318"/>
                        <a:pt x="2339802" y="52128"/>
                        <a:pt x="2346201" y="52128"/>
                      </a:cubicBezTo>
                      <a:close/>
                      <a:moveTo>
                        <a:pt x="2233241" y="52128"/>
                      </a:moveTo>
                      <a:cubicBezTo>
                        <a:pt x="2247454" y="52128"/>
                        <a:pt x="2258355" y="57113"/>
                        <a:pt x="2265946" y="67085"/>
                      </a:cubicBezTo>
                      <a:cubicBezTo>
                        <a:pt x="2273536" y="77056"/>
                        <a:pt x="2277331" y="90674"/>
                        <a:pt x="2277331" y="107938"/>
                      </a:cubicBezTo>
                      <a:lnTo>
                        <a:pt x="2277331" y="112515"/>
                      </a:lnTo>
                      <a:lnTo>
                        <a:pt x="2192722" y="112515"/>
                      </a:lnTo>
                      <a:cubicBezTo>
                        <a:pt x="2192722" y="128216"/>
                        <a:pt x="2196350" y="140494"/>
                        <a:pt x="2203605" y="149350"/>
                      </a:cubicBezTo>
                      <a:cubicBezTo>
                        <a:pt x="2210861" y="158205"/>
                        <a:pt x="2220814" y="162633"/>
                        <a:pt x="2233464" y="162633"/>
                      </a:cubicBezTo>
                      <a:cubicBezTo>
                        <a:pt x="2246263" y="162633"/>
                        <a:pt x="2258765" y="157907"/>
                        <a:pt x="2270969" y="148457"/>
                      </a:cubicBezTo>
                      <a:lnTo>
                        <a:pt x="2270969" y="159396"/>
                      </a:lnTo>
                      <a:cubicBezTo>
                        <a:pt x="2259137" y="167804"/>
                        <a:pt x="2245928" y="172009"/>
                        <a:pt x="2231343" y="172009"/>
                      </a:cubicBezTo>
                      <a:cubicBezTo>
                        <a:pt x="2216609" y="172009"/>
                        <a:pt x="2204703" y="166725"/>
                        <a:pt x="2195624" y="156159"/>
                      </a:cubicBezTo>
                      <a:cubicBezTo>
                        <a:pt x="2186546" y="145592"/>
                        <a:pt x="2182007" y="130672"/>
                        <a:pt x="2182007" y="111399"/>
                      </a:cubicBezTo>
                      <a:cubicBezTo>
                        <a:pt x="2182007" y="94730"/>
                        <a:pt x="2186751" y="80684"/>
                        <a:pt x="2196238" y="69262"/>
                      </a:cubicBezTo>
                      <a:cubicBezTo>
                        <a:pt x="2205726" y="57839"/>
                        <a:pt x="2218060" y="52128"/>
                        <a:pt x="2233241" y="52128"/>
                      </a:cubicBezTo>
                      <a:close/>
                      <a:moveTo>
                        <a:pt x="1899866" y="52128"/>
                      </a:moveTo>
                      <a:cubicBezTo>
                        <a:pt x="1914079" y="52128"/>
                        <a:pt x="1924980" y="57113"/>
                        <a:pt x="1932571" y="67085"/>
                      </a:cubicBezTo>
                      <a:cubicBezTo>
                        <a:pt x="1940161" y="77056"/>
                        <a:pt x="1943956" y="90674"/>
                        <a:pt x="1943956" y="107938"/>
                      </a:cubicBezTo>
                      <a:lnTo>
                        <a:pt x="1943956" y="112515"/>
                      </a:lnTo>
                      <a:lnTo>
                        <a:pt x="1859347" y="112515"/>
                      </a:lnTo>
                      <a:cubicBezTo>
                        <a:pt x="1859347" y="128216"/>
                        <a:pt x="1862975" y="140494"/>
                        <a:pt x="1870230" y="149350"/>
                      </a:cubicBezTo>
                      <a:cubicBezTo>
                        <a:pt x="1877486" y="158205"/>
                        <a:pt x="1887439" y="162633"/>
                        <a:pt x="1900089" y="162633"/>
                      </a:cubicBezTo>
                      <a:cubicBezTo>
                        <a:pt x="1912888" y="162633"/>
                        <a:pt x="1925390" y="157907"/>
                        <a:pt x="1937594" y="148457"/>
                      </a:cubicBezTo>
                      <a:lnTo>
                        <a:pt x="1937594" y="159396"/>
                      </a:lnTo>
                      <a:cubicBezTo>
                        <a:pt x="1925762" y="167804"/>
                        <a:pt x="1912553" y="172009"/>
                        <a:pt x="1897968" y="172009"/>
                      </a:cubicBezTo>
                      <a:cubicBezTo>
                        <a:pt x="1883234" y="172009"/>
                        <a:pt x="1871328" y="166725"/>
                        <a:pt x="1862249" y="156159"/>
                      </a:cubicBezTo>
                      <a:cubicBezTo>
                        <a:pt x="1853171" y="145592"/>
                        <a:pt x="1848632" y="130672"/>
                        <a:pt x="1848632" y="111399"/>
                      </a:cubicBezTo>
                      <a:cubicBezTo>
                        <a:pt x="1848632" y="94730"/>
                        <a:pt x="1853376" y="80684"/>
                        <a:pt x="1862863" y="69262"/>
                      </a:cubicBezTo>
                      <a:cubicBezTo>
                        <a:pt x="1872351" y="57839"/>
                        <a:pt x="1884685" y="52128"/>
                        <a:pt x="1899866" y="52128"/>
                      </a:cubicBezTo>
                      <a:close/>
                      <a:moveTo>
                        <a:pt x="1223591" y="52128"/>
                      </a:moveTo>
                      <a:cubicBezTo>
                        <a:pt x="1237804" y="52128"/>
                        <a:pt x="1248705" y="57113"/>
                        <a:pt x="1256296" y="67085"/>
                      </a:cubicBezTo>
                      <a:cubicBezTo>
                        <a:pt x="1263886" y="77056"/>
                        <a:pt x="1267681" y="90674"/>
                        <a:pt x="1267681" y="107938"/>
                      </a:cubicBezTo>
                      <a:lnTo>
                        <a:pt x="1267681" y="112515"/>
                      </a:lnTo>
                      <a:lnTo>
                        <a:pt x="1183072" y="112515"/>
                      </a:lnTo>
                      <a:cubicBezTo>
                        <a:pt x="1183072" y="128216"/>
                        <a:pt x="1186700" y="140494"/>
                        <a:pt x="1193955" y="149350"/>
                      </a:cubicBezTo>
                      <a:cubicBezTo>
                        <a:pt x="1201211" y="158205"/>
                        <a:pt x="1211164" y="162633"/>
                        <a:pt x="1223814" y="162633"/>
                      </a:cubicBezTo>
                      <a:cubicBezTo>
                        <a:pt x="1236613" y="162633"/>
                        <a:pt x="1249115" y="157907"/>
                        <a:pt x="1261319" y="148457"/>
                      </a:cubicBezTo>
                      <a:lnTo>
                        <a:pt x="1261319" y="159396"/>
                      </a:lnTo>
                      <a:cubicBezTo>
                        <a:pt x="1249487" y="167804"/>
                        <a:pt x="1236278" y="172009"/>
                        <a:pt x="1221693" y="172009"/>
                      </a:cubicBezTo>
                      <a:cubicBezTo>
                        <a:pt x="1206959" y="172009"/>
                        <a:pt x="1195053" y="166725"/>
                        <a:pt x="1185974" y="156159"/>
                      </a:cubicBezTo>
                      <a:cubicBezTo>
                        <a:pt x="1176896" y="145592"/>
                        <a:pt x="1172357" y="130672"/>
                        <a:pt x="1172357" y="111399"/>
                      </a:cubicBezTo>
                      <a:cubicBezTo>
                        <a:pt x="1172357" y="94730"/>
                        <a:pt x="1177101" y="80684"/>
                        <a:pt x="1186588" y="69262"/>
                      </a:cubicBezTo>
                      <a:cubicBezTo>
                        <a:pt x="1196076" y="57839"/>
                        <a:pt x="1208410" y="52128"/>
                        <a:pt x="1223591" y="52128"/>
                      </a:cubicBezTo>
                      <a:close/>
                      <a:moveTo>
                        <a:pt x="932446" y="52128"/>
                      </a:moveTo>
                      <a:cubicBezTo>
                        <a:pt x="948742" y="52128"/>
                        <a:pt x="961616" y="57448"/>
                        <a:pt x="971067" y="68090"/>
                      </a:cubicBezTo>
                      <a:cubicBezTo>
                        <a:pt x="980517" y="78731"/>
                        <a:pt x="985242" y="93465"/>
                        <a:pt x="985242" y="112291"/>
                      </a:cubicBezTo>
                      <a:cubicBezTo>
                        <a:pt x="985242" y="130076"/>
                        <a:pt x="980424" y="144476"/>
                        <a:pt x="970788" y="155489"/>
                      </a:cubicBezTo>
                      <a:cubicBezTo>
                        <a:pt x="961151" y="166502"/>
                        <a:pt x="947961" y="172009"/>
                        <a:pt x="931218" y="172009"/>
                      </a:cubicBezTo>
                      <a:cubicBezTo>
                        <a:pt x="914549" y="172009"/>
                        <a:pt x="901359" y="166521"/>
                        <a:pt x="891648" y="155545"/>
                      </a:cubicBezTo>
                      <a:cubicBezTo>
                        <a:pt x="881937" y="144569"/>
                        <a:pt x="877082" y="130300"/>
                        <a:pt x="877082" y="112738"/>
                      </a:cubicBezTo>
                      <a:cubicBezTo>
                        <a:pt x="877082" y="93762"/>
                        <a:pt x="882160" y="78917"/>
                        <a:pt x="892318" y="68201"/>
                      </a:cubicBezTo>
                      <a:cubicBezTo>
                        <a:pt x="902475" y="57486"/>
                        <a:pt x="915851" y="52128"/>
                        <a:pt x="932446" y="52128"/>
                      </a:cubicBezTo>
                      <a:close/>
                      <a:moveTo>
                        <a:pt x="814016" y="52128"/>
                      </a:moveTo>
                      <a:cubicBezTo>
                        <a:pt x="828229" y="52128"/>
                        <a:pt x="839130" y="57113"/>
                        <a:pt x="846721" y="67085"/>
                      </a:cubicBezTo>
                      <a:cubicBezTo>
                        <a:pt x="854311" y="77056"/>
                        <a:pt x="858106" y="90674"/>
                        <a:pt x="858106" y="107938"/>
                      </a:cubicBezTo>
                      <a:lnTo>
                        <a:pt x="858106" y="112515"/>
                      </a:lnTo>
                      <a:lnTo>
                        <a:pt x="773497" y="112515"/>
                      </a:lnTo>
                      <a:cubicBezTo>
                        <a:pt x="773497" y="128216"/>
                        <a:pt x="777125" y="140494"/>
                        <a:pt x="784380" y="149350"/>
                      </a:cubicBezTo>
                      <a:cubicBezTo>
                        <a:pt x="791636" y="158205"/>
                        <a:pt x="801589" y="162633"/>
                        <a:pt x="814239" y="162633"/>
                      </a:cubicBezTo>
                      <a:cubicBezTo>
                        <a:pt x="827038" y="162633"/>
                        <a:pt x="839540" y="157907"/>
                        <a:pt x="851744" y="148457"/>
                      </a:cubicBezTo>
                      <a:lnTo>
                        <a:pt x="851744" y="159396"/>
                      </a:lnTo>
                      <a:cubicBezTo>
                        <a:pt x="839912" y="167804"/>
                        <a:pt x="826703" y="172009"/>
                        <a:pt x="812118" y="172009"/>
                      </a:cubicBezTo>
                      <a:cubicBezTo>
                        <a:pt x="797384" y="172009"/>
                        <a:pt x="785478" y="166725"/>
                        <a:pt x="776399" y="156159"/>
                      </a:cubicBezTo>
                      <a:cubicBezTo>
                        <a:pt x="767321" y="145592"/>
                        <a:pt x="762782" y="130672"/>
                        <a:pt x="762782" y="111399"/>
                      </a:cubicBezTo>
                      <a:cubicBezTo>
                        <a:pt x="762782" y="94730"/>
                        <a:pt x="767526" y="80684"/>
                        <a:pt x="777013" y="69262"/>
                      </a:cubicBezTo>
                      <a:cubicBezTo>
                        <a:pt x="786501" y="57839"/>
                        <a:pt x="798835" y="52128"/>
                        <a:pt x="814016" y="52128"/>
                      </a:cubicBezTo>
                      <a:close/>
                      <a:moveTo>
                        <a:pt x="2710607" y="52127"/>
                      </a:moveTo>
                      <a:cubicBezTo>
                        <a:pt x="2727425" y="52127"/>
                        <a:pt x="2739628" y="59084"/>
                        <a:pt x="2747218" y="73000"/>
                      </a:cubicBezTo>
                      <a:lnTo>
                        <a:pt x="2747665" y="73000"/>
                      </a:lnTo>
                      <a:lnTo>
                        <a:pt x="2747665" y="54917"/>
                      </a:lnTo>
                      <a:lnTo>
                        <a:pt x="2757934" y="54917"/>
                      </a:lnTo>
                      <a:lnTo>
                        <a:pt x="2757934" y="160734"/>
                      </a:lnTo>
                      <a:cubicBezTo>
                        <a:pt x="2757934" y="182240"/>
                        <a:pt x="2753246" y="197978"/>
                        <a:pt x="2743870" y="207950"/>
                      </a:cubicBezTo>
                      <a:cubicBezTo>
                        <a:pt x="2734494" y="217921"/>
                        <a:pt x="2719909" y="222907"/>
                        <a:pt x="2700115" y="222907"/>
                      </a:cubicBezTo>
                      <a:cubicBezTo>
                        <a:pt x="2689101" y="222907"/>
                        <a:pt x="2677753" y="220005"/>
                        <a:pt x="2666070" y="214201"/>
                      </a:cubicBezTo>
                      <a:lnTo>
                        <a:pt x="2666070" y="203485"/>
                      </a:lnTo>
                      <a:cubicBezTo>
                        <a:pt x="2678125" y="210182"/>
                        <a:pt x="2689548" y="213531"/>
                        <a:pt x="2700338" y="213531"/>
                      </a:cubicBezTo>
                      <a:cubicBezTo>
                        <a:pt x="2731889" y="213531"/>
                        <a:pt x="2747665" y="196862"/>
                        <a:pt x="2747665" y="163525"/>
                      </a:cubicBezTo>
                      <a:lnTo>
                        <a:pt x="2747665" y="148679"/>
                      </a:lnTo>
                      <a:lnTo>
                        <a:pt x="2747218" y="148679"/>
                      </a:lnTo>
                      <a:cubicBezTo>
                        <a:pt x="2738214" y="164231"/>
                        <a:pt x="2724485" y="172008"/>
                        <a:pt x="2706031" y="172008"/>
                      </a:cubicBezTo>
                      <a:cubicBezTo>
                        <a:pt x="2691966" y="172008"/>
                        <a:pt x="2680488" y="166910"/>
                        <a:pt x="2671595" y="156716"/>
                      </a:cubicBezTo>
                      <a:cubicBezTo>
                        <a:pt x="2662703" y="146521"/>
                        <a:pt x="2658257" y="132308"/>
                        <a:pt x="2658257" y="114076"/>
                      </a:cubicBezTo>
                      <a:cubicBezTo>
                        <a:pt x="2658257" y="95845"/>
                        <a:pt x="2663056" y="80962"/>
                        <a:pt x="2672656" y="69428"/>
                      </a:cubicBezTo>
                      <a:cubicBezTo>
                        <a:pt x="2682255" y="57894"/>
                        <a:pt x="2694906" y="52127"/>
                        <a:pt x="2710607" y="52127"/>
                      </a:cubicBezTo>
                      <a:close/>
                      <a:moveTo>
                        <a:pt x="2592475" y="52127"/>
                      </a:moveTo>
                      <a:cubicBezTo>
                        <a:pt x="2604827" y="52127"/>
                        <a:pt x="2614278" y="56238"/>
                        <a:pt x="2620826" y="64461"/>
                      </a:cubicBezTo>
                      <a:cubicBezTo>
                        <a:pt x="2627375" y="72684"/>
                        <a:pt x="2630649" y="84422"/>
                        <a:pt x="2630649" y="99677"/>
                      </a:cubicBezTo>
                      <a:lnTo>
                        <a:pt x="2630649" y="169217"/>
                      </a:lnTo>
                      <a:lnTo>
                        <a:pt x="2620380" y="169217"/>
                      </a:lnTo>
                      <a:lnTo>
                        <a:pt x="2620380" y="102691"/>
                      </a:lnTo>
                      <a:cubicBezTo>
                        <a:pt x="2620380" y="75232"/>
                        <a:pt x="2610483" y="61503"/>
                        <a:pt x="2590689" y="61503"/>
                      </a:cubicBezTo>
                      <a:cubicBezTo>
                        <a:pt x="2579676" y="61503"/>
                        <a:pt x="2570634" y="65540"/>
                        <a:pt x="2563565" y="73614"/>
                      </a:cubicBezTo>
                      <a:cubicBezTo>
                        <a:pt x="2556496" y="81688"/>
                        <a:pt x="2552961" y="91678"/>
                        <a:pt x="2552961" y="103584"/>
                      </a:cubicBezTo>
                      <a:lnTo>
                        <a:pt x="2552961" y="169217"/>
                      </a:lnTo>
                      <a:lnTo>
                        <a:pt x="2542692" y="169217"/>
                      </a:lnTo>
                      <a:lnTo>
                        <a:pt x="2542692" y="54917"/>
                      </a:lnTo>
                      <a:lnTo>
                        <a:pt x="2552961" y="54917"/>
                      </a:lnTo>
                      <a:lnTo>
                        <a:pt x="2552961" y="75679"/>
                      </a:lnTo>
                      <a:lnTo>
                        <a:pt x="2553407" y="75679"/>
                      </a:lnTo>
                      <a:cubicBezTo>
                        <a:pt x="2561742" y="59977"/>
                        <a:pt x="2574764" y="52127"/>
                        <a:pt x="2592475" y="52127"/>
                      </a:cubicBezTo>
                      <a:close/>
                      <a:moveTo>
                        <a:pt x="1062633" y="52127"/>
                      </a:moveTo>
                      <a:cubicBezTo>
                        <a:pt x="1077144" y="52127"/>
                        <a:pt x="1088473" y="57131"/>
                        <a:pt x="1096622" y="67140"/>
                      </a:cubicBezTo>
                      <a:cubicBezTo>
                        <a:pt x="1104770" y="77148"/>
                        <a:pt x="1108844" y="90748"/>
                        <a:pt x="1108844" y="107937"/>
                      </a:cubicBezTo>
                      <a:cubicBezTo>
                        <a:pt x="1108844" y="127062"/>
                        <a:pt x="1104175" y="142521"/>
                        <a:pt x="1094836" y="154316"/>
                      </a:cubicBezTo>
                      <a:cubicBezTo>
                        <a:pt x="1085497" y="166110"/>
                        <a:pt x="1073163" y="172008"/>
                        <a:pt x="1057833" y="172008"/>
                      </a:cubicBezTo>
                      <a:cubicBezTo>
                        <a:pt x="1040718" y="172008"/>
                        <a:pt x="1028068" y="164306"/>
                        <a:pt x="1019882" y="148902"/>
                      </a:cubicBezTo>
                      <a:lnTo>
                        <a:pt x="1019436" y="148902"/>
                      </a:lnTo>
                      <a:lnTo>
                        <a:pt x="1019436" y="221791"/>
                      </a:lnTo>
                      <a:lnTo>
                        <a:pt x="1009167" y="221791"/>
                      </a:lnTo>
                      <a:lnTo>
                        <a:pt x="1009167" y="54917"/>
                      </a:lnTo>
                      <a:lnTo>
                        <a:pt x="1019436" y="54917"/>
                      </a:lnTo>
                      <a:lnTo>
                        <a:pt x="1019436" y="78469"/>
                      </a:lnTo>
                      <a:lnTo>
                        <a:pt x="1019882" y="78469"/>
                      </a:lnTo>
                      <a:cubicBezTo>
                        <a:pt x="1023975" y="70060"/>
                        <a:pt x="1029835" y="63568"/>
                        <a:pt x="1037463" y="58991"/>
                      </a:cubicBezTo>
                      <a:cubicBezTo>
                        <a:pt x="1045090" y="54415"/>
                        <a:pt x="1053480" y="52127"/>
                        <a:pt x="1062633" y="52127"/>
                      </a:cubicBezTo>
                      <a:close/>
                      <a:moveTo>
                        <a:pt x="700683" y="52127"/>
                      </a:moveTo>
                      <a:cubicBezTo>
                        <a:pt x="715194" y="52127"/>
                        <a:pt x="726523" y="57131"/>
                        <a:pt x="734672" y="67140"/>
                      </a:cubicBezTo>
                      <a:cubicBezTo>
                        <a:pt x="742820" y="77148"/>
                        <a:pt x="746894" y="90748"/>
                        <a:pt x="746894" y="107937"/>
                      </a:cubicBezTo>
                      <a:cubicBezTo>
                        <a:pt x="746894" y="127062"/>
                        <a:pt x="742225" y="142521"/>
                        <a:pt x="732886" y="154316"/>
                      </a:cubicBezTo>
                      <a:cubicBezTo>
                        <a:pt x="723547" y="166110"/>
                        <a:pt x="711213" y="172008"/>
                        <a:pt x="695883" y="172008"/>
                      </a:cubicBezTo>
                      <a:cubicBezTo>
                        <a:pt x="678768" y="172008"/>
                        <a:pt x="666118" y="164306"/>
                        <a:pt x="657932" y="148902"/>
                      </a:cubicBezTo>
                      <a:lnTo>
                        <a:pt x="657486" y="148902"/>
                      </a:lnTo>
                      <a:lnTo>
                        <a:pt x="657486" y="221791"/>
                      </a:lnTo>
                      <a:lnTo>
                        <a:pt x="647216" y="221791"/>
                      </a:lnTo>
                      <a:lnTo>
                        <a:pt x="647216" y="54917"/>
                      </a:lnTo>
                      <a:lnTo>
                        <a:pt x="657486" y="54917"/>
                      </a:lnTo>
                      <a:lnTo>
                        <a:pt x="657486" y="78469"/>
                      </a:lnTo>
                      <a:lnTo>
                        <a:pt x="657932" y="78469"/>
                      </a:lnTo>
                      <a:cubicBezTo>
                        <a:pt x="662025" y="70060"/>
                        <a:pt x="667885" y="63568"/>
                        <a:pt x="675513" y="58991"/>
                      </a:cubicBezTo>
                      <a:cubicBezTo>
                        <a:pt x="683140" y="54415"/>
                        <a:pt x="691530" y="52127"/>
                        <a:pt x="700683" y="52127"/>
                      </a:cubicBezTo>
                      <a:close/>
                      <a:moveTo>
                        <a:pt x="249325" y="52127"/>
                      </a:moveTo>
                      <a:cubicBezTo>
                        <a:pt x="261677" y="52127"/>
                        <a:pt x="271128" y="56238"/>
                        <a:pt x="277676" y="64461"/>
                      </a:cubicBezTo>
                      <a:cubicBezTo>
                        <a:pt x="284225" y="72684"/>
                        <a:pt x="287499" y="84422"/>
                        <a:pt x="287499" y="99677"/>
                      </a:cubicBezTo>
                      <a:lnTo>
                        <a:pt x="287499" y="169217"/>
                      </a:lnTo>
                      <a:lnTo>
                        <a:pt x="277230" y="169217"/>
                      </a:lnTo>
                      <a:lnTo>
                        <a:pt x="277230" y="102691"/>
                      </a:lnTo>
                      <a:cubicBezTo>
                        <a:pt x="277230" y="75232"/>
                        <a:pt x="267333" y="61503"/>
                        <a:pt x="247539" y="61503"/>
                      </a:cubicBezTo>
                      <a:cubicBezTo>
                        <a:pt x="236525" y="61503"/>
                        <a:pt x="227484" y="65540"/>
                        <a:pt x="220415" y="73614"/>
                      </a:cubicBezTo>
                      <a:cubicBezTo>
                        <a:pt x="213345" y="81688"/>
                        <a:pt x="209811" y="91678"/>
                        <a:pt x="209811" y="103584"/>
                      </a:cubicBezTo>
                      <a:lnTo>
                        <a:pt x="209811" y="169217"/>
                      </a:lnTo>
                      <a:lnTo>
                        <a:pt x="199542" y="169217"/>
                      </a:lnTo>
                      <a:lnTo>
                        <a:pt x="199542" y="54917"/>
                      </a:lnTo>
                      <a:lnTo>
                        <a:pt x="209811" y="54917"/>
                      </a:lnTo>
                      <a:lnTo>
                        <a:pt x="209811" y="75679"/>
                      </a:lnTo>
                      <a:lnTo>
                        <a:pt x="210257" y="75679"/>
                      </a:lnTo>
                      <a:cubicBezTo>
                        <a:pt x="218592" y="59977"/>
                        <a:pt x="231614" y="52127"/>
                        <a:pt x="249325" y="52127"/>
                      </a:cubicBezTo>
                      <a:close/>
                      <a:moveTo>
                        <a:pt x="508099" y="15850"/>
                      </a:moveTo>
                      <a:cubicBezTo>
                        <a:pt x="495821" y="15850"/>
                        <a:pt x="486259" y="22138"/>
                        <a:pt x="479413" y="34714"/>
                      </a:cubicBezTo>
                      <a:cubicBezTo>
                        <a:pt x="472567" y="47290"/>
                        <a:pt x="469144" y="66154"/>
                        <a:pt x="469144" y="91306"/>
                      </a:cubicBezTo>
                      <a:cubicBezTo>
                        <a:pt x="469144" y="114225"/>
                        <a:pt x="472418" y="131843"/>
                        <a:pt x="478966" y="144158"/>
                      </a:cubicBezTo>
                      <a:cubicBezTo>
                        <a:pt x="485515" y="156474"/>
                        <a:pt x="494816" y="162632"/>
                        <a:pt x="506872" y="162632"/>
                      </a:cubicBezTo>
                      <a:cubicBezTo>
                        <a:pt x="518704" y="162632"/>
                        <a:pt x="527912" y="156362"/>
                        <a:pt x="534498" y="143823"/>
                      </a:cubicBezTo>
                      <a:cubicBezTo>
                        <a:pt x="541083" y="131285"/>
                        <a:pt x="544376" y="113369"/>
                        <a:pt x="544376" y="90078"/>
                      </a:cubicBezTo>
                      <a:cubicBezTo>
                        <a:pt x="544376" y="40593"/>
                        <a:pt x="532284" y="15850"/>
                        <a:pt x="508099" y="15850"/>
                      </a:cubicBezTo>
                      <a:close/>
                      <a:moveTo>
                        <a:pt x="2500090" y="9153"/>
                      </a:moveTo>
                      <a:cubicBezTo>
                        <a:pt x="2502396" y="9153"/>
                        <a:pt x="2504424" y="9897"/>
                        <a:pt x="2506173" y="11385"/>
                      </a:cubicBezTo>
                      <a:cubicBezTo>
                        <a:pt x="2507922" y="12873"/>
                        <a:pt x="2508796" y="14882"/>
                        <a:pt x="2508796" y="17413"/>
                      </a:cubicBezTo>
                      <a:cubicBezTo>
                        <a:pt x="2508796" y="19794"/>
                        <a:pt x="2507940" y="21840"/>
                        <a:pt x="2506229" y="23552"/>
                      </a:cubicBezTo>
                      <a:cubicBezTo>
                        <a:pt x="2504517" y="25263"/>
                        <a:pt x="2502471" y="26119"/>
                        <a:pt x="2500090" y="26119"/>
                      </a:cubicBezTo>
                      <a:cubicBezTo>
                        <a:pt x="2497857" y="26119"/>
                        <a:pt x="2495885" y="25300"/>
                        <a:pt x="2494174" y="23663"/>
                      </a:cubicBezTo>
                      <a:cubicBezTo>
                        <a:pt x="2492462" y="22026"/>
                        <a:pt x="2491606" y="19943"/>
                        <a:pt x="2491606" y="17413"/>
                      </a:cubicBezTo>
                      <a:cubicBezTo>
                        <a:pt x="2491606" y="14957"/>
                        <a:pt x="2492481" y="12966"/>
                        <a:pt x="2494229" y="11441"/>
                      </a:cubicBezTo>
                      <a:cubicBezTo>
                        <a:pt x="2495978" y="9915"/>
                        <a:pt x="2497932" y="9153"/>
                        <a:pt x="2500090" y="9153"/>
                      </a:cubicBezTo>
                      <a:close/>
                      <a:moveTo>
                        <a:pt x="1528540" y="9153"/>
                      </a:moveTo>
                      <a:cubicBezTo>
                        <a:pt x="1530846" y="9153"/>
                        <a:pt x="1532874" y="9897"/>
                        <a:pt x="1534623" y="11385"/>
                      </a:cubicBezTo>
                      <a:cubicBezTo>
                        <a:pt x="1536372" y="12873"/>
                        <a:pt x="1537246" y="14882"/>
                        <a:pt x="1537246" y="17413"/>
                      </a:cubicBezTo>
                      <a:cubicBezTo>
                        <a:pt x="1537246" y="19794"/>
                        <a:pt x="1536390" y="21840"/>
                        <a:pt x="1534679" y="23552"/>
                      </a:cubicBezTo>
                      <a:cubicBezTo>
                        <a:pt x="1532967" y="25263"/>
                        <a:pt x="1530921" y="26119"/>
                        <a:pt x="1528540" y="26119"/>
                      </a:cubicBezTo>
                      <a:cubicBezTo>
                        <a:pt x="1526307" y="26119"/>
                        <a:pt x="1524335" y="25300"/>
                        <a:pt x="1522624" y="23663"/>
                      </a:cubicBezTo>
                      <a:cubicBezTo>
                        <a:pt x="1520912" y="22026"/>
                        <a:pt x="1520056" y="19943"/>
                        <a:pt x="1520056" y="17413"/>
                      </a:cubicBezTo>
                      <a:cubicBezTo>
                        <a:pt x="1520056" y="14957"/>
                        <a:pt x="1520931" y="12966"/>
                        <a:pt x="1522679" y="11441"/>
                      </a:cubicBezTo>
                      <a:cubicBezTo>
                        <a:pt x="1524428" y="9915"/>
                        <a:pt x="1526382" y="9153"/>
                        <a:pt x="1528540" y="9153"/>
                      </a:cubicBezTo>
                      <a:close/>
                      <a:moveTo>
                        <a:pt x="156940" y="9153"/>
                      </a:moveTo>
                      <a:cubicBezTo>
                        <a:pt x="159246" y="9153"/>
                        <a:pt x="161274" y="9897"/>
                        <a:pt x="163023" y="11385"/>
                      </a:cubicBezTo>
                      <a:cubicBezTo>
                        <a:pt x="164772" y="12873"/>
                        <a:pt x="165646" y="14882"/>
                        <a:pt x="165646" y="17413"/>
                      </a:cubicBezTo>
                      <a:cubicBezTo>
                        <a:pt x="165646" y="19794"/>
                        <a:pt x="164790" y="21840"/>
                        <a:pt x="163079" y="23552"/>
                      </a:cubicBezTo>
                      <a:cubicBezTo>
                        <a:pt x="161367" y="25263"/>
                        <a:pt x="159321" y="26119"/>
                        <a:pt x="156940" y="26119"/>
                      </a:cubicBezTo>
                      <a:cubicBezTo>
                        <a:pt x="154707" y="26119"/>
                        <a:pt x="152735" y="25300"/>
                        <a:pt x="151024" y="23663"/>
                      </a:cubicBezTo>
                      <a:cubicBezTo>
                        <a:pt x="149312" y="22026"/>
                        <a:pt x="148456" y="19943"/>
                        <a:pt x="148456" y="17413"/>
                      </a:cubicBezTo>
                      <a:cubicBezTo>
                        <a:pt x="148456" y="14957"/>
                        <a:pt x="149331" y="12966"/>
                        <a:pt x="151080" y="11441"/>
                      </a:cubicBezTo>
                      <a:cubicBezTo>
                        <a:pt x="152828" y="9915"/>
                        <a:pt x="154782" y="9153"/>
                        <a:pt x="156940" y="9153"/>
                      </a:cubicBezTo>
                      <a:close/>
                      <a:moveTo>
                        <a:pt x="508992" y="6474"/>
                      </a:moveTo>
                      <a:cubicBezTo>
                        <a:pt x="539800" y="6474"/>
                        <a:pt x="555203" y="33821"/>
                        <a:pt x="555203" y="88515"/>
                      </a:cubicBezTo>
                      <a:cubicBezTo>
                        <a:pt x="555203" y="115751"/>
                        <a:pt x="550850" y="136475"/>
                        <a:pt x="542144" y="150688"/>
                      </a:cubicBezTo>
                      <a:cubicBezTo>
                        <a:pt x="533437" y="164901"/>
                        <a:pt x="521233" y="172008"/>
                        <a:pt x="505532" y="172008"/>
                      </a:cubicBezTo>
                      <a:cubicBezTo>
                        <a:pt x="490798" y="172008"/>
                        <a:pt x="479264" y="165236"/>
                        <a:pt x="470930" y="151693"/>
                      </a:cubicBezTo>
                      <a:cubicBezTo>
                        <a:pt x="462595" y="138149"/>
                        <a:pt x="458428" y="118467"/>
                        <a:pt x="458428" y="92645"/>
                      </a:cubicBezTo>
                      <a:cubicBezTo>
                        <a:pt x="458428" y="64145"/>
                        <a:pt x="462800" y="42658"/>
                        <a:pt x="471544" y="28184"/>
                      </a:cubicBezTo>
                      <a:cubicBezTo>
                        <a:pt x="480287" y="13710"/>
                        <a:pt x="492770" y="6474"/>
                        <a:pt x="508992" y="6474"/>
                      </a:cubicBezTo>
                      <a:close/>
                      <a:moveTo>
                        <a:pt x="417351" y="5581"/>
                      </a:moveTo>
                      <a:lnTo>
                        <a:pt x="420923" y="5581"/>
                      </a:lnTo>
                      <a:lnTo>
                        <a:pt x="420923" y="169217"/>
                      </a:lnTo>
                      <a:lnTo>
                        <a:pt x="410654" y="169217"/>
                      </a:lnTo>
                      <a:lnTo>
                        <a:pt x="410654" y="21766"/>
                      </a:lnTo>
                      <a:cubicBezTo>
                        <a:pt x="405520" y="26677"/>
                        <a:pt x="399660" y="30919"/>
                        <a:pt x="393074" y="34491"/>
                      </a:cubicBezTo>
                      <a:cubicBezTo>
                        <a:pt x="386488" y="38062"/>
                        <a:pt x="379289" y="41225"/>
                        <a:pt x="371475" y="43978"/>
                      </a:cubicBezTo>
                      <a:lnTo>
                        <a:pt x="371475" y="34602"/>
                      </a:lnTo>
                      <a:cubicBezTo>
                        <a:pt x="376163" y="33040"/>
                        <a:pt x="380517" y="31272"/>
                        <a:pt x="384535" y="29300"/>
                      </a:cubicBezTo>
                      <a:cubicBezTo>
                        <a:pt x="388553" y="27328"/>
                        <a:pt x="392404" y="25152"/>
                        <a:pt x="396088" y="22770"/>
                      </a:cubicBezTo>
                      <a:cubicBezTo>
                        <a:pt x="399771" y="20389"/>
                        <a:pt x="403343" y="17766"/>
                        <a:pt x="406803" y="14901"/>
                      </a:cubicBezTo>
                      <a:cubicBezTo>
                        <a:pt x="410264" y="12036"/>
                        <a:pt x="413780" y="8929"/>
                        <a:pt x="417351" y="5581"/>
                      </a:cubicBezTo>
                      <a:close/>
                      <a:moveTo>
                        <a:pt x="45877" y="5581"/>
                      </a:moveTo>
                      <a:lnTo>
                        <a:pt x="49448" y="5581"/>
                      </a:lnTo>
                      <a:lnTo>
                        <a:pt x="49448" y="169217"/>
                      </a:lnTo>
                      <a:lnTo>
                        <a:pt x="39179" y="169217"/>
                      </a:lnTo>
                      <a:lnTo>
                        <a:pt x="39179" y="21766"/>
                      </a:lnTo>
                      <a:cubicBezTo>
                        <a:pt x="34045" y="26677"/>
                        <a:pt x="28185" y="30919"/>
                        <a:pt x="21599" y="34491"/>
                      </a:cubicBezTo>
                      <a:cubicBezTo>
                        <a:pt x="15013" y="38062"/>
                        <a:pt x="7814" y="41225"/>
                        <a:pt x="0" y="43978"/>
                      </a:cubicBezTo>
                      <a:lnTo>
                        <a:pt x="0" y="34602"/>
                      </a:lnTo>
                      <a:cubicBezTo>
                        <a:pt x="4688" y="33040"/>
                        <a:pt x="9042" y="31272"/>
                        <a:pt x="13060" y="29300"/>
                      </a:cubicBezTo>
                      <a:cubicBezTo>
                        <a:pt x="17078" y="27328"/>
                        <a:pt x="20929" y="25152"/>
                        <a:pt x="24613" y="22770"/>
                      </a:cubicBezTo>
                      <a:cubicBezTo>
                        <a:pt x="28296" y="20389"/>
                        <a:pt x="31868" y="17766"/>
                        <a:pt x="35328" y="14901"/>
                      </a:cubicBezTo>
                      <a:cubicBezTo>
                        <a:pt x="38789" y="12036"/>
                        <a:pt x="42305" y="8929"/>
                        <a:pt x="45877" y="5581"/>
                      </a:cubicBezTo>
                      <a:close/>
                      <a:moveTo>
                        <a:pt x="1618767" y="1"/>
                      </a:moveTo>
                      <a:lnTo>
                        <a:pt x="1629036" y="1"/>
                      </a:lnTo>
                      <a:lnTo>
                        <a:pt x="1629036" y="169218"/>
                      </a:lnTo>
                      <a:lnTo>
                        <a:pt x="1618767" y="169218"/>
                      </a:lnTo>
                      <a:close/>
                      <a:moveTo>
                        <a:pt x="1571142" y="1"/>
                      </a:moveTo>
                      <a:lnTo>
                        <a:pt x="1581411" y="1"/>
                      </a:lnTo>
                      <a:lnTo>
                        <a:pt x="1581411" y="169218"/>
                      </a:lnTo>
                      <a:lnTo>
                        <a:pt x="1571142" y="169218"/>
                      </a:lnTo>
                      <a:close/>
                      <a:moveTo>
                        <a:pt x="1132992" y="1"/>
                      </a:moveTo>
                      <a:lnTo>
                        <a:pt x="1143261" y="1"/>
                      </a:lnTo>
                      <a:lnTo>
                        <a:pt x="1143261" y="169218"/>
                      </a:lnTo>
                      <a:lnTo>
                        <a:pt x="1132992" y="169218"/>
                      </a:lnTo>
                      <a:close/>
                      <a:moveTo>
                        <a:pt x="1733067" y="0"/>
                      </a:moveTo>
                      <a:lnTo>
                        <a:pt x="1743336" y="0"/>
                      </a:lnTo>
                      <a:lnTo>
                        <a:pt x="1743336" y="78469"/>
                      </a:lnTo>
                      <a:lnTo>
                        <a:pt x="1743782" y="78469"/>
                      </a:lnTo>
                      <a:cubicBezTo>
                        <a:pt x="1747875" y="70060"/>
                        <a:pt x="1753735" y="63568"/>
                        <a:pt x="1761363" y="58991"/>
                      </a:cubicBezTo>
                      <a:cubicBezTo>
                        <a:pt x="1768990" y="54415"/>
                        <a:pt x="1777380" y="52127"/>
                        <a:pt x="1786533" y="52127"/>
                      </a:cubicBezTo>
                      <a:cubicBezTo>
                        <a:pt x="1801044" y="52127"/>
                        <a:pt x="1812373" y="57131"/>
                        <a:pt x="1820522" y="67140"/>
                      </a:cubicBezTo>
                      <a:cubicBezTo>
                        <a:pt x="1828670" y="77148"/>
                        <a:pt x="1832744" y="90748"/>
                        <a:pt x="1832744" y="107937"/>
                      </a:cubicBezTo>
                      <a:cubicBezTo>
                        <a:pt x="1832744" y="127062"/>
                        <a:pt x="1828019" y="142521"/>
                        <a:pt x="1818568" y="154316"/>
                      </a:cubicBezTo>
                      <a:cubicBezTo>
                        <a:pt x="1809118" y="166110"/>
                        <a:pt x="1796839" y="172008"/>
                        <a:pt x="1781733" y="172008"/>
                      </a:cubicBezTo>
                      <a:cubicBezTo>
                        <a:pt x="1764618" y="172008"/>
                        <a:pt x="1751968" y="164306"/>
                        <a:pt x="1743782" y="148902"/>
                      </a:cubicBezTo>
                      <a:lnTo>
                        <a:pt x="1743336" y="148902"/>
                      </a:lnTo>
                      <a:lnTo>
                        <a:pt x="1743336" y="169217"/>
                      </a:lnTo>
                      <a:lnTo>
                        <a:pt x="1733067" y="169217"/>
                      </a:ln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1 человек из 10 будет носить одежду,</a:t>
                  </a:r>
                  <a:r>
                    <a:rPr kumimoji="0" lang="ru-RU" sz="1800" b="0" i="0" u="none" strike="noStrike" kern="0" cap="none" spc="0" normalizeH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 подключенную к Интернету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endParaRPr>
                </a:p>
              </p:txBody>
            </p:sp>
          </p:grpSp>
        </p:grpSp>
      </p:grpSp>
      <p:sp>
        <p:nvSpPr>
          <p:cNvPr id="62" name="TextBox 61"/>
          <p:cNvSpPr txBox="1"/>
          <p:nvPr/>
        </p:nvSpPr>
        <p:spPr>
          <a:xfrm>
            <a:off x="7307374" y="6577057"/>
            <a:ext cx="687917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SOURCE: DEEP SHIFT TECHNOLOGY TIPPING POINTS AND SOCIETAL IMPACT | WORLD ECONOMIC FORUM REPORT (2015)</a:t>
            </a:r>
          </a:p>
        </p:txBody>
      </p:sp>
      <p:sp>
        <p:nvSpPr>
          <p:cNvPr id="2" name="CENTER RECTANGLE DARK" hidden="1"/>
          <p:cNvSpPr/>
          <p:nvPr/>
        </p:nvSpPr>
        <p:spPr>
          <a:xfrm>
            <a:off x="3049" y="2086897"/>
            <a:ext cx="12188952" cy="2684207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89958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push dir="r"/>
      </p:transition>
    </mc:Choice>
    <mc:Fallback>
      <p:transition spd="slow">
        <p:push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1.11111E-6 L -4.73945 -1.11111E-6 " pathEditMode="relative" rAng="0" ptsTypes="AA">
                                      <p:cBhvr>
                                        <p:cTn id="6" dur="130000" fill="hold"/>
                                        <p:tgtEl>
                                          <p:spTgt spid="9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6979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6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grpSp>
        <p:nvGrpSpPr>
          <p:cNvPr id="17" name="Group 16" hidden="1"/>
          <p:cNvGrpSpPr/>
          <p:nvPr/>
        </p:nvGrpSpPr>
        <p:grpSpPr>
          <a:xfrm>
            <a:off x="-788259" y="454067"/>
            <a:ext cx="10835588" cy="6403938"/>
            <a:chOff x="-1819200" y="434463"/>
            <a:chExt cx="10835588" cy="6403938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697" y="434463"/>
              <a:ext cx="4691691" cy="6403938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6732" y="434463"/>
              <a:ext cx="4691691" cy="6403938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766" y="434463"/>
              <a:ext cx="4691691" cy="6403938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819200" y="434463"/>
              <a:ext cx="4691691" cy="6403938"/>
            </a:xfrm>
            <a:prstGeom prst="rect">
              <a:avLst/>
            </a:prstGeom>
          </p:spPr>
        </p:pic>
      </p:grpSp>
      <p:pic>
        <p:nvPicPr>
          <p:cNvPr id="23" name="Picture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886" y="322729"/>
            <a:ext cx="5148690" cy="685800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886" y="322729"/>
            <a:ext cx="5148690" cy="6858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571" y="852544"/>
            <a:ext cx="4488418" cy="612648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3013" y="852544"/>
            <a:ext cx="4488418" cy="6126479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456" y="852544"/>
            <a:ext cx="4488418" cy="612647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58101" y="852544"/>
            <a:ext cx="4488418" cy="612647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571" y="852544"/>
            <a:ext cx="4488421" cy="612648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3014" y="852544"/>
            <a:ext cx="4488418" cy="612648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5048" y="933226"/>
            <a:ext cx="4488418" cy="612648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58101" y="832373"/>
            <a:ext cx="4488418" cy="612648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419647" y="1221094"/>
            <a:ext cx="2102052" cy="1215413"/>
          </a:xfrm>
          <a:prstGeom prst="rect">
            <a:avLst/>
          </a:prstGeom>
          <a:ln>
            <a:noFill/>
          </a:ln>
          <a:scene3d>
            <a:camera prst="orthographicFront">
              <a:rot lat="0" lon="19499990" rev="0"/>
            </a:camera>
            <a:lightRig rig="threePt" dir="t"/>
          </a:scene3d>
          <a:sp3d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РУПНЕЙШАЯ В МИРЕ СЕТЬ ОТЕЛЕЙ, У КОТОРОЙ Н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ОБСТВЕННОСТИ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F504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469486" y="1352432"/>
            <a:ext cx="2102052" cy="1215413"/>
          </a:xfrm>
          <a:prstGeom prst="rect">
            <a:avLst/>
          </a:prstGeom>
          <a:ln>
            <a:noFill/>
          </a:ln>
          <a:scene3d>
            <a:camera prst="orthographicFront">
              <a:rot lat="0" lon="19499990" rev="0"/>
            </a:camera>
            <a:lightRig rig="threePt" dir="t"/>
          </a:scene3d>
          <a:sp3d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 МИЛЛИАРДА МИНУТ ЕЖЕДНЕВНО ТРАТИТСЯ НА ЗВОНКИ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БЕЗ ТЕЛЕФОНИИ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F504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536544" y="1251584"/>
            <a:ext cx="2082960" cy="1184922"/>
          </a:xfrm>
          <a:prstGeom prst="rect">
            <a:avLst/>
          </a:prstGeom>
          <a:ln>
            <a:noFill/>
          </a:ln>
          <a:scene3d>
            <a:camera prst="orthographicFront">
              <a:rot lat="0" lon="19499990" rev="0"/>
            </a:camera>
            <a:lightRig rig="threePt" dir="t"/>
          </a:scene3d>
          <a:sp3d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РУПНЕЙШАЯ В МИРЕ СОЦИАЛЬНАЯ СЕТЬ НЕ ПРОИЗВОДИТ НИКАК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ОНТЕНТ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F504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571449" y="1287282"/>
            <a:ext cx="2102052" cy="1215413"/>
          </a:xfrm>
          <a:prstGeom prst="rect">
            <a:avLst/>
          </a:prstGeom>
          <a:ln>
            <a:noFill/>
          </a:ln>
          <a:scene3d>
            <a:camera prst="orthographicFront">
              <a:rot lat="0" lon="19499990" rev="0"/>
            </a:camera>
            <a:lightRig rig="threePt" dir="t"/>
          </a:scene3d>
          <a:sp3d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У КРУПНЕЙШЕГО В МИРЕ КИНОПРОКАТЧИКА НЕТ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ИНОТЕАТР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F504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612906" y="737782"/>
            <a:ext cx="3223162" cy="1516978"/>
          </a:xfrm>
          <a:prstGeom prst="rect">
            <a:avLst/>
          </a:prstGeom>
          <a:ln>
            <a:noFill/>
          </a:ln>
          <a:scene3d>
            <a:camera prst="orthographicFront">
              <a:rot lat="0" lon="2999974" rev="0"/>
            </a:camera>
            <a:lightRig rig="threePt" dir="t"/>
          </a:scene3d>
          <a:sp3d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У КРУПНЕЙШЕЙ В МИРЕ ТРАНСПОРТНОЙ КОМПАНИИ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ЕТ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4F504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ВТОМОБИЛЕ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F504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181475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529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3897" y="447059"/>
            <a:ext cx="1740354" cy="370631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709126" y="1897307"/>
            <a:ext cx="10773746" cy="3063385"/>
            <a:chOff x="1482548" y="2327945"/>
            <a:chExt cx="9221581" cy="2780011"/>
          </a:xfrm>
        </p:grpSpPr>
        <p:sp>
          <p:nvSpPr>
            <p:cNvPr id="14" name="Title 2"/>
            <p:cNvSpPr txBox="1">
              <a:spLocks/>
            </p:cNvSpPr>
            <p:nvPr/>
          </p:nvSpPr>
          <p:spPr>
            <a:xfrm>
              <a:off x="2057802" y="4270037"/>
              <a:ext cx="1686492" cy="837919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b="0" i="0" kern="1200" spc="30" baseline="0">
                  <a:solidFill>
                    <a:schemeClr val="bg1"/>
                  </a:solidFill>
                  <a:latin typeface="Segoe UI Light" charset="0"/>
                  <a:ea typeface="Segoe UI Light" charset="0"/>
                  <a:cs typeface="Segoe UI Light" charset="0"/>
                </a:defRPr>
              </a:lvl1pPr>
            </a:lstStyle>
            <a:p>
              <a:pPr algn="ctr"/>
              <a:r>
                <a:rPr lang="ru-RU" sz="2000" b="1" spc="0" dirty="0">
                  <a:latin typeface="Segoe UI Semibold" charset="0"/>
                  <a:ea typeface="Segoe UI Semibold" charset="0"/>
                  <a:cs typeface="Segoe UI Semibold" charset="0"/>
                </a:rPr>
                <a:t>Развитие ученического потенциала</a:t>
              </a:r>
              <a:endParaRPr lang="en-US" sz="2000" b="1" spc="0" dirty="0">
                <a:latin typeface="Segoe UI Semibold" charset="0"/>
                <a:ea typeface="Segoe UI Semibold" charset="0"/>
                <a:cs typeface="Segoe UI Semibold" charset="0"/>
              </a:endParaRPr>
            </a:p>
          </p:txBody>
        </p:sp>
        <p:sp>
          <p:nvSpPr>
            <p:cNvPr id="15" name="Title 2"/>
            <p:cNvSpPr txBox="1">
              <a:spLocks/>
            </p:cNvSpPr>
            <p:nvPr/>
          </p:nvSpPr>
          <p:spPr>
            <a:xfrm>
              <a:off x="3927980" y="4291334"/>
              <a:ext cx="2192598" cy="586543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b="0" i="0" kern="1200" spc="30" baseline="0">
                  <a:solidFill>
                    <a:schemeClr val="bg1"/>
                  </a:solidFill>
                  <a:latin typeface="Segoe UI Light" charset="0"/>
                  <a:ea typeface="Segoe UI Light" charset="0"/>
                  <a:cs typeface="Segoe UI Light" charset="0"/>
                </a:defRPr>
              </a:lvl1pPr>
            </a:lstStyle>
            <a:p>
              <a:pPr algn="ctr"/>
              <a:r>
                <a:rPr lang="ru-RU" sz="2000" b="1" spc="0" dirty="0">
                  <a:latin typeface="Segoe UI Semibold" charset="0"/>
                  <a:ea typeface="Segoe UI Semibold" charset="0"/>
                  <a:cs typeface="Segoe UI Semibold" charset="0"/>
                </a:rPr>
                <a:t>Профессиональное развитие педагогов</a:t>
              </a:r>
              <a:endParaRPr lang="en-US" sz="2000" b="1" spc="0" dirty="0">
                <a:latin typeface="Segoe UI Semibold" charset="0"/>
                <a:ea typeface="Segoe UI Semibold" charset="0"/>
                <a:cs typeface="Segoe UI Semibold" charset="0"/>
              </a:endParaRPr>
            </a:p>
          </p:txBody>
        </p:sp>
        <p:sp>
          <p:nvSpPr>
            <p:cNvPr id="16" name="Title 2"/>
            <p:cNvSpPr txBox="1">
              <a:spLocks/>
            </p:cNvSpPr>
            <p:nvPr/>
          </p:nvSpPr>
          <p:spPr>
            <a:xfrm>
              <a:off x="6280117" y="4249090"/>
              <a:ext cx="1834768" cy="837919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b="0" i="0" kern="1200" spc="30" baseline="0">
                  <a:solidFill>
                    <a:schemeClr val="bg1"/>
                  </a:solidFill>
                  <a:latin typeface="Segoe UI Light" charset="0"/>
                  <a:ea typeface="Segoe UI Light" charset="0"/>
                  <a:cs typeface="Segoe UI Light" charset="0"/>
                </a:defRPr>
              </a:lvl1pPr>
            </a:lstStyle>
            <a:p>
              <a:pPr algn="ctr"/>
              <a:r>
                <a:rPr lang="ru-RU" sz="2000" b="1" spc="0" dirty="0">
                  <a:latin typeface="Segoe UI Semibold" charset="0"/>
                  <a:ea typeface="Segoe UI Semibold" charset="0"/>
                  <a:cs typeface="Segoe UI Semibold" charset="0"/>
                </a:rPr>
                <a:t>Оптимизация внутренних процессов</a:t>
              </a:r>
              <a:endParaRPr lang="en-US" sz="2000" b="1" spc="0" dirty="0">
                <a:latin typeface="Segoe UI Semibold" charset="0"/>
                <a:ea typeface="Segoe UI Semibold" charset="0"/>
                <a:cs typeface="Segoe UI Semibold" charset="0"/>
              </a:endParaRPr>
            </a:p>
          </p:txBody>
        </p:sp>
        <p:sp>
          <p:nvSpPr>
            <p:cNvPr id="17" name="Title 2"/>
            <p:cNvSpPr txBox="1">
              <a:spLocks/>
            </p:cNvSpPr>
            <p:nvPr/>
          </p:nvSpPr>
          <p:spPr>
            <a:xfrm>
              <a:off x="8300205" y="4249090"/>
              <a:ext cx="2047665" cy="837919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b="0" i="0" kern="1200" spc="30" baseline="0">
                  <a:solidFill>
                    <a:schemeClr val="bg1"/>
                  </a:solidFill>
                  <a:latin typeface="Segoe UI Light" charset="0"/>
                  <a:ea typeface="Segoe UI Light" charset="0"/>
                  <a:cs typeface="Segoe UI Light" charset="0"/>
                </a:defRPr>
              </a:lvl1pPr>
            </a:lstStyle>
            <a:p>
              <a:pPr algn="ctr"/>
              <a:r>
                <a:rPr lang="ru-RU" sz="2000" b="1" spc="0" dirty="0">
                  <a:latin typeface="Segoe UI Semibold" charset="0"/>
                  <a:ea typeface="Segoe UI Semibold" charset="0"/>
                  <a:cs typeface="Segoe UI Semibold" charset="0"/>
                </a:rPr>
                <a:t>Трансформация образовательного процесса</a:t>
              </a:r>
              <a:endParaRPr lang="en-US" sz="2000" b="1" spc="0" dirty="0">
                <a:latin typeface="Segoe UI Semibold" charset="0"/>
                <a:ea typeface="Segoe UI Semibold" charset="0"/>
                <a:cs typeface="Segoe UI Semibold" charset="0"/>
              </a:endParaRPr>
            </a:p>
          </p:txBody>
        </p:sp>
        <p:pic>
          <p:nvPicPr>
            <p:cNvPr id="18" name="Picture 17" descr="finalicons-02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82548" y="2327945"/>
              <a:ext cx="9221581" cy="2256660"/>
            </a:xfrm>
            <a:prstGeom prst="rect">
              <a:avLst/>
            </a:prstGeom>
          </p:spPr>
        </p:pic>
      </p:grpSp>
      <p:sp>
        <p:nvSpPr>
          <p:cNvPr id="21" name="Title 2"/>
          <p:cNvSpPr txBox="1">
            <a:spLocks/>
          </p:cNvSpPr>
          <p:nvPr/>
        </p:nvSpPr>
        <p:spPr>
          <a:xfrm>
            <a:off x="373006" y="293780"/>
            <a:ext cx="9207886" cy="156966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spc="3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Цифровая трансформация в образовании</a:t>
            </a:r>
            <a:endParaRPr lang="en-US" b="1" dirty="0">
              <a:latin typeface="Segoe UI Semibold" charset="0"/>
              <a:ea typeface="Segoe UI Semibold" charset="0"/>
              <a:cs typeface="Segoe UI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5357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5529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677334" y="592666"/>
            <a:ext cx="4419600" cy="5791200"/>
          </a:xfrm>
          <a:prstGeom prst="rect">
            <a:avLst/>
          </a:prstGeom>
          <a:solidFill>
            <a:srgbClr val="1561C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5" b="25203"/>
          <a:stretch/>
        </p:blipFill>
        <p:spPr>
          <a:xfrm>
            <a:off x="677333" y="2780301"/>
            <a:ext cx="3691467" cy="2927204"/>
          </a:xfrm>
          <a:prstGeom prst="rect">
            <a:avLst/>
          </a:prstGeom>
        </p:spPr>
      </p:pic>
      <p:sp>
        <p:nvSpPr>
          <p:cNvPr id="9" name="Title 2"/>
          <p:cNvSpPr txBox="1">
            <a:spLocks/>
          </p:cNvSpPr>
          <p:nvPr/>
        </p:nvSpPr>
        <p:spPr>
          <a:xfrm>
            <a:off x="780662" y="657681"/>
            <a:ext cx="4402666" cy="19925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spc="30" baseline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ru-RU" dirty="0">
                <a:solidFill>
                  <a:srgbClr val="27BCF3"/>
                </a:solidFill>
                <a:latin typeface="Segoe UI Semibold"/>
                <a:cs typeface="Segoe UI Semibold"/>
              </a:rPr>
              <a:t>Развитие</a:t>
            </a:r>
            <a:r>
              <a:rPr lang="en-US" dirty="0">
                <a:solidFill>
                  <a:srgbClr val="27BCF3"/>
                </a:solidFill>
                <a:latin typeface="Segoe UI Semibold"/>
                <a:cs typeface="Segoe UI Semibold"/>
              </a:rPr>
              <a:t> </a:t>
            </a:r>
            <a:br>
              <a:rPr lang="en-US" dirty="0">
                <a:latin typeface="Segoe UI Semibold"/>
                <a:cs typeface="Segoe UI Semibold"/>
              </a:rPr>
            </a:br>
            <a:r>
              <a:rPr lang="ru-RU" sz="5600" dirty="0">
                <a:latin typeface="Segoe UI Semibold"/>
                <a:cs typeface="Segoe UI Semibold"/>
              </a:rPr>
              <a:t>ученического потенциала</a:t>
            </a:r>
            <a:endParaRPr lang="en-US" sz="5600" dirty="0">
              <a:latin typeface="Segoe UI Semibold"/>
              <a:cs typeface="Segoe UI Semibold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965202" y="2875972"/>
            <a:ext cx="3691466" cy="1532727"/>
          </a:xfrm>
        </p:spPr>
        <p:txBody>
          <a:bodyPr lIns="182880" anchor="t"/>
          <a:lstStyle/>
          <a:p>
            <a:pPr>
              <a:lnSpc>
                <a:spcPct val="130000"/>
              </a:lnSpc>
            </a:pPr>
            <a:r>
              <a:rPr lang="ru-RU" sz="2400" dirty="0"/>
              <a:t>Создание экосистемы для формирования навыков 21 века</a:t>
            </a:r>
            <a:endParaRPr lang="en-US" sz="2400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229166" y="5872561"/>
            <a:ext cx="1715369" cy="346249"/>
          </a:xfrm>
        </p:spPr>
        <p:txBody>
          <a:bodyPr lIns="182880"/>
          <a:lstStyle/>
          <a:p>
            <a:pPr algn="r"/>
            <a:r>
              <a:rPr lang="ru-RU" spc="50" dirty="0">
                <a:solidFill>
                  <a:srgbClr val="00B0F0"/>
                </a:solidFill>
                <a:latin typeface="Segoe UI Semibold"/>
                <a:cs typeface="Segoe UI Semibold"/>
              </a:rPr>
              <a:t>часть</a:t>
            </a:r>
            <a:r>
              <a:rPr lang="en-US" spc="50" dirty="0">
                <a:solidFill>
                  <a:srgbClr val="00B0F0"/>
                </a:solidFill>
                <a:latin typeface="Segoe UI Semibold"/>
                <a:cs typeface="Segoe UI Semibold"/>
              </a:rPr>
              <a:t> 1</a:t>
            </a:r>
          </a:p>
        </p:txBody>
      </p:sp>
    </p:spTree>
    <p:extLst>
      <p:ext uri="{BB962C8B-B14F-4D97-AF65-F5344CB8AC3E}">
        <p14:creationId xmlns:p14="http://schemas.microsoft.com/office/powerpoint/2010/main" val="987119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1" y="-1491"/>
            <a:ext cx="12191999" cy="6859491"/>
          </a:xfrm>
          <a:prstGeom prst="rect">
            <a:avLst/>
          </a:prstGeom>
          <a:solidFill>
            <a:srgbClr val="0070C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 rot="16200000">
            <a:off x="4477388" y="-2706840"/>
            <a:ext cx="3237226" cy="12190676"/>
          </a:xfrm>
          <a:prstGeom prst="rect">
            <a:avLst/>
          </a:prstGeom>
          <a:solidFill>
            <a:srgbClr val="3B3838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06017" y="5294628"/>
            <a:ext cx="12191339" cy="903049"/>
            <a:chOff x="626725" y="2207189"/>
            <a:chExt cx="10446759" cy="1994942"/>
          </a:xfrm>
          <a:noFill/>
        </p:grpSpPr>
        <p:sp>
          <p:nvSpPr>
            <p:cNvPr id="23" name="Rectangle 22"/>
            <p:cNvSpPr/>
            <p:nvPr/>
          </p:nvSpPr>
          <p:spPr>
            <a:xfrm>
              <a:off x="626725" y="2207189"/>
              <a:ext cx="1994942" cy="199494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ВЫЧИСЛИТЕЛЬНОЕ МЫШЛЕНИЕ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2741489" y="2207189"/>
              <a:ext cx="1994942" cy="199494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КРИТИЧЕСКОЕ</a:t>
              </a:r>
              <a:r>
                <a:rPr kumimoji="0" lang="ru-RU" sz="20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МЫШЛЕНИЕ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799845" y="2207189"/>
              <a:ext cx="2051350" cy="199494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СОВМЕСТНАЯ РАБОТА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959276" y="2207189"/>
              <a:ext cx="1994942" cy="199494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КОММУНИКАТИВНЫЕ</a:t>
              </a: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НАВЫКИ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9078542" y="2207189"/>
              <a:ext cx="1994942" cy="199494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КРЕАТИВНОСТЬ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04799" y="422532"/>
            <a:ext cx="11582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800" dirty="0">
                <a:solidFill>
                  <a:prstClr val="white"/>
                </a:solidFill>
                <a:latin typeface="Segoe UI"/>
              </a:rPr>
              <a:t>КОМПЕТЕНЦИИ 21 ВЕКА</a:t>
            </a:r>
            <a:endParaRPr kumimoji="0" lang="en-US" sz="48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2" name="Text Placeholder 16"/>
          <p:cNvSpPr txBox="1">
            <a:spLocks/>
          </p:cNvSpPr>
          <p:nvPr/>
        </p:nvSpPr>
        <p:spPr>
          <a:xfrm>
            <a:off x="8037689" y="6364119"/>
            <a:ext cx="3883378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endParaRPr lang="en-US" sz="1300" b="1" dirty="0">
              <a:solidFill>
                <a:srgbClr val="082B74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16" name="Text Placeholder 16"/>
          <p:cNvSpPr txBox="1">
            <a:spLocks/>
          </p:cNvSpPr>
          <p:nvPr/>
        </p:nvSpPr>
        <p:spPr>
          <a:xfrm>
            <a:off x="8190089" y="6516519"/>
            <a:ext cx="3883378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r>
              <a:rPr lang="ru-RU" sz="1300" b="1" dirty="0">
                <a:solidFill>
                  <a:srgbClr val="082B74"/>
                </a:solidFill>
                <a:latin typeface="Segoe UI Semibold" charset="0"/>
                <a:ea typeface="Segoe UI Semibold" charset="0"/>
                <a:cs typeface="Segoe UI Semibold" charset="0"/>
              </a:rPr>
              <a:t>часть</a:t>
            </a:r>
            <a:r>
              <a:rPr lang="en-US" sz="1300" b="1" dirty="0">
                <a:solidFill>
                  <a:srgbClr val="082B74"/>
                </a:solidFill>
                <a:latin typeface="Segoe UI Semibold" charset="0"/>
                <a:ea typeface="Segoe UI Semibold" charset="0"/>
                <a:cs typeface="Segoe UI Semibold" charset="0"/>
              </a:rPr>
              <a:t> 1  |  </a:t>
            </a:r>
            <a:r>
              <a:rPr lang="ru-RU" sz="1300" b="1" dirty="0">
                <a:solidFill>
                  <a:srgbClr val="082B74"/>
                </a:solidFill>
                <a:latin typeface="Segoe UI Semibold" charset="0"/>
                <a:ea typeface="Segoe UI Semibold" charset="0"/>
                <a:cs typeface="Segoe UI Semibold" charset="0"/>
              </a:rPr>
              <a:t>развитие ученического потенциала</a:t>
            </a:r>
            <a:endParaRPr lang="en-US" sz="1300" b="1" dirty="0">
              <a:solidFill>
                <a:srgbClr val="082B74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96614"/>
            <a:ext cx="12192000" cy="326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459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/>
      </p:transition>
    </mc:Choice>
    <mc:Fallback xmlns="">
      <p:transition spd="slow">
        <p:split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6"/>
          <p:cNvSpPr txBox="1">
            <a:spLocks/>
          </p:cNvSpPr>
          <p:nvPr/>
        </p:nvSpPr>
        <p:spPr>
          <a:xfrm>
            <a:off x="8037689" y="6364119"/>
            <a:ext cx="3883378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082B74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часть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82B74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 1  |  </a:t>
            </a: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082B74"/>
                </a:solidFill>
                <a:effectLst/>
                <a:uLnTx/>
                <a:uFillTx/>
                <a:latin typeface="Segoe UI Semibold" charset="0"/>
                <a:ea typeface="Segoe UI Semibold" charset="0"/>
                <a:cs typeface="Segoe UI Semibold" charset="0"/>
              </a:rPr>
              <a:t>развитие ученического потенциала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082B74"/>
              </a:solidFill>
              <a:effectLst/>
              <a:uLnTx/>
              <a:uFillTx/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grpSp>
        <p:nvGrpSpPr>
          <p:cNvPr id="132" name="Group 131"/>
          <p:cNvGrpSpPr/>
          <p:nvPr/>
        </p:nvGrpSpPr>
        <p:grpSpPr>
          <a:xfrm>
            <a:off x="1302487" y="1015409"/>
            <a:ext cx="9639047" cy="5268434"/>
            <a:chOff x="1172901" y="704679"/>
            <a:chExt cx="9691070" cy="5486402"/>
          </a:xfrm>
        </p:grpSpPr>
        <p:grpSp>
          <p:nvGrpSpPr>
            <p:cNvPr id="133" name="Group 132"/>
            <p:cNvGrpSpPr/>
            <p:nvPr/>
          </p:nvGrpSpPr>
          <p:grpSpPr>
            <a:xfrm>
              <a:off x="1172901" y="704681"/>
              <a:ext cx="4023360" cy="5486400"/>
              <a:chOff x="446483" y="685800"/>
              <a:chExt cx="4023360" cy="5486400"/>
            </a:xfrm>
          </p:grpSpPr>
          <p:grpSp>
            <p:nvGrpSpPr>
              <p:cNvPr id="227" name="Group 226"/>
              <p:cNvGrpSpPr/>
              <p:nvPr/>
            </p:nvGrpSpPr>
            <p:grpSpPr>
              <a:xfrm>
                <a:off x="446483" y="685800"/>
                <a:ext cx="4023360" cy="5486400"/>
                <a:chOff x="388359" y="684943"/>
                <a:chExt cx="4023360" cy="5486400"/>
              </a:xfrm>
            </p:grpSpPr>
            <p:sp>
              <p:nvSpPr>
                <p:cNvPr id="250" name="Rectangle 249"/>
                <p:cNvSpPr/>
                <p:nvPr/>
              </p:nvSpPr>
              <p:spPr>
                <a:xfrm>
                  <a:off x="388359" y="684943"/>
                  <a:ext cx="4023360" cy="955595"/>
                </a:xfrm>
                <a:prstGeom prst="rect">
                  <a:avLst/>
                </a:prstGeom>
                <a:solidFill>
                  <a:srgbClr val="404040">
                    <a:alpha val="69804"/>
                  </a:srgb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274320" tIns="91440" rIns="0" bIns="91440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Строгая иерархия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Rectangle 250"/>
                <p:cNvSpPr/>
                <p:nvPr/>
              </p:nvSpPr>
              <p:spPr>
                <a:xfrm>
                  <a:off x="388359" y="1817644"/>
                  <a:ext cx="4023360" cy="955595"/>
                </a:xfrm>
                <a:prstGeom prst="rect">
                  <a:avLst/>
                </a:prstGeom>
                <a:solidFill>
                  <a:srgbClr val="404040">
                    <a:alpha val="69804"/>
                  </a:srgb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274320" tIns="91440" bIns="91440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Борьба за рынок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2" name="Rectangle 251"/>
                <p:cNvSpPr/>
                <p:nvPr/>
              </p:nvSpPr>
              <p:spPr>
                <a:xfrm>
                  <a:off x="388359" y="2950344"/>
                  <a:ext cx="4023360" cy="955595"/>
                </a:xfrm>
                <a:prstGeom prst="rect">
                  <a:avLst/>
                </a:prstGeom>
                <a:solidFill>
                  <a:srgbClr val="404040">
                    <a:alpha val="69804"/>
                  </a:srgb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274320" tIns="91440" bIns="91440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Индивидуальная трудовая деятельность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Rectangle 252"/>
                <p:cNvSpPr/>
                <p:nvPr/>
              </p:nvSpPr>
              <p:spPr>
                <a:xfrm>
                  <a:off x="388359" y="4083045"/>
                  <a:ext cx="4023360" cy="955595"/>
                </a:xfrm>
                <a:prstGeom prst="rect">
                  <a:avLst/>
                </a:prstGeom>
                <a:solidFill>
                  <a:srgbClr val="404040">
                    <a:alpha val="69804"/>
                  </a:srgb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274320" tIns="91440" bIns="91440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Централизованная система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Rectangle 253"/>
                <p:cNvSpPr/>
                <p:nvPr/>
              </p:nvSpPr>
              <p:spPr>
                <a:xfrm>
                  <a:off x="388359" y="5215748"/>
                  <a:ext cx="4023360" cy="955595"/>
                </a:xfrm>
                <a:prstGeom prst="rect">
                  <a:avLst/>
                </a:prstGeom>
                <a:solidFill>
                  <a:srgbClr val="404040">
                    <a:alpha val="69804"/>
                  </a:srgb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274320" tIns="91440" bIns="91440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Более 30 лет на одной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позиции</a:t>
                  </a:r>
                </a:p>
              </p:txBody>
            </p:sp>
          </p:grpSp>
          <p:pic>
            <p:nvPicPr>
              <p:cNvPr id="228" name="Picture 227"/>
              <p:cNvPicPr>
                <a:picLocks noChangeAspect="1"/>
              </p:cNvPicPr>
              <p:nvPr/>
            </p:nvPicPr>
            <p:blipFill>
              <a:blip r:embed="rId3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52776" y="1004224"/>
                <a:ext cx="541772" cy="432795"/>
              </a:xfrm>
              <a:prstGeom prst="rect">
                <a:avLst/>
              </a:prstGeom>
            </p:spPr>
          </p:pic>
          <p:sp>
            <p:nvSpPr>
              <p:cNvPr id="229" name="Pie 228"/>
              <p:cNvSpPr/>
              <p:nvPr/>
            </p:nvSpPr>
            <p:spPr>
              <a:xfrm>
                <a:off x="3730134" y="2245235"/>
                <a:ext cx="387056" cy="387056"/>
              </a:xfrm>
              <a:prstGeom prst="pi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0" name="Pie 229"/>
              <p:cNvSpPr/>
              <p:nvPr/>
            </p:nvSpPr>
            <p:spPr>
              <a:xfrm>
                <a:off x="3730134" y="2245235"/>
                <a:ext cx="387056" cy="387056"/>
              </a:xfrm>
              <a:prstGeom prst="pie">
                <a:avLst>
                  <a:gd name="adj1" fmla="val 16532260"/>
                  <a:gd name="adj2" fmla="val 21379738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1" name="Freeform 230"/>
              <p:cNvSpPr>
                <a:spLocks noEditPoints="1"/>
              </p:cNvSpPr>
              <p:nvPr/>
            </p:nvSpPr>
            <p:spPr bwMode="auto">
              <a:xfrm>
                <a:off x="3664482" y="3234842"/>
                <a:ext cx="505094" cy="528600"/>
              </a:xfrm>
              <a:custGeom>
                <a:avLst/>
                <a:gdLst>
                  <a:gd name="T0" fmla="*/ 422 w 761"/>
                  <a:gd name="T1" fmla="*/ 128 h 797"/>
                  <a:gd name="T2" fmla="*/ 268 w 761"/>
                  <a:gd name="T3" fmla="*/ 63 h 797"/>
                  <a:gd name="T4" fmla="*/ 437 w 761"/>
                  <a:gd name="T5" fmla="*/ 462 h 797"/>
                  <a:gd name="T6" fmla="*/ 290 w 761"/>
                  <a:gd name="T7" fmla="*/ 438 h 797"/>
                  <a:gd name="T8" fmla="*/ 345 w 761"/>
                  <a:gd name="T9" fmla="*/ 348 h 797"/>
                  <a:gd name="T10" fmla="*/ 381 w 761"/>
                  <a:gd name="T11" fmla="*/ 361 h 797"/>
                  <a:gd name="T12" fmla="*/ 546 w 761"/>
                  <a:gd name="T13" fmla="*/ 325 h 797"/>
                  <a:gd name="T14" fmla="*/ 398 w 761"/>
                  <a:gd name="T15" fmla="*/ 281 h 797"/>
                  <a:gd name="T16" fmla="*/ 182 w 761"/>
                  <a:gd name="T17" fmla="*/ 242 h 797"/>
                  <a:gd name="T18" fmla="*/ 170 w 761"/>
                  <a:gd name="T19" fmla="*/ 495 h 797"/>
                  <a:gd name="T20" fmla="*/ 384 w 761"/>
                  <a:gd name="T21" fmla="*/ 543 h 797"/>
                  <a:gd name="T22" fmla="*/ 370 w 761"/>
                  <a:gd name="T23" fmla="*/ 616 h 797"/>
                  <a:gd name="T24" fmla="*/ 342 w 761"/>
                  <a:gd name="T25" fmla="*/ 716 h 797"/>
                  <a:gd name="T26" fmla="*/ 371 w 761"/>
                  <a:gd name="T27" fmla="*/ 773 h 797"/>
                  <a:gd name="T28" fmla="*/ 423 w 761"/>
                  <a:gd name="T29" fmla="*/ 742 h 797"/>
                  <a:gd name="T30" fmla="*/ 476 w 761"/>
                  <a:gd name="T31" fmla="*/ 515 h 797"/>
                  <a:gd name="T32" fmla="*/ 341 w 761"/>
                  <a:gd name="T33" fmla="*/ 433 h 797"/>
                  <a:gd name="T34" fmla="*/ 629 w 761"/>
                  <a:gd name="T35" fmla="*/ 743 h 797"/>
                  <a:gd name="T36" fmla="*/ 554 w 761"/>
                  <a:gd name="T37" fmla="*/ 797 h 797"/>
                  <a:gd name="T38" fmla="*/ 743 w 761"/>
                  <a:gd name="T39" fmla="*/ 379 h 797"/>
                  <a:gd name="T40" fmla="*/ 341 w 761"/>
                  <a:gd name="T41" fmla="*/ 433 h 797"/>
                  <a:gd name="T42" fmla="*/ 689 w 761"/>
                  <a:gd name="T43" fmla="*/ 310 h 797"/>
                  <a:gd name="T44" fmla="*/ 698 w 761"/>
                  <a:gd name="T45" fmla="*/ 327 h 797"/>
                  <a:gd name="T46" fmla="*/ 584 w 761"/>
                  <a:gd name="T47" fmla="*/ 343 h 797"/>
                  <a:gd name="T48" fmla="*/ 715 w 761"/>
                  <a:gd name="T49" fmla="*/ 358 h 797"/>
                  <a:gd name="T50" fmla="*/ 730 w 761"/>
                  <a:gd name="T51" fmla="*/ 342 h 797"/>
                  <a:gd name="T52" fmla="*/ 761 w 761"/>
                  <a:gd name="T53" fmla="*/ 59 h 797"/>
                  <a:gd name="T54" fmla="*/ 750 w 761"/>
                  <a:gd name="T55" fmla="*/ 40 h 797"/>
                  <a:gd name="T56" fmla="*/ 580 w 761"/>
                  <a:gd name="T57" fmla="*/ 281 h 797"/>
                  <a:gd name="T58" fmla="*/ 663 w 761"/>
                  <a:gd name="T59" fmla="*/ 279 h 797"/>
                  <a:gd name="T60" fmla="*/ 660 w 761"/>
                  <a:gd name="T61" fmla="*/ 56 h 797"/>
                  <a:gd name="T62" fmla="*/ 702 w 761"/>
                  <a:gd name="T63" fmla="*/ 150 h 797"/>
                  <a:gd name="T64" fmla="*/ 663 w 761"/>
                  <a:gd name="T65" fmla="*/ 279 h 797"/>
                  <a:gd name="T66" fmla="*/ 318 w 761"/>
                  <a:gd name="T67" fmla="*/ 731 h 797"/>
                  <a:gd name="T68" fmla="*/ 245 w 761"/>
                  <a:gd name="T69" fmla="*/ 720 h 797"/>
                  <a:gd name="T70" fmla="*/ 259 w 761"/>
                  <a:gd name="T71" fmla="*/ 639 h 797"/>
                  <a:gd name="T72" fmla="*/ 301 w 761"/>
                  <a:gd name="T73" fmla="*/ 578 h 797"/>
                  <a:gd name="T74" fmla="*/ 341 w 761"/>
                  <a:gd name="T75" fmla="*/ 604 h 797"/>
                  <a:gd name="T76" fmla="*/ 365 w 761"/>
                  <a:gd name="T77" fmla="*/ 593 h 797"/>
                  <a:gd name="T78" fmla="*/ 367 w 761"/>
                  <a:gd name="T79" fmla="*/ 555 h 797"/>
                  <a:gd name="T80" fmla="*/ 301 w 761"/>
                  <a:gd name="T81" fmla="*/ 515 h 797"/>
                  <a:gd name="T82" fmla="*/ 66 w 761"/>
                  <a:gd name="T83" fmla="*/ 149 h 797"/>
                  <a:gd name="T84" fmla="*/ 28 w 761"/>
                  <a:gd name="T85" fmla="*/ 126 h 797"/>
                  <a:gd name="T86" fmla="*/ 98 w 761"/>
                  <a:gd name="T87" fmla="*/ 554 h 797"/>
                  <a:gd name="T88" fmla="*/ 184 w 761"/>
                  <a:gd name="T89" fmla="*/ 578 h 797"/>
                  <a:gd name="T90" fmla="*/ 198 w 761"/>
                  <a:gd name="T91" fmla="*/ 639 h 797"/>
                  <a:gd name="T92" fmla="*/ 141 w 761"/>
                  <a:gd name="T93" fmla="*/ 735 h 797"/>
                  <a:gd name="T94" fmla="*/ 91 w 761"/>
                  <a:gd name="T95" fmla="*/ 764 h 797"/>
                  <a:gd name="T96" fmla="*/ 157 w 761"/>
                  <a:gd name="T97" fmla="*/ 768 h 797"/>
                  <a:gd name="T98" fmla="*/ 285 w 761"/>
                  <a:gd name="T99" fmla="*/ 768 h 797"/>
                  <a:gd name="T100" fmla="*/ 351 w 761"/>
                  <a:gd name="T101" fmla="*/ 764 h 797"/>
                  <a:gd name="T102" fmla="*/ 340 w 761"/>
                  <a:gd name="T103" fmla="*/ 740 h 7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61" h="797">
                    <a:moveTo>
                      <a:pt x="312" y="173"/>
                    </a:moveTo>
                    <a:cubicBezTo>
                      <a:pt x="355" y="190"/>
                      <a:pt x="404" y="170"/>
                      <a:pt x="422" y="128"/>
                    </a:cubicBezTo>
                    <a:cubicBezTo>
                      <a:pt x="440" y="85"/>
                      <a:pt x="420" y="36"/>
                      <a:pt x="377" y="18"/>
                    </a:cubicBezTo>
                    <a:cubicBezTo>
                      <a:pt x="335" y="0"/>
                      <a:pt x="286" y="20"/>
                      <a:pt x="268" y="63"/>
                    </a:cubicBezTo>
                    <a:cubicBezTo>
                      <a:pt x="250" y="106"/>
                      <a:pt x="270" y="155"/>
                      <a:pt x="312" y="173"/>
                    </a:cubicBezTo>
                    <a:close/>
                    <a:moveTo>
                      <a:pt x="437" y="462"/>
                    </a:moveTo>
                    <a:cubicBezTo>
                      <a:pt x="435" y="462"/>
                      <a:pt x="435" y="462"/>
                      <a:pt x="435" y="462"/>
                    </a:cubicBezTo>
                    <a:cubicBezTo>
                      <a:pt x="290" y="438"/>
                      <a:pt x="290" y="438"/>
                      <a:pt x="290" y="438"/>
                    </a:cubicBezTo>
                    <a:cubicBezTo>
                      <a:pt x="315" y="325"/>
                      <a:pt x="315" y="325"/>
                      <a:pt x="315" y="325"/>
                    </a:cubicBezTo>
                    <a:cubicBezTo>
                      <a:pt x="345" y="348"/>
                      <a:pt x="345" y="348"/>
                      <a:pt x="345" y="348"/>
                    </a:cubicBezTo>
                    <a:cubicBezTo>
                      <a:pt x="347" y="350"/>
                      <a:pt x="347" y="350"/>
                      <a:pt x="347" y="350"/>
                    </a:cubicBezTo>
                    <a:cubicBezTo>
                      <a:pt x="354" y="356"/>
                      <a:pt x="371" y="362"/>
                      <a:pt x="381" y="361"/>
                    </a:cubicBezTo>
                    <a:cubicBezTo>
                      <a:pt x="510" y="361"/>
                      <a:pt x="510" y="361"/>
                      <a:pt x="510" y="361"/>
                    </a:cubicBezTo>
                    <a:cubicBezTo>
                      <a:pt x="530" y="360"/>
                      <a:pt x="546" y="345"/>
                      <a:pt x="546" y="325"/>
                    </a:cubicBezTo>
                    <a:cubicBezTo>
                      <a:pt x="547" y="305"/>
                      <a:pt x="531" y="287"/>
                      <a:pt x="510" y="286"/>
                    </a:cubicBezTo>
                    <a:cubicBezTo>
                      <a:pt x="398" y="281"/>
                      <a:pt x="398" y="281"/>
                      <a:pt x="398" y="281"/>
                    </a:cubicBezTo>
                    <a:cubicBezTo>
                      <a:pt x="398" y="281"/>
                      <a:pt x="333" y="221"/>
                      <a:pt x="302" y="193"/>
                    </a:cubicBezTo>
                    <a:cubicBezTo>
                      <a:pt x="271" y="166"/>
                      <a:pt x="201" y="166"/>
                      <a:pt x="182" y="242"/>
                    </a:cubicBezTo>
                    <a:cubicBezTo>
                      <a:pt x="171" y="290"/>
                      <a:pt x="156" y="358"/>
                      <a:pt x="147" y="399"/>
                    </a:cubicBezTo>
                    <a:cubicBezTo>
                      <a:pt x="170" y="495"/>
                      <a:pt x="170" y="495"/>
                      <a:pt x="170" y="495"/>
                    </a:cubicBezTo>
                    <a:cubicBezTo>
                      <a:pt x="301" y="495"/>
                      <a:pt x="301" y="495"/>
                      <a:pt x="301" y="495"/>
                    </a:cubicBezTo>
                    <a:cubicBezTo>
                      <a:pt x="324" y="495"/>
                      <a:pt x="356" y="503"/>
                      <a:pt x="384" y="543"/>
                    </a:cubicBezTo>
                    <a:cubicBezTo>
                      <a:pt x="392" y="555"/>
                      <a:pt x="395" y="569"/>
                      <a:pt x="392" y="582"/>
                    </a:cubicBezTo>
                    <a:cubicBezTo>
                      <a:pt x="390" y="596"/>
                      <a:pt x="382" y="608"/>
                      <a:pt x="370" y="616"/>
                    </a:cubicBezTo>
                    <a:cubicBezTo>
                      <a:pt x="367" y="618"/>
                      <a:pt x="363" y="620"/>
                      <a:pt x="360" y="621"/>
                    </a:cubicBezTo>
                    <a:cubicBezTo>
                      <a:pt x="342" y="716"/>
                      <a:pt x="342" y="716"/>
                      <a:pt x="342" y="716"/>
                    </a:cubicBezTo>
                    <a:cubicBezTo>
                      <a:pt x="360" y="725"/>
                      <a:pt x="372" y="743"/>
                      <a:pt x="372" y="764"/>
                    </a:cubicBezTo>
                    <a:cubicBezTo>
                      <a:pt x="372" y="767"/>
                      <a:pt x="371" y="770"/>
                      <a:pt x="371" y="773"/>
                    </a:cubicBezTo>
                    <a:cubicBezTo>
                      <a:pt x="371" y="773"/>
                      <a:pt x="372" y="774"/>
                      <a:pt x="372" y="774"/>
                    </a:cubicBezTo>
                    <a:cubicBezTo>
                      <a:pt x="395" y="779"/>
                      <a:pt x="418" y="765"/>
                      <a:pt x="423" y="742"/>
                    </a:cubicBezTo>
                    <a:cubicBezTo>
                      <a:pt x="475" y="518"/>
                      <a:pt x="475" y="518"/>
                      <a:pt x="475" y="518"/>
                    </a:cubicBezTo>
                    <a:cubicBezTo>
                      <a:pt x="475" y="517"/>
                      <a:pt x="476" y="516"/>
                      <a:pt x="476" y="515"/>
                    </a:cubicBezTo>
                    <a:cubicBezTo>
                      <a:pt x="480" y="490"/>
                      <a:pt x="463" y="466"/>
                      <a:pt x="437" y="462"/>
                    </a:cubicBezTo>
                    <a:close/>
                    <a:moveTo>
                      <a:pt x="341" y="433"/>
                    </a:moveTo>
                    <a:cubicBezTo>
                      <a:pt x="629" y="433"/>
                      <a:pt x="629" y="433"/>
                      <a:pt x="629" y="433"/>
                    </a:cubicBezTo>
                    <a:cubicBezTo>
                      <a:pt x="629" y="743"/>
                      <a:pt x="629" y="743"/>
                      <a:pt x="629" y="743"/>
                    </a:cubicBezTo>
                    <a:cubicBezTo>
                      <a:pt x="554" y="743"/>
                      <a:pt x="554" y="743"/>
                      <a:pt x="554" y="743"/>
                    </a:cubicBezTo>
                    <a:cubicBezTo>
                      <a:pt x="554" y="797"/>
                      <a:pt x="554" y="797"/>
                      <a:pt x="554" y="797"/>
                    </a:cubicBezTo>
                    <a:cubicBezTo>
                      <a:pt x="743" y="797"/>
                      <a:pt x="743" y="797"/>
                      <a:pt x="743" y="797"/>
                    </a:cubicBezTo>
                    <a:cubicBezTo>
                      <a:pt x="743" y="379"/>
                      <a:pt x="743" y="379"/>
                      <a:pt x="743" y="379"/>
                    </a:cubicBezTo>
                    <a:cubicBezTo>
                      <a:pt x="341" y="379"/>
                      <a:pt x="341" y="379"/>
                      <a:pt x="341" y="379"/>
                    </a:cubicBezTo>
                    <a:lnTo>
                      <a:pt x="341" y="433"/>
                    </a:lnTo>
                    <a:close/>
                    <a:moveTo>
                      <a:pt x="671" y="310"/>
                    </a:moveTo>
                    <a:cubicBezTo>
                      <a:pt x="689" y="310"/>
                      <a:pt x="689" y="310"/>
                      <a:pt x="689" y="310"/>
                    </a:cubicBezTo>
                    <a:cubicBezTo>
                      <a:pt x="696" y="288"/>
                      <a:pt x="696" y="288"/>
                      <a:pt x="696" y="288"/>
                    </a:cubicBezTo>
                    <a:cubicBezTo>
                      <a:pt x="698" y="327"/>
                      <a:pt x="698" y="327"/>
                      <a:pt x="698" y="327"/>
                    </a:cubicBezTo>
                    <a:cubicBezTo>
                      <a:pt x="599" y="327"/>
                      <a:pt x="599" y="327"/>
                      <a:pt x="599" y="327"/>
                    </a:cubicBezTo>
                    <a:cubicBezTo>
                      <a:pt x="591" y="327"/>
                      <a:pt x="584" y="334"/>
                      <a:pt x="584" y="343"/>
                    </a:cubicBezTo>
                    <a:cubicBezTo>
                      <a:pt x="584" y="351"/>
                      <a:pt x="591" y="358"/>
                      <a:pt x="599" y="358"/>
                    </a:cubicBezTo>
                    <a:cubicBezTo>
                      <a:pt x="715" y="358"/>
                      <a:pt x="715" y="358"/>
                      <a:pt x="715" y="358"/>
                    </a:cubicBezTo>
                    <a:cubicBezTo>
                      <a:pt x="719" y="358"/>
                      <a:pt x="723" y="356"/>
                      <a:pt x="726" y="353"/>
                    </a:cubicBezTo>
                    <a:cubicBezTo>
                      <a:pt x="729" y="350"/>
                      <a:pt x="731" y="346"/>
                      <a:pt x="730" y="342"/>
                    </a:cubicBezTo>
                    <a:cubicBezTo>
                      <a:pt x="720" y="203"/>
                      <a:pt x="720" y="203"/>
                      <a:pt x="720" y="203"/>
                    </a:cubicBezTo>
                    <a:cubicBezTo>
                      <a:pt x="761" y="59"/>
                      <a:pt x="761" y="59"/>
                      <a:pt x="761" y="59"/>
                    </a:cubicBezTo>
                    <a:cubicBezTo>
                      <a:pt x="750" y="40"/>
                      <a:pt x="750" y="40"/>
                      <a:pt x="750" y="40"/>
                    </a:cubicBezTo>
                    <a:cubicBezTo>
                      <a:pt x="750" y="40"/>
                      <a:pt x="750" y="40"/>
                      <a:pt x="750" y="40"/>
                    </a:cubicBezTo>
                    <a:cubicBezTo>
                      <a:pt x="651" y="40"/>
                      <a:pt x="651" y="40"/>
                      <a:pt x="651" y="40"/>
                    </a:cubicBezTo>
                    <a:cubicBezTo>
                      <a:pt x="580" y="281"/>
                      <a:pt x="580" y="281"/>
                      <a:pt x="580" y="281"/>
                    </a:cubicBezTo>
                    <a:cubicBezTo>
                      <a:pt x="671" y="310"/>
                      <a:pt x="671" y="310"/>
                      <a:pt x="671" y="310"/>
                    </a:cubicBezTo>
                    <a:close/>
                    <a:moveTo>
                      <a:pt x="663" y="279"/>
                    </a:moveTo>
                    <a:cubicBezTo>
                      <a:pt x="599" y="264"/>
                      <a:pt x="599" y="264"/>
                      <a:pt x="599" y="264"/>
                    </a:cubicBezTo>
                    <a:cubicBezTo>
                      <a:pt x="660" y="56"/>
                      <a:pt x="660" y="56"/>
                      <a:pt x="660" y="56"/>
                    </a:cubicBezTo>
                    <a:cubicBezTo>
                      <a:pt x="729" y="56"/>
                      <a:pt x="729" y="56"/>
                      <a:pt x="729" y="56"/>
                    </a:cubicBezTo>
                    <a:cubicBezTo>
                      <a:pt x="702" y="150"/>
                      <a:pt x="702" y="150"/>
                      <a:pt x="702" y="150"/>
                    </a:cubicBezTo>
                    <a:cubicBezTo>
                      <a:pt x="689" y="194"/>
                      <a:pt x="689" y="194"/>
                      <a:pt x="689" y="194"/>
                    </a:cubicBezTo>
                    <a:lnTo>
                      <a:pt x="663" y="279"/>
                    </a:lnTo>
                    <a:close/>
                    <a:moveTo>
                      <a:pt x="340" y="740"/>
                    </a:moveTo>
                    <a:cubicBezTo>
                      <a:pt x="334" y="734"/>
                      <a:pt x="327" y="731"/>
                      <a:pt x="318" y="731"/>
                    </a:cubicBezTo>
                    <a:cubicBezTo>
                      <a:pt x="312" y="731"/>
                      <a:pt x="307" y="733"/>
                      <a:pt x="302" y="735"/>
                    </a:cubicBezTo>
                    <a:cubicBezTo>
                      <a:pt x="282" y="728"/>
                      <a:pt x="263" y="722"/>
                      <a:pt x="245" y="720"/>
                    </a:cubicBezTo>
                    <a:cubicBezTo>
                      <a:pt x="245" y="639"/>
                      <a:pt x="245" y="639"/>
                      <a:pt x="245" y="639"/>
                    </a:cubicBezTo>
                    <a:cubicBezTo>
                      <a:pt x="259" y="639"/>
                      <a:pt x="259" y="639"/>
                      <a:pt x="259" y="639"/>
                    </a:cubicBezTo>
                    <a:cubicBezTo>
                      <a:pt x="259" y="578"/>
                      <a:pt x="259" y="578"/>
                      <a:pt x="259" y="578"/>
                    </a:cubicBezTo>
                    <a:cubicBezTo>
                      <a:pt x="301" y="578"/>
                      <a:pt x="301" y="578"/>
                      <a:pt x="301" y="578"/>
                    </a:cubicBezTo>
                    <a:cubicBezTo>
                      <a:pt x="304" y="578"/>
                      <a:pt x="309" y="582"/>
                      <a:pt x="315" y="590"/>
                    </a:cubicBezTo>
                    <a:cubicBezTo>
                      <a:pt x="321" y="599"/>
                      <a:pt x="331" y="604"/>
                      <a:pt x="341" y="604"/>
                    </a:cubicBezTo>
                    <a:cubicBezTo>
                      <a:pt x="347" y="604"/>
                      <a:pt x="353" y="602"/>
                      <a:pt x="359" y="599"/>
                    </a:cubicBezTo>
                    <a:cubicBezTo>
                      <a:pt x="361" y="597"/>
                      <a:pt x="363" y="595"/>
                      <a:pt x="365" y="593"/>
                    </a:cubicBezTo>
                    <a:cubicBezTo>
                      <a:pt x="372" y="585"/>
                      <a:pt x="374" y="573"/>
                      <a:pt x="371" y="562"/>
                    </a:cubicBezTo>
                    <a:cubicBezTo>
                      <a:pt x="370" y="560"/>
                      <a:pt x="369" y="557"/>
                      <a:pt x="367" y="555"/>
                    </a:cubicBezTo>
                    <a:cubicBezTo>
                      <a:pt x="366" y="553"/>
                      <a:pt x="364" y="551"/>
                      <a:pt x="362" y="549"/>
                    </a:cubicBezTo>
                    <a:cubicBezTo>
                      <a:pt x="341" y="521"/>
                      <a:pt x="318" y="515"/>
                      <a:pt x="301" y="515"/>
                    </a:cubicBezTo>
                    <a:cubicBezTo>
                      <a:pt x="154" y="515"/>
                      <a:pt x="154" y="515"/>
                      <a:pt x="154" y="515"/>
                    </a:cubicBezTo>
                    <a:cubicBezTo>
                      <a:pt x="66" y="149"/>
                      <a:pt x="66" y="149"/>
                      <a:pt x="66" y="149"/>
                    </a:cubicBezTo>
                    <a:cubicBezTo>
                      <a:pt x="62" y="134"/>
                      <a:pt x="49" y="125"/>
                      <a:pt x="35" y="125"/>
                    </a:cubicBezTo>
                    <a:cubicBezTo>
                      <a:pt x="33" y="125"/>
                      <a:pt x="30" y="125"/>
                      <a:pt x="28" y="126"/>
                    </a:cubicBezTo>
                    <a:cubicBezTo>
                      <a:pt x="11" y="130"/>
                      <a:pt x="0" y="147"/>
                      <a:pt x="5" y="164"/>
                    </a:cubicBezTo>
                    <a:cubicBezTo>
                      <a:pt x="98" y="554"/>
                      <a:pt x="98" y="554"/>
                      <a:pt x="98" y="554"/>
                    </a:cubicBezTo>
                    <a:cubicBezTo>
                      <a:pt x="102" y="568"/>
                      <a:pt x="115" y="578"/>
                      <a:pt x="129" y="578"/>
                    </a:cubicBezTo>
                    <a:cubicBezTo>
                      <a:pt x="184" y="578"/>
                      <a:pt x="184" y="578"/>
                      <a:pt x="184" y="578"/>
                    </a:cubicBezTo>
                    <a:cubicBezTo>
                      <a:pt x="184" y="639"/>
                      <a:pt x="184" y="639"/>
                      <a:pt x="184" y="639"/>
                    </a:cubicBezTo>
                    <a:cubicBezTo>
                      <a:pt x="198" y="639"/>
                      <a:pt x="198" y="639"/>
                      <a:pt x="198" y="639"/>
                    </a:cubicBezTo>
                    <a:cubicBezTo>
                      <a:pt x="198" y="720"/>
                      <a:pt x="198" y="720"/>
                      <a:pt x="198" y="720"/>
                    </a:cubicBezTo>
                    <a:cubicBezTo>
                      <a:pt x="180" y="722"/>
                      <a:pt x="161" y="728"/>
                      <a:pt x="141" y="735"/>
                    </a:cubicBezTo>
                    <a:cubicBezTo>
                      <a:pt x="136" y="733"/>
                      <a:pt x="130" y="731"/>
                      <a:pt x="124" y="731"/>
                    </a:cubicBezTo>
                    <a:cubicBezTo>
                      <a:pt x="106" y="731"/>
                      <a:pt x="91" y="746"/>
                      <a:pt x="91" y="764"/>
                    </a:cubicBezTo>
                    <a:cubicBezTo>
                      <a:pt x="91" y="782"/>
                      <a:pt x="106" y="797"/>
                      <a:pt x="124" y="797"/>
                    </a:cubicBezTo>
                    <a:cubicBezTo>
                      <a:pt x="141" y="797"/>
                      <a:pt x="155" y="784"/>
                      <a:pt x="157" y="768"/>
                    </a:cubicBezTo>
                    <a:cubicBezTo>
                      <a:pt x="181" y="759"/>
                      <a:pt x="201" y="755"/>
                      <a:pt x="221" y="755"/>
                    </a:cubicBezTo>
                    <a:cubicBezTo>
                      <a:pt x="242" y="755"/>
                      <a:pt x="262" y="759"/>
                      <a:pt x="285" y="768"/>
                    </a:cubicBezTo>
                    <a:cubicBezTo>
                      <a:pt x="287" y="784"/>
                      <a:pt x="301" y="797"/>
                      <a:pt x="318" y="797"/>
                    </a:cubicBezTo>
                    <a:cubicBezTo>
                      <a:pt x="337" y="797"/>
                      <a:pt x="351" y="782"/>
                      <a:pt x="351" y="764"/>
                    </a:cubicBezTo>
                    <a:cubicBezTo>
                      <a:pt x="351" y="763"/>
                      <a:pt x="351" y="763"/>
                      <a:pt x="351" y="762"/>
                    </a:cubicBezTo>
                    <a:cubicBezTo>
                      <a:pt x="350" y="753"/>
                      <a:pt x="346" y="745"/>
                      <a:pt x="340" y="74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32" name="Picture 231"/>
              <p:cNvPicPr>
                <a:picLocks noChangeAspect="1"/>
              </p:cNvPicPr>
              <p:nvPr/>
            </p:nvPicPr>
            <p:blipFill>
              <a:blip r:embed="rId4" cstate="print">
                <a:biLevel thresh="5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08617" y="4222831"/>
                <a:ext cx="679985" cy="879980"/>
              </a:xfrm>
              <a:prstGeom prst="rect">
                <a:avLst/>
              </a:prstGeom>
            </p:spPr>
          </p:pic>
          <p:sp>
            <p:nvSpPr>
              <p:cNvPr id="233" name="Freeform 232"/>
              <p:cNvSpPr>
                <a:spLocks/>
              </p:cNvSpPr>
              <p:nvPr/>
            </p:nvSpPr>
            <p:spPr bwMode="auto">
              <a:xfrm>
                <a:off x="3979613" y="5742938"/>
                <a:ext cx="291360" cy="165601"/>
              </a:xfrm>
              <a:custGeom>
                <a:avLst/>
                <a:gdLst>
                  <a:gd name="T0" fmla="*/ 706 w 850"/>
                  <a:gd name="T1" fmla="*/ 0 h 483"/>
                  <a:gd name="T2" fmla="*/ 589 w 850"/>
                  <a:gd name="T3" fmla="*/ 0 h 483"/>
                  <a:gd name="T4" fmla="*/ 503 w 850"/>
                  <a:gd name="T5" fmla="*/ 182 h 483"/>
                  <a:gd name="T6" fmla="*/ 425 w 850"/>
                  <a:gd name="T7" fmla="*/ 52 h 483"/>
                  <a:gd name="T8" fmla="*/ 347 w 850"/>
                  <a:gd name="T9" fmla="*/ 182 h 483"/>
                  <a:gd name="T10" fmla="*/ 261 w 850"/>
                  <a:gd name="T11" fmla="*/ 0 h 483"/>
                  <a:gd name="T12" fmla="*/ 144 w 850"/>
                  <a:gd name="T13" fmla="*/ 0 h 483"/>
                  <a:gd name="T14" fmla="*/ 0 w 850"/>
                  <a:gd name="T15" fmla="*/ 160 h 483"/>
                  <a:gd name="T16" fmla="*/ 0 w 850"/>
                  <a:gd name="T17" fmla="*/ 483 h 483"/>
                  <a:gd name="T18" fmla="*/ 850 w 850"/>
                  <a:gd name="T19" fmla="*/ 483 h 483"/>
                  <a:gd name="T20" fmla="*/ 850 w 850"/>
                  <a:gd name="T21" fmla="*/ 160 h 483"/>
                  <a:gd name="T22" fmla="*/ 706 w 850"/>
                  <a:gd name="T23" fmla="*/ 0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50" h="483">
                    <a:moveTo>
                      <a:pt x="706" y="0"/>
                    </a:moveTo>
                    <a:cubicBezTo>
                      <a:pt x="589" y="0"/>
                      <a:pt x="589" y="0"/>
                      <a:pt x="589" y="0"/>
                    </a:cubicBezTo>
                    <a:cubicBezTo>
                      <a:pt x="503" y="182"/>
                      <a:pt x="503" y="182"/>
                      <a:pt x="503" y="182"/>
                    </a:cubicBezTo>
                    <a:cubicBezTo>
                      <a:pt x="425" y="52"/>
                      <a:pt x="425" y="52"/>
                      <a:pt x="425" y="52"/>
                    </a:cubicBezTo>
                    <a:cubicBezTo>
                      <a:pt x="347" y="182"/>
                      <a:pt x="347" y="182"/>
                      <a:pt x="347" y="182"/>
                    </a:cubicBezTo>
                    <a:cubicBezTo>
                      <a:pt x="261" y="0"/>
                      <a:pt x="261" y="0"/>
                      <a:pt x="261" y="0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65" y="0"/>
                      <a:pt x="0" y="72"/>
                      <a:pt x="0" y="160"/>
                    </a:cubicBezTo>
                    <a:cubicBezTo>
                      <a:pt x="0" y="483"/>
                      <a:pt x="0" y="483"/>
                      <a:pt x="0" y="483"/>
                    </a:cubicBezTo>
                    <a:cubicBezTo>
                      <a:pt x="850" y="483"/>
                      <a:pt x="850" y="483"/>
                      <a:pt x="850" y="483"/>
                    </a:cubicBezTo>
                    <a:cubicBezTo>
                      <a:pt x="850" y="160"/>
                      <a:pt x="850" y="160"/>
                      <a:pt x="850" y="160"/>
                    </a:cubicBezTo>
                    <a:cubicBezTo>
                      <a:pt x="850" y="72"/>
                      <a:pt x="786" y="0"/>
                      <a:pt x="70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4" name="Freeform 233"/>
              <p:cNvSpPr>
                <a:spLocks/>
              </p:cNvSpPr>
              <p:nvPr/>
            </p:nvSpPr>
            <p:spPr bwMode="auto">
              <a:xfrm>
                <a:off x="4101750" y="5742938"/>
                <a:ext cx="47232" cy="17096"/>
              </a:xfrm>
              <a:custGeom>
                <a:avLst/>
                <a:gdLst>
                  <a:gd name="T0" fmla="*/ 326 w 326"/>
                  <a:gd name="T1" fmla="*/ 0 h 118"/>
                  <a:gd name="T2" fmla="*/ 163 w 326"/>
                  <a:gd name="T3" fmla="*/ 118 h 118"/>
                  <a:gd name="T4" fmla="*/ 0 w 326"/>
                  <a:gd name="T5" fmla="*/ 0 h 118"/>
                  <a:gd name="T6" fmla="*/ 326 w 326"/>
                  <a:gd name="T7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6" h="118">
                    <a:moveTo>
                      <a:pt x="326" y="0"/>
                    </a:moveTo>
                    <a:lnTo>
                      <a:pt x="163" y="118"/>
                    </a:lnTo>
                    <a:lnTo>
                      <a:pt x="0" y="0"/>
                    </a:lnTo>
                    <a:lnTo>
                      <a:pt x="32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5" name="Oval 234"/>
              <p:cNvSpPr>
                <a:spLocks noChangeArrowheads="1"/>
              </p:cNvSpPr>
              <p:nvPr/>
            </p:nvSpPr>
            <p:spPr bwMode="auto">
              <a:xfrm>
                <a:off x="4065094" y="5594143"/>
                <a:ext cx="120543" cy="14126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6" name="Freeform 235"/>
              <p:cNvSpPr>
                <a:spLocks/>
              </p:cNvSpPr>
              <p:nvPr/>
            </p:nvSpPr>
            <p:spPr bwMode="auto">
              <a:xfrm>
                <a:off x="3758522" y="5475774"/>
                <a:ext cx="168064" cy="243838"/>
              </a:xfrm>
              <a:custGeom>
                <a:avLst/>
                <a:gdLst>
                  <a:gd name="T0" fmla="*/ 442 w 490"/>
                  <a:gd name="T1" fmla="*/ 569 h 711"/>
                  <a:gd name="T2" fmla="*/ 442 w 490"/>
                  <a:gd name="T3" fmla="*/ 0 h 711"/>
                  <a:gd name="T4" fmla="*/ 389 w 490"/>
                  <a:gd name="T5" fmla="*/ 0 h 711"/>
                  <a:gd name="T6" fmla="*/ 389 w 490"/>
                  <a:gd name="T7" fmla="*/ 569 h 711"/>
                  <a:gd name="T8" fmla="*/ 343 w 490"/>
                  <a:gd name="T9" fmla="*/ 623 h 711"/>
                  <a:gd name="T10" fmla="*/ 0 w 490"/>
                  <a:gd name="T11" fmla="*/ 623 h 711"/>
                  <a:gd name="T12" fmla="*/ 0 w 490"/>
                  <a:gd name="T13" fmla="*/ 652 h 711"/>
                  <a:gd name="T14" fmla="*/ 343 w 490"/>
                  <a:gd name="T15" fmla="*/ 652 h 711"/>
                  <a:gd name="T16" fmla="*/ 415 w 490"/>
                  <a:gd name="T17" fmla="*/ 711 h 711"/>
                  <a:gd name="T18" fmla="*/ 490 w 490"/>
                  <a:gd name="T19" fmla="*/ 637 h 711"/>
                  <a:gd name="T20" fmla="*/ 442 w 490"/>
                  <a:gd name="T21" fmla="*/ 569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0" h="711">
                    <a:moveTo>
                      <a:pt x="442" y="569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389" y="0"/>
                      <a:pt x="389" y="0"/>
                      <a:pt x="389" y="0"/>
                    </a:cubicBezTo>
                    <a:cubicBezTo>
                      <a:pt x="389" y="569"/>
                      <a:pt x="389" y="569"/>
                      <a:pt x="389" y="569"/>
                    </a:cubicBezTo>
                    <a:cubicBezTo>
                      <a:pt x="366" y="577"/>
                      <a:pt x="348" y="598"/>
                      <a:pt x="343" y="623"/>
                    </a:cubicBezTo>
                    <a:cubicBezTo>
                      <a:pt x="0" y="623"/>
                      <a:pt x="0" y="623"/>
                      <a:pt x="0" y="623"/>
                    </a:cubicBezTo>
                    <a:cubicBezTo>
                      <a:pt x="0" y="652"/>
                      <a:pt x="0" y="652"/>
                      <a:pt x="0" y="652"/>
                    </a:cubicBezTo>
                    <a:cubicBezTo>
                      <a:pt x="343" y="652"/>
                      <a:pt x="343" y="652"/>
                      <a:pt x="343" y="652"/>
                    </a:cubicBezTo>
                    <a:cubicBezTo>
                      <a:pt x="350" y="686"/>
                      <a:pt x="380" y="711"/>
                      <a:pt x="415" y="711"/>
                    </a:cubicBezTo>
                    <a:cubicBezTo>
                      <a:pt x="456" y="711"/>
                      <a:pt x="490" y="678"/>
                      <a:pt x="490" y="637"/>
                    </a:cubicBezTo>
                    <a:cubicBezTo>
                      <a:pt x="490" y="606"/>
                      <a:pt x="470" y="579"/>
                      <a:pt x="442" y="5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7" name="Freeform 236"/>
              <p:cNvSpPr>
                <a:spLocks/>
              </p:cNvSpPr>
              <p:nvPr/>
            </p:nvSpPr>
            <p:spPr bwMode="auto">
              <a:xfrm>
                <a:off x="3979613" y="5742938"/>
                <a:ext cx="291360" cy="165601"/>
              </a:xfrm>
              <a:custGeom>
                <a:avLst/>
                <a:gdLst>
                  <a:gd name="T0" fmla="*/ 706 w 850"/>
                  <a:gd name="T1" fmla="*/ 0 h 483"/>
                  <a:gd name="T2" fmla="*/ 589 w 850"/>
                  <a:gd name="T3" fmla="*/ 0 h 483"/>
                  <a:gd name="T4" fmla="*/ 503 w 850"/>
                  <a:gd name="T5" fmla="*/ 182 h 483"/>
                  <a:gd name="T6" fmla="*/ 425 w 850"/>
                  <a:gd name="T7" fmla="*/ 52 h 483"/>
                  <a:gd name="T8" fmla="*/ 347 w 850"/>
                  <a:gd name="T9" fmla="*/ 182 h 483"/>
                  <a:gd name="T10" fmla="*/ 261 w 850"/>
                  <a:gd name="T11" fmla="*/ 0 h 483"/>
                  <a:gd name="T12" fmla="*/ 144 w 850"/>
                  <a:gd name="T13" fmla="*/ 0 h 483"/>
                  <a:gd name="T14" fmla="*/ 0 w 850"/>
                  <a:gd name="T15" fmla="*/ 160 h 483"/>
                  <a:gd name="T16" fmla="*/ 0 w 850"/>
                  <a:gd name="T17" fmla="*/ 483 h 483"/>
                  <a:gd name="T18" fmla="*/ 850 w 850"/>
                  <a:gd name="T19" fmla="*/ 483 h 483"/>
                  <a:gd name="T20" fmla="*/ 850 w 850"/>
                  <a:gd name="T21" fmla="*/ 160 h 483"/>
                  <a:gd name="T22" fmla="*/ 706 w 850"/>
                  <a:gd name="T23" fmla="*/ 0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50" h="483">
                    <a:moveTo>
                      <a:pt x="706" y="0"/>
                    </a:moveTo>
                    <a:cubicBezTo>
                      <a:pt x="589" y="0"/>
                      <a:pt x="589" y="0"/>
                      <a:pt x="589" y="0"/>
                    </a:cubicBezTo>
                    <a:cubicBezTo>
                      <a:pt x="503" y="182"/>
                      <a:pt x="503" y="182"/>
                      <a:pt x="503" y="182"/>
                    </a:cubicBezTo>
                    <a:cubicBezTo>
                      <a:pt x="425" y="52"/>
                      <a:pt x="425" y="52"/>
                      <a:pt x="425" y="52"/>
                    </a:cubicBezTo>
                    <a:cubicBezTo>
                      <a:pt x="347" y="182"/>
                      <a:pt x="347" y="182"/>
                      <a:pt x="347" y="182"/>
                    </a:cubicBezTo>
                    <a:cubicBezTo>
                      <a:pt x="261" y="0"/>
                      <a:pt x="261" y="0"/>
                      <a:pt x="261" y="0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65" y="0"/>
                      <a:pt x="0" y="72"/>
                      <a:pt x="0" y="160"/>
                    </a:cubicBezTo>
                    <a:cubicBezTo>
                      <a:pt x="0" y="483"/>
                      <a:pt x="0" y="483"/>
                      <a:pt x="0" y="483"/>
                    </a:cubicBezTo>
                    <a:cubicBezTo>
                      <a:pt x="850" y="483"/>
                      <a:pt x="850" y="483"/>
                      <a:pt x="850" y="483"/>
                    </a:cubicBezTo>
                    <a:cubicBezTo>
                      <a:pt x="850" y="160"/>
                      <a:pt x="850" y="160"/>
                      <a:pt x="850" y="160"/>
                    </a:cubicBezTo>
                    <a:cubicBezTo>
                      <a:pt x="850" y="72"/>
                      <a:pt x="786" y="0"/>
                      <a:pt x="70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8" name="Freeform 237"/>
              <p:cNvSpPr>
                <a:spLocks/>
              </p:cNvSpPr>
              <p:nvPr/>
            </p:nvSpPr>
            <p:spPr bwMode="auto">
              <a:xfrm>
                <a:off x="4101750" y="5742938"/>
                <a:ext cx="47232" cy="17096"/>
              </a:xfrm>
              <a:custGeom>
                <a:avLst/>
                <a:gdLst>
                  <a:gd name="T0" fmla="*/ 326 w 326"/>
                  <a:gd name="T1" fmla="*/ 0 h 118"/>
                  <a:gd name="T2" fmla="*/ 163 w 326"/>
                  <a:gd name="T3" fmla="*/ 118 h 118"/>
                  <a:gd name="T4" fmla="*/ 0 w 326"/>
                  <a:gd name="T5" fmla="*/ 0 h 118"/>
                  <a:gd name="T6" fmla="*/ 326 w 326"/>
                  <a:gd name="T7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6" h="118">
                    <a:moveTo>
                      <a:pt x="326" y="0"/>
                    </a:moveTo>
                    <a:lnTo>
                      <a:pt x="163" y="118"/>
                    </a:lnTo>
                    <a:lnTo>
                      <a:pt x="0" y="0"/>
                    </a:lnTo>
                    <a:lnTo>
                      <a:pt x="32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9" name="Oval 238"/>
              <p:cNvSpPr>
                <a:spLocks noChangeArrowheads="1"/>
              </p:cNvSpPr>
              <p:nvPr/>
            </p:nvSpPr>
            <p:spPr bwMode="auto">
              <a:xfrm>
                <a:off x="4065094" y="5594143"/>
                <a:ext cx="120543" cy="14126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0" name="Freeform 239"/>
              <p:cNvSpPr>
                <a:spLocks/>
              </p:cNvSpPr>
              <p:nvPr/>
            </p:nvSpPr>
            <p:spPr bwMode="auto">
              <a:xfrm>
                <a:off x="3758522" y="5475774"/>
                <a:ext cx="168064" cy="243838"/>
              </a:xfrm>
              <a:custGeom>
                <a:avLst/>
                <a:gdLst>
                  <a:gd name="T0" fmla="*/ 442 w 490"/>
                  <a:gd name="T1" fmla="*/ 569 h 711"/>
                  <a:gd name="T2" fmla="*/ 442 w 490"/>
                  <a:gd name="T3" fmla="*/ 0 h 711"/>
                  <a:gd name="T4" fmla="*/ 389 w 490"/>
                  <a:gd name="T5" fmla="*/ 0 h 711"/>
                  <a:gd name="T6" fmla="*/ 389 w 490"/>
                  <a:gd name="T7" fmla="*/ 569 h 711"/>
                  <a:gd name="T8" fmla="*/ 343 w 490"/>
                  <a:gd name="T9" fmla="*/ 623 h 711"/>
                  <a:gd name="T10" fmla="*/ 0 w 490"/>
                  <a:gd name="T11" fmla="*/ 623 h 711"/>
                  <a:gd name="T12" fmla="*/ 0 w 490"/>
                  <a:gd name="T13" fmla="*/ 652 h 711"/>
                  <a:gd name="T14" fmla="*/ 343 w 490"/>
                  <a:gd name="T15" fmla="*/ 652 h 711"/>
                  <a:gd name="T16" fmla="*/ 415 w 490"/>
                  <a:gd name="T17" fmla="*/ 711 h 711"/>
                  <a:gd name="T18" fmla="*/ 490 w 490"/>
                  <a:gd name="T19" fmla="*/ 637 h 711"/>
                  <a:gd name="T20" fmla="*/ 442 w 490"/>
                  <a:gd name="T21" fmla="*/ 569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0" h="711">
                    <a:moveTo>
                      <a:pt x="442" y="569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389" y="0"/>
                      <a:pt x="389" y="0"/>
                      <a:pt x="389" y="0"/>
                    </a:cubicBezTo>
                    <a:cubicBezTo>
                      <a:pt x="389" y="569"/>
                      <a:pt x="389" y="569"/>
                      <a:pt x="389" y="569"/>
                    </a:cubicBezTo>
                    <a:cubicBezTo>
                      <a:pt x="366" y="577"/>
                      <a:pt x="348" y="598"/>
                      <a:pt x="343" y="623"/>
                    </a:cubicBezTo>
                    <a:cubicBezTo>
                      <a:pt x="0" y="623"/>
                      <a:pt x="0" y="623"/>
                      <a:pt x="0" y="623"/>
                    </a:cubicBezTo>
                    <a:cubicBezTo>
                      <a:pt x="0" y="652"/>
                      <a:pt x="0" y="652"/>
                      <a:pt x="0" y="652"/>
                    </a:cubicBezTo>
                    <a:cubicBezTo>
                      <a:pt x="343" y="652"/>
                      <a:pt x="343" y="652"/>
                      <a:pt x="343" y="652"/>
                    </a:cubicBezTo>
                    <a:cubicBezTo>
                      <a:pt x="350" y="686"/>
                      <a:pt x="380" y="711"/>
                      <a:pt x="415" y="711"/>
                    </a:cubicBezTo>
                    <a:cubicBezTo>
                      <a:pt x="456" y="711"/>
                      <a:pt x="490" y="678"/>
                      <a:pt x="490" y="637"/>
                    </a:cubicBezTo>
                    <a:cubicBezTo>
                      <a:pt x="490" y="606"/>
                      <a:pt x="470" y="579"/>
                      <a:pt x="442" y="5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1" name="Freeform 240"/>
              <p:cNvSpPr>
                <a:spLocks/>
              </p:cNvSpPr>
              <p:nvPr/>
            </p:nvSpPr>
            <p:spPr bwMode="auto">
              <a:xfrm>
                <a:off x="3979613" y="5742938"/>
                <a:ext cx="291360" cy="165601"/>
              </a:xfrm>
              <a:custGeom>
                <a:avLst/>
                <a:gdLst>
                  <a:gd name="T0" fmla="*/ 706 w 850"/>
                  <a:gd name="T1" fmla="*/ 0 h 483"/>
                  <a:gd name="T2" fmla="*/ 589 w 850"/>
                  <a:gd name="T3" fmla="*/ 0 h 483"/>
                  <a:gd name="T4" fmla="*/ 503 w 850"/>
                  <a:gd name="T5" fmla="*/ 182 h 483"/>
                  <a:gd name="T6" fmla="*/ 425 w 850"/>
                  <a:gd name="T7" fmla="*/ 52 h 483"/>
                  <a:gd name="T8" fmla="*/ 347 w 850"/>
                  <a:gd name="T9" fmla="*/ 182 h 483"/>
                  <a:gd name="T10" fmla="*/ 261 w 850"/>
                  <a:gd name="T11" fmla="*/ 0 h 483"/>
                  <a:gd name="T12" fmla="*/ 144 w 850"/>
                  <a:gd name="T13" fmla="*/ 0 h 483"/>
                  <a:gd name="T14" fmla="*/ 0 w 850"/>
                  <a:gd name="T15" fmla="*/ 160 h 483"/>
                  <a:gd name="T16" fmla="*/ 0 w 850"/>
                  <a:gd name="T17" fmla="*/ 483 h 483"/>
                  <a:gd name="T18" fmla="*/ 850 w 850"/>
                  <a:gd name="T19" fmla="*/ 483 h 483"/>
                  <a:gd name="T20" fmla="*/ 850 w 850"/>
                  <a:gd name="T21" fmla="*/ 160 h 483"/>
                  <a:gd name="T22" fmla="*/ 706 w 850"/>
                  <a:gd name="T23" fmla="*/ 0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50" h="483">
                    <a:moveTo>
                      <a:pt x="706" y="0"/>
                    </a:moveTo>
                    <a:cubicBezTo>
                      <a:pt x="589" y="0"/>
                      <a:pt x="589" y="0"/>
                      <a:pt x="589" y="0"/>
                    </a:cubicBezTo>
                    <a:cubicBezTo>
                      <a:pt x="503" y="182"/>
                      <a:pt x="503" y="182"/>
                      <a:pt x="503" y="182"/>
                    </a:cubicBezTo>
                    <a:cubicBezTo>
                      <a:pt x="425" y="52"/>
                      <a:pt x="425" y="52"/>
                      <a:pt x="425" y="52"/>
                    </a:cubicBezTo>
                    <a:cubicBezTo>
                      <a:pt x="347" y="182"/>
                      <a:pt x="347" y="182"/>
                      <a:pt x="347" y="182"/>
                    </a:cubicBezTo>
                    <a:cubicBezTo>
                      <a:pt x="261" y="0"/>
                      <a:pt x="261" y="0"/>
                      <a:pt x="261" y="0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65" y="0"/>
                      <a:pt x="0" y="72"/>
                      <a:pt x="0" y="160"/>
                    </a:cubicBezTo>
                    <a:cubicBezTo>
                      <a:pt x="0" y="483"/>
                      <a:pt x="0" y="483"/>
                      <a:pt x="0" y="483"/>
                    </a:cubicBezTo>
                    <a:cubicBezTo>
                      <a:pt x="850" y="483"/>
                      <a:pt x="850" y="483"/>
                      <a:pt x="850" y="483"/>
                    </a:cubicBezTo>
                    <a:cubicBezTo>
                      <a:pt x="850" y="160"/>
                      <a:pt x="850" y="160"/>
                      <a:pt x="850" y="160"/>
                    </a:cubicBezTo>
                    <a:cubicBezTo>
                      <a:pt x="850" y="72"/>
                      <a:pt x="786" y="0"/>
                      <a:pt x="70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2" name="Freeform 241"/>
              <p:cNvSpPr>
                <a:spLocks/>
              </p:cNvSpPr>
              <p:nvPr/>
            </p:nvSpPr>
            <p:spPr bwMode="auto">
              <a:xfrm>
                <a:off x="4101750" y="5742938"/>
                <a:ext cx="47232" cy="17096"/>
              </a:xfrm>
              <a:custGeom>
                <a:avLst/>
                <a:gdLst>
                  <a:gd name="T0" fmla="*/ 326 w 326"/>
                  <a:gd name="T1" fmla="*/ 0 h 118"/>
                  <a:gd name="T2" fmla="*/ 163 w 326"/>
                  <a:gd name="T3" fmla="*/ 118 h 118"/>
                  <a:gd name="T4" fmla="*/ 0 w 326"/>
                  <a:gd name="T5" fmla="*/ 0 h 118"/>
                  <a:gd name="T6" fmla="*/ 326 w 326"/>
                  <a:gd name="T7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6" h="118">
                    <a:moveTo>
                      <a:pt x="326" y="0"/>
                    </a:moveTo>
                    <a:lnTo>
                      <a:pt x="163" y="118"/>
                    </a:lnTo>
                    <a:lnTo>
                      <a:pt x="0" y="0"/>
                    </a:lnTo>
                    <a:lnTo>
                      <a:pt x="32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3" name="Oval 242"/>
              <p:cNvSpPr>
                <a:spLocks noChangeArrowheads="1"/>
              </p:cNvSpPr>
              <p:nvPr/>
            </p:nvSpPr>
            <p:spPr bwMode="auto">
              <a:xfrm>
                <a:off x="4065094" y="5594143"/>
                <a:ext cx="120543" cy="14126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4" name="Freeform 243"/>
              <p:cNvSpPr>
                <a:spLocks/>
              </p:cNvSpPr>
              <p:nvPr/>
            </p:nvSpPr>
            <p:spPr bwMode="auto">
              <a:xfrm>
                <a:off x="3758522" y="5475774"/>
                <a:ext cx="168064" cy="243838"/>
              </a:xfrm>
              <a:custGeom>
                <a:avLst/>
                <a:gdLst>
                  <a:gd name="T0" fmla="*/ 442 w 490"/>
                  <a:gd name="T1" fmla="*/ 569 h 711"/>
                  <a:gd name="T2" fmla="*/ 442 w 490"/>
                  <a:gd name="T3" fmla="*/ 0 h 711"/>
                  <a:gd name="T4" fmla="*/ 389 w 490"/>
                  <a:gd name="T5" fmla="*/ 0 h 711"/>
                  <a:gd name="T6" fmla="*/ 389 w 490"/>
                  <a:gd name="T7" fmla="*/ 569 h 711"/>
                  <a:gd name="T8" fmla="*/ 343 w 490"/>
                  <a:gd name="T9" fmla="*/ 623 h 711"/>
                  <a:gd name="T10" fmla="*/ 0 w 490"/>
                  <a:gd name="T11" fmla="*/ 623 h 711"/>
                  <a:gd name="T12" fmla="*/ 0 w 490"/>
                  <a:gd name="T13" fmla="*/ 652 h 711"/>
                  <a:gd name="T14" fmla="*/ 343 w 490"/>
                  <a:gd name="T15" fmla="*/ 652 h 711"/>
                  <a:gd name="T16" fmla="*/ 415 w 490"/>
                  <a:gd name="T17" fmla="*/ 711 h 711"/>
                  <a:gd name="T18" fmla="*/ 490 w 490"/>
                  <a:gd name="T19" fmla="*/ 637 h 711"/>
                  <a:gd name="T20" fmla="*/ 442 w 490"/>
                  <a:gd name="T21" fmla="*/ 569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0" h="711">
                    <a:moveTo>
                      <a:pt x="442" y="569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389" y="0"/>
                      <a:pt x="389" y="0"/>
                      <a:pt x="389" y="0"/>
                    </a:cubicBezTo>
                    <a:cubicBezTo>
                      <a:pt x="389" y="569"/>
                      <a:pt x="389" y="569"/>
                      <a:pt x="389" y="569"/>
                    </a:cubicBezTo>
                    <a:cubicBezTo>
                      <a:pt x="366" y="577"/>
                      <a:pt x="348" y="598"/>
                      <a:pt x="343" y="623"/>
                    </a:cubicBezTo>
                    <a:cubicBezTo>
                      <a:pt x="0" y="623"/>
                      <a:pt x="0" y="623"/>
                      <a:pt x="0" y="623"/>
                    </a:cubicBezTo>
                    <a:cubicBezTo>
                      <a:pt x="0" y="652"/>
                      <a:pt x="0" y="652"/>
                      <a:pt x="0" y="652"/>
                    </a:cubicBezTo>
                    <a:cubicBezTo>
                      <a:pt x="343" y="652"/>
                      <a:pt x="343" y="652"/>
                      <a:pt x="343" y="652"/>
                    </a:cubicBezTo>
                    <a:cubicBezTo>
                      <a:pt x="350" y="686"/>
                      <a:pt x="380" y="711"/>
                      <a:pt x="415" y="711"/>
                    </a:cubicBezTo>
                    <a:cubicBezTo>
                      <a:pt x="456" y="711"/>
                      <a:pt x="490" y="678"/>
                      <a:pt x="490" y="637"/>
                    </a:cubicBezTo>
                    <a:cubicBezTo>
                      <a:pt x="490" y="606"/>
                      <a:pt x="470" y="579"/>
                      <a:pt x="442" y="5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5" name="Freeform 244"/>
              <p:cNvSpPr>
                <a:spLocks/>
              </p:cNvSpPr>
              <p:nvPr/>
            </p:nvSpPr>
            <p:spPr bwMode="auto">
              <a:xfrm>
                <a:off x="3979613" y="5742938"/>
                <a:ext cx="291360" cy="165601"/>
              </a:xfrm>
              <a:custGeom>
                <a:avLst/>
                <a:gdLst>
                  <a:gd name="T0" fmla="*/ 706 w 850"/>
                  <a:gd name="T1" fmla="*/ 0 h 483"/>
                  <a:gd name="T2" fmla="*/ 589 w 850"/>
                  <a:gd name="T3" fmla="*/ 0 h 483"/>
                  <a:gd name="T4" fmla="*/ 503 w 850"/>
                  <a:gd name="T5" fmla="*/ 182 h 483"/>
                  <a:gd name="T6" fmla="*/ 425 w 850"/>
                  <a:gd name="T7" fmla="*/ 52 h 483"/>
                  <a:gd name="T8" fmla="*/ 347 w 850"/>
                  <a:gd name="T9" fmla="*/ 182 h 483"/>
                  <a:gd name="T10" fmla="*/ 261 w 850"/>
                  <a:gd name="T11" fmla="*/ 0 h 483"/>
                  <a:gd name="T12" fmla="*/ 144 w 850"/>
                  <a:gd name="T13" fmla="*/ 0 h 483"/>
                  <a:gd name="T14" fmla="*/ 0 w 850"/>
                  <a:gd name="T15" fmla="*/ 160 h 483"/>
                  <a:gd name="T16" fmla="*/ 0 w 850"/>
                  <a:gd name="T17" fmla="*/ 483 h 483"/>
                  <a:gd name="T18" fmla="*/ 850 w 850"/>
                  <a:gd name="T19" fmla="*/ 483 h 483"/>
                  <a:gd name="T20" fmla="*/ 850 w 850"/>
                  <a:gd name="T21" fmla="*/ 160 h 483"/>
                  <a:gd name="T22" fmla="*/ 706 w 850"/>
                  <a:gd name="T23" fmla="*/ 0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50" h="483">
                    <a:moveTo>
                      <a:pt x="706" y="0"/>
                    </a:moveTo>
                    <a:cubicBezTo>
                      <a:pt x="589" y="0"/>
                      <a:pt x="589" y="0"/>
                      <a:pt x="589" y="0"/>
                    </a:cubicBezTo>
                    <a:cubicBezTo>
                      <a:pt x="503" y="182"/>
                      <a:pt x="503" y="182"/>
                      <a:pt x="503" y="182"/>
                    </a:cubicBezTo>
                    <a:cubicBezTo>
                      <a:pt x="425" y="52"/>
                      <a:pt x="425" y="52"/>
                      <a:pt x="425" y="52"/>
                    </a:cubicBezTo>
                    <a:cubicBezTo>
                      <a:pt x="347" y="182"/>
                      <a:pt x="347" y="182"/>
                      <a:pt x="347" y="182"/>
                    </a:cubicBezTo>
                    <a:cubicBezTo>
                      <a:pt x="261" y="0"/>
                      <a:pt x="261" y="0"/>
                      <a:pt x="261" y="0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65" y="0"/>
                      <a:pt x="0" y="72"/>
                      <a:pt x="0" y="160"/>
                    </a:cubicBezTo>
                    <a:cubicBezTo>
                      <a:pt x="0" y="483"/>
                      <a:pt x="0" y="483"/>
                      <a:pt x="0" y="483"/>
                    </a:cubicBezTo>
                    <a:cubicBezTo>
                      <a:pt x="850" y="483"/>
                      <a:pt x="850" y="483"/>
                      <a:pt x="850" y="483"/>
                    </a:cubicBezTo>
                    <a:cubicBezTo>
                      <a:pt x="850" y="160"/>
                      <a:pt x="850" y="160"/>
                      <a:pt x="850" y="160"/>
                    </a:cubicBezTo>
                    <a:cubicBezTo>
                      <a:pt x="850" y="72"/>
                      <a:pt x="786" y="0"/>
                      <a:pt x="70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6" name="Freeform 245"/>
              <p:cNvSpPr>
                <a:spLocks/>
              </p:cNvSpPr>
              <p:nvPr/>
            </p:nvSpPr>
            <p:spPr bwMode="auto">
              <a:xfrm>
                <a:off x="4101750" y="5742938"/>
                <a:ext cx="47232" cy="17096"/>
              </a:xfrm>
              <a:custGeom>
                <a:avLst/>
                <a:gdLst>
                  <a:gd name="T0" fmla="*/ 326 w 326"/>
                  <a:gd name="T1" fmla="*/ 0 h 118"/>
                  <a:gd name="T2" fmla="*/ 163 w 326"/>
                  <a:gd name="T3" fmla="*/ 118 h 118"/>
                  <a:gd name="T4" fmla="*/ 0 w 326"/>
                  <a:gd name="T5" fmla="*/ 0 h 118"/>
                  <a:gd name="T6" fmla="*/ 326 w 326"/>
                  <a:gd name="T7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6" h="118">
                    <a:moveTo>
                      <a:pt x="326" y="0"/>
                    </a:moveTo>
                    <a:lnTo>
                      <a:pt x="163" y="118"/>
                    </a:lnTo>
                    <a:lnTo>
                      <a:pt x="0" y="0"/>
                    </a:lnTo>
                    <a:lnTo>
                      <a:pt x="32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7" name="Oval 246"/>
              <p:cNvSpPr>
                <a:spLocks noChangeArrowheads="1"/>
              </p:cNvSpPr>
              <p:nvPr/>
            </p:nvSpPr>
            <p:spPr bwMode="auto">
              <a:xfrm>
                <a:off x="4065094" y="5594143"/>
                <a:ext cx="120543" cy="14126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8" name="Freeform 247"/>
              <p:cNvSpPr>
                <a:spLocks/>
              </p:cNvSpPr>
              <p:nvPr/>
            </p:nvSpPr>
            <p:spPr bwMode="auto">
              <a:xfrm>
                <a:off x="3758522" y="5475774"/>
                <a:ext cx="168064" cy="243838"/>
              </a:xfrm>
              <a:custGeom>
                <a:avLst/>
                <a:gdLst>
                  <a:gd name="T0" fmla="*/ 442 w 490"/>
                  <a:gd name="T1" fmla="*/ 569 h 711"/>
                  <a:gd name="T2" fmla="*/ 442 w 490"/>
                  <a:gd name="T3" fmla="*/ 0 h 711"/>
                  <a:gd name="T4" fmla="*/ 389 w 490"/>
                  <a:gd name="T5" fmla="*/ 0 h 711"/>
                  <a:gd name="T6" fmla="*/ 389 w 490"/>
                  <a:gd name="T7" fmla="*/ 569 h 711"/>
                  <a:gd name="T8" fmla="*/ 343 w 490"/>
                  <a:gd name="T9" fmla="*/ 623 h 711"/>
                  <a:gd name="T10" fmla="*/ 0 w 490"/>
                  <a:gd name="T11" fmla="*/ 623 h 711"/>
                  <a:gd name="T12" fmla="*/ 0 w 490"/>
                  <a:gd name="T13" fmla="*/ 652 h 711"/>
                  <a:gd name="T14" fmla="*/ 343 w 490"/>
                  <a:gd name="T15" fmla="*/ 652 h 711"/>
                  <a:gd name="T16" fmla="*/ 415 w 490"/>
                  <a:gd name="T17" fmla="*/ 711 h 711"/>
                  <a:gd name="T18" fmla="*/ 490 w 490"/>
                  <a:gd name="T19" fmla="*/ 637 h 711"/>
                  <a:gd name="T20" fmla="*/ 442 w 490"/>
                  <a:gd name="T21" fmla="*/ 569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0" h="711">
                    <a:moveTo>
                      <a:pt x="442" y="569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389" y="0"/>
                      <a:pt x="389" y="0"/>
                      <a:pt x="389" y="0"/>
                    </a:cubicBezTo>
                    <a:cubicBezTo>
                      <a:pt x="389" y="569"/>
                      <a:pt x="389" y="569"/>
                      <a:pt x="389" y="569"/>
                    </a:cubicBezTo>
                    <a:cubicBezTo>
                      <a:pt x="366" y="577"/>
                      <a:pt x="348" y="598"/>
                      <a:pt x="343" y="623"/>
                    </a:cubicBezTo>
                    <a:cubicBezTo>
                      <a:pt x="0" y="623"/>
                      <a:pt x="0" y="623"/>
                      <a:pt x="0" y="623"/>
                    </a:cubicBezTo>
                    <a:cubicBezTo>
                      <a:pt x="0" y="652"/>
                      <a:pt x="0" y="652"/>
                      <a:pt x="0" y="652"/>
                    </a:cubicBezTo>
                    <a:cubicBezTo>
                      <a:pt x="343" y="652"/>
                      <a:pt x="343" y="652"/>
                      <a:pt x="343" y="652"/>
                    </a:cubicBezTo>
                    <a:cubicBezTo>
                      <a:pt x="350" y="686"/>
                      <a:pt x="380" y="711"/>
                      <a:pt x="415" y="711"/>
                    </a:cubicBezTo>
                    <a:cubicBezTo>
                      <a:pt x="456" y="711"/>
                      <a:pt x="490" y="678"/>
                      <a:pt x="490" y="637"/>
                    </a:cubicBezTo>
                    <a:cubicBezTo>
                      <a:pt x="490" y="606"/>
                      <a:pt x="470" y="579"/>
                      <a:pt x="442" y="5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9" name="Freeform 248"/>
              <p:cNvSpPr>
                <a:spLocks/>
              </p:cNvSpPr>
              <p:nvPr/>
            </p:nvSpPr>
            <p:spPr bwMode="auto">
              <a:xfrm>
                <a:off x="3626244" y="5419559"/>
                <a:ext cx="523172" cy="549686"/>
              </a:xfrm>
              <a:custGeom>
                <a:avLst/>
                <a:gdLst>
                  <a:gd name="T0" fmla="*/ 1145 w 1526"/>
                  <a:gd name="T1" fmla="*/ 1467 h 1603"/>
                  <a:gd name="T2" fmla="*/ 801 w 1526"/>
                  <a:gd name="T3" fmla="*/ 1551 h 1603"/>
                  <a:gd name="T4" fmla="*/ 52 w 1526"/>
                  <a:gd name="T5" fmla="*/ 801 h 1603"/>
                  <a:gd name="T6" fmla="*/ 801 w 1526"/>
                  <a:gd name="T7" fmla="*/ 52 h 1603"/>
                  <a:gd name="T8" fmla="*/ 1468 w 1526"/>
                  <a:gd name="T9" fmla="*/ 459 h 1603"/>
                  <a:gd name="T10" fmla="*/ 1526 w 1526"/>
                  <a:gd name="T11" fmla="*/ 459 h 1603"/>
                  <a:gd name="T12" fmla="*/ 801 w 1526"/>
                  <a:gd name="T13" fmla="*/ 0 h 1603"/>
                  <a:gd name="T14" fmla="*/ 0 w 1526"/>
                  <a:gd name="T15" fmla="*/ 801 h 1603"/>
                  <a:gd name="T16" fmla="*/ 801 w 1526"/>
                  <a:gd name="T17" fmla="*/ 1603 h 1603"/>
                  <a:gd name="T18" fmla="*/ 1246 w 1526"/>
                  <a:gd name="T19" fmla="*/ 1467 h 1603"/>
                  <a:gd name="T20" fmla="*/ 1145 w 1526"/>
                  <a:gd name="T21" fmla="*/ 1467 h 16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26" h="1603">
                    <a:moveTo>
                      <a:pt x="1145" y="1467"/>
                    </a:moveTo>
                    <a:cubicBezTo>
                      <a:pt x="1042" y="1521"/>
                      <a:pt x="925" y="1551"/>
                      <a:pt x="801" y="1551"/>
                    </a:cubicBezTo>
                    <a:cubicBezTo>
                      <a:pt x="388" y="1551"/>
                      <a:pt x="52" y="1215"/>
                      <a:pt x="52" y="801"/>
                    </a:cubicBezTo>
                    <a:cubicBezTo>
                      <a:pt x="52" y="388"/>
                      <a:pt x="388" y="52"/>
                      <a:pt x="801" y="52"/>
                    </a:cubicBezTo>
                    <a:cubicBezTo>
                      <a:pt x="1091" y="52"/>
                      <a:pt x="1343" y="218"/>
                      <a:pt x="1468" y="459"/>
                    </a:cubicBezTo>
                    <a:cubicBezTo>
                      <a:pt x="1526" y="459"/>
                      <a:pt x="1526" y="459"/>
                      <a:pt x="1526" y="459"/>
                    </a:cubicBezTo>
                    <a:cubicBezTo>
                      <a:pt x="1397" y="188"/>
                      <a:pt x="1121" y="0"/>
                      <a:pt x="801" y="0"/>
                    </a:cubicBezTo>
                    <a:cubicBezTo>
                      <a:pt x="360" y="0"/>
                      <a:pt x="0" y="360"/>
                      <a:pt x="0" y="801"/>
                    </a:cubicBezTo>
                    <a:cubicBezTo>
                      <a:pt x="0" y="1243"/>
                      <a:pt x="360" y="1603"/>
                      <a:pt x="801" y="1603"/>
                    </a:cubicBezTo>
                    <a:cubicBezTo>
                      <a:pt x="966" y="1603"/>
                      <a:pt x="1119" y="1553"/>
                      <a:pt x="1246" y="1467"/>
                    </a:cubicBezTo>
                    <a:lnTo>
                      <a:pt x="1145" y="146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34" name="Group 133"/>
            <p:cNvGrpSpPr/>
            <p:nvPr/>
          </p:nvGrpSpPr>
          <p:grpSpPr>
            <a:xfrm>
              <a:off x="6840611" y="704679"/>
              <a:ext cx="4023360" cy="5486400"/>
              <a:chOff x="7722157" y="685800"/>
              <a:chExt cx="4023360" cy="5486400"/>
            </a:xfrm>
          </p:grpSpPr>
          <p:grpSp>
            <p:nvGrpSpPr>
              <p:cNvPr id="140" name="Group 139"/>
              <p:cNvGrpSpPr/>
              <p:nvPr/>
            </p:nvGrpSpPr>
            <p:grpSpPr>
              <a:xfrm>
                <a:off x="7722157" y="685800"/>
                <a:ext cx="4023360" cy="5486400"/>
                <a:chOff x="8023860" y="704681"/>
                <a:chExt cx="4023360" cy="5486400"/>
              </a:xfrm>
            </p:grpSpPr>
            <p:sp>
              <p:nvSpPr>
                <p:cNvPr id="222" name="Rectangle 221"/>
                <p:cNvSpPr/>
                <p:nvPr/>
              </p:nvSpPr>
              <p:spPr>
                <a:xfrm>
                  <a:off x="8023860" y="704681"/>
                  <a:ext cx="4023360" cy="955595"/>
                </a:xfrm>
                <a:prstGeom prst="rect">
                  <a:avLst/>
                </a:prstGeom>
                <a:solidFill>
                  <a:srgbClr val="404040">
                    <a:alpha val="80000"/>
                  </a:srgb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91440" rIns="274320" bIns="91440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Сотрудничество и связи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Rectangle 222"/>
                <p:cNvSpPr/>
                <p:nvPr/>
              </p:nvSpPr>
              <p:spPr>
                <a:xfrm>
                  <a:off x="8023860" y="1837382"/>
                  <a:ext cx="4023360" cy="955595"/>
                </a:xfrm>
                <a:prstGeom prst="rect">
                  <a:avLst/>
                </a:prstGeom>
                <a:solidFill>
                  <a:srgbClr val="404040">
                    <a:alpha val="80000"/>
                  </a:srgb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rIns="274320" bIns="91440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Создание новых рынков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Rectangle 223"/>
                <p:cNvSpPr/>
                <p:nvPr/>
              </p:nvSpPr>
              <p:spPr>
                <a:xfrm>
                  <a:off x="8023860" y="2970082"/>
                  <a:ext cx="4023360" cy="955595"/>
                </a:xfrm>
                <a:prstGeom prst="rect">
                  <a:avLst/>
                </a:prstGeom>
                <a:solidFill>
                  <a:srgbClr val="404040">
                    <a:alpha val="80000"/>
                  </a:srgb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rIns="274320" bIns="91440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Проектная работа </a:t>
                  </a:r>
                </a:p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в группах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Rectangle 224"/>
                <p:cNvSpPr/>
                <p:nvPr/>
              </p:nvSpPr>
              <p:spPr>
                <a:xfrm>
                  <a:off x="8023860" y="4102783"/>
                  <a:ext cx="4023360" cy="955595"/>
                </a:xfrm>
                <a:prstGeom prst="rect">
                  <a:avLst/>
                </a:prstGeom>
                <a:solidFill>
                  <a:srgbClr val="404040">
                    <a:alpha val="80000"/>
                  </a:srgb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rIns="274320" bIns="91440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Сетевое взаимодействие 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Rectangle 225"/>
                <p:cNvSpPr/>
                <p:nvPr/>
              </p:nvSpPr>
              <p:spPr>
                <a:xfrm>
                  <a:off x="8023860" y="5235486"/>
                  <a:ext cx="4023360" cy="955595"/>
                </a:xfrm>
                <a:prstGeom prst="rect">
                  <a:avLst/>
                </a:prstGeom>
                <a:solidFill>
                  <a:srgbClr val="404040">
                    <a:alpha val="80000"/>
                  </a:srgbClr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rIns="274320" bIns="91440" rtlCol="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Более 10 позиций к </a:t>
                  </a:r>
                </a:p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40 годам</a:t>
                  </a: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41" name="Group 140"/>
              <p:cNvGrpSpPr/>
              <p:nvPr/>
            </p:nvGrpSpPr>
            <p:grpSpPr>
              <a:xfrm>
                <a:off x="7957477" y="4391860"/>
                <a:ext cx="535023" cy="541921"/>
                <a:chOff x="15424150" y="1377950"/>
                <a:chExt cx="6770688" cy="6858000"/>
              </a:xfrm>
              <a:solidFill>
                <a:schemeClr val="bg1"/>
              </a:solidFill>
            </p:grpSpPr>
            <p:sp>
              <p:nvSpPr>
                <p:cNvPr id="182" name="Freeform 181"/>
                <p:cNvSpPr>
                  <a:spLocks noEditPoints="1"/>
                </p:cNvSpPr>
                <p:nvPr/>
              </p:nvSpPr>
              <p:spPr bwMode="auto">
                <a:xfrm>
                  <a:off x="15424150" y="4845050"/>
                  <a:ext cx="6770688" cy="3390900"/>
                </a:xfrm>
                <a:custGeom>
                  <a:avLst/>
                  <a:gdLst>
                    <a:gd name="T0" fmla="*/ 0 w 2070"/>
                    <a:gd name="T1" fmla="*/ 0 h 1037"/>
                    <a:gd name="T2" fmla="*/ 0 w 2070"/>
                    <a:gd name="T3" fmla="*/ 2 h 1037"/>
                    <a:gd name="T4" fmla="*/ 1035 w 2070"/>
                    <a:gd name="T5" fmla="*/ 1037 h 1037"/>
                    <a:gd name="T6" fmla="*/ 2070 w 2070"/>
                    <a:gd name="T7" fmla="*/ 2 h 1037"/>
                    <a:gd name="T8" fmla="*/ 2070 w 2070"/>
                    <a:gd name="T9" fmla="*/ 0 h 1037"/>
                    <a:gd name="T10" fmla="*/ 0 w 2070"/>
                    <a:gd name="T11" fmla="*/ 0 h 1037"/>
                    <a:gd name="T12" fmla="*/ 334 w 2070"/>
                    <a:gd name="T13" fmla="*/ 626 h 1037"/>
                    <a:gd name="T14" fmla="*/ 98 w 2070"/>
                    <a:gd name="T15" fmla="*/ 63 h 1037"/>
                    <a:gd name="T16" fmla="*/ 420 w 2070"/>
                    <a:gd name="T17" fmla="*/ 63 h 1037"/>
                    <a:gd name="T18" fmla="*/ 484 w 2070"/>
                    <a:gd name="T19" fmla="*/ 470 h 1037"/>
                    <a:gd name="T20" fmla="*/ 334 w 2070"/>
                    <a:gd name="T21" fmla="*/ 626 h 1037"/>
                    <a:gd name="T22" fmla="*/ 412 w 2070"/>
                    <a:gd name="T23" fmla="*/ 703 h 1037"/>
                    <a:gd name="T24" fmla="*/ 515 w 2070"/>
                    <a:gd name="T25" fmla="*/ 564 h 1037"/>
                    <a:gd name="T26" fmla="*/ 712 w 2070"/>
                    <a:gd name="T27" fmla="*/ 884 h 1037"/>
                    <a:gd name="T28" fmla="*/ 412 w 2070"/>
                    <a:gd name="T29" fmla="*/ 703 h 1037"/>
                    <a:gd name="T30" fmla="*/ 974 w 2070"/>
                    <a:gd name="T31" fmla="*/ 910 h 1037"/>
                    <a:gd name="T32" fmla="*/ 602 w 2070"/>
                    <a:gd name="T33" fmla="*/ 519 h 1037"/>
                    <a:gd name="T34" fmla="*/ 974 w 2070"/>
                    <a:gd name="T35" fmla="*/ 443 h 1037"/>
                    <a:gd name="T36" fmla="*/ 974 w 2070"/>
                    <a:gd name="T37" fmla="*/ 910 h 1037"/>
                    <a:gd name="T38" fmla="*/ 974 w 2070"/>
                    <a:gd name="T39" fmla="*/ 346 h 1037"/>
                    <a:gd name="T40" fmla="*/ 573 w 2070"/>
                    <a:gd name="T41" fmla="*/ 427 h 1037"/>
                    <a:gd name="T42" fmla="*/ 516 w 2070"/>
                    <a:gd name="T43" fmla="*/ 63 h 1037"/>
                    <a:gd name="T44" fmla="*/ 974 w 2070"/>
                    <a:gd name="T45" fmla="*/ 63 h 1037"/>
                    <a:gd name="T46" fmla="*/ 974 w 2070"/>
                    <a:gd name="T47" fmla="*/ 346 h 1037"/>
                    <a:gd name="T48" fmla="*/ 1075 w 2070"/>
                    <a:gd name="T49" fmla="*/ 63 h 1037"/>
                    <a:gd name="T50" fmla="*/ 1535 w 2070"/>
                    <a:gd name="T51" fmla="*/ 63 h 1037"/>
                    <a:gd name="T52" fmla="*/ 1484 w 2070"/>
                    <a:gd name="T53" fmla="*/ 425 h 1037"/>
                    <a:gd name="T54" fmla="*/ 1075 w 2070"/>
                    <a:gd name="T55" fmla="*/ 346 h 1037"/>
                    <a:gd name="T56" fmla="*/ 1075 w 2070"/>
                    <a:gd name="T57" fmla="*/ 63 h 1037"/>
                    <a:gd name="T58" fmla="*/ 1075 w 2070"/>
                    <a:gd name="T59" fmla="*/ 932 h 1037"/>
                    <a:gd name="T60" fmla="*/ 1075 w 2070"/>
                    <a:gd name="T61" fmla="*/ 443 h 1037"/>
                    <a:gd name="T62" fmla="*/ 1456 w 2070"/>
                    <a:gd name="T63" fmla="*/ 518 h 1037"/>
                    <a:gd name="T64" fmla="*/ 1075 w 2070"/>
                    <a:gd name="T65" fmla="*/ 932 h 1037"/>
                    <a:gd name="T66" fmla="*/ 1362 w 2070"/>
                    <a:gd name="T67" fmla="*/ 882 h 1037"/>
                    <a:gd name="T68" fmla="*/ 1543 w 2070"/>
                    <a:gd name="T69" fmla="*/ 564 h 1037"/>
                    <a:gd name="T70" fmla="*/ 1641 w 2070"/>
                    <a:gd name="T71" fmla="*/ 718 h 1037"/>
                    <a:gd name="T72" fmla="*/ 1362 w 2070"/>
                    <a:gd name="T73" fmla="*/ 882 h 1037"/>
                    <a:gd name="T74" fmla="*/ 1724 w 2070"/>
                    <a:gd name="T75" fmla="*/ 639 h 1037"/>
                    <a:gd name="T76" fmla="*/ 1573 w 2070"/>
                    <a:gd name="T77" fmla="*/ 469 h 1037"/>
                    <a:gd name="T78" fmla="*/ 1632 w 2070"/>
                    <a:gd name="T79" fmla="*/ 63 h 1037"/>
                    <a:gd name="T80" fmla="*/ 1971 w 2070"/>
                    <a:gd name="T81" fmla="*/ 63 h 1037"/>
                    <a:gd name="T82" fmla="*/ 1724 w 2070"/>
                    <a:gd name="T83" fmla="*/ 639 h 10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070" h="1037">
                      <a:moveTo>
                        <a:pt x="0" y="0"/>
                      </a:moveTo>
                      <a:cubicBezTo>
                        <a:pt x="0" y="1"/>
                        <a:pt x="0" y="2"/>
                        <a:pt x="0" y="2"/>
                      </a:cubicBezTo>
                      <a:cubicBezTo>
                        <a:pt x="0" y="573"/>
                        <a:pt x="464" y="1037"/>
                        <a:pt x="1035" y="1037"/>
                      </a:cubicBezTo>
                      <a:cubicBezTo>
                        <a:pt x="1605" y="1037"/>
                        <a:pt x="2070" y="573"/>
                        <a:pt x="2070" y="2"/>
                      </a:cubicBezTo>
                      <a:cubicBezTo>
                        <a:pt x="2070" y="2"/>
                        <a:pt x="2070" y="1"/>
                        <a:pt x="2070" y="0"/>
                      </a:cubicBezTo>
                      <a:lnTo>
                        <a:pt x="0" y="0"/>
                      </a:lnTo>
                      <a:close/>
                      <a:moveTo>
                        <a:pt x="334" y="626"/>
                      </a:moveTo>
                      <a:cubicBezTo>
                        <a:pt x="199" y="474"/>
                        <a:pt x="112" y="278"/>
                        <a:pt x="98" y="63"/>
                      </a:cubicBezTo>
                      <a:cubicBezTo>
                        <a:pt x="420" y="63"/>
                        <a:pt x="420" y="63"/>
                        <a:pt x="420" y="63"/>
                      </a:cubicBezTo>
                      <a:cubicBezTo>
                        <a:pt x="424" y="192"/>
                        <a:pt x="445" y="335"/>
                        <a:pt x="484" y="470"/>
                      </a:cubicBezTo>
                      <a:cubicBezTo>
                        <a:pt x="416" y="511"/>
                        <a:pt x="362" y="562"/>
                        <a:pt x="334" y="626"/>
                      </a:cubicBezTo>
                      <a:close/>
                      <a:moveTo>
                        <a:pt x="412" y="703"/>
                      </a:moveTo>
                      <a:cubicBezTo>
                        <a:pt x="421" y="648"/>
                        <a:pt x="459" y="602"/>
                        <a:pt x="515" y="564"/>
                      </a:cubicBezTo>
                      <a:cubicBezTo>
                        <a:pt x="562" y="690"/>
                        <a:pt x="626" y="803"/>
                        <a:pt x="712" y="884"/>
                      </a:cubicBezTo>
                      <a:cubicBezTo>
                        <a:pt x="601" y="843"/>
                        <a:pt x="499" y="781"/>
                        <a:pt x="412" y="703"/>
                      </a:cubicBezTo>
                      <a:close/>
                      <a:moveTo>
                        <a:pt x="974" y="910"/>
                      </a:moveTo>
                      <a:cubicBezTo>
                        <a:pt x="794" y="884"/>
                        <a:pt x="674" y="718"/>
                        <a:pt x="602" y="519"/>
                      </a:cubicBezTo>
                      <a:cubicBezTo>
                        <a:pt x="711" y="473"/>
                        <a:pt x="851" y="448"/>
                        <a:pt x="974" y="443"/>
                      </a:cubicBezTo>
                      <a:lnTo>
                        <a:pt x="974" y="910"/>
                      </a:lnTo>
                      <a:close/>
                      <a:moveTo>
                        <a:pt x="974" y="346"/>
                      </a:moveTo>
                      <a:cubicBezTo>
                        <a:pt x="845" y="351"/>
                        <a:pt x="697" y="376"/>
                        <a:pt x="573" y="427"/>
                      </a:cubicBezTo>
                      <a:cubicBezTo>
                        <a:pt x="539" y="305"/>
                        <a:pt x="521" y="176"/>
                        <a:pt x="516" y="63"/>
                      </a:cubicBezTo>
                      <a:cubicBezTo>
                        <a:pt x="974" y="63"/>
                        <a:pt x="974" y="63"/>
                        <a:pt x="974" y="63"/>
                      </a:cubicBezTo>
                      <a:lnTo>
                        <a:pt x="974" y="346"/>
                      </a:lnTo>
                      <a:close/>
                      <a:moveTo>
                        <a:pt x="1075" y="63"/>
                      </a:moveTo>
                      <a:cubicBezTo>
                        <a:pt x="1535" y="63"/>
                        <a:pt x="1535" y="63"/>
                        <a:pt x="1535" y="63"/>
                      </a:cubicBezTo>
                      <a:cubicBezTo>
                        <a:pt x="1532" y="174"/>
                        <a:pt x="1516" y="302"/>
                        <a:pt x="1484" y="425"/>
                      </a:cubicBezTo>
                      <a:cubicBezTo>
                        <a:pt x="1366" y="377"/>
                        <a:pt x="1220" y="351"/>
                        <a:pt x="1075" y="346"/>
                      </a:cubicBezTo>
                      <a:lnTo>
                        <a:pt x="1075" y="63"/>
                      </a:lnTo>
                      <a:close/>
                      <a:moveTo>
                        <a:pt x="1075" y="932"/>
                      </a:moveTo>
                      <a:cubicBezTo>
                        <a:pt x="1075" y="443"/>
                        <a:pt x="1075" y="443"/>
                        <a:pt x="1075" y="443"/>
                      </a:cubicBezTo>
                      <a:cubicBezTo>
                        <a:pt x="1197" y="448"/>
                        <a:pt x="1343" y="471"/>
                        <a:pt x="1456" y="518"/>
                      </a:cubicBezTo>
                      <a:cubicBezTo>
                        <a:pt x="1385" y="728"/>
                        <a:pt x="1263" y="905"/>
                        <a:pt x="1075" y="932"/>
                      </a:cubicBezTo>
                      <a:close/>
                      <a:moveTo>
                        <a:pt x="1362" y="882"/>
                      </a:moveTo>
                      <a:cubicBezTo>
                        <a:pt x="1441" y="798"/>
                        <a:pt x="1500" y="686"/>
                        <a:pt x="1543" y="564"/>
                      </a:cubicBezTo>
                      <a:cubicBezTo>
                        <a:pt x="1602" y="604"/>
                        <a:pt x="1640" y="655"/>
                        <a:pt x="1641" y="718"/>
                      </a:cubicBezTo>
                      <a:cubicBezTo>
                        <a:pt x="1559" y="788"/>
                        <a:pt x="1465" y="844"/>
                        <a:pt x="1362" y="882"/>
                      </a:cubicBezTo>
                      <a:close/>
                      <a:moveTo>
                        <a:pt x="1724" y="639"/>
                      </a:moveTo>
                      <a:cubicBezTo>
                        <a:pt x="1700" y="570"/>
                        <a:pt x="1646" y="513"/>
                        <a:pt x="1573" y="469"/>
                      </a:cubicBezTo>
                      <a:cubicBezTo>
                        <a:pt x="1610" y="333"/>
                        <a:pt x="1629" y="190"/>
                        <a:pt x="1632" y="63"/>
                      </a:cubicBezTo>
                      <a:cubicBezTo>
                        <a:pt x="1971" y="63"/>
                        <a:pt x="1971" y="63"/>
                        <a:pt x="1971" y="63"/>
                      </a:cubicBezTo>
                      <a:cubicBezTo>
                        <a:pt x="1957" y="284"/>
                        <a:pt x="1866" y="485"/>
                        <a:pt x="1724" y="6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 182"/>
                <p:cNvSpPr>
                  <a:spLocks/>
                </p:cNvSpPr>
                <p:nvPr/>
              </p:nvSpPr>
              <p:spPr bwMode="auto">
                <a:xfrm>
                  <a:off x="18586450" y="2895600"/>
                  <a:ext cx="481013" cy="176213"/>
                </a:xfrm>
                <a:custGeom>
                  <a:avLst/>
                  <a:gdLst>
                    <a:gd name="T0" fmla="*/ 303 w 303"/>
                    <a:gd name="T1" fmla="*/ 0 h 111"/>
                    <a:gd name="T2" fmla="*/ 151 w 303"/>
                    <a:gd name="T3" fmla="*/ 111 h 111"/>
                    <a:gd name="T4" fmla="*/ 0 w 303"/>
                    <a:gd name="T5" fmla="*/ 0 h 111"/>
                    <a:gd name="T6" fmla="*/ 303 w 303"/>
                    <a:gd name="T7" fmla="*/ 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03" h="111">
                      <a:moveTo>
                        <a:pt x="303" y="0"/>
                      </a:moveTo>
                      <a:lnTo>
                        <a:pt x="151" y="111"/>
                      </a:lnTo>
                      <a:lnTo>
                        <a:pt x="0" y="0"/>
                      </a:lnTo>
                      <a:lnTo>
                        <a:pt x="30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Oval 183"/>
                <p:cNvSpPr>
                  <a:spLocks noChangeArrowheads="1"/>
                </p:cNvSpPr>
                <p:nvPr/>
              </p:nvSpPr>
              <p:spPr bwMode="auto">
                <a:xfrm>
                  <a:off x="18210213" y="1377950"/>
                  <a:ext cx="1233488" cy="14414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 184"/>
                <p:cNvSpPr>
                  <a:spLocks/>
                </p:cNvSpPr>
                <p:nvPr/>
              </p:nvSpPr>
              <p:spPr bwMode="auto">
                <a:xfrm>
                  <a:off x="17321213" y="2895600"/>
                  <a:ext cx="2976563" cy="1690688"/>
                </a:xfrm>
                <a:custGeom>
                  <a:avLst/>
                  <a:gdLst>
                    <a:gd name="T0" fmla="*/ 755 w 910"/>
                    <a:gd name="T1" fmla="*/ 0 h 517"/>
                    <a:gd name="T2" fmla="*/ 630 w 910"/>
                    <a:gd name="T3" fmla="*/ 0 h 517"/>
                    <a:gd name="T4" fmla="*/ 538 w 910"/>
                    <a:gd name="T5" fmla="*/ 195 h 517"/>
                    <a:gd name="T6" fmla="*/ 455 w 910"/>
                    <a:gd name="T7" fmla="*/ 55 h 517"/>
                    <a:gd name="T8" fmla="*/ 371 w 910"/>
                    <a:gd name="T9" fmla="*/ 195 h 517"/>
                    <a:gd name="T10" fmla="*/ 279 w 910"/>
                    <a:gd name="T11" fmla="*/ 0 h 517"/>
                    <a:gd name="T12" fmla="*/ 154 w 910"/>
                    <a:gd name="T13" fmla="*/ 0 h 517"/>
                    <a:gd name="T14" fmla="*/ 0 w 910"/>
                    <a:gd name="T15" fmla="*/ 172 h 517"/>
                    <a:gd name="T16" fmla="*/ 0 w 910"/>
                    <a:gd name="T17" fmla="*/ 517 h 517"/>
                    <a:gd name="T18" fmla="*/ 910 w 910"/>
                    <a:gd name="T19" fmla="*/ 517 h 517"/>
                    <a:gd name="T20" fmla="*/ 910 w 910"/>
                    <a:gd name="T21" fmla="*/ 172 h 517"/>
                    <a:gd name="T22" fmla="*/ 755 w 910"/>
                    <a:gd name="T23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10" h="517">
                      <a:moveTo>
                        <a:pt x="755" y="0"/>
                      </a:moveTo>
                      <a:cubicBezTo>
                        <a:pt x="630" y="0"/>
                        <a:pt x="630" y="0"/>
                        <a:pt x="630" y="0"/>
                      </a:cubicBezTo>
                      <a:cubicBezTo>
                        <a:pt x="538" y="195"/>
                        <a:pt x="538" y="195"/>
                        <a:pt x="538" y="195"/>
                      </a:cubicBezTo>
                      <a:cubicBezTo>
                        <a:pt x="455" y="55"/>
                        <a:pt x="455" y="55"/>
                        <a:pt x="455" y="55"/>
                      </a:cubicBezTo>
                      <a:cubicBezTo>
                        <a:pt x="371" y="195"/>
                        <a:pt x="371" y="195"/>
                        <a:pt x="371" y="195"/>
                      </a:cubicBezTo>
                      <a:cubicBezTo>
                        <a:pt x="279" y="0"/>
                        <a:pt x="279" y="0"/>
                        <a:pt x="279" y="0"/>
                      </a:cubicBezTo>
                      <a:cubicBezTo>
                        <a:pt x="154" y="0"/>
                        <a:pt x="154" y="0"/>
                        <a:pt x="154" y="0"/>
                      </a:cubicBezTo>
                      <a:cubicBezTo>
                        <a:pt x="69" y="0"/>
                        <a:pt x="0" y="77"/>
                        <a:pt x="0" y="172"/>
                      </a:cubicBezTo>
                      <a:cubicBezTo>
                        <a:pt x="0" y="517"/>
                        <a:pt x="0" y="517"/>
                        <a:pt x="0" y="517"/>
                      </a:cubicBezTo>
                      <a:cubicBezTo>
                        <a:pt x="910" y="517"/>
                        <a:pt x="910" y="517"/>
                        <a:pt x="910" y="517"/>
                      </a:cubicBezTo>
                      <a:cubicBezTo>
                        <a:pt x="910" y="172"/>
                        <a:pt x="910" y="172"/>
                        <a:pt x="910" y="172"/>
                      </a:cubicBezTo>
                      <a:cubicBezTo>
                        <a:pt x="910" y="77"/>
                        <a:pt x="840" y="0"/>
                        <a:pt x="75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Oval 185"/>
                <p:cNvSpPr>
                  <a:spLocks noChangeArrowheads="1"/>
                </p:cNvSpPr>
                <p:nvPr/>
              </p:nvSpPr>
              <p:spPr bwMode="auto">
                <a:xfrm>
                  <a:off x="20500975" y="2028825"/>
                  <a:ext cx="981075" cy="11477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186"/>
                <p:cNvSpPr>
                  <a:spLocks/>
                </p:cNvSpPr>
                <p:nvPr/>
              </p:nvSpPr>
              <p:spPr bwMode="auto">
                <a:xfrm>
                  <a:off x="20356513" y="3238500"/>
                  <a:ext cx="1819275" cy="1347788"/>
                </a:xfrm>
                <a:custGeom>
                  <a:avLst/>
                  <a:gdLst>
                    <a:gd name="T0" fmla="*/ 433 w 556"/>
                    <a:gd name="T1" fmla="*/ 0 h 412"/>
                    <a:gd name="T2" fmla="*/ 334 w 556"/>
                    <a:gd name="T3" fmla="*/ 0 h 412"/>
                    <a:gd name="T4" fmla="*/ 260 w 556"/>
                    <a:gd name="T5" fmla="*/ 155 h 412"/>
                    <a:gd name="T6" fmla="*/ 194 w 556"/>
                    <a:gd name="T7" fmla="*/ 44 h 412"/>
                    <a:gd name="T8" fmla="*/ 127 w 556"/>
                    <a:gd name="T9" fmla="*/ 155 h 412"/>
                    <a:gd name="T10" fmla="*/ 54 w 556"/>
                    <a:gd name="T11" fmla="*/ 0 h 412"/>
                    <a:gd name="T12" fmla="*/ 0 w 556"/>
                    <a:gd name="T13" fmla="*/ 0 h 412"/>
                    <a:gd name="T14" fmla="*/ 12 w 556"/>
                    <a:gd name="T15" fmla="*/ 67 h 412"/>
                    <a:gd name="T16" fmla="*/ 12 w 556"/>
                    <a:gd name="T17" fmla="*/ 412 h 412"/>
                    <a:gd name="T18" fmla="*/ 556 w 556"/>
                    <a:gd name="T19" fmla="*/ 412 h 412"/>
                    <a:gd name="T20" fmla="*/ 556 w 556"/>
                    <a:gd name="T21" fmla="*/ 137 h 412"/>
                    <a:gd name="T22" fmla="*/ 433 w 556"/>
                    <a:gd name="T23" fmla="*/ 0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6" h="412">
                      <a:moveTo>
                        <a:pt x="433" y="0"/>
                      </a:moveTo>
                      <a:cubicBezTo>
                        <a:pt x="334" y="0"/>
                        <a:pt x="334" y="0"/>
                        <a:pt x="334" y="0"/>
                      </a:cubicBezTo>
                      <a:cubicBezTo>
                        <a:pt x="260" y="155"/>
                        <a:pt x="260" y="155"/>
                        <a:pt x="260" y="155"/>
                      </a:cubicBezTo>
                      <a:cubicBezTo>
                        <a:pt x="194" y="44"/>
                        <a:pt x="194" y="44"/>
                        <a:pt x="194" y="44"/>
                      </a:cubicBezTo>
                      <a:cubicBezTo>
                        <a:pt x="127" y="155"/>
                        <a:pt x="127" y="155"/>
                        <a:pt x="127" y="155"/>
                      </a:cubicBezTo>
                      <a:cubicBezTo>
                        <a:pt x="54" y="0"/>
                        <a:pt x="54" y="0"/>
                        <a:pt x="5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8" y="21"/>
                        <a:pt x="12" y="43"/>
                        <a:pt x="12" y="67"/>
                      </a:cubicBezTo>
                      <a:cubicBezTo>
                        <a:pt x="12" y="412"/>
                        <a:pt x="12" y="412"/>
                        <a:pt x="12" y="412"/>
                      </a:cubicBezTo>
                      <a:cubicBezTo>
                        <a:pt x="556" y="412"/>
                        <a:pt x="556" y="412"/>
                        <a:pt x="556" y="412"/>
                      </a:cubicBezTo>
                      <a:cubicBezTo>
                        <a:pt x="556" y="137"/>
                        <a:pt x="556" y="137"/>
                        <a:pt x="556" y="137"/>
                      </a:cubicBezTo>
                      <a:cubicBezTo>
                        <a:pt x="556" y="61"/>
                        <a:pt x="501" y="0"/>
                        <a:pt x="43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Oval 187"/>
                <p:cNvSpPr>
                  <a:spLocks noChangeArrowheads="1"/>
                </p:cNvSpPr>
                <p:nvPr/>
              </p:nvSpPr>
              <p:spPr bwMode="auto">
                <a:xfrm>
                  <a:off x="16136938" y="2028825"/>
                  <a:ext cx="981075" cy="11477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 188"/>
                <p:cNvSpPr>
                  <a:spLocks/>
                </p:cNvSpPr>
                <p:nvPr/>
              </p:nvSpPr>
              <p:spPr bwMode="auto">
                <a:xfrm>
                  <a:off x="15440025" y="3238500"/>
                  <a:ext cx="1819275" cy="1347788"/>
                </a:xfrm>
                <a:custGeom>
                  <a:avLst/>
                  <a:gdLst>
                    <a:gd name="T0" fmla="*/ 123 w 556"/>
                    <a:gd name="T1" fmla="*/ 0 h 412"/>
                    <a:gd name="T2" fmla="*/ 223 w 556"/>
                    <a:gd name="T3" fmla="*/ 0 h 412"/>
                    <a:gd name="T4" fmla="*/ 296 w 556"/>
                    <a:gd name="T5" fmla="*/ 155 h 412"/>
                    <a:gd name="T6" fmla="*/ 363 w 556"/>
                    <a:gd name="T7" fmla="*/ 44 h 412"/>
                    <a:gd name="T8" fmla="*/ 429 w 556"/>
                    <a:gd name="T9" fmla="*/ 155 h 412"/>
                    <a:gd name="T10" fmla="*/ 503 w 556"/>
                    <a:gd name="T11" fmla="*/ 0 h 412"/>
                    <a:gd name="T12" fmla="*/ 556 w 556"/>
                    <a:gd name="T13" fmla="*/ 0 h 412"/>
                    <a:gd name="T14" fmla="*/ 545 w 556"/>
                    <a:gd name="T15" fmla="*/ 67 h 412"/>
                    <a:gd name="T16" fmla="*/ 545 w 556"/>
                    <a:gd name="T17" fmla="*/ 412 h 412"/>
                    <a:gd name="T18" fmla="*/ 0 w 556"/>
                    <a:gd name="T19" fmla="*/ 412 h 412"/>
                    <a:gd name="T20" fmla="*/ 0 w 556"/>
                    <a:gd name="T21" fmla="*/ 137 h 412"/>
                    <a:gd name="T22" fmla="*/ 123 w 556"/>
                    <a:gd name="T23" fmla="*/ 0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6" h="412">
                      <a:moveTo>
                        <a:pt x="123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96" y="155"/>
                        <a:pt x="296" y="155"/>
                        <a:pt x="296" y="155"/>
                      </a:cubicBezTo>
                      <a:cubicBezTo>
                        <a:pt x="363" y="44"/>
                        <a:pt x="363" y="44"/>
                        <a:pt x="363" y="44"/>
                      </a:cubicBezTo>
                      <a:cubicBezTo>
                        <a:pt x="429" y="155"/>
                        <a:pt x="429" y="155"/>
                        <a:pt x="429" y="155"/>
                      </a:cubicBezTo>
                      <a:cubicBezTo>
                        <a:pt x="503" y="0"/>
                        <a:pt x="503" y="0"/>
                        <a:pt x="503" y="0"/>
                      </a:cubicBezTo>
                      <a:cubicBezTo>
                        <a:pt x="556" y="0"/>
                        <a:pt x="556" y="0"/>
                        <a:pt x="556" y="0"/>
                      </a:cubicBezTo>
                      <a:cubicBezTo>
                        <a:pt x="549" y="21"/>
                        <a:pt x="545" y="43"/>
                        <a:pt x="545" y="67"/>
                      </a:cubicBezTo>
                      <a:cubicBezTo>
                        <a:pt x="545" y="412"/>
                        <a:pt x="545" y="412"/>
                        <a:pt x="545" y="412"/>
                      </a:cubicBezTo>
                      <a:cubicBezTo>
                        <a:pt x="0" y="412"/>
                        <a:pt x="0" y="412"/>
                        <a:pt x="0" y="412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61"/>
                        <a:pt x="55" y="0"/>
                        <a:pt x="12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89"/>
                <p:cNvSpPr>
                  <a:spLocks/>
                </p:cNvSpPr>
                <p:nvPr/>
              </p:nvSpPr>
              <p:spPr bwMode="auto">
                <a:xfrm>
                  <a:off x="20797838" y="3238500"/>
                  <a:ext cx="385763" cy="144463"/>
                </a:xfrm>
                <a:custGeom>
                  <a:avLst/>
                  <a:gdLst>
                    <a:gd name="T0" fmla="*/ 243 w 243"/>
                    <a:gd name="T1" fmla="*/ 0 h 91"/>
                    <a:gd name="T2" fmla="*/ 122 w 243"/>
                    <a:gd name="T3" fmla="*/ 91 h 91"/>
                    <a:gd name="T4" fmla="*/ 0 w 243"/>
                    <a:gd name="T5" fmla="*/ 0 h 91"/>
                    <a:gd name="T6" fmla="*/ 243 w 243"/>
                    <a:gd name="T7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3" h="91">
                      <a:moveTo>
                        <a:pt x="243" y="0"/>
                      </a:moveTo>
                      <a:lnTo>
                        <a:pt x="122" y="91"/>
                      </a:lnTo>
                      <a:lnTo>
                        <a:pt x="0" y="0"/>
                      </a:lnTo>
                      <a:lnTo>
                        <a:pt x="24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90"/>
                <p:cNvSpPr>
                  <a:spLocks/>
                </p:cNvSpPr>
                <p:nvPr/>
              </p:nvSpPr>
              <p:spPr bwMode="auto">
                <a:xfrm>
                  <a:off x="16435388" y="3238500"/>
                  <a:ext cx="385763" cy="144463"/>
                </a:xfrm>
                <a:custGeom>
                  <a:avLst/>
                  <a:gdLst>
                    <a:gd name="T0" fmla="*/ 243 w 243"/>
                    <a:gd name="T1" fmla="*/ 0 h 91"/>
                    <a:gd name="T2" fmla="*/ 121 w 243"/>
                    <a:gd name="T3" fmla="*/ 91 h 91"/>
                    <a:gd name="T4" fmla="*/ 0 w 243"/>
                    <a:gd name="T5" fmla="*/ 0 h 91"/>
                    <a:gd name="T6" fmla="*/ 243 w 243"/>
                    <a:gd name="T7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3" h="91">
                      <a:moveTo>
                        <a:pt x="243" y="0"/>
                      </a:moveTo>
                      <a:lnTo>
                        <a:pt x="121" y="91"/>
                      </a:lnTo>
                      <a:lnTo>
                        <a:pt x="0" y="0"/>
                      </a:lnTo>
                      <a:lnTo>
                        <a:pt x="24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 191"/>
                <p:cNvSpPr>
                  <a:spLocks noEditPoints="1"/>
                </p:cNvSpPr>
                <p:nvPr/>
              </p:nvSpPr>
              <p:spPr bwMode="auto">
                <a:xfrm>
                  <a:off x="15424150" y="4845050"/>
                  <a:ext cx="6770688" cy="3390900"/>
                </a:xfrm>
                <a:custGeom>
                  <a:avLst/>
                  <a:gdLst>
                    <a:gd name="T0" fmla="*/ 0 w 2070"/>
                    <a:gd name="T1" fmla="*/ 0 h 1037"/>
                    <a:gd name="T2" fmla="*/ 0 w 2070"/>
                    <a:gd name="T3" fmla="*/ 2 h 1037"/>
                    <a:gd name="T4" fmla="*/ 1035 w 2070"/>
                    <a:gd name="T5" fmla="*/ 1037 h 1037"/>
                    <a:gd name="T6" fmla="*/ 2070 w 2070"/>
                    <a:gd name="T7" fmla="*/ 2 h 1037"/>
                    <a:gd name="T8" fmla="*/ 2070 w 2070"/>
                    <a:gd name="T9" fmla="*/ 0 h 1037"/>
                    <a:gd name="T10" fmla="*/ 0 w 2070"/>
                    <a:gd name="T11" fmla="*/ 0 h 1037"/>
                    <a:gd name="T12" fmla="*/ 334 w 2070"/>
                    <a:gd name="T13" fmla="*/ 626 h 1037"/>
                    <a:gd name="T14" fmla="*/ 98 w 2070"/>
                    <a:gd name="T15" fmla="*/ 63 h 1037"/>
                    <a:gd name="T16" fmla="*/ 420 w 2070"/>
                    <a:gd name="T17" fmla="*/ 63 h 1037"/>
                    <a:gd name="T18" fmla="*/ 484 w 2070"/>
                    <a:gd name="T19" fmla="*/ 470 h 1037"/>
                    <a:gd name="T20" fmla="*/ 334 w 2070"/>
                    <a:gd name="T21" fmla="*/ 626 h 1037"/>
                    <a:gd name="T22" fmla="*/ 412 w 2070"/>
                    <a:gd name="T23" fmla="*/ 703 h 1037"/>
                    <a:gd name="T24" fmla="*/ 515 w 2070"/>
                    <a:gd name="T25" fmla="*/ 564 h 1037"/>
                    <a:gd name="T26" fmla="*/ 712 w 2070"/>
                    <a:gd name="T27" fmla="*/ 884 h 1037"/>
                    <a:gd name="T28" fmla="*/ 412 w 2070"/>
                    <a:gd name="T29" fmla="*/ 703 h 1037"/>
                    <a:gd name="T30" fmla="*/ 974 w 2070"/>
                    <a:gd name="T31" fmla="*/ 910 h 1037"/>
                    <a:gd name="T32" fmla="*/ 602 w 2070"/>
                    <a:gd name="T33" fmla="*/ 519 h 1037"/>
                    <a:gd name="T34" fmla="*/ 974 w 2070"/>
                    <a:gd name="T35" fmla="*/ 443 h 1037"/>
                    <a:gd name="T36" fmla="*/ 974 w 2070"/>
                    <a:gd name="T37" fmla="*/ 910 h 1037"/>
                    <a:gd name="T38" fmla="*/ 974 w 2070"/>
                    <a:gd name="T39" fmla="*/ 346 h 1037"/>
                    <a:gd name="T40" fmla="*/ 573 w 2070"/>
                    <a:gd name="T41" fmla="*/ 427 h 1037"/>
                    <a:gd name="T42" fmla="*/ 516 w 2070"/>
                    <a:gd name="T43" fmla="*/ 63 h 1037"/>
                    <a:gd name="T44" fmla="*/ 974 w 2070"/>
                    <a:gd name="T45" fmla="*/ 63 h 1037"/>
                    <a:gd name="T46" fmla="*/ 974 w 2070"/>
                    <a:gd name="T47" fmla="*/ 346 h 1037"/>
                    <a:gd name="T48" fmla="*/ 1075 w 2070"/>
                    <a:gd name="T49" fmla="*/ 63 h 1037"/>
                    <a:gd name="T50" fmla="*/ 1535 w 2070"/>
                    <a:gd name="T51" fmla="*/ 63 h 1037"/>
                    <a:gd name="T52" fmla="*/ 1484 w 2070"/>
                    <a:gd name="T53" fmla="*/ 425 h 1037"/>
                    <a:gd name="T54" fmla="*/ 1075 w 2070"/>
                    <a:gd name="T55" fmla="*/ 346 h 1037"/>
                    <a:gd name="T56" fmla="*/ 1075 w 2070"/>
                    <a:gd name="T57" fmla="*/ 63 h 1037"/>
                    <a:gd name="T58" fmla="*/ 1075 w 2070"/>
                    <a:gd name="T59" fmla="*/ 932 h 1037"/>
                    <a:gd name="T60" fmla="*/ 1075 w 2070"/>
                    <a:gd name="T61" fmla="*/ 443 h 1037"/>
                    <a:gd name="T62" fmla="*/ 1456 w 2070"/>
                    <a:gd name="T63" fmla="*/ 518 h 1037"/>
                    <a:gd name="T64" fmla="*/ 1075 w 2070"/>
                    <a:gd name="T65" fmla="*/ 932 h 1037"/>
                    <a:gd name="T66" fmla="*/ 1362 w 2070"/>
                    <a:gd name="T67" fmla="*/ 882 h 1037"/>
                    <a:gd name="T68" fmla="*/ 1543 w 2070"/>
                    <a:gd name="T69" fmla="*/ 564 h 1037"/>
                    <a:gd name="T70" fmla="*/ 1641 w 2070"/>
                    <a:gd name="T71" fmla="*/ 718 h 1037"/>
                    <a:gd name="T72" fmla="*/ 1362 w 2070"/>
                    <a:gd name="T73" fmla="*/ 882 h 1037"/>
                    <a:gd name="T74" fmla="*/ 1724 w 2070"/>
                    <a:gd name="T75" fmla="*/ 639 h 1037"/>
                    <a:gd name="T76" fmla="*/ 1573 w 2070"/>
                    <a:gd name="T77" fmla="*/ 469 h 1037"/>
                    <a:gd name="T78" fmla="*/ 1632 w 2070"/>
                    <a:gd name="T79" fmla="*/ 63 h 1037"/>
                    <a:gd name="T80" fmla="*/ 1971 w 2070"/>
                    <a:gd name="T81" fmla="*/ 63 h 1037"/>
                    <a:gd name="T82" fmla="*/ 1724 w 2070"/>
                    <a:gd name="T83" fmla="*/ 639 h 10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070" h="1037">
                      <a:moveTo>
                        <a:pt x="0" y="0"/>
                      </a:moveTo>
                      <a:cubicBezTo>
                        <a:pt x="0" y="1"/>
                        <a:pt x="0" y="2"/>
                        <a:pt x="0" y="2"/>
                      </a:cubicBezTo>
                      <a:cubicBezTo>
                        <a:pt x="0" y="573"/>
                        <a:pt x="464" y="1037"/>
                        <a:pt x="1035" y="1037"/>
                      </a:cubicBezTo>
                      <a:cubicBezTo>
                        <a:pt x="1605" y="1037"/>
                        <a:pt x="2070" y="573"/>
                        <a:pt x="2070" y="2"/>
                      </a:cubicBezTo>
                      <a:cubicBezTo>
                        <a:pt x="2070" y="2"/>
                        <a:pt x="2070" y="1"/>
                        <a:pt x="2070" y="0"/>
                      </a:cubicBezTo>
                      <a:lnTo>
                        <a:pt x="0" y="0"/>
                      </a:lnTo>
                      <a:close/>
                      <a:moveTo>
                        <a:pt x="334" y="626"/>
                      </a:moveTo>
                      <a:cubicBezTo>
                        <a:pt x="199" y="474"/>
                        <a:pt x="112" y="278"/>
                        <a:pt x="98" y="63"/>
                      </a:cubicBezTo>
                      <a:cubicBezTo>
                        <a:pt x="420" y="63"/>
                        <a:pt x="420" y="63"/>
                        <a:pt x="420" y="63"/>
                      </a:cubicBezTo>
                      <a:cubicBezTo>
                        <a:pt x="424" y="192"/>
                        <a:pt x="445" y="335"/>
                        <a:pt x="484" y="470"/>
                      </a:cubicBezTo>
                      <a:cubicBezTo>
                        <a:pt x="416" y="511"/>
                        <a:pt x="362" y="562"/>
                        <a:pt x="334" y="626"/>
                      </a:cubicBezTo>
                      <a:close/>
                      <a:moveTo>
                        <a:pt x="412" y="703"/>
                      </a:moveTo>
                      <a:cubicBezTo>
                        <a:pt x="421" y="648"/>
                        <a:pt x="459" y="602"/>
                        <a:pt x="515" y="564"/>
                      </a:cubicBezTo>
                      <a:cubicBezTo>
                        <a:pt x="562" y="690"/>
                        <a:pt x="626" y="803"/>
                        <a:pt x="712" y="884"/>
                      </a:cubicBezTo>
                      <a:cubicBezTo>
                        <a:pt x="601" y="843"/>
                        <a:pt x="499" y="781"/>
                        <a:pt x="412" y="703"/>
                      </a:cubicBezTo>
                      <a:close/>
                      <a:moveTo>
                        <a:pt x="974" y="910"/>
                      </a:moveTo>
                      <a:cubicBezTo>
                        <a:pt x="794" y="884"/>
                        <a:pt x="674" y="718"/>
                        <a:pt x="602" y="519"/>
                      </a:cubicBezTo>
                      <a:cubicBezTo>
                        <a:pt x="711" y="473"/>
                        <a:pt x="851" y="448"/>
                        <a:pt x="974" y="443"/>
                      </a:cubicBezTo>
                      <a:lnTo>
                        <a:pt x="974" y="910"/>
                      </a:lnTo>
                      <a:close/>
                      <a:moveTo>
                        <a:pt x="974" y="346"/>
                      </a:moveTo>
                      <a:cubicBezTo>
                        <a:pt x="845" y="351"/>
                        <a:pt x="697" y="376"/>
                        <a:pt x="573" y="427"/>
                      </a:cubicBezTo>
                      <a:cubicBezTo>
                        <a:pt x="539" y="305"/>
                        <a:pt x="521" y="176"/>
                        <a:pt x="516" y="63"/>
                      </a:cubicBezTo>
                      <a:cubicBezTo>
                        <a:pt x="974" y="63"/>
                        <a:pt x="974" y="63"/>
                        <a:pt x="974" y="63"/>
                      </a:cubicBezTo>
                      <a:lnTo>
                        <a:pt x="974" y="346"/>
                      </a:lnTo>
                      <a:close/>
                      <a:moveTo>
                        <a:pt x="1075" y="63"/>
                      </a:moveTo>
                      <a:cubicBezTo>
                        <a:pt x="1535" y="63"/>
                        <a:pt x="1535" y="63"/>
                        <a:pt x="1535" y="63"/>
                      </a:cubicBezTo>
                      <a:cubicBezTo>
                        <a:pt x="1532" y="174"/>
                        <a:pt x="1516" y="302"/>
                        <a:pt x="1484" y="425"/>
                      </a:cubicBezTo>
                      <a:cubicBezTo>
                        <a:pt x="1366" y="377"/>
                        <a:pt x="1220" y="351"/>
                        <a:pt x="1075" y="346"/>
                      </a:cubicBezTo>
                      <a:lnTo>
                        <a:pt x="1075" y="63"/>
                      </a:lnTo>
                      <a:close/>
                      <a:moveTo>
                        <a:pt x="1075" y="932"/>
                      </a:moveTo>
                      <a:cubicBezTo>
                        <a:pt x="1075" y="443"/>
                        <a:pt x="1075" y="443"/>
                        <a:pt x="1075" y="443"/>
                      </a:cubicBezTo>
                      <a:cubicBezTo>
                        <a:pt x="1197" y="448"/>
                        <a:pt x="1343" y="471"/>
                        <a:pt x="1456" y="518"/>
                      </a:cubicBezTo>
                      <a:cubicBezTo>
                        <a:pt x="1385" y="728"/>
                        <a:pt x="1263" y="905"/>
                        <a:pt x="1075" y="932"/>
                      </a:cubicBezTo>
                      <a:close/>
                      <a:moveTo>
                        <a:pt x="1362" y="882"/>
                      </a:moveTo>
                      <a:cubicBezTo>
                        <a:pt x="1441" y="798"/>
                        <a:pt x="1500" y="686"/>
                        <a:pt x="1543" y="564"/>
                      </a:cubicBezTo>
                      <a:cubicBezTo>
                        <a:pt x="1602" y="604"/>
                        <a:pt x="1640" y="655"/>
                        <a:pt x="1641" y="718"/>
                      </a:cubicBezTo>
                      <a:cubicBezTo>
                        <a:pt x="1559" y="788"/>
                        <a:pt x="1465" y="844"/>
                        <a:pt x="1362" y="882"/>
                      </a:cubicBezTo>
                      <a:close/>
                      <a:moveTo>
                        <a:pt x="1724" y="639"/>
                      </a:moveTo>
                      <a:cubicBezTo>
                        <a:pt x="1700" y="570"/>
                        <a:pt x="1646" y="513"/>
                        <a:pt x="1573" y="469"/>
                      </a:cubicBezTo>
                      <a:cubicBezTo>
                        <a:pt x="1610" y="333"/>
                        <a:pt x="1629" y="190"/>
                        <a:pt x="1632" y="63"/>
                      </a:cubicBezTo>
                      <a:cubicBezTo>
                        <a:pt x="1971" y="63"/>
                        <a:pt x="1971" y="63"/>
                        <a:pt x="1971" y="63"/>
                      </a:cubicBezTo>
                      <a:cubicBezTo>
                        <a:pt x="1957" y="284"/>
                        <a:pt x="1866" y="485"/>
                        <a:pt x="1724" y="6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 192"/>
                <p:cNvSpPr>
                  <a:spLocks/>
                </p:cNvSpPr>
                <p:nvPr/>
              </p:nvSpPr>
              <p:spPr bwMode="auto">
                <a:xfrm>
                  <a:off x="18586450" y="2895600"/>
                  <a:ext cx="481013" cy="176213"/>
                </a:xfrm>
                <a:custGeom>
                  <a:avLst/>
                  <a:gdLst>
                    <a:gd name="T0" fmla="*/ 303 w 303"/>
                    <a:gd name="T1" fmla="*/ 0 h 111"/>
                    <a:gd name="T2" fmla="*/ 151 w 303"/>
                    <a:gd name="T3" fmla="*/ 111 h 111"/>
                    <a:gd name="T4" fmla="*/ 0 w 303"/>
                    <a:gd name="T5" fmla="*/ 0 h 111"/>
                    <a:gd name="T6" fmla="*/ 303 w 303"/>
                    <a:gd name="T7" fmla="*/ 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03" h="111">
                      <a:moveTo>
                        <a:pt x="303" y="0"/>
                      </a:moveTo>
                      <a:lnTo>
                        <a:pt x="151" y="111"/>
                      </a:lnTo>
                      <a:lnTo>
                        <a:pt x="0" y="0"/>
                      </a:lnTo>
                      <a:lnTo>
                        <a:pt x="30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Oval 193"/>
                <p:cNvSpPr>
                  <a:spLocks noChangeArrowheads="1"/>
                </p:cNvSpPr>
                <p:nvPr/>
              </p:nvSpPr>
              <p:spPr bwMode="auto">
                <a:xfrm>
                  <a:off x="18210213" y="1377950"/>
                  <a:ext cx="1233488" cy="14414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194"/>
                <p:cNvSpPr>
                  <a:spLocks/>
                </p:cNvSpPr>
                <p:nvPr/>
              </p:nvSpPr>
              <p:spPr bwMode="auto">
                <a:xfrm>
                  <a:off x="17321213" y="2895600"/>
                  <a:ext cx="2976563" cy="1690688"/>
                </a:xfrm>
                <a:custGeom>
                  <a:avLst/>
                  <a:gdLst>
                    <a:gd name="T0" fmla="*/ 755 w 910"/>
                    <a:gd name="T1" fmla="*/ 0 h 517"/>
                    <a:gd name="T2" fmla="*/ 630 w 910"/>
                    <a:gd name="T3" fmla="*/ 0 h 517"/>
                    <a:gd name="T4" fmla="*/ 538 w 910"/>
                    <a:gd name="T5" fmla="*/ 195 h 517"/>
                    <a:gd name="T6" fmla="*/ 455 w 910"/>
                    <a:gd name="T7" fmla="*/ 55 h 517"/>
                    <a:gd name="T8" fmla="*/ 371 w 910"/>
                    <a:gd name="T9" fmla="*/ 195 h 517"/>
                    <a:gd name="T10" fmla="*/ 279 w 910"/>
                    <a:gd name="T11" fmla="*/ 0 h 517"/>
                    <a:gd name="T12" fmla="*/ 154 w 910"/>
                    <a:gd name="T13" fmla="*/ 0 h 517"/>
                    <a:gd name="T14" fmla="*/ 0 w 910"/>
                    <a:gd name="T15" fmla="*/ 172 h 517"/>
                    <a:gd name="T16" fmla="*/ 0 w 910"/>
                    <a:gd name="T17" fmla="*/ 517 h 517"/>
                    <a:gd name="T18" fmla="*/ 910 w 910"/>
                    <a:gd name="T19" fmla="*/ 517 h 517"/>
                    <a:gd name="T20" fmla="*/ 910 w 910"/>
                    <a:gd name="T21" fmla="*/ 172 h 517"/>
                    <a:gd name="T22" fmla="*/ 755 w 910"/>
                    <a:gd name="T23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10" h="517">
                      <a:moveTo>
                        <a:pt x="755" y="0"/>
                      </a:moveTo>
                      <a:cubicBezTo>
                        <a:pt x="630" y="0"/>
                        <a:pt x="630" y="0"/>
                        <a:pt x="630" y="0"/>
                      </a:cubicBezTo>
                      <a:cubicBezTo>
                        <a:pt x="538" y="195"/>
                        <a:pt x="538" y="195"/>
                        <a:pt x="538" y="195"/>
                      </a:cubicBezTo>
                      <a:cubicBezTo>
                        <a:pt x="455" y="55"/>
                        <a:pt x="455" y="55"/>
                        <a:pt x="455" y="55"/>
                      </a:cubicBezTo>
                      <a:cubicBezTo>
                        <a:pt x="371" y="195"/>
                        <a:pt x="371" y="195"/>
                        <a:pt x="371" y="195"/>
                      </a:cubicBezTo>
                      <a:cubicBezTo>
                        <a:pt x="279" y="0"/>
                        <a:pt x="279" y="0"/>
                        <a:pt x="279" y="0"/>
                      </a:cubicBezTo>
                      <a:cubicBezTo>
                        <a:pt x="154" y="0"/>
                        <a:pt x="154" y="0"/>
                        <a:pt x="154" y="0"/>
                      </a:cubicBezTo>
                      <a:cubicBezTo>
                        <a:pt x="69" y="0"/>
                        <a:pt x="0" y="77"/>
                        <a:pt x="0" y="172"/>
                      </a:cubicBezTo>
                      <a:cubicBezTo>
                        <a:pt x="0" y="517"/>
                        <a:pt x="0" y="517"/>
                        <a:pt x="0" y="517"/>
                      </a:cubicBezTo>
                      <a:cubicBezTo>
                        <a:pt x="910" y="517"/>
                        <a:pt x="910" y="517"/>
                        <a:pt x="910" y="517"/>
                      </a:cubicBezTo>
                      <a:cubicBezTo>
                        <a:pt x="910" y="172"/>
                        <a:pt x="910" y="172"/>
                        <a:pt x="910" y="172"/>
                      </a:cubicBezTo>
                      <a:cubicBezTo>
                        <a:pt x="910" y="77"/>
                        <a:pt x="840" y="0"/>
                        <a:pt x="75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Oval 195"/>
                <p:cNvSpPr>
                  <a:spLocks noChangeArrowheads="1"/>
                </p:cNvSpPr>
                <p:nvPr/>
              </p:nvSpPr>
              <p:spPr bwMode="auto">
                <a:xfrm>
                  <a:off x="20500975" y="2028825"/>
                  <a:ext cx="981075" cy="11477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96"/>
                <p:cNvSpPr>
                  <a:spLocks/>
                </p:cNvSpPr>
                <p:nvPr/>
              </p:nvSpPr>
              <p:spPr bwMode="auto">
                <a:xfrm>
                  <a:off x="20356513" y="3238500"/>
                  <a:ext cx="1819275" cy="1347788"/>
                </a:xfrm>
                <a:custGeom>
                  <a:avLst/>
                  <a:gdLst>
                    <a:gd name="T0" fmla="*/ 433 w 556"/>
                    <a:gd name="T1" fmla="*/ 0 h 412"/>
                    <a:gd name="T2" fmla="*/ 334 w 556"/>
                    <a:gd name="T3" fmla="*/ 0 h 412"/>
                    <a:gd name="T4" fmla="*/ 260 w 556"/>
                    <a:gd name="T5" fmla="*/ 155 h 412"/>
                    <a:gd name="T6" fmla="*/ 194 w 556"/>
                    <a:gd name="T7" fmla="*/ 44 h 412"/>
                    <a:gd name="T8" fmla="*/ 127 w 556"/>
                    <a:gd name="T9" fmla="*/ 155 h 412"/>
                    <a:gd name="T10" fmla="*/ 54 w 556"/>
                    <a:gd name="T11" fmla="*/ 0 h 412"/>
                    <a:gd name="T12" fmla="*/ 0 w 556"/>
                    <a:gd name="T13" fmla="*/ 0 h 412"/>
                    <a:gd name="T14" fmla="*/ 12 w 556"/>
                    <a:gd name="T15" fmla="*/ 67 h 412"/>
                    <a:gd name="T16" fmla="*/ 12 w 556"/>
                    <a:gd name="T17" fmla="*/ 412 h 412"/>
                    <a:gd name="T18" fmla="*/ 556 w 556"/>
                    <a:gd name="T19" fmla="*/ 412 h 412"/>
                    <a:gd name="T20" fmla="*/ 556 w 556"/>
                    <a:gd name="T21" fmla="*/ 137 h 412"/>
                    <a:gd name="T22" fmla="*/ 433 w 556"/>
                    <a:gd name="T23" fmla="*/ 0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6" h="412">
                      <a:moveTo>
                        <a:pt x="433" y="0"/>
                      </a:moveTo>
                      <a:cubicBezTo>
                        <a:pt x="334" y="0"/>
                        <a:pt x="334" y="0"/>
                        <a:pt x="334" y="0"/>
                      </a:cubicBezTo>
                      <a:cubicBezTo>
                        <a:pt x="260" y="155"/>
                        <a:pt x="260" y="155"/>
                        <a:pt x="260" y="155"/>
                      </a:cubicBezTo>
                      <a:cubicBezTo>
                        <a:pt x="194" y="44"/>
                        <a:pt x="194" y="44"/>
                        <a:pt x="194" y="44"/>
                      </a:cubicBezTo>
                      <a:cubicBezTo>
                        <a:pt x="127" y="155"/>
                        <a:pt x="127" y="155"/>
                        <a:pt x="127" y="155"/>
                      </a:cubicBezTo>
                      <a:cubicBezTo>
                        <a:pt x="54" y="0"/>
                        <a:pt x="54" y="0"/>
                        <a:pt x="5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8" y="21"/>
                        <a:pt x="12" y="43"/>
                        <a:pt x="12" y="67"/>
                      </a:cubicBezTo>
                      <a:cubicBezTo>
                        <a:pt x="12" y="412"/>
                        <a:pt x="12" y="412"/>
                        <a:pt x="12" y="412"/>
                      </a:cubicBezTo>
                      <a:cubicBezTo>
                        <a:pt x="556" y="412"/>
                        <a:pt x="556" y="412"/>
                        <a:pt x="556" y="412"/>
                      </a:cubicBezTo>
                      <a:cubicBezTo>
                        <a:pt x="556" y="137"/>
                        <a:pt x="556" y="137"/>
                        <a:pt x="556" y="137"/>
                      </a:cubicBezTo>
                      <a:cubicBezTo>
                        <a:pt x="556" y="61"/>
                        <a:pt x="501" y="0"/>
                        <a:pt x="43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Oval 197"/>
                <p:cNvSpPr>
                  <a:spLocks noChangeArrowheads="1"/>
                </p:cNvSpPr>
                <p:nvPr/>
              </p:nvSpPr>
              <p:spPr bwMode="auto">
                <a:xfrm>
                  <a:off x="16136938" y="2028825"/>
                  <a:ext cx="981075" cy="11477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Freeform 198"/>
                <p:cNvSpPr>
                  <a:spLocks/>
                </p:cNvSpPr>
                <p:nvPr/>
              </p:nvSpPr>
              <p:spPr bwMode="auto">
                <a:xfrm>
                  <a:off x="15440025" y="3238500"/>
                  <a:ext cx="1819275" cy="1347788"/>
                </a:xfrm>
                <a:custGeom>
                  <a:avLst/>
                  <a:gdLst>
                    <a:gd name="T0" fmla="*/ 123 w 556"/>
                    <a:gd name="T1" fmla="*/ 0 h 412"/>
                    <a:gd name="T2" fmla="*/ 223 w 556"/>
                    <a:gd name="T3" fmla="*/ 0 h 412"/>
                    <a:gd name="T4" fmla="*/ 296 w 556"/>
                    <a:gd name="T5" fmla="*/ 155 h 412"/>
                    <a:gd name="T6" fmla="*/ 363 w 556"/>
                    <a:gd name="T7" fmla="*/ 44 h 412"/>
                    <a:gd name="T8" fmla="*/ 429 w 556"/>
                    <a:gd name="T9" fmla="*/ 155 h 412"/>
                    <a:gd name="T10" fmla="*/ 503 w 556"/>
                    <a:gd name="T11" fmla="*/ 0 h 412"/>
                    <a:gd name="T12" fmla="*/ 556 w 556"/>
                    <a:gd name="T13" fmla="*/ 0 h 412"/>
                    <a:gd name="T14" fmla="*/ 545 w 556"/>
                    <a:gd name="T15" fmla="*/ 67 h 412"/>
                    <a:gd name="T16" fmla="*/ 545 w 556"/>
                    <a:gd name="T17" fmla="*/ 412 h 412"/>
                    <a:gd name="T18" fmla="*/ 0 w 556"/>
                    <a:gd name="T19" fmla="*/ 412 h 412"/>
                    <a:gd name="T20" fmla="*/ 0 w 556"/>
                    <a:gd name="T21" fmla="*/ 137 h 412"/>
                    <a:gd name="T22" fmla="*/ 123 w 556"/>
                    <a:gd name="T23" fmla="*/ 0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6" h="412">
                      <a:moveTo>
                        <a:pt x="123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96" y="155"/>
                        <a:pt x="296" y="155"/>
                        <a:pt x="296" y="155"/>
                      </a:cubicBezTo>
                      <a:cubicBezTo>
                        <a:pt x="363" y="44"/>
                        <a:pt x="363" y="44"/>
                        <a:pt x="363" y="44"/>
                      </a:cubicBezTo>
                      <a:cubicBezTo>
                        <a:pt x="429" y="155"/>
                        <a:pt x="429" y="155"/>
                        <a:pt x="429" y="155"/>
                      </a:cubicBezTo>
                      <a:cubicBezTo>
                        <a:pt x="503" y="0"/>
                        <a:pt x="503" y="0"/>
                        <a:pt x="503" y="0"/>
                      </a:cubicBezTo>
                      <a:cubicBezTo>
                        <a:pt x="556" y="0"/>
                        <a:pt x="556" y="0"/>
                        <a:pt x="556" y="0"/>
                      </a:cubicBezTo>
                      <a:cubicBezTo>
                        <a:pt x="549" y="21"/>
                        <a:pt x="545" y="43"/>
                        <a:pt x="545" y="67"/>
                      </a:cubicBezTo>
                      <a:cubicBezTo>
                        <a:pt x="545" y="412"/>
                        <a:pt x="545" y="412"/>
                        <a:pt x="545" y="412"/>
                      </a:cubicBezTo>
                      <a:cubicBezTo>
                        <a:pt x="0" y="412"/>
                        <a:pt x="0" y="412"/>
                        <a:pt x="0" y="412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61"/>
                        <a:pt x="55" y="0"/>
                        <a:pt x="12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 199"/>
                <p:cNvSpPr>
                  <a:spLocks/>
                </p:cNvSpPr>
                <p:nvPr/>
              </p:nvSpPr>
              <p:spPr bwMode="auto">
                <a:xfrm>
                  <a:off x="20797838" y="3238500"/>
                  <a:ext cx="385763" cy="144463"/>
                </a:xfrm>
                <a:custGeom>
                  <a:avLst/>
                  <a:gdLst>
                    <a:gd name="T0" fmla="*/ 243 w 243"/>
                    <a:gd name="T1" fmla="*/ 0 h 91"/>
                    <a:gd name="T2" fmla="*/ 122 w 243"/>
                    <a:gd name="T3" fmla="*/ 91 h 91"/>
                    <a:gd name="T4" fmla="*/ 0 w 243"/>
                    <a:gd name="T5" fmla="*/ 0 h 91"/>
                    <a:gd name="T6" fmla="*/ 243 w 243"/>
                    <a:gd name="T7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3" h="91">
                      <a:moveTo>
                        <a:pt x="243" y="0"/>
                      </a:moveTo>
                      <a:lnTo>
                        <a:pt x="122" y="91"/>
                      </a:lnTo>
                      <a:lnTo>
                        <a:pt x="0" y="0"/>
                      </a:lnTo>
                      <a:lnTo>
                        <a:pt x="24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Freeform 200"/>
                <p:cNvSpPr>
                  <a:spLocks/>
                </p:cNvSpPr>
                <p:nvPr/>
              </p:nvSpPr>
              <p:spPr bwMode="auto">
                <a:xfrm>
                  <a:off x="16435388" y="3238500"/>
                  <a:ext cx="385763" cy="144463"/>
                </a:xfrm>
                <a:custGeom>
                  <a:avLst/>
                  <a:gdLst>
                    <a:gd name="T0" fmla="*/ 243 w 243"/>
                    <a:gd name="T1" fmla="*/ 0 h 91"/>
                    <a:gd name="T2" fmla="*/ 121 w 243"/>
                    <a:gd name="T3" fmla="*/ 91 h 91"/>
                    <a:gd name="T4" fmla="*/ 0 w 243"/>
                    <a:gd name="T5" fmla="*/ 0 h 91"/>
                    <a:gd name="T6" fmla="*/ 243 w 243"/>
                    <a:gd name="T7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3" h="91">
                      <a:moveTo>
                        <a:pt x="243" y="0"/>
                      </a:moveTo>
                      <a:lnTo>
                        <a:pt x="121" y="91"/>
                      </a:lnTo>
                      <a:lnTo>
                        <a:pt x="0" y="0"/>
                      </a:lnTo>
                      <a:lnTo>
                        <a:pt x="24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Freeform 201"/>
                <p:cNvSpPr>
                  <a:spLocks noEditPoints="1"/>
                </p:cNvSpPr>
                <p:nvPr/>
              </p:nvSpPr>
              <p:spPr bwMode="auto">
                <a:xfrm>
                  <a:off x="15424150" y="4845050"/>
                  <a:ext cx="6770688" cy="3390900"/>
                </a:xfrm>
                <a:custGeom>
                  <a:avLst/>
                  <a:gdLst>
                    <a:gd name="T0" fmla="*/ 0 w 2070"/>
                    <a:gd name="T1" fmla="*/ 0 h 1037"/>
                    <a:gd name="T2" fmla="*/ 0 w 2070"/>
                    <a:gd name="T3" fmla="*/ 2 h 1037"/>
                    <a:gd name="T4" fmla="*/ 1035 w 2070"/>
                    <a:gd name="T5" fmla="*/ 1037 h 1037"/>
                    <a:gd name="T6" fmla="*/ 2070 w 2070"/>
                    <a:gd name="T7" fmla="*/ 2 h 1037"/>
                    <a:gd name="T8" fmla="*/ 2070 w 2070"/>
                    <a:gd name="T9" fmla="*/ 0 h 1037"/>
                    <a:gd name="T10" fmla="*/ 0 w 2070"/>
                    <a:gd name="T11" fmla="*/ 0 h 1037"/>
                    <a:gd name="T12" fmla="*/ 334 w 2070"/>
                    <a:gd name="T13" fmla="*/ 626 h 1037"/>
                    <a:gd name="T14" fmla="*/ 98 w 2070"/>
                    <a:gd name="T15" fmla="*/ 63 h 1037"/>
                    <a:gd name="T16" fmla="*/ 420 w 2070"/>
                    <a:gd name="T17" fmla="*/ 63 h 1037"/>
                    <a:gd name="T18" fmla="*/ 484 w 2070"/>
                    <a:gd name="T19" fmla="*/ 470 h 1037"/>
                    <a:gd name="T20" fmla="*/ 334 w 2070"/>
                    <a:gd name="T21" fmla="*/ 626 h 1037"/>
                    <a:gd name="T22" fmla="*/ 412 w 2070"/>
                    <a:gd name="T23" fmla="*/ 703 h 1037"/>
                    <a:gd name="T24" fmla="*/ 515 w 2070"/>
                    <a:gd name="T25" fmla="*/ 564 h 1037"/>
                    <a:gd name="T26" fmla="*/ 712 w 2070"/>
                    <a:gd name="T27" fmla="*/ 884 h 1037"/>
                    <a:gd name="T28" fmla="*/ 412 w 2070"/>
                    <a:gd name="T29" fmla="*/ 703 h 1037"/>
                    <a:gd name="T30" fmla="*/ 974 w 2070"/>
                    <a:gd name="T31" fmla="*/ 910 h 1037"/>
                    <a:gd name="T32" fmla="*/ 602 w 2070"/>
                    <a:gd name="T33" fmla="*/ 519 h 1037"/>
                    <a:gd name="T34" fmla="*/ 974 w 2070"/>
                    <a:gd name="T35" fmla="*/ 443 h 1037"/>
                    <a:gd name="T36" fmla="*/ 974 w 2070"/>
                    <a:gd name="T37" fmla="*/ 910 h 1037"/>
                    <a:gd name="T38" fmla="*/ 974 w 2070"/>
                    <a:gd name="T39" fmla="*/ 346 h 1037"/>
                    <a:gd name="T40" fmla="*/ 573 w 2070"/>
                    <a:gd name="T41" fmla="*/ 427 h 1037"/>
                    <a:gd name="T42" fmla="*/ 516 w 2070"/>
                    <a:gd name="T43" fmla="*/ 63 h 1037"/>
                    <a:gd name="T44" fmla="*/ 974 w 2070"/>
                    <a:gd name="T45" fmla="*/ 63 h 1037"/>
                    <a:gd name="T46" fmla="*/ 974 w 2070"/>
                    <a:gd name="T47" fmla="*/ 346 h 1037"/>
                    <a:gd name="T48" fmla="*/ 1075 w 2070"/>
                    <a:gd name="T49" fmla="*/ 63 h 1037"/>
                    <a:gd name="T50" fmla="*/ 1535 w 2070"/>
                    <a:gd name="T51" fmla="*/ 63 h 1037"/>
                    <a:gd name="T52" fmla="*/ 1484 w 2070"/>
                    <a:gd name="T53" fmla="*/ 425 h 1037"/>
                    <a:gd name="T54" fmla="*/ 1075 w 2070"/>
                    <a:gd name="T55" fmla="*/ 346 h 1037"/>
                    <a:gd name="T56" fmla="*/ 1075 w 2070"/>
                    <a:gd name="T57" fmla="*/ 63 h 1037"/>
                    <a:gd name="T58" fmla="*/ 1075 w 2070"/>
                    <a:gd name="T59" fmla="*/ 932 h 1037"/>
                    <a:gd name="T60" fmla="*/ 1075 w 2070"/>
                    <a:gd name="T61" fmla="*/ 443 h 1037"/>
                    <a:gd name="T62" fmla="*/ 1456 w 2070"/>
                    <a:gd name="T63" fmla="*/ 518 h 1037"/>
                    <a:gd name="T64" fmla="*/ 1075 w 2070"/>
                    <a:gd name="T65" fmla="*/ 932 h 1037"/>
                    <a:gd name="T66" fmla="*/ 1362 w 2070"/>
                    <a:gd name="T67" fmla="*/ 882 h 1037"/>
                    <a:gd name="T68" fmla="*/ 1543 w 2070"/>
                    <a:gd name="T69" fmla="*/ 564 h 1037"/>
                    <a:gd name="T70" fmla="*/ 1641 w 2070"/>
                    <a:gd name="T71" fmla="*/ 718 h 1037"/>
                    <a:gd name="T72" fmla="*/ 1362 w 2070"/>
                    <a:gd name="T73" fmla="*/ 882 h 1037"/>
                    <a:gd name="T74" fmla="*/ 1724 w 2070"/>
                    <a:gd name="T75" fmla="*/ 639 h 1037"/>
                    <a:gd name="T76" fmla="*/ 1573 w 2070"/>
                    <a:gd name="T77" fmla="*/ 469 h 1037"/>
                    <a:gd name="T78" fmla="*/ 1632 w 2070"/>
                    <a:gd name="T79" fmla="*/ 63 h 1037"/>
                    <a:gd name="T80" fmla="*/ 1971 w 2070"/>
                    <a:gd name="T81" fmla="*/ 63 h 1037"/>
                    <a:gd name="T82" fmla="*/ 1724 w 2070"/>
                    <a:gd name="T83" fmla="*/ 639 h 10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070" h="1037">
                      <a:moveTo>
                        <a:pt x="0" y="0"/>
                      </a:moveTo>
                      <a:cubicBezTo>
                        <a:pt x="0" y="1"/>
                        <a:pt x="0" y="2"/>
                        <a:pt x="0" y="2"/>
                      </a:cubicBezTo>
                      <a:cubicBezTo>
                        <a:pt x="0" y="573"/>
                        <a:pt x="464" y="1037"/>
                        <a:pt x="1035" y="1037"/>
                      </a:cubicBezTo>
                      <a:cubicBezTo>
                        <a:pt x="1605" y="1037"/>
                        <a:pt x="2070" y="573"/>
                        <a:pt x="2070" y="2"/>
                      </a:cubicBezTo>
                      <a:cubicBezTo>
                        <a:pt x="2070" y="2"/>
                        <a:pt x="2070" y="1"/>
                        <a:pt x="2070" y="0"/>
                      </a:cubicBezTo>
                      <a:lnTo>
                        <a:pt x="0" y="0"/>
                      </a:lnTo>
                      <a:close/>
                      <a:moveTo>
                        <a:pt x="334" y="626"/>
                      </a:moveTo>
                      <a:cubicBezTo>
                        <a:pt x="199" y="474"/>
                        <a:pt x="112" y="278"/>
                        <a:pt x="98" y="63"/>
                      </a:cubicBezTo>
                      <a:cubicBezTo>
                        <a:pt x="420" y="63"/>
                        <a:pt x="420" y="63"/>
                        <a:pt x="420" y="63"/>
                      </a:cubicBezTo>
                      <a:cubicBezTo>
                        <a:pt x="424" y="192"/>
                        <a:pt x="445" y="335"/>
                        <a:pt x="484" y="470"/>
                      </a:cubicBezTo>
                      <a:cubicBezTo>
                        <a:pt x="416" y="511"/>
                        <a:pt x="362" y="562"/>
                        <a:pt x="334" y="626"/>
                      </a:cubicBezTo>
                      <a:close/>
                      <a:moveTo>
                        <a:pt x="412" y="703"/>
                      </a:moveTo>
                      <a:cubicBezTo>
                        <a:pt x="421" y="648"/>
                        <a:pt x="459" y="602"/>
                        <a:pt x="515" y="564"/>
                      </a:cubicBezTo>
                      <a:cubicBezTo>
                        <a:pt x="562" y="690"/>
                        <a:pt x="626" y="803"/>
                        <a:pt x="712" y="884"/>
                      </a:cubicBezTo>
                      <a:cubicBezTo>
                        <a:pt x="601" y="843"/>
                        <a:pt x="499" y="781"/>
                        <a:pt x="412" y="703"/>
                      </a:cubicBezTo>
                      <a:close/>
                      <a:moveTo>
                        <a:pt x="974" y="910"/>
                      </a:moveTo>
                      <a:cubicBezTo>
                        <a:pt x="794" y="884"/>
                        <a:pt x="674" y="718"/>
                        <a:pt x="602" y="519"/>
                      </a:cubicBezTo>
                      <a:cubicBezTo>
                        <a:pt x="711" y="473"/>
                        <a:pt x="851" y="448"/>
                        <a:pt x="974" y="443"/>
                      </a:cubicBezTo>
                      <a:lnTo>
                        <a:pt x="974" y="910"/>
                      </a:lnTo>
                      <a:close/>
                      <a:moveTo>
                        <a:pt x="974" y="346"/>
                      </a:moveTo>
                      <a:cubicBezTo>
                        <a:pt x="845" y="351"/>
                        <a:pt x="697" y="376"/>
                        <a:pt x="573" y="427"/>
                      </a:cubicBezTo>
                      <a:cubicBezTo>
                        <a:pt x="539" y="305"/>
                        <a:pt x="521" y="176"/>
                        <a:pt x="516" y="63"/>
                      </a:cubicBezTo>
                      <a:cubicBezTo>
                        <a:pt x="974" y="63"/>
                        <a:pt x="974" y="63"/>
                        <a:pt x="974" y="63"/>
                      </a:cubicBezTo>
                      <a:lnTo>
                        <a:pt x="974" y="346"/>
                      </a:lnTo>
                      <a:close/>
                      <a:moveTo>
                        <a:pt x="1075" y="63"/>
                      </a:moveTo>
                      <a:cubicBezTo>
                        <a:pt x="1535" y="63"/>
                        <a:pt x="1535" y="63"/>
                        <a:pt x="1535" y="63"/>
                      </a:cubicBezTo>
                      <a:cubicBezTo>
                        <a:pt x="1532" y="174"/>
                        <a:pt x="1516" y="302"/>
                        <a:pt x="1484" y="425"/>
                      </a:cubicBezTo>
                      <a:cubicBezTo>
                        <a:pt x="1366" y="377"/>
                        <a:pt x="1220" y="351"/>
                        <a:pt x="1075" y="346"/>
                      </a:cubicBezTo>
                      <a:lnTo>
                        <a:pt x="1075" y="63"/>
                      </a:lnTo>
                      <a:close/>
                      <a:moveTo>
                        <a:pt x="1075" y="932"/>
                      </a:moveTo>
                      <a:cubicBezTo>
                        <a:pt x="1075" y="443"/>
                        <a:pt x="1075" y="443"/>
                        <a:pt x="1075" y="443"/>
                      </a:cubicBezTo>
                      <a:cubicBezTo>
                        <a:pt x="1197" y="448"/>
                        <a:pt x="1343" y="471"/>
                        <a:pt x="1456" y="518"/>
                      </a:cubicBezTo>
                      <a:cubicBezTo>
                        <a:pt x="1385" y="728"/>
                        <a:pt x="1263" y="905"/>
                        <a:pt x="1075" y="932"/>
                      </a:cubicBezTo>
                      <a:close/>
                      <a:moveTo>
                        <a:pt x="1362" y="882"/>
                      </a:moveTo>
                      <a:cubicBezTo>
                        <a:pt x="1441" y="798"/>
                        <a:pt x="1500" y="686"/>
                        <a:pt x="1543" y="564"/>
                      </a:cubicBezTo>
                      <a:cubicBezTo>
                        <a:pt x="1602" y="604"/>
                        <a:pt x="1640" y="655"/>
                        <a:pt x="1641" y="718"/>
                      </a:cubicBezTo>
                      <a:cubicBezTo>
                        <a:pt x="1559" y="788"/>
                        <a:pt x="1465" y="844"/>
                        <a:pt x="1362" y="882"/>
                      </a:cubicBezTo>
                      <a:close/>
                      <a:moveTo>
                        <a:pt x="1724" y="639"/>
                      </a:moveTo>
                      <a:cubicBezTo>
                        <a:pt x="1700" y="570"/>
                        <a:pt x="1646" y="513"/>
                        <a:pt x="1573" y="469"/>
                      </a:cubicBezTo>
                      <a:cubicBezTo>
                        <a:pt x="1610" y="333"/>
                        <a:pt x="1629" y="190"/>
                        <a:pt x="1632" y="63"/>
                      </a:cubicBezTo>
                      <a:cubicBezTo>
                        <a:pt x="1971" y="63"/>
                        <a:pt x="1971" y="63"/>
                        <a:pt x="1971" y="63"/>
                      </a:cubicBezTo>
                      <a:cubicBezTo>
                        <a:pt x="1957" y="284"/>
                        <a:pt x="1866" y="485"/>
                        <a:pt x="1724" y="6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Freeform 202"/>
                <p:cNvSpPr>
                  <a:spLocks/>
                </p:cNvSpPr>
                <p:nvPr/>
              </p:nvSpPr>
              <p:spPr bwMode="auto">
                <a:xfrm>
                  <a:off x="18586450" y="2895600"/>
                  <a:ext cx="481013" cy="176213"/>
                </a:xfrm>
                <a:custGeom>
                  <a:avLst/>
                  <a:gdLst>
                    <a:gd name="T0" fmla="*/ 303 w 303"/>
                    <a:gd name="T1" fmla="*/ 0 h 111"/>
                    <a:gd name="T2" fmla="*/ 151 w 303"/>
                    <a:gd name="T3" fmla="*/ 111 h 111"/>
                    <a:gd name="T4" fmla="*/ 0 w 303"/>
                    <a:gd name="T5" fmla="*/ 0 h 111"/>
                    <a:gd name="T6" fmla="*/ 303 w 303"/>
                    <a:gd name="T7" fmla="*/ 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03" h="111">
                      <a:moveTo>
                        <a:pt x="303" y="0"/>
                      </a:moveTo>
                      <a:lnTo>
                        <a:pt x="151" y="111"/>
                      </a:lnTo>
                      <a:lnTo>
                        <a:pt x="0" y="0"/>
                      </a:lnTo>
                      <a:lnTo>
                        <a:pt x="30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Oval 203"/>
                <p:cNvSpPr>
                  <a:spLocks noChangeArrowheads="1"/>
                </p:cNvSpPr>
                <p:nvPr/>
              </p:nvSpPr>
              <p:spPr bwMode="auto">
                <a:xfrm>
                  <a:off x="18210213" y="1377950"/>
                  <a:ext cx="1233488" cy="14414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204"/>
                <p:cNvSpPr>
                  <a:spLocks/>
                </p:cNvSpPr>
                <p:nvPr/>
              </p:nvSpPr>
              <p:spPr bwMode="auto">
                <a:xfrm>
                  <a:off x="17321213" y="2895600"/>
                  <a:ext cx="2976563" cy="1690688"/>
                </a:xfrm>
                <a:custGeom>
                  <a:avLst/>
                  <a:gdLst>
                    <a:gd name="T0" fmla="*/ 755 w 910"/>
                    <a:gd name="T1" fmla="*/ 0 h 517"/>
                    <a:gd name="T2" fmla="*/ 630 w 910"/>
                    <a:gd name="T3" fmla="*/ 0 h 517"/>
                    <a:gd name="T4" fmla="*/ 538 w 910"/>
                    <a:gd name="T5" fmla="*/ 195 h 517"/>
                    <a:gd name="T6" fmla="*/ 455 w 910"/>
                    <a:gd name="T7" fmla="*/ 55 h 517"/>
                    <a:gd name="T8" fmla="*/ 371 w 910"/>
                    <a:gd name="T9" fmla="*/ 195 h 517"/>
                    <a:gd name="T10" fmla="*/ 279 w 910"/>
                    <a:gd name="T11" fmla="*/ 0 h 517"/>
                    <a:gd name="T12" fmla="*/ 154 w 910"/>
                    <a:gd name="T13" fmla="*/ 0 h 517"/>
                    <a:gd name="T14" fmla="*/ 0 w 910"/>
                    <a:gd name="T15" fmla="*/ 172 h 517"/>
                    <a:gd name="T16" fmla="*/ 0 w 910"/>
                    <a:gd name="T17" fmla="*/ 517 h 517"/>
                    <a:gd name="T18" fmla="*/ 910 w 910"/>
                    <a:gd name="T19" fmla="*/ 517 h 517"/>
                    <a:gd name="T20" fmla="*/ 910 w 910"/>
                    <a:gd name="T21" fmla="*/ 172 h 517"/>
                    <a:gd name="T22" fmla="*/ 755 w 910"/>
                    <a:gd name="T23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10" h="517">
                      <a:moveTo>
                        <a:pt x="755" y="0"/>
                      </a:moveTo>
                      <a:cubicBezTo>
                        <a:pt x="630" y="0"/>
                        <a:pt x="630" y="0"/>
                        <a:pt x="630" y="0"/>
                      </a:cubicBezTo>
                      <a:cubicBezTo>
                        <a:pt x="538" y="195"/>
                        <a:pt x="538" y="195"/>
                        <a:pt x="538" y="195"/>
                      </a:cubicBezTo>
                      <a:cubicBezTo>
                        <a:pt x="455" y="55"/>
                        <a:pt x="455" y="55"/>
                        <a:pt x="455" y="55"/>
                      </a:cubicBezTo>
                      <a:cubicBezTo>
                        <a:pt x="371" y="195"/>
                        <a:pt x="371" y="195"/>
                        <a:pt x="371" y="195"/>
                      </a:cubicBezTo>
                      <a:cubicBezTo>
                        <a:pt x="279" y="0"/>
                        <a:pt x="279" y="0"/>
                        <a:pt x="279" y="0"/>
                      </a:cubicBezTo>
                      <a:cubicBezTo>
                        <a:pt x="154" y="0"/>
                        <a:pt x="154" y="0"/>
                        <a:pt x="154" y="0"/>
                      </a:cubicBezTo>
                      <a:cubicBezTo>
                        <a:pt x="69" y="0"/>
                        <a:pt x="0" y="77"/>
                        <a:pt x="0" y="172"/>
                      </a:cubicBezTo>
                      <a:cubicBezTo>
                        <a:pt x="0" y="517"/>
                        <a:pt x="0" y="517"/>
                        <a:pt x="0" y="517"/>
                      </a:cubicBezTo>
                      <a:cubicBezTo>
                        <a:pt x="910" y="517"/>
                        <a:pt x="910" y="517"/>
                        <a:pt x="910" y="517"/>
                      </a:cubicBezTo>
                      <a:cubicBezTo>
                        <a:pt x="910" y="172"/>
                        <a:pt x="910" y="172"/>
                        <a:pt x="910" y="172"/>
                      </a:cubicBezTo>
                      <a:cubicBezTo>
                        <a:pt x="910" y="77"/>
                        <a:pt x="840" y="0"/>
                        <a:pt x="75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Oval 205"/>
                <p:cNvSpPr>
                  <a:spLocks noChangeArrowheads="1"/>
                </p:cNvSpPr>
                <p:nvPr/>
              </p:nvSpPr>
              <p:spPr bwMode="auto">
                <a:xfrm>
                  <a:off x="20500975" y="2028825"/>
                  <a:ext cx="981075" cy="11477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Freeform 206"/>
                <p:cNvSpPr>
                  <a:spLocks/>
                </p:cNvSpPr>
                <p:nvPr/>
              </p:nvSpPr>
              <p:spPr bwMode="auto">
                <a:xfrm>
                  <a:off x="20356513" y="3238500"/>
                  <a:ext cx="1819275" cy="1347788"/>
                </a:xfrm>
                <a:custGeom>
                  <a:avLst/>
                  <a:gdLst>
                    <a:gd name="T0" fmla="*/ 433 w 556"/>
                    <a:gd name="T1" fmla="*/ 0 h 412"/>
                    <a:gd name="T2" fmla="*/ 334 w 556"/>
                    <a:gd name="T3" fmla="*/ 0 h 412"/>
                    <a:gd name="T4" fmla="*/ 260 w 556"/>
                    <a:gd name="T5" fmla="*/ 155 h 412"/>
                    <a:gd name="T6" fmla="*/ 194 w 556"/>
                    <a:gd name="T7" fmla="*/ 44 h 412"/>
                    <a:gd name="T8" fmla="*/ 127 w 556"/>
                    <a:gd name="T9" fmla="*/ 155 h 412"/>
                    <a:gd name="T10" fmla="*/ 54 w 556"/>
                    <a:gd name="T11" fmla="*/ 0 h 412"/>
                    <a:gd name="T12" fmla="*/ 0 w 556"/>
                    <a:gd name="T13" fmla="*/ 0 h 412"/>
                    <a:gd name="T14" fmla="*/ 12 w 556"/>
                    <a:gd name="T15" fmla="*/ 67 h 412"/>
                    <a:gd name="T16" fmla="*/ 12 w 556"/>
                    <a:gd name="T17" fmla="*/ 412 h 412"/>
                    <a:gd name="T18" fmla="*/ 556 w 556"/>
                    <a:gd name="T19" fmla="*/ 412 h 412"/>
                    <a:gd name="T20" fmla="*/ 556 w 556"/>
                    <a:gd name="T21" fmla="*/ 137 h 412"/>
                    <a:gd name="T22" fmla="*/ 433 w 556"/>
                    <a:gd name="T23" fmla="*/ 0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6" h="412">
                      <a:moveTo>
                        <a:pt x="433" y="0"/>
                      </a:moveTo>
                      <a:cubicBezTo>
                        <a:pt x="334" y="0"/>
                        <a:pt x="334" y="0"/>
                        <a:pt x="334" y="0"/>
                      </a:cubicBezTo>
                      <a:cubicBezTo>
                        <a:pt x="260" y="155"/>
                        <a:pt x="260" y="155"/>
                        <a:pt x="260" y="155"/>
                      </a:cubicBezTo>
                      <a:cubicBezTo>
                        <a:pt x="194" y="44"/>
                        <a:pt x="194" y="44"/>
                        <a:pt x="194" y="44"/>
                      </a:cubicBezTo>
                      <a:cubicBezTo>
                        <a:pt x="127" y="155"/>
                        <a:pt x="127" y="155"/>
                        <a:pt x="127" y="155"/>
                      </a:cubicBezTo>
                      <a:cubicBezTo>
                        <a:pt x="54" y="0"/>
                        <a:pt x="54" y="0"/>
                        <a:pt x="5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8" y="21"/>
                        <a:pt x="12" y="43"/>
                        <a:pt x="12" y="67"/>
                      </a:cubicBezTo>
                      <a:cubicBezTo>
                        <a:pt x="12" y="412"/>
                        <a:pt x="12" y="412"/>
                        <a:pt x="12" y="412"/>
                      </a:cubicBezTo>
                      <a:cubicBezTo>
                        <a:pt x="556" y="412"/>
                        <a:pt x="556" y="412"/>
                        <a:pt x="556" y="412"/>
                      </a:cubicBezTo>
                      <a:cubicBezTo>
                        <a:pt x="556" y="137"/>
                        <a:pt x="556" y="137"/>
                        <a:pt x="556" y="137"/>
                      </a:cubicBezTo>
                      <a:cubicBezTo>
                        <a:pt x="556" y="61"/>
                        <a:pt x="501" y="0"/>
                        <a:pt x="43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Oval 207"/>
                <p:cNvSpPr>
                  <a:spLocks noChangeArrowheads="1"/>
                </p:cNvSpPr>
                <p:nvPr/>
              </p:nvSpPr>
              <p:spPr bwMode="auto">
                <a:xfrm>
                  <a:off x="16136938" y="2028825"/>
                  <a:ext cx="981075" cy="11477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 208"/>
                <p:cNvSpPr>
                  <a:spLocks/>
                </p:cNvSpPr>
                <p:nvPr/>
              </p:nvSpPr>
              <p:spPr bwMode="auto">
                <a:xfrm>
                  <a:off x="15440025" y="3238500"/>
                  <a:ext cx="1819275" cy="1347788"/>
                </a:xfrm>
                <a:custGeom>
                  <a:avLst/>
                  <a:gdLst>
                    <a:gd name="T0" fmla="*/ 123 w 556"/>
                    <a:gd name="T1" fmla="*/ 0 h 412"/>
                    <a:gd name="T2" fmla="*/ 223 w 556"/>
                    <a:gd name="T3" fmla="*/ 0 h 412"/>
                    <a:gd name="T4" fmla="*/ 296 w 556"/>
                    <a:gd name="T5" fmla="*/ 155 h 412"/>
                    <a:gd name="T6" fmla="*/ 363 w 556"/>
                    <a:gd name="T7" fmla="*/ 44 h 412"/>
                    <a:gd name="T8" fmla="*/ 429 w 556"/>
                    <a:gd name="T9" fmla="*/ 155 h 412"/>
                    <a:gd name="T10" fmla="*/ 503 w 556"/>
                    <a:gd name="T11" fmla="*/ 0 h 412"/>
                    <a:gd name="T12" fmla="*/ 556 w 556"/>
                    <a:gd name="T13" fmla="*/ 0 h 412"/>
                    <a:gd name="T14" fmla="*/ 545 w 556"/>
                    <a:gd name="T15" fmla="*/ 67 h 412"/>
                    <a:gd name="T16" fmla="*/ 545 w 556"/>
                    <a:gd name="T17" fmla="*/ 412 h 412"/>
                    <a:gd name="T18" fmla="*/ 0 w 556"/>
                    <a:gd name="T19" fmla="*/ 412 h 412"/>
                    <a:gd name="T20" fmla="*/ 0 w 556"/>
                    <a:gd name="T21" fmla="*/ 137 h 412"/>
                    <a:gd name="T22" fmla="*/ 123 w 556"/>
                    <a:gd name="T23" fmla="*/ 0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6" h="412">
                      <a:moveTo>
                        <a:pt x="123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96" y="155"/>
                        <a:pt x="296" y="155"/>
                        <a:pt x="296" y="155"/>
                      </a:cubicBezTo>
                      <a:cubicBezTo>
                        <a:pt x="363" y="44"/>
                        <a:pt x="363" y="44"/>
                        <a:pt x="363" y="44"/>
                      </a:cubicBezTo>
                      <a:cubicBezTo>
                        <a:pt x="429" y="155"/>
                        <a:pt x="429" y="155"/>
                        <a:pt x="429" y="155"/>
                      </a:cubicBezTo>
                      <a:cubicBezTo>
                        <a:pt x="503" y="0"/>
                        <a:pt x="503" y="0"/>
                        <a:pt x="503" y="0"/>
                      </a:cubicBezTo>
                      <a:cubicBezTo>
                        <a:pt x="556" y="0"/>
                        <a:pt x="556" y="0"/>
                        <a:pt x="556" y="0"/>
                      </a:cubicBezTo>
                      <a:cubicBezTo>
                        <a:pt x="549" y="21"/>
                        <a:pt x="545" y="43"/>
                        <a:pt x="545" y="67"/>
                      </a:cubicBezTo>
                      <a:cubicBezTo>
                        <a:pt x="545" y="412"/>
                        <a:pt x="545" y="412"/>
                        <a:pt x="545" y="412"/>
                      </a:cubicBezTo>
                      <a:cubicBezTo>
                        <a:pt x="0" y="412"/>
                        <a:pt x="0" y="412"/>
                        <a:pt x="0" y="412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61"/>
                        <a:pt x="55" y="0"/>
                        <a:pt x="12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Freeform 209"/>
                <p:cNvSpPr>
                  <a:spLocks/>
                </p:cNvSpPr>
                <p:nvPr/>
              </p:nvSpPr>
              <p:spPr bwMode="auto">
                <a:xfrm>
                  <a:off x="20797838" y="3238500"/>
                  <a:ext cx="385763" cy="144463"/>
                </a:xfrm>
                <a:custGeom>
                  <a:avLst/>
                  <a:gdLst>
                    <a:gd name="T0" fmla="*/ 243 w 243"/>
                    <a:gd name="T1" fmla="*/ 0 h 91"/>
                    <a:gd name="T2" fmla="*/ 122 w 243"/>
                    <a:gd name="T3" fmla="*/ 91 h 91"/>
                    <a:gd name="T4" fmla="*/ 0 w 243"/>
                    <a:gd name="T5" fmla="*/ 0 h 91"/>
                    <a:gd name="T6" fmla="*/ 243 w 243"/>
                    <a:gd name="T7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3" h="91">
                      <a:moveTo>
                        <a:pt x="243" y="0"/>
                      </a:moveTo>
                      <a:lnTo>
                        <a:pt x="122" y="91"/>
                      </a:lnTo>
                      <a:lnTo>
                        <a:pt x="0" y="0"/>
                      </a:lnTo>
                      <a:lnTo>
                        <a:pt x="24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reeform 210"/>
                <p:cNvSpPr>
                  <a:spLocks/>
                </p:cNvSpPr>
                <p:nvPr/>
              </p:nvSpPr>
              <p:spPr bwMode="auto">
                <a:xfrm>
                  <a:off x="16435388" y="3238500"/>
                  <a:ext cx="385763" cy="144463"/>
                </a:xfrm>
                <a:custGeom>
                  <a:avLst/>
                  <a:gdLst>
                    <a:gd name="T0" fmla="*/ 243 w 243"/>
                    <a:gd name="T1" fmla="*/ 0 h 91"/>
                    <a:gd name="T2" fmla="*/ 121 w 243"/>
                    <a:gd name="T3" fmla="*/ 91 h 91"/>
                    <a:gd name="T4" fmla="*/ 0 w 243"/>
                    <a:gd name="T5" fmla="*/ 0 h 91"/>
                    <a:gd name="T6" fmla="*/ 243 w 243"/>
                    <a:gd name="T7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3" h="91">
                      <a:moveTo>
                        <a:pt x="243" y="0"/>
                      </a:moveTo>
                      <a:lnTo>
                        <a:pt x="121" y="91"/>
                      </a:lnTo>
                      <a:lnTo>
                        <a:pt x="0" y="0"/>
                      </a:lnTo>
                      <a:lnTo>
                        <a:pt x="24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Freeform 211"/>
                <p:cNvSpPr>
                  <a:spLocks noEditPoints="1"/>
                </p:cNvSpPr>
                <p:nvPr/>
              </p:nvSpPr>
              <p:spPr bwMode="auto">
                <a:xfrm>
                  <a:off x="15424150" y="4845050"/>
                  <a:ext cx="6770688" cy="3390900"/>
                </a:xfrm>
                <a:custGeom>
                  <a:avLst/>
                  <a:gdLst>
                    <a:gd name="T0" fmla="*/ 0 w 2070"/>
                    <a:gd name="T1" fmla="*/ 0 h 1037"/>
                    <a:gd name="T2" fmla="*/ 0 w 2070"/>
                    <a:gd name="T3" fmla="*/ 2 h 1037"/>
                    <a:gd name="T4" fmla="*/ 1035 w 2070"/>
                    <a:gd name="T5" fmla="*/ 1037 h 1037"/>
                    <a:gd name="T6" fmla="*/ 2070 w 2070"/>
                    <a:gd name="T7" fmla="*/ 2 h 1037"/>
                    <a:gd name="T8" fmla="*/ 2070 w 2070"/>
                    <a:gd name="T9" fmla="*/ 0 h 1037"/>
                    <a:gd name="T10" fmla="*/ 0 w 2070"/>
                    <a:gd name="T11" fmla="*/ 0 h 1037"/>
                    <a:gd name="T12" fmla="*/ 334 w 2070"/>
                    <a:gd name="T13" fmla="*/ 626 h 1037"/>
                    <a:gd name="T14" fmla="*/ 98 w 2070"/>
                    <a:gd name="T15" fmla="*/ 63 h 1037"/>
                    <a:gd name="T16" fmla="*/ 420 w 2070"/>
                    <a:gd name="T17" fmla="*/ 63 h 1037"/>
                    <a:gd name="T18" fmla="*/ 484 w 2070"/>
                    <a:gd name="T19" fmla="*/ 470 h 1037"/>
                    <a:gd name="T20" fmla="*/ 334 w 2070"/>
                    <a:gd name="T21" fmla="*/ 626 h 1037"/>
                    <a:gd name="T22" fmla="*/ 412 w 2070"/>
                    <a:gd name="T23" fmla="*/ 703 h 1037"/>
                    <a:gd name="T24" fmla="*/ 515 w 2070"/>
                    <a:gd name="T25" fmla="*/ 564 h 1037"/>
                    <a:gd name="T26" fmla="*/ 712 w 2070"/>
                    <a:gd name="T27" fmla="*/ 884 h 1037"/>
                    <a:gd name="T28" fmla="*/ 412 w 2070"/>
                    <a:gd name="T29" fmla="*/ 703 h 1037"/>
                    <a:gd name="T30" fmla="*/ 974 w 2070"/>
                    <a:gd name="T31" fmla="*/ 910 h 1037"/>
                    <a:gd name="T32" fmla="*/ 602 w 2070"/>
                    <a:gd name="T33" fmla="*/ 519 h 1037"/>
                    <a:gd name="T34" fmla="*/ 974 w 2070"/>
                    <a:gd name="T35" fmla="*/ 443 h 1037"/>
                    <a:gd name="T36" fmla="*/ 974 w 2070"/>
                    <a:gd name="T37" fmla="*/ 910 h 1037"/>
                    <a:gd name="T38" fmla="*/ 974 w 2070"/>
                    <a:gd name="T39" fmla="*/ 346 h 1037"/>
                    <a:gd name="T40" fmla="*/ 573 w 2070"/>
                    <a:gd name="T41" fmla="*/ 427 h 1037"/>
                    <a:gd name="T42" fmla="*/ 516 w 2070"/>
                    <a:gd name="T43" fmla="*/ 63 h 1037"/>
                    <a:gd name="T44" fmla="*/ 974 w 2070"/>
                    <a:gd name="T45" fmla="*/ 63 h 1037"/>
                    <a:gd name="T46" fmla="*/ 974 w 2070"/>
                    <a:gd name="T47" fmla="*/ 346 h 1037"/>
                    <a:gd name="T48" fmla="*/ 1075 w 2070"/>
                    <a:gd name="T49" fmla="*/ 63 h 1037"/>
                    <a:gd name="T50" fmla="*/ 1535 w 2070"/>
                    <a:gd name="T51" fmla="*/ 63 h 1037"/>
                    <a:gd name="T52" fmla="*/ 1484 w 2070"/>
                    <a:gd name="T53" fmla="*/ 425 h 1037"/>
                    <a:gd name="T54" fmla="*/ 1075 w 2070"/>
                    <a:gd name="T55" fmla="*/ 346 h 1037"/>
                    <a:gd name="T56" fmla="*/ 1075 w 2070"/>
                    <a:gd name="T57" fmla="*/ 63 h 1037"/>
                    <a:gd name="T58" fmla="*/ 1075 w 2070"/>
                    <a:gd name="T59" fmla="*/ 932 h 1037"/>
                    <a:gd name="T60" fmla="*/ 1075 w 2070"/>
                    <a:gd name="T61" fmla="*/ 443 h 1037"/>
                    <a:gd name="T62" fmla="*/ 1456 w 2070"/>
                    <a:gd name="T63" fmla="*/ 518 h 1037"/>
                    <a:gd name="T64" fmla="*/ 1075 w 2070"/>
                    <a:gd name="T65" fmla="*/ 932 h 1037"/>
                    <a:gd name="T66" fmla="*/ 1362 w 2070"/>
                    <a:gd name="T67" fmla="*/ 882 h 1037"/>
                    <a:gd name="T68" fmla="*/ 1543 w 2070"/>
                    <a:gd name="T69" fmla="*/ 564 h 1037"/>
                    <a:gd name="T70" fmla="*/ 1641 w 2070"/>
                    <a:gd name="T71" fmla="*/ 718 h 1037"/>
                    <a:gd name="T72" fmla="*/ 1362 w 2070"/>
                    <a:gd name="T73" fmla="*/ 882 h 1037"/>
                    <a:gd name="T74" fmla="*/ 1724 w 2070"/>
                    <a:gd name="T75" fmla="*/ 639 h 1037"/>
                    <a:gd name="T76" fmla="*/ 1573 w 2070"/>
                    <a:gd name="T77" fmla="*/ 469 h 1037"/>
                    <a:gd name="T78" fmla="*/ 1632 w 2070"/>
                    <a:gd name="T79" fmla="*/ 63 h 1037"/>
                    <a:gd name="T80" fmla="*/ 1971 w 2070"/>
                    <a:gd name="T81" fmla="*/ 63 h 1037"/>
                    <a:gd name="T82" fmla="*/ 1724 w 2070"/>
                    <a:gd name="T83" fmla="*/ 639 h 10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070" h="1037">
                      <a:moveTo>
                        <a:pt x="0" y="0"/>
                      </a:moveTo>
                      <a:cubicBezTo>
                        <a:pt x="0" y="1"/>
                        <a:pt x="0" y="2"/>
                        <a:pt x="0" y="2"/>
                      </a:cubicBezTo>
                      <a:cubicBezTo>
                        <a:pt x="0" y="573"/>
                        <a:pt x="464" y="1037"/>
                        <a:pt x="1035" y="1037"/>
                      </a:cubicBezTo>
                      <a:cubicBezTo>
                        <a:pt x="1605" y="1037"/>
                        <a:pt x="2070" y="573"/>
                        <a:pt x="2070" y="2"/>
                      </a:cubicBezTo>
                      <a:cubicBezTo>
                        <a:pt x="2070" y="2"/>
                        <a:pt x="2070" y="1"/>
                        <a:pt x="2070" y="0"/>
                      </a:cubicBezTo>
                      <a:lnTo>
                        <a:pt x="0" y="0"/>
                      </a:lnTo>
                      <a:close/>
                      <a:moveTo>
                        <a:pt x="334" y="626"/>
                      </a:moveTo>
                      <a:cubicBezTo>
                        <a:pt x="199" y="474"/>
                        <a:pt x="112" y="278"/>
                        <a:pt x="98" y="63"/>
                      </a:cubicBezTo>
                      <a:cubicBezTo>
                        <a:pt x="420" y="63"/>
                        <a:pt x="420" y="63"/>
                        <a:pt x="420" y="63"/>
                      </a:cubicBezTo>
                      <a:cubicBezTo>
                        <a:pt x="424" y="192"/>
                        <a:pt x="445" y="335"/>
                        <a:pt x="484" y="470"/>
                      </a:cubicBezTo>
                      <a:cubicBezTo>
                        <a:pt x="416" y="511"/>
                        <a:pt x="362" y="562"/>
                        <a:pt x="334" y="626"/>
                      </a:cubicBezTo>
                      <a:close/>
                      <a:moveTo>
                        <a:pt x="412" y="703"/>
                      </a:moveTo>
                      <a:cubicBezTo>
                        <a:pt x="421" y="648"/>
                        <a:pt x="459" y="602"/>
                        <a:pt x="515" y="564"/>
                      </a:cubicBezTo>
                      <a:cubicBezTo>
                        <a:pt x="562" y="690"/>
                        <a:pt x="626" y="803"/>
                        <a:pt x="712" y="884"/>
                      </a:cubicBezTo>
                      <a:cubicBezTo>
                        <a:pt x="601" y="843"/>
                        <a:pt x="499" y="781"/>
                        <a:pt x="412" y="703"/>
                      </a:cubicBezTo>
                      <a:close/>
                      <a:moveTo>
                        <a:pt x="974" y="910"/>
                      </a:moveTo>
                      <a:cubicBezTo>
                        <a:pt x="794" y="884"/>
                        <a:pt x="674" y="718"/>
                        <a:pt x="602" y="519"/>
                      </a:cubicBezTo>
                      <a:cubicBezTo>
                        <a:pt x="711" y="473"/>
                        <a:pt x="851" y="448"/>
                        <a:pt x="974" y="443"/>
                      </a:cubicBezTo>
                      <a:lnTo>
                        <a:pt x="974" y="910"/>
                      </a:lnTo>
                      <a:close/>
                      <a:moveTo>
                        <a:pt x="974" y="346"/>
                      </a:moveTo>
                      <a:cubicBezTo>
                        <a:pt x="845" y="351"/>
                        <a:pt x="697" y="376"/>
                        <a:pt x="573" y="427"/>
                      </a:cubicBezTo>
                      <a:cubicBezTo>
                        <a:pt x="539" y="305"/>
                        <a:pt x="521" y="176"/>
                        <a:pt x="516" y="63"/>
                      </a:cubicBezTo>
                      <a:cubicBezTo>
                        <a:pt x="974" y="63"/>
                        <a:pt x="974" y="63"/>
                        <a:pt x="974" y="63"/>
                      </a:cubicBezTo>
                      <a:lnTo>
                        <a:pt x="974" y="346"/>
                      </a:lnTo>
                      <a:close/>
                      <a:moveTo>
                        <a:pt x="1075" y="63"/>
                      </a:moveTo>
                      <a:cubicBezTo>
                        <a:pt x="1535" y="63"/>
                        <a:pt x="1535" y="63"/>
                        <a:pt x="1535" y="63"/>
                      </a:cubicBezTo>
                      <a:cubicBezTo>
                        <a:pt x="1532" y="174"/>
                        <a:pt x="1516" y="302"/>
                        <a:pt x="1484" y="425"/>
                      </a:cubicBezTo>
                      <a:cubicBezTo>
                        <a:pt x="1366" y="377"/>
                        <a:pt x="1220" y="351"/>
                        <a:pt x="1075" y="346"/>
                      </a:cubicBezTo>
                      <a:lnTo>
                        <a:pt x="1075" y="63"/>
                      </a:lnTo>
                      <a:close/>
                      <a:moveTo>
                        <a:pt x="1075" y="932"/>
                      </a:moveTo>
                      <a:cubicBezTo>
                        <a:pt x="1075" y="443"/>
                        <a:pt x="1075" y="443"/>
                        <a:pt x="1075" y="443"/>
                      </a:cubicBezTo>
                      <a:cubicBezTo>
                        <a:pt x="1197" y="448"/>
                        <a:pt x="1343" y="471"/>
                        <a:pt x="1456" y="518"/>
                      </a:cubicBezTo>
                      <a:cubicBezTo>
                        <a:pt x="1385" y="728"/>
                        <a:pt x="1263" y="905"/>
                        <a:pt x="1075" y="932"/>
                      </a:cubicBezTo>
                      <a:close/>
                      <a:moveTo>
                        <a:pt x="1362" y="882"/>
                      </a:moveTo>
                      <a:cubicBezTo>
                        <a:pt x="1441" y="798"/>
                        <a:pt x="1500" y="686"/>
                        <a:pt x="1543" y="564"/>
                      </a:cubicBezTo>
                      <a:cubicBezTo>
                        <a:pt x="1602" y="604"/>
                        <a:pt x="1640" y="655"/>
                        <a:pt x="1641" y="718"/>
                      </a:cubicBezTo>
                      <a:cubicBezTo>
                        <a:pt x="1559" y="788"/>
                        <a:pt x="1465" y="844"/>
                        <a:pt x="1362" y="882"/>
                      </a:cubicBezTo>
                      <a:close/>
                      <a:moveTo>
                        <a:pt x="1724" y="639"/>
                      </a:moveTo>
                      <a:cubicBezTo>
                        <a:pt x="1700" y="570"/>
                        <a:pt x="1646" y="513"/>
                        <a:pt x="1573" y="469"/>
                      </a:cubicBezTo>
                      <a:cubicBezTo>
                        <a:pt x="1610" y="333"/>
                        <a:pt x="1629" y="190"/>
                        <a:pt x="1632" y="63"/>
                      </a:cubicBezTo>
                      <a:cubicBezTo>
                        <a:pt x="1971" y="63"/>
                        <a:pt x="1971" y="63"/>
                        <a:pt x="1971" y="63"/>
                      </a:cubicBezTo>
                      <a:cubicBezTo>
                        <a:pt x="1957" y="284"/>
                        <a:pt x="1866" y="485"/>
                        <a:pt x="1724" y="6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Freeform 212"/>
                <p:cNvSpPr>
                  <a:spLocks/>
                </p:cNvSpPr>
                <p:nvPr/>
              </p:nvSpPr>
              <p:spPr bwMode="auto">
                <a:xfrm>
                  <a:off x="18586450" y="2895600"/>
                  <a:ext cx="481013" cy="176213"/>
                </a:xfrm>
                <a:custGeom>
                  <a:avLst/>
                  <a:gdLst>
                    <a:gd name="T0" fmla="*/ 303 w 303"/>
                    <a:gd name="T1" fmla="*/ 0 h 111"/>
                    <a:gd name="T2" fmla="*/ 151 w 303"/>
                    <a:gd name="T3" fmla="*/ 111 h 111"/>
                    <a:gd name="T4" fmla="*/ 0 w 303"/>
                    <a:gd name="T5" fmla="*/ 0 h 111"/>
                    <a:gd name="T6" fmla="*/ 303 w 303"/>
                    <a:gd name="T7" fmla="*/ 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03" h="111">
                      <a:moveTo>
                        <a:pt x="303" y="0"/>
                      </a:moveTo>
                      <a:lnTo>
                        <a:pt x="151" y="111"/>
                      </a:lnTo>
                      <a:lnTo>
                        <a:pt x="0" y="0"/>
                      </a:lnTo>
                      <a:lnTo>
                        <a:pt x="30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Oval 213"/>
                <p:cNvSpPr>
                  <a:spLocks noChangeArrowheads="1"/>
                </p:cNvSpPr>
                <p:nvPr/>
              </p:nvSpPr>
              <p:spPr bwMode="auto">
                <a:xfrm>
                  <a:off x="18210213" y="1377950"/>
                  <a:ext cx="1233488" cy="14414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Freeform 214"/>
                <p:cNvSpPr>
                  <a:spLocks/>
                </p:cNvSpPr>
                <p:nvPr/>
              </p:nvSpPr>
              <p:spPr bwMode="auto">
                <a:xfrm>
                  <a:off x="17321213" y="2895600"/>
                  <a:ext cx="2976563" cy="1690688"/>
                </a:xfrm>
                <a:custGeom>
                  <a:avLst/>
                  <a:gdLst>
                    <a:gd name="T0" fmla="*/ 755 w 910"/>
                    <a:gd name="T1" fmla="*/ 0 h 517"/>
                    <a:gd name="T2" fmla="*/ 630 w 910"/>
                    <a:gd name="T3" fmla="*/ 0 h 517"/>
                    <a:gd name="T4" fmla="*/ 538 w 910"/>
                    <a:gd name="T5" fmla="*/ 195 h 517"/>
                    <a:gd name="T6" fmla="*/ 455 w 910"/>
                    <a:gd name="T7" fmla="*/ 55 h 517"/>
                    <a:gd name="T8" fmla="*/ 371 w 910"/>
                    <a:gd name="T9" fmla="*/ 195 h 517"/>
                    <a:gd name="T10" fmla="*/ 279 w 910"/>
                    <a:gd name="T11" fmla="*/ 0 h 517"/>
                    <a:gd name="T12" fmla="*/ 154 w 910"/>
                    <a:gd name="T13" fmla="*/ 0 h 517"/>
                    <a:gd name="T14" fmla="*/ 0 w 910"/>
                    <a:gd name="T15" fmla="*/ 172 h 517"/>
                    <a:gd name="T16" fmla="*/ 0 w 910"/>
                    <a:gd name="T17" fmla="*/ 517 h 517"/>
                    <a:gd name="T18" fmla="*/ 910 w 910"/>
                    <a:gd name="T19" fmla="*/ 517 h 517"/>
                    <a:gd name="T20" fmla="*/ 910 w 910"/>
                    <a:gd name="T21" fmla="*/ 172 h 517"/>
                    <a:gd name="T22" fmla="*/ 755 w 910"/>
                    <a:gd name="T23" fmla="*/ 0 h 5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10" h="517">
                      <a:moveTo>
                        <a:pt x="755" y="0"/>
                      </a:moveTo>
                      <a:cubicBezTo>
                        <a:pt x="630" y="0"/>
                        <a:pt x="630" y="0"/>
                        <a:pt x="630" y="0"/>
                      </a:cubicBezTo>
                      <a:cubicBezTo>
                        <a:pt x="538" y="195"/>
                        <a:pt x="538" y="195"/>
                        <a:pt x="538" y="195"/>
                      </a:cubicBezTo>
                      <a:cubicBezTo>
                        <a:pt x="455" y="55"/>
                        <a:pt x="455" y="55"/>
                        <a:pt x="455" y="55"/>
                      </a:cubicBezTo>
                      <a:cubicBezTo>
                        <a:pt x="371" y="195"/>
                        <a:pt x="371" y="195"/>
                        <a:pt x="371" y="195"/>
                      </a:cubicBezTo>
                      <a:cubicBezTo>
                        <a:pt x="279" y="0"/>
                        <a:pt x="279" y="0"/>
                        <a:pt x="279" y="0"/>
                      </a:cubicBezTo>
                      <a:cubicBezTo>
                        <a:pt x="154" y="0"/>
                        <a:pt x="154" y="0"/>
                        <a:pt x="154" y="0"/>
                      </a:cubicBezTo>
                      <a:cubicBezTo>
                        <a:pt x="69" y="0"/>
                        <a:pt x="0" y="77"/>
                        <a:pt x="0" y="172"/>
                      </a:cubicBezTo>
                      <a:cubicBezTo>
                        <a:pt x="0" y="517"/>
                        <a:pt x="0" y="517"/>
                        <a:pt x="0" y="517"/>
                      </a:cubicBezTo>
                      <a:cubicBezTo>
                        <a:pt x="910" y="517"/>
                        <a:pt x="910" y="517"/>
                        <a:pt x="910" y="517"/>
                      </a:cubicBezTo>
                      <a:cubicBezTo>
                        <a:pt x="910" y="172"/>
                        <a:pt x="910" y="172"/>
                        <a:pt x="910" y="172"/>
                      </a:cubicBezTo>
                      <a:cubicBezTo>
                        <a:pt x="910" y="77"/>
                        <a:pt x="840" y="0"/>
                        <a:pt x="75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Oval 215"/>
                <p:cNvSpPr>
                  <a:spLocks noChangeArrowheads="1"/>
                </p:cNvSpPr>
                <p:nvPr/>
              </p:nvSpPr>
              <p:spPr bwMode="auto">
                <a:xfrm>
                  <a:off x="20500975" y="2028825"/>
                  <a:ext cx="981075" cy="11477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Freeform 216"/>
                <p:cNvSpPr>
                  <a:spLocks/>
                </p:cNvSpPr>
                <p:nvPr/>
              </p:nvSpPr>
              <p:spPr bwMode="auto">
                <a:xfrm>
                  <a:off x="20356513" y="3238500"/>
                  <a:ext cx="1819275" cy="1347788"/>
                </a:xfrm>
                <a:custGeom>
                  <a:avLst/>
                  <a:gdLst>
                    <a:gd name="T0" fmla="*/ 433 w 556"/>
                    <a:gd name="T1" fmla="*/ 0 h 412"/>
                    <a:gd name="T2" fmla="*/ 334 w 556"/>
                    <a:gd name="T3" fmla="*/ 0 h 412"/>
                    <a:gd name="T4" fmla="*/ 260 w 556"/>
                    <a:gd name="T5" fmla="*/ 155 h 412"/>
                    <a:gd name="T6" fmla="*/ 194 w 556"/>
                    <a:gd name="T7" fmla="*/ 44 h 412"/>
                    <a:gd name="T8" fmla="*/ 127 w 556"/>
                    <a:gd name="T9" fmla="*/ 155 h 412"/>
                    <a:gd name="T10" fmla="*/ 54 w 556"/>
                    <a:gd name="T11" fmla="*/ 0 h 412"/>
                    <a:gd name="T12" fmla="*/ 0 w 556"/>
                    <a:gd name="T13" fmla="*/ 0 h 412"/>
                    <a:gd name="T14" fmla="*/ 12 w 556"/>
                    <a:gd name="T15" fmla="*/ 67 h 412"/>
                    <a:gd name="T16" fmla="*/ 12 w 556"/>
                    <a:gd name="T17" fmla="*/ 412 h 412"/>
                    <a:gd name="T18" fmla="*/ 556 w 556"/>
                    <a:gd name="T19" fmla="*/ 412 h 412"/>
                    <a:gd name="T20" fmla="*/ 556 w 556"/>
                    <a:gd name="T21" fmla="*/ 137 h 412"/>
                    <a:gd name="T22" fmla="*/ 433 w 556"/>
                    <a:gd name="T23" fmla="*/ 0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6" h="412">
                      <a:moveTo>
                        <a:pt x="433" y="0"/>
                      </a:moveTo>
                      <a:cubicBezTo>
                        <a:pt x="334" y="0"/>
                        <a:pt x="334" y="0"/>
                        <a:pt x="334" y="0"/>
                      </a:cubicBezTo>
                      <a:cubicBezTo>
                        <a:pt x="260" y="155"/>
                        <a:pt x="260" y="155"/>
                        <a:pt x="260" y="155"/>
                      </a:cubicBezTo>
                      <a:cubicBezTo>
                        <a:pt x="194" y="44"/>
                        <a:pt x="194" y="44"/>
                        <a:pt x="194" y="44"/>
                      </a:cubicBezTo>
                      <a:cubicBezTo>
                        <a:pt x="127" y="155"/>
                        <a:pt x="127" y="155"/>
                        <a:pt x="127" y="155"/>
                      </a:cubicBezTo>
                      <a:cubicBezTo>
                        <a:pt x="54" y="0"/>
                        <a:pt x="54" y="0"/>
                        <a:pt x="5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8" y="21"/>
                        <a:pt x="12" y="43"/>
                        <a:pt x="12" y="67"/>
                      </a:cubicBezTo>
                      <a:cubicBezTo>
                        <a:pt x="12" y="412"/>
                        <a:pt x="12" y="412"/>
                        <a:pt x="12" y="412"/>
                      </a:cubicBezTo>
                      <a:cubicBezTo>
                        <a:pt x="556" y="412"/>
                        <a:pt x="556" y="412"/>
                        <a:pt x="556" y="412"/>
                      </a:cubicBezTo>
                      <a:cubicBezTo>
                        <a:pt x="556" y="137"/>
                        <a:pt x="556" y="137"/>
                        <a:pt x="556" y="137"/>
                      </a:cubicBezTo>
                      <a:cubicBezTo>
                        <a:pt x="556" y="61"/>
                        <a:pt x="501" y="0"/>
                        <a:pt x="43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Oval 217"/>
                <p:cNvSpPr>
                  <a:spLocks noChangeArrowheads="1"/>
                </p:cNvSpPr>
                <p:nvPr/>
              </p:nvSpPr>
              <p:spPr bwMode="auto">
                <a:xfrm>
                  <a:off x="16136938" y="2028825"/>
                  <a:ext cx="981075" cy="114776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218"/>
                <p:cNvSpPr>
                  <a:spLocks/>
                </p:cNvSpPr>
                <p:nvPr/>
              </p:nvSpPr>
              <p:spPr bwMode="auto">
                <a:xfrm>
                  <a:off x="15440025" y="3238500"/>
                  <a:ext cx="1819275" cy="1347788"/>
                </a:xfrm>
                <a:custGeom>
                  <a:avLst/>
                  <a:gdLst>
                    <a:gd name="T0" fmla="*/ 123 w 556"/>
                    <a:gd name="T1" fmla="*/ 0 h 412"/>
                    <a:gd name="T2" fmla="*/ 223 w 556"/>
                    <a:gd name="T3" fmla="*/ 0 h 412"/>
                    <a:gd name="T4" fmla="*/ 296 w 556"/>
                    <a:gd name="T5" fmla="*/ 155 h 412"/>
                    <a:gd name="T6" fmla="*/ 363 w 556"/>
                    <a:gd name="T7" fmla="*/ 44 h 412"/>
                    <a:gd name="T8" fmla="*/ 429 w 556"/>
                    <a:gd name="T9" fmla="*/ 155 h 412"/>
                    <a:gd name="T10" fmla="*/ 503 w 556"/>
                    <a:gd name="T11" fmla="*/ 0 h 412"/>
                    <a:gd name="T12" fmla="*/ 556 w 556"/>
                    <a:gd name="T13" fmla="*/ 0 h 412"/>
                    <a:gd name="T14" fmla="*/ 545 w 556"/>
                    <a:gd name="T15" fmla="*/ 67 h 412"/>
                    <a:gd name="T16" fmla="*/ 545 w 556"/>
                    <a:gd name="T17" fmla="*/ 412 h 412"/>
                    <a:gd name="T18" fmla="*/ 0 w 556"/>
                    <a:gd name="T19" fmla="*/ 412 h 412"/>
                    <a:gd name="T20" fmla="*/ 0 w 556"/>
                    <a:gd name="T21" fmla="*/ 137 h 412"/>
                    <a:gd name="T22" fmla="*/ 123 w 556"/>
                    <a:gd name="T23" fmla="*/ 0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56" h="412">
                      <a:moveTo>
                        <a:pt x="123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96" y="155"/>
                        <a:pt x="296" y="155"/>
                        <a:pt x="296" y="155"/>
                      </a:cubicBezTo>
                      <a:cubicBezTo>
                        <a:pt x="363" y="44"/>
                        <a:pt x="363" y="44"/>
                        <a:pt x="363" y="44"/>
                      </a:cubicBezTo>
                      <a:cubicBezTo>
                        <a:pt x="429" y="155"/>
                        <a:pt x="429" y="155"/>
                        <a:pt x="429" y="155"/>
                      </a:cubicBezTo>
                      <a:cubicBezTo>
                        <a:pt x="503" y="0"/>
                        <a:pt x="503" y="0"/>
                        <a:pt x="503" y="0"/>
                      </a:cubicBezTo>
                      <a:cubicBezTo>
                        <a:pt x="556" y="0"/>
                        <a:pt x="556" y="0"/>
                        <a:pt x="556" y="0"/>
                      </a:cubicBezTo>
                      <a:cubicBezTo>
                        <a:pt x="549" y="21"/>
                        <a:pt x="545" y="43"/>
                        <a:pt x="545" y="67"/>
                      </a:cubicBezTo>
                      <a:cubicBezTo>
                        <a:pt x="545" y="412"/>
                        <a:pt x="545" y="412"/>
                        <a:pt x="545" y="412"/>
                      </a:cubicBezTo>
                      <a:cubicBezTo>
                        <a:pt x="0" y="412"/>
                        <a:pt x="0" y="412"/>
                        <a:pt x="0" y="412"/>
                      </a:cubicBezTo>
                      <a:cubicBezTo>
                        <a:pt x="0" y="137"/>
                        <a:pt x="0" y="137"/>
                        <a:pt x="0" y="137"/>
                      </a:cubicBezTo>
                      <a:cubicBezTo>
                        <a:pt x="0" y="61"/>
                        <a:pt x="55" y="0"/>
                        <a:pt x="12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 219"/>
                <p:cNvSpPr>
                  <a:spLocks/>
                </p:cNvSpPr>
                <p:nvPr/>
              </p:nvSpPr>
              <p:spPr bwMode="auto">
                <a:xfrm>
                  <a:off x="20797838" y="3238500"/>
                  <a:ext cx="385763" cy="144463"/>
                </a:xfrm>
                <a:custGeom>
                  <a:avLst/>
                  <a:gdLst>
                    <a:gd name="T0" fmla="*/ 243 w 243"/>
                    <a:gd name="T1" fmla="*/ 0 h 91"/>
                    <a:gd name="T2" fmla="*/ 122 w 243"/>
                    <a:gd name="T3" fmla="*/ 91 h 91"/>
                    <a:gd name="T4" fmla="*/ 0 w 243"/>
                    <a:gd name="T5" fmla="*/ 0 h 91"/>
                    <a:gd name="T6" fmla="*/ 243 w 243"/>
                    <a:gd name="T7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3" h="91">
                      <a:moveTo>
                        <a:pt x="243" y="0"/>
                      </a:moveTo>
                      <a:lnTo>
                        <a:pt x="122" y="91"/>
                      </a:lnTo>
                      <a:lnTo>
                        <a:pt x="0" y="0"/>
                      </a:lnTo>
                      <a:lnTo>
                        <a:pt x="24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 220"/>
                <p:cNvSpPr>
                  <a:spLocks/>
                </p:cNvSpPr>
                <p:nvPr/>
              </p:nvSpPr>
              <p:spPr bwMode="auto">
                <a:xfrm>
                  <a:off x="16435388" y="3238500"/>
                  <a:ext cx="385763" cy="144463"/>
                </a:xfrm>
                <a:custGeom>
                  <a:avLst/>
                  <a:gdLst>
                    <a:gd name="T0" fmla="*/ 243 w 243"/>
                    <a:gd name="T1" fmla="*/ 0 h 91"/>
                    <a:gd name="T2" fmla="*/ 121 w 243"/>
                    <a:gd name="T3" fmla="*/ 91 h 91"/>
                    <a:gd name="T4" fmla="*/ 0 w 243"/>
                    <a:gd name="T5" fmla="*/ 0 h 91"/>
                    <a:gd name="T6" fmla="*/ 243 w 243"/>
                    <a:gd name="T7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3" h="91">
                      <a:moveTo>
                        <a:pt x="243" y="0"/>
                      </a:moveTo>
                      <a:lnTo>
                        <a:pt x="121" y="91"/>
                      </a:lnTo>
                      <a:lnTo>
                        <a:pt x="0" y="0"/>
                      </a:lnTo>
                      <a:lnTo>
                        <a:pt x="24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2" name="Freeform 141"/>
              <p:cNvSpPr>
                <a:spLocks noEditPoints="1"/>
              </p:cNvSpPr>
              <p:nvPr/>
            </p:nvSpPr>
            <p:spPr bwMode="auto">
              <a:xfrm>
                <a:off x="7959961" y="5447963"/>
                <a:ext cx="530054" cy="624142"/>
              </a:xfrm>
              <a:custGeom>
                <a:avLst/>
                <a:gdLst>
                  <a:gd name="T0" fmla="*/ 1290 w 1788"/>
                  <a:gd name="T1" fmla="*/ 222 h 2106"/>
                  <a:gd name="T2" fmla="*/ 1651 w 1788"/>
                  <a:gd name="T3" fmla="*/ 291 h 2106"/>
                  <a:gd name="T4" fmla="*/ 673 w 1788"/>
                  <a:gd name="T5" fmla="*/ 0 h 2106"/>
                  <a:gd name="T6" fmla="*/ 760 w 1788"/>
                  <a:gd name="T7" fmla="*/ 123 h 2106"/>
                  <a:gd name="T8" fmla="*/ 673 w 1788"/>
                  <a:gd name="T9" fmla="*/ 352 h 2106"/>
                  <a:gd name="T10" fmla="*/ 586 w 1788"/>
                  <a:gd name="T11" fmla="*/ 668 h 2106"/>
                  <a:gd name="T12" fmla="*/ 623 w 1788"/>
                  <a:gd name="T13" fmla="*/ 462 h 2106"/>
                  <a:gd name="T14" fmla="*/ 1119 w 1788"/>
                  <a:gd name="T15" fmla="*/ 284 h 2106"/>
                  <a:gd name="T16" fmla="*/ 782 w 1788"/>
                  <a:gd name="T17" fmla="*/ 1731 h 2106"/>
                  <a:gd name="T18" fmla="*/ 1162 w 1788"/>
                  <a:gd name="T19" fmla="*/ 1686 h 2106"/>
                  <a:gd name="T20" fmla="*/ 1651 w 1788"/>
                  <a:gd name="T21" fmla="*/ 352 h 2106"/>
                  <a:gd name="T22" fmla="*/ 1206 w 1788"/>
                  <a:gd name="T23" fmla="*/ 1610 h 2106"/>
                  <a:gd name="T24" fmla="*/ 1651 w 1788"/>
                  <a:gd name="T25" fmla="*/ 444 h 2106"/>
                  <a:gd name="T26" fmla="*/ 1260 w 1788"/>
                  <a:gd name="T27" fmla="*/ 1850 h 2106"/>
                  <a:gd name="T28" fmla="*/ 1413 w 1788"/>
                  <a:gd name="T29" fmla="*/ 1955 h 2106"/>
                  <a:gd name="T30" fmla="*/ 1260 w 1788"/>
                  <a:gd name="T31" fmla="*/ 1850 h 2106"/>
                  <a:gd name="T32" fmla="*/ 691 w 1788"/>
                  <a:gd name="T33" fmla="*/ 949 h 2106"/>
                  <a:gd name="T34" fmla="*/ 691 w 1788"/>
                  <a:gd name="T35" fmla="*/ 664 h 2106"/>
                  <a:gd name="T36" fmla="*/ 605 w 1788"/>
                  <a:gd name="T37" fmla="*/ 692 h 2106"/>
                  <a:gd name="T38" fmla="*/ 780 w 1788"/>
                  <a:gd name="T39" fmla="*/ 1824 h 2106"/>
                  <a:gd name="T40" fmla="*/ 741 w 1788"/>
                  <a:gd name="T41" fmla="*/ 1706 h 2106"/>
                  <a:gd name="T42" fmla="*/ 674 w 1788"/>
                  <a:gd name="T43" fmla="*/ 1206 h 2106"/>
                  <a:gd name="T44" fmla="*/ 789 w 1788"/>
                  <a:gd name="T45" fmla="*/ 1299 h 2106"/>
                  <a:gd name="T46" fmla="*/ 1083 w 1788"/>
                  <a:gd name="T47" fmla="*/ 1238 h 2106"/>
                  <a:gd name="T48" fmla="*/ 706 w 1788"/>
                  <a:gd name="T49" fmla="*/ 1017 h 2106"/>
                  <a:gd name="T50" fmla="*/ 628 w 1788"/>
                  <a:gd name="T51" fmla="*/ 1036 h 2106"/>
                  <a:gd name="T52" fmla="*/ 622 w 1788"/>
                  <a:gd name="T53" fmla="*/ 968 h 2106"/>
                  <a:gd name="T54" fmla="*/ 585 w 1788"/>
                  <a:gd name="T55" fmla="*/ 990 h 2106"/>
                  <a:gd name="T56" fmla="*/ 547 w 1788"/>
                  <a:gd name="T57" fmla="*/ 949 h 2106"/>
                  <a:gd name="T58" fmla="*/ 231 w 1788"/>
                  <a:gd name="T59" fmla="*/ 1112 h 2106"/>
                  <a:gd name="T60" fmla="*/ 168 w 1788"/>
                  <a:gd name="T61" fmla="*/ 1389 h 2106"/>
                  <a:gd name="T62" fmla="*/ 167 w 1788"/>
                  <a:gd name="T63" fmla="*/ 1422 h 2106"/>
                  <a:gd name="T64" fmla="*/ 136 w 1788"/>
                  <a:gd name="T65" fmla="*/ 1473 h 2106"/>
                  <a:gd name="T66" fmla="*/ 0 w 1788"/>
                  <a:gd name="T67" fmla="*/ 1560 h 2106"/>
                  <a:gd name="T68" fmla="*/ 383 w 1788"/>
                  <a:gd name="T69" fmla="*/ 1830 h 2106"/>
                  <a:gd name="T70" fmla="*/ 383 w 1788"/>
                  <a:gd name="T71" fmla="*/ 1495 h 2106"/>
                  <a:gd name="T72" fmla="*/ 308 w 1788"/>
                  <a:gd name="T73" fmla="*/ 1455 h 2106"/>
                  <a:gd name="T74" fmla="*/ 288 w 1788"/>
                  <a:gd name="T75" fmla="*/ 1424 h 2106"/>
                  <a:gd name="T76" fmla="*/ 331 w 1788"/>
                  <a:gd name="T77" fmla="*/ 1217 h 2106"/>
                  <a:gd name="T78" fmla="*/ 347 w 1788"/>
                  <a:gd name="T79" fmla="*/ 1465 h 2106"/>
                  <a:gd name="T80" fmla="*/ 478 w 1788"/>
                  <a:gd name="T81" fmla="*/ 1766 h 2106"/>
                  <a:gd name="T82" fmla="*/ 282 w 1788"/>
                  <a:gd name="T83" fmla="*/ 2000 h 2106"/>
                  <a:gd name="T84" fmla="*/ 412 w 1788"/>
                  <a:gd name="T85" fmla="*/ 2048 h 2106"/>
                  <a:gd name="T86" fmla="*/ 518 w 1788"/>
                  <a:gd name="T87" fmla="*/ 1600 h 2106"/>
                  <a:gd name="T88" fmla="*/ 641 w 1788"/>
                  <a:gd name="T89" fmla="*/ 1874 h 2106"/>
                  <a:gd name="T90" fmla="*/ 794 w 1788"/>
                  <a:gd name="T91" fmla="*/ 2088 h 2106"/>
                  <a:gd name="T92" fmla="*/ 279 w 1788"/>
                  <a:gd name="T93" fmla="*/ 1495 h 2106"/>
                  <a:gd name="T94" fmla="*/ 170 w 1788"/>
                  <a:gd name="T95" fmla="*/ 1463 h 2106"/>
                  <a:gd name="T96" fmla="*/ 215 w 1788"/>
                  <a:gd name="T97" fmla="*/ 1472 h 2106"/>
                  <a:gd name="T98" fmla="*/ 243 w 1788"/>
                  <a:gd name="T99" fmla="*/ 1471 h 2106"/>
                  <a:gd name="T100" fmla="*/ 259 w 1788"/>
                  <a:gd name="T101" fmla="*/ 1465 h 2106"/>
                  <a:gd name="T102" fmla="*/ 278 w 1788"/>
                  <a:gd name="T103" fmla="*/ 1469 h 2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88" h="2106">
                    <a:moveTo>
                      <a:pt x="1651" y="352"/>
                    </a:moveTo>
                    <a:cubicBezTo>
                      <a:pt x="1565" y="321"/>
                      <a:pt x="1565" y="321"/>
                      <a:pt x="1565" y="321"/>
                    </a:cubicBezTo>
                    <a:cubicBezTo>
                      <a:pt x="1290" y="222"/>
                      <a:pt x="1290" y="222"/>
                      <a:pt x="1290" y="222"/>
                    </a:cubicBezTo>
                    <a:cubicBezTo>
                      <a:pt x="1565" y="123"/>
                      <a:pt x="1565" y="123"/>
                      <a:pt x="1565" y="123"/>
                    </a:cubicBezTo>
                    <a:cubicBezTo>
                      <a:pt x="1565" y="260"/>
                      <a:pt x="1565" y="260"/>
                      <a:pt x="1565" y="260"/>
                    </a:cubicBezTo>
                    <a:cubicBezTo>
                      <a:pt x="1651" y="291"/>
                      <a:pt x="1651" y="291"/>
                      <a:pt x="1651" y="291"/>
                    </a:cubicBezTo>
                    <a:cubicBezTo>
                      <a:pt x="1651" y="0"/>
                      <a:pt x="1651" y="0"/>
                      <a:pt x="1651" y="0"/>
                    </a:cubicBezTo>
                    <a:cubicBezTo>
                      <a:pt x="1162" y="176"/>
                      <a:pt x="1162" y="176"/>
                      <a:pt x="1162" y="176"/>
                    </a:cubicBezTo>
                    <a:cubicBezTo>
                      <a:pt x="673" y="0"/>
                      <a:pt x="673" y="0"/>
                      <a:pt x="673" y="0"/>
                    </a:cubicBezTo>
                    <a:cubicBezTo>
                      <a:pt x="673" y="291"/>
                      <a:pt x="673" y="291"/>
                      <a:pt x="673" y="291"/>
                    </a:cubicBezTo>
                    <a:cubicBezTo>
                      <a:pt x="760" y="260"/>
                      <a:pt x="760" y="260"/>
                      <a:pt x="760" y="260"/>
                    </a:cubicBezTo>
                    <a:cubicBezTo>
                      <a:pt x="760" y="123"/>
                      <a:pt x="760" y="123"/>
                      <a:pt x="760" y="123"/>
                    </a:cubicBezTo>
                    <a:cubicBezTo>
                      <a:pt x="1034" y="222"/>
                      <a:pt x="1034" y="222"/>
                      <a:pt x="1034" y="222"/>
                    </a:cubicBezTo>
                    <a:cubicBezTo>
                      <a:pt x="760" y="321"/>
                      <a:pt x="760" y="321"/>
                      <a:pt x="760" y="321"/>
                    </a:cubicBezTo>
                    <a:cubicBezTo>
                      <a:pt x="673" y="352"/>
                      <a:pt x="673" y="352"/>
                      <a:pt x="673" y="352"/>
                    </a:cubicBezTo>
                    <a:cubicBezTo>
                      <a:pt x="537" y="402"/>
                      <a:pt x="537" y="402"/>
                      <a:pt x="537" y="402"/>
                    </a:cubicBezTo>
                    <a:cubicBezTo>
                      <a:pt x="537" y="727"/>
                      <a:pt x="537" y="727"/>
                      <a:pt x="537" y="727"/>
                    </a:cubicBezTo>
                    <a:cubicBezTo>
                      <a:pt x="548" y="705"/>
                      <a:pt x="565" y="684"/>
                      <a:pt x="586" y="668"/>
                    </a:cubicBezTo>
                    <a:cubicBezTo>
                      <a:pt x="598" y="659"/>
                      <a:pt x="609" y="653"/>
                      <a:pt x="620" y="648"/>
                    </a:cubicBezTo>
                    <a:cubicBezTo>
                      <a:pt x="621" y="647"/>
                      <a:pt x="622" y="647"/>
                      <a:pt x="623" y="647"/>
                    </a:cubicBezTo>
                    <a:cubicBezTo>
                      <a:pt x="623" y="462"/>
                      <a:pt x="623" y="462"/>
                      <a:pt x="623" y="462"/>
                    </a:cubicBezTo>
                    <a:cubicBezTo>
                      <a:pt x="673" y="444"/>
                      <a:pt x="673" y="444"/>
                      <a:pt x="673" y="444"/>
                    </a:cubicBezTo>
                    <a:cubicBezTo>
                      <a:pt x="760" y="413"/>
                      <a:pt x="760" y="413"/>
                      <a:pt x="760" y="413"/>
                    </a:cubicBezTo>
                    <a:cubicBezTo>
                      <a:pt x="1119" y="284"/>
                      <a:pt x="1119" y="284"/>
                      <a:pt x="1119" y="284"/>
                    </a:cubicBezTo>
                    <a:cubicBezTo>
                      <a:pt x="1119" y="1610"/>
                      <a:pt x="1119" y="1610"/>
                      <a:pt x="1119" y="1610"/>
                    </a:cubicBezTo>
                    <a:cubicBezTo>
                      <a:pt x="1034" y="1640"/>
                      <a:pt x="1034" y="1640"/>
                      <a:pt x="1034" y="1640"/>
                    </a:cubicBezTo>
                    <a:cubicBezTo>
                      <a:pt x="782" y="1731"/>
                      <a:pt x="782" y="1731"/>
                      <a:pt x="782" y="1731"/>
                    </a:cubicBezTo>
                    <a:cubicBezTo>
                      <a:pt x="782" y="1732"/>
                      <a:pt x="782" y="1732"/>
                      <a:pt x="782" y="1732"/>
                    </a:cubicBezTo>
                    <a:cubicBezTo>
                      <a:pt x="809" y="1813"/>
                      <a:pt x="809" y="1813"/>
                      <a:pt x="809" y="1813"/>
                    </a:cubicBezTo>
                    <a:cubicBezTo>
                      <a:pt x="1162" y="1686"/>
                      <a:pt x="1162" y="1686"/>
                      <a:pt x="1162" y="1686"/>
                    </a:cubicBezTo>
                    <a:cubicBezTo>
                      <a:pt x="1788" y="1911"/>
                      <a:pt x="1788" y="1911"/>
                      <a:pt x="1788" y="1911"/>
                    </a:cubicBezTo>
                    <a:cubicBezTo>
                      <a:pt x="1788" y="402"/>
                      <a:pt x="1788" y="402"/>
                      <a:pt x="1788" y="402"/>
                    </a:cubicBezTo>
                    <a:lnTo>
                      <a:pt x="1651" y="352"/>
                    </a:lnTo>
                    <a:close/>
                    <a:moveTo>
                      <a:pt x="1701" y="1788"/>
                    </a:moveTo>
                    <a:cubicBezTo>
                      <a:pt x="1290" y="1640"/>
                      <a:pt x="1290" y="1640"/>
                      <a:pt x="1290" y="1640"/>
                    </a:cubicBezTo>
                    <a:cubicBezTo>
                      <a:pt x="1206" y="1610"/>
                      <a:pt x="1206" y="1610"/>
                      <a:pt x="1206" y="1610"/>
                    </a:cubicBezTo>
                    <a:cubicBezTo>
                      <a:pt x="1206" y="284"/>
                      <a:pt x="1206" y="284"/>
                      <a:pt x="1206" y="284"/>
                    </a:cubicBezTo>
                    <a:cubicBezTo>
                      <a:pt x="1565" y="413"/>
                      <a:pt x="1565" y="413"/>
                      <a:pt x="1565" y="413"/>
                    </a:cubicBezTo>
                    <a:cubicBezTo>
                      <a:pt x="1651" y="444"/>
                      <a:pt x="1651" y="444"/>
                      <a:pt x="1651" y="444"/>
                    </a:cubicBezTo>
                    <a:cubicBezTo>
                      <a:pt x="1701" y="462"/>
                      <a:pt x="1701" y="462"/>
                      <a:pt x="1701" y="462"/>
                    </a:cubicBezTo>
                    <a:lnTo>
                      <a:pt x="1701" y="1788"/>
                    </a:lnTo>
                    <a:close/>
                    <a:moveTo>
                      <a:pt x="1260" y="1850"/>
                    </a:moveTo>
                    <a:cubicBezTo>
                      <a:pt x="1325" y="1894"/>
                      <a:pt x="1325" y="1894"/>
                      <a:pt x="1325" y="1894"/>
                    </a:cubicBezTo>
                    <a:cubicBezTo>
                      <a:pt x="1142" y="2037"/>
                      <a:pt x="871" y="1921"/>
                      <a:pt x="871" y="1921"/>
                    </a:cubicBezTo>
                    <a:cubicBezTo>
                      <a:pt x="871" y="1921"/>
                      <a:pt x="1094" y="2106"/>
                      <a:pt x="1413" y="1955"/>
                    </a:cubicBezTo>
                    <a:cubicBezTo>
                      <a:pt x="1479" y="2001"/>
                      <a:pt x="1479" y="2001"/>
                      <a:pt x="1479" y="2001"/>
                    </a:cubicBezTo>
                    <a:cubicBezTo>
                      <a:pt x="1472" y="1850"/>
                      <a:pt x="1472" y="1850"/>
                      <a:pt x="1472" y="1850"/>
                    </a:cubicBezTo>
                    <a:lnTo>
                      <a:pt x="1260" y="1850"/>
                    </a:lnTo>
                    <a:close/>
                    <a:moveTo>
                      <a:pt x="605" y="920"/>
                    </a:moveTo>
                    <a:cubicBezTo>
                      <a:pt x="629" y="938"/>
                      <a:pt x="659" y="949"/>
                      <a:pt x="690" y="949"/>
                    </a:cubicBezTo>
                    <a:cubicBezTo>
                      <a:pt x="691" y="949"/>
                      <a:pt x="691" y="949"/>
                      <a:pt x="691" y="949"/>
                    </a:cubicBezTo>
                    <a:cubicBezTo>
                      <a:pt x="710" y="949"/>
                      <a:pt x="729" y="945"/>
                      <a:pt x="747" y="937"/>
                    </a:cubicBezTo>
                    <a:cubicBezTo>
                      <a:pt x="819" y="905"/>
                      <a:pt x="852" y="821"/>
                      <a:pt x="820" y="749"/>
                    </a:cubicBezTo>
                    <a:cubicBezTo>
                      <a:pt x="797" y="696"/>
                      <a:pt x="745" y="665"/>
                      <a:pt x="691" y="664"/>
                    </a:cubicBezTo>
                    <a:cubicBezTo>
                      <a:pt x="691" y="664"/>
                      <a:pt x="690" y="664"/>
                      <a:pt x="690" y="664"/>
                    </a:cubicBezTo>
                    <a:cubicBezTo>
                      <a:pt x="671" y="664"/>
                      <a:pt x="651" y="668"/>
                      <a:pt x="632" y="676"/>
                    </a:cubicBezTo>
                    <a:cubicBezTo>
                      <a:pt x="622" y="680"/>
                      <a:pt x="613" y="686"/>
                      <a:pt x="605" y="692"/>
                    </a:cubicBezTo>
                    <a:cubicBezTo>
                      <a:pt x="553" y="731"/>
                      <a:pt x="532" y="802"/>
                      <a:pt x="559" y="864"/>
                    </a:cubicBezTo>
                    <a:cubicBezTo>
                      <a:pt x="570" y="887"/>
                      <a:pt x="586" y="905"/>
                      <a:pt x="605" y="920"/>
                    </a:cubicBezTo>
                    <a:close/>
                    <a:moveTo>
                      <a:pt x="780" y="1824"/>
                    </a:moveTo>
                    <a:cubicBezTo>
                      <a:pt x="753" y="1741"/>
                      <a:pt x="753" y="1741"/>
                      <a:pt x="753" y="1741"/>
                    </a:cubicBezTo>
                    <a:cubicBezTo>
                      <a:pt x="742" y="1709"/>
                      <a:pt x="742" y="1709"/>
                      <a:pt x="742" y="1709"/>
                    </a:cubicBezTo>
                    <a:cubicBezTo>
                      <a:pt x="741" y="1706"/>
                      <a:pt x="741" y="1706"/>
                      <a:pt x="741" y="1706"/>
                    </a:cubicBezTo>
                    <a:cubicBezTo>
                      <a:pt x="740" y="1702"/>
                      <a:pt x="740" y="1702"/>
                      <a:pt x="740" y="1702"/>
                    </a:cubicBezTo>
                    <a:cubicBezTo>
                      <a:pt x="615" y="1411"/>
                      <a:pt x="615" y="1411"/>
                      <a:pt x="615" y="1411"/>
                    </a:cubicBezTo>
                    <a:cubicBezTo>
                      <a:pt x="674" y="1206"/>
                      <a:pt x="674" y="1206"/>
                      <a:pt x="674" y="1206"/>
                    </a:cubicBezTo>
                    <a:cubicBezTo>
                      <a:pt x="739" y="1275"/>
                      <a:pt x="739" y="1275"/>
                      <a:pt x="739" y="1275"/>
                    </a:cubicBezTo>
                    <a:cubicBezTo>
                      <a:pt x="742" y="1279"/>
                      <a:pt x="742" y="1279"/>
                      <a:pt x="742" y="1279"/>
                    </a:cubicBezTo>
                    <a:cubicBezTo>
                      <a:pt x="754" y="1291"/>
                      <a:pt x="771" y="1299"/>
                      <a:pt x="789" y="1299"/>
                    </a:cubicBezTo>
                    <a:cubicBezTo>
                      <a:pt x="790" y="1299"/>
                      <a:pt x="790" y="1299"/>
                      <a:pt x="790" y="1299"/>
                    </a:cubicBezTo>
                    <a:cubicBezTo>
                      <a:pt x="1023" y="1296"/>
                      <a:pt x="1023" y="1296"/>
                      <a:pt x="1023" y="1296"/>
                    </a:cubicBezTo>
                    <a:cubicBezTo>
                      <a:pt x="1054" y="1295"/>
                      <a:pt x="1081" y="1271"/>
                      <a:pt x="1083" y="1238"/>
                    </a:cubicBezTo>
                    <a:cubicBezTo>
                      <a:pt x="1085" y="1204"/>
                      <a:pt x="1060" y="1175"/>
                      <a:pt x="1026" y="1173"/>
                    </a:cubicBezTo>
                    <a:cubicBezTo>
                      <a:pt x="826" y="1160"/>
                      <a:pt x="826" y="1160"/>
                      <a:pt x="826" y="1160"/>
                    </a:cubicBezTo>
                    <a:cubicBezTo>
                      <a:pt x="826" y="1160"/>
                      <a:pt x="719" y="1034"/>
                      <a:pt x="706" y="1017"/>
                    </a:cubicBezTo>
                    <a:cubicBezTo>
                      <a:pt x="705" y="1016"/>
                      <a:pt x="704" y="1015"/>
                      <a:pt x="703" y="1014"/>
                    </a:cubicBezTo>
                    <a:cubicBezTo>
                      <a:pt x="618" y="1143"/>
                      <a:pt x="618" y="1143"/>
                      <a:pt x="618" y="1143"/>
                    </a:cubicBezTo>
                    <a:cubicBezTo>
                      <a:pt x="628" y="1036"/>
                      <a:pt x="628" y="1036"/>
                      <a:pt x="628" y="1036"/>
                    </a:cubicBezTo>
                    <a:cubicBezTo>
                      <a:pt x="659" y="1013"/>
                      <a:pt x="659" y="1013"/>
                      <a:pt x="659" y="1013"/>
                    </a:cubicBezTo>
                    <a:cubicBezTo>
                      <a:pt x="651" y="979"/>
                      <a:pt x="651" y="979"/>
                      <a:pt x="651" y="979"/>
                    </a:cubicBezTo>
                    <a:cubicBezTo>
                      <a:pt x="622" y="968"/>
                      <a:pt x="622" y="968"/>
                      <a:pt x="622" y="968"/>
                    </a:cubicBezTo>
                    <a:cubicBezTo>
                      <a:pt x="617" y="966"/>
                      <a:pt x="617" y="966"/>
                      <a:pt x="617" y="966"/>
                    </a:cubicBezTo>
                    <a:cubicBezTo>
                      <a:pt x="616" y="966"/>
                      <a:pt x="616" y="966"/>
                      <a:pt x="616" y="966"/>
                    </a:cubicBezTo>
                    <a:cubicBezTo>
                      <a:pt x="585" y="990"/>
                      <a:pt x="585" y="990"/>
                      <a:pt x="585" y="990"/>
                    </a:cubicBezTo>
                    <a:cubicBezTo>
                      <a:pt x="598" y="1028"/>
                      <a:pt x="598" y="1028"/>
                      <a:pt x="598" y="1028"/>
                    </a:cubicBezTo>
                    <a:cubicBezTo>
                      <a:pt x="547" y="1123"/>
                      <a:pt x="547" y="1123"/>
                      <a:pt x="547" y="1123"/>
                    </a:cubicBezTo>
                    <a:cubicBezTo>
                      <a:pt x="547" y="949"/>
                      <a:pt x="547" y="949"/>
                      <a:pt x="547" y="949"/>
                    </a:cubicBezTo>
                    <a:cubicBezTo>
                      <a:pt x="538" y="948"/>
                      <a:pt x="528" y="947"/>
                      <a:pt x="519" y="947"/>
                    </a:cubicBezTo>
                    <a:cubicBezTo>
                      <a:pt x="469" y="947"/>
                      <a:pt x="427" y="967"/>
                      <a:pt x="405" y="983"/>
                    </a:cubicBezTo>
                    <a:cubicBezTo>
                      <a:pt x="231" y="1112"/>
                      <a:pt x="231" y="1112"/>
                      <a:pt x="231" y="1112"/>
                    </a:cubicBezTo>
                    <a:cubicBezTo>
                      <a:pt x="227" y="1115"/>
                      <a:pt x="227" y="1115"/>
                      <a:pt x="227" y="1115"/>
                    </a:cubicBezTo>
                    <a:cubicBezTo>
                      <a:pt x="212" y="1125"/>
                      <a:pt x="201" y="1141"/>
                      <a:pt x="199" y="1160"/>
                    </a:cubicBezTo>
                    <a:cubicBezTo>
                      <a:pt x="168" y="1389"/>
                      <a:pt x="168" y="1389"/>
                      <a:pt x="168" y="1389"/>
                    </a:cubicBezTo>
                    <a:cubicBezTo>
                      <a:pt x="166" y="1404"/>
                      <a:pt x="166" y="1404"/>
                      <a:pt x="166" y="1404"/>
                    </a:cubicBezTo>
                    <a:cubicBezTo>
                      <a:pt x="166" y="1405"/>
                      <a:pt x="166" y="1405"/>
                      <a:pt x="166" y="1406"/>
                    </a:cubicBezTo>
                    <a:cubicBezTo>
                      <a:pt x="166" y="1412"/>
                      <a:pt x="166" y="1417"/>
                      <a:pt x="167" y="1422"/>
                    </a:cubicBezTo>
                    <a:cubicBezTo>
                      <a:pt x="162" y="1425"/>
                      <a:pt x="158" y="1428"/>
                      <a:pt x="154" y="1431"/>
                    </a:cubicBezTo>
                    <a:cubicBezTo>
                      <a:pt x="149" y="1436"/>
                      <a:pt x="146" y="1441"/>
                      <a:pt x="143" y="1446"/>
                    </a:cubicBezTo>
                    <a:cubicBezTo>
                      <a:pt x="138" y="1454"/>
                      <a:pt x="136" y="1463"/>
                      <a:pt x="136" y="1473"/>
                    </a:cubicBezTo>
                    <a:cubicBezTo>
                      <a:pt x="136" y="1495"/>
                      <a:pt x="136" y="1495"/>
                      <a:pt x="136" y="1495"/>
                    </a:cubicBezTo>
                    <a:cubicBezTo>
                      <a:pt x="64" y="1495"/>
                      <a:pt x="64" y="1495"/>
                      <a:pt x="64" y="1495"/>
                    </a:cubicBezTo>
                    <a:cubicBezTo>
                      <a:pt x="28" y="1495"/>
                      <a:pt x="0" y="1524"/>
                      <a:pt x="0" y="1560"/>
                    </a:cubicBezTo>
                    <a:cubicBezTo>
                      <a:pt x="0" y="1766"/>
                      <a:pt x="0" y="1766"/>
                      <a:pt x="0" y="1766"/>
                    </a:cubicBezTo>
                    <a:cubicBezTo>
                      <a:pt x="0" y="1802"/>
                      <a:pt x="28" y="1830"/>
                      <a:pt x="64" y="1830"/>
                    </a:cubicBezTo>
                    <a:cubicBezTo>
                      <a:pt x="383" y="1830"/>
                      <a:pt x="383" y="1830"/>
                      <a:pt x="383" y="1830"/>
                    </a:cubicBezTo>
                    <a:cubicBezTo>
                      <a:pt x="419" y="1830"/>
                      <a:pt x="447" y="1802"/>
                      <a:pt x="447" y="1766"/>
                    </a:cubicBezTo>
                    <a:cubicBezTo>
                      <a:pt x="447" y="1560"/>
                      <a:pt x="447" y="1560"/>
                      <a:pt x="447" y="1560"/>
                    </a:cubicBezTo>
                    <a:cubicBezTo>
                      <a:pt x="447" y="1524"/>
                      <a:pt x="419" y="1495"/>
                      <a:pt x="383" y="1495"/>
                    </a:cubicBezTo>
                    <a:cubicBezTo>
                      <a:pt x="311" y="1495"/>
                      <a:pt x="311" y="1495"/>
                      <a:pt x="311" y="1495"/>
                    </a:cubicBezTo>
                    <a:cubicBezTo>
                      <a:pt x="311" y="1473"/>
                      <a:pt x="311" y="1473"/>
                      <a:pt x="311" y="1473"/>
                    </a:cubicBezTo>
                    <a:cubicBezTo>
                      <a:pt x="311" y="1467"/>
                      <a:pt x="310" y="1461"/>
                      <a:pt x="308" y="1455"/>
                    </a:cubicBezTo>
                    <a:cubicBezTo>
                      <a:pt x="306" y="1449"/>
                      <a:pt x="303" y="1443"/>
                      <a:pt x="299" y="1438"/>
                    </a:cubicBezTo>
                    <a:cubicBezTo>
                      <a:pt x="296" y="1434"/>
                      <a:pt x="292" y="1430"/>
                      <a:pt x="287" y="1426"/>
                    </a:cubicBezTo>
                    <a:cubicBezTo>
                      <a:pt x="287" y="1426"/>
                      <a:pt x="288" y="1425"/>
                      <a:pt x="288" y="1424"/>
                    </a:cubicBezTo>
                    <a:cubicBezTo>
                      <a:pt x="291" y="1411"/>
                      <a:pt x="291" y="1411"/>
                      <a:pt x="291" y="1411"/>
                    </a:cubicBezTo>
                    <a:cubicBezTo>
                      <a:pt x="294" y="1395"/>
                      <a:pt x="294" y="1395"/>
                      <a:pt x="294" y="1395"/>
                    </a:cubicBezTo>
                    <a:cubicBezTo>
                      <a:pt x="331" y="1217"/>
                      <a:pt x="331" y="1217"/>
                      <a:pt x="331" y="1217"/>
                    </a:cubicBezTo>
                    <a:cubicBezTo>
                      <a:pt x="391" y="1181"/>
                      <a:pt x="391" y="1181"/>
                      <a:pt x="391" y="1181"/>
                    </a:cubicBezTo>
                    <a:cubicBezTo>
                      <a:pt x="353" y="1371"/>
                      <a:pt x="353" y="1371"/>
                      <a:pt x="353" y="1371"/>
                    </a:cubicBezTo>
                    <a:cubicBezTo>
                      <a:pt x="353" y="1371"/>
                      <a:pt x="342" y="1422"/>
                      <a:pt x="347" y="1465"/>
                    </a:cubicBezTo>
                    <a:cubicBezTo>
                      <a:pt x="383" y="1465"/>
                      <a:pt x="383" y="1465"/>
                      <a:pt x="383" y="1465"/>
                    </a:cubicBezTo>
                    <a:cubicBezTo>
                      <a:pt x="435" y="1465"/>
                      <a:pt x="478" y="1507"/>
                      <a:pt x="478" y="1560"/>
                    </a:cubicBezTo>
                    <a:cubicBezTo>
                      <a:pt x="478" y="1766"/>
                      <a:pt x="478" y="1766"/>
                      <a:pt x="478" y="1766"/>
                    </a:cubicBezTo>
                    <a:cubicBezTo>
                      <a:pt x="478" y="1819"/>
                      <a:pt x="435" y="1861"/>
                      <a:pt x="383" y="1861"/>
                    </a:cubicBezTo>
                    <a:cubicBezTo>
                      <a:pt x="328" y="1861"/>
                      <a:pt x="328" y="1861"/>
                      <a:pt x="328" y="1861"/>
                    </a:cubicBezTo>
                    <a:cubicBezTo>
                      <a:pt x="282" y="2000"/>
                      <a:pt x="282" y="2000"/>
                      <a:pt x="282" y="2000"/>
                    </a:cubicBezTo>
                    <a:cubicBezTo>
                      <a:pt x="270" y="2034"/>
                      <a:pt x="287" y="2072"/>
                      <a:pt x="322" y="2086"/>
                    </a:cubicBezTo>
                    <a:cubicBezTo>
                      <a:pt x="330" y="2090"/>
                      <a:pt x="339" y="2091"/>
                      <a:pt x="348" y="2091"/>
                    </a:cubicBezTo>
                    <a:cubicBezTo>
                      <a:pt x="375" y="2091"/>
                      <a:pt x="401" y="2075"/>
                      <a:pt x="412" y="2048"/>
                    </a:cubicBezTo>
                    <a:cubicBezTo>
                      <a:pt x="503" y="1821"/>
                      <a:pt x="503" y="1821"/>
                      <a:pt x="503" y="1821"/>
                    </a:cubicBezTo>
                    <a:cubicBezTo>
                      <a:pt x="503" y="1821"/>
                      <a:pt x="518" y="1788"/>
                      <a:pt x="518" y="1760"/>
                    </a:cubicBezTo>
                    <a:cubicBezTo>
                      <a:pt x="518" y="1737"/>
                      <a:pt x="518" y="1600"/>
                      <a:pt x="518" y="1600"/>
                    </a:cubicBezTo>
                    <a:cubicBezTo>
                      <a:pt x="537" y="1638"/>
                      <a:pt x="537" y="1638"/>
                      <a:pt x="537" y="1638"/>
                    </a:cubicBezTo>
                    <a:cubicBezTo>
                      <a:pt x="599" y="1765"/>
                      <a:pt x="599" y="1765"/>
                      <a:pt x="599" y="1765"/>
                    </a:cubicBezTo>
                    <a:cubicBezTo>
                      <a:pt x="641" y="1874"/>
                      <a:pt x="641" y="1874"/>
                      <a:pt x="641" y="1874"/>
                    </a:cubicBezTo>
                    <a:cubicBezTo>
                      <a:pt x="708" y="2047"/>
                      <a:pt x="708" y="2047"/>
                      <a:pt x="708" y="2047"/>
                    </a:cubicBezTo>
                    <a:cubicBezTo>
                      <a:pt x="719" y="2074"/>
                      <a:pt x="745" y="2092"/>
                      <a:pt x="773" y="2092"/>
                    </a:cubicBezTo>
                    <a:cubicBezTo>
                      <a:pt x="780" y="2092"/>
                      <a:pt x="787" y="2090"/>
                      <a:pt x="794" y="2088"/>
                    </a:cubicBezTo>
                    <a:cubicBezTo>
                      <a:pt x="831" y="2076"/>
                      <a:pt x="851" y="2037"/>
                      <a:pt x="839" y="2001"/>
                    </a:cubicBezTo>
                    <a:lnTo>
                      <a:pt x="780" y="1824"/>
                    </a:lnTo>
                    <a:close/>
                    <a:moveTo>
                      <a:pt x="279" y="1495"/>
                    </a:moveTo>
                    <a:cubicBezTo>
                      <a:pt x="168" y="1495"/>
                      <a:pt x="168" y="1495"/>
                      <a:pt x="168" y="1495"/>
                    </a:cubicBezTo>
                    <a:cubicBezTo>
                      <a:pt x="168" y="1473"/>
                      <a:pt x="168" y="1473"/>
                      <a:pt x="168" y="1473"/>
                    </a:cubicBezTo>
                    <a:cubicBezTo>
                      <a:pt x="168" y="1469"/>
                      <a:pt x="169" y="1466"/>
                      <a:pt x="170" y="1463"/>
                    </a:cubicBezTo>
                    <a:cubicBezTo>
                      <a:pt x="173" y="1458"/>
                      <a:pt x="176" y="1454"/>
                      <a:pt x="181" y="1452"/>
                    </a:cubicBezTo>
                    <a:cubicBezTo>
                      <a:pt x="185" y="1456"/>
                      <a:pt x="189" y="1460"/>
                      <a:pt x="195" y="1464"/>
                    </a:cubicBezTo>
                    <a:cubicBezTo>
                      <a:pt x="201" y="1468"/>
                      <a:pt x="207" y="1471"/>
                      <a:pt x="215" y="1472"/>
                    </a:cubicBezTo>
                    <a:cubicBezTo>
                      <a:pt x="220" y="1473"/>
                      <a:pt x="225" y="1473"/>
                      <a:pt x="229" y="1473"/>
                    </a:cubicBezTo>
                    <a:cubicBezTo>
                      <a:pt x="231" y="1473"/>
                      <a:pt x="232" y="1473"/>
                      <a:pt x="234" y="1473"/>
                    </a:cubicBezTo>
                    <a:cubicBezTo>
                      <a:pt x="237" y="1472"/>
                      <a:pt x="240" y="1472"/>
                      <a:pt x="243" y="1471"/>
                    </a:cubicBezTo>
                    <a:cubicBezTo>
                      <a:pt x="245" y="1471"/>
                      <a:pt x="246" y="1470"/>
                      <a:pt x="248" y="1470"/>
                    </a:cubicBezTo>
                    <a:cubicBezTo>
                      <a:pt x="251" y="1469"/>
                      <a:pt x="254" y="1467"/>
                      <a:pt x="257" y="1466"/>
                    </a:cubicBezTo>
                    <a:cubicBezTo>
                      <a:pt x="257" y="1465"/>
                      <a:pt x="258" y="1465"/>
                      <a:pt x="259" y="1465"/>
                    </a:cubicBezTo>
                    <a:cubicBezTo>
                      <a:pt x="259" y="1464"/>
                      <a:pt x="260" y="1464"/>
                      <a:pt x="260" y="1464"/>
                    </a:cubicBezTo>
                    <a:cubicBezTo>
                      <a:pt x="264" y="1461"/>
                      <a:pt x="268" y="1458"/>
                      <a:pt x="271" y="1455"/>
                    </a:cubicBezTo>
                    <a:cubicBezTo>
                      <a:pt x="275" y="1459"/>
                      <a:pt x="277" y="1464"/>
                      <a:pt x="278" y="1469"/>
                    </a:cubicBezTo>
                    <a:cubicBezTo>
                      <a:pt x="278" y="1470"/>
                      <a:pt x="279" y="1471"/>
                      <a:pt x="279" y="1473"/>
                    </a:cubicBezTo>
                    <a:lnTo>
                      <a:pt x="279" y="149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 142"/>
              <p:cNvSpPr>
                <a:spLocks noEditPoints="1"/>
              </p:cNvSpPr>
              <p:nvPr/>
            </p:nvSpPr>
            <p:spPr bwMode="auto">
              <a:xfrm>
                <a:off x="7894776" y="3329221"/>
                <a:ext cx="660424" cy="405484"/>
              </a:xfrm>
              <a:custGeom>
                <a:avLst/>
                <a:gdLst>
                  <a:gd name="T0" fmla="*/ 479 w 1893"/>
                  <a:gd name="T1" fmla="*/ 303 h 1161"/>
                  <a:gd name="T2" fmla="*/ 470 w 1893"/>
                  <a:gd name="T3" fmla="*/ 326 h 1161"/>
                  <a:gd name="T4" fmla="*/ 401 w 1893"/>
                  <a:gd name="T5" fmla="*/ 361 h 1161"/>
                  <a:gd name="T6" fmla="*/ 419 w 1893"/>
                  <a:gd name="T7" fmla="*/ 326 h 1161"/>
                  <a:gd name="T8" fmla="*/ 404 w 1893"/>
                  <a:gd name="T9" fmla="*/ 310 h 1161"/>
                  <a:gd name="T10" fmla="*/ 365 w 1893"/>
                  <a:gd name="T11" fmla="*/ 310 h 1161"/>
                  <a:gd name="T12" fmla="*/ 350 w 1893"/>
                  <a:gd name="T13" fmla="*/ 326 h 1161"/>
                  <a:gd name="T14" fmla="*/ 368 w 1893"/>
                  <a:gd name="T15" fmla="*/ 362 h 1161"/>
                  <a:gd name="T16" fmla="*/ 300 w 1893"/>
                  <a:gd name="T17" fmla="*/ 326 h 1161"/>
                  <a:gd name="T18" fmla="*/ 291 w 1893"/>
                  <a:gd name="T19" fmla="*/ 303 h 1161"/>
                  <a:gd name="T20" fmla="*/ 142 w 1893"/>
                  <a:gd name="T21" fmla="*/ 558 h 1161"/>
                  <a:gd name="T22" fmla="*/ 298 w 1893"/>
                  <a:gd name="T23" fmla="*/ 234 h 1161"/>
                  <a:gd name="T24" fmla="*/ 517 w 1893"/>
                  <a:gd name="T25" fmla="*/ 144 h 1161"/>
                  <a:gd name="T26" fmla="*/ 385 w 1893"/>
                  <a:gd name="T27" fmla="*/ 0 h 1161"/>
                  <a:gd name="T28" fmla="*/ 253 w 1893"/>
                  <a:gd name="T29" fmla="*/ 146 h 1161"/>
                  <a:gd name="T30" fmla="*/ 1147 w 1893"/>
                  <a:gd name="T31" fmla="*/ 356 h 1161"/>
                  <a:gd name="T32" fmla="*/ 1032 w 1893"/>
                  <a:gd name="T33" fmla="*/ 325 h 1161"/>
                  <a:gd name="T34" fmla="*/ 968 w 1893"/>
                  <a:gd name="T35" fmla="*/ 379 h 1161"/>
                  <a:gd name="T36" fmla="*/ 987 w 1893"/>
                  <a:gd name="T37" fmla="*/ 334 h 1161"/>
                  <a:gd name="T38" fmla="*/ 975 w 1893"/>
                  <a:gd name="T39" fmla="*/ 320 h 1161"/>
                  <a:gd name="T40" fmla="*/ 930 w 1893"/>
                  <a:gd name="T41" fmla="*/ 306 h 1161"/>
                  <a:gd name="T42" fmla="*/ 913 w 1893"/>
                  <a:gd name="T43" fmla="*/ 324 h 1161"/>
                  <a:gd name="T44" fmla="*/ 915 w 1893"/>
                  <a:gd name="T45" fmla="*/ 346 h 1161"/>
                  <a:gd name="T46" fmla="*/ 909 w 1893"/>
                  <a:gd name="T47" fmla="*/ 442 h 1161"/>
                  <a:gd name="T48" fmla="*/ 855 w 1893"/>
                  <a:gd name="T49" fmla="*/ 310 h 1161"/>
                  <a:gd name="T50" fmla="*/ 704 w 1893"/>
                  <a:gd name="T51" fmla="*/ 463 h 1161"/>
                  <a:gd name="T52" fmla="*/ 1189 w 1893"/>
                  <a:gd name="T53" fmla="*/ 463 h 1161"/>
                  <a:gd name="T54" fmla="*/ 1047 w 1893"/>
                  <a:gd name="T55" fmla="*/ 220 h 1161"/>
                  <a:gd name="T56" fmla="*/ 1033 w 1893"/>
                  <a:gd name="T57" fmla="*/ 33 h 1161"/>
                  <a:gd name="T58" fmla="*/ 846 w 1893"/>
                  <a:gd name="T59" fmla="*/ 46 h 1161"/>
                  <a:gd name="T60" fmla="*/ 1751 w 1893"/>
                  <a:gd name="T61" fmla="*/ 463 h 1161"/>
                  <a:gd name="T62" fmla="*/ 1600 w 1893"/>
                  <a:gd name="T63" fmla="*/ 310 h 1161"/>
                  <a:gd name="T64" fmla="*/ 1546 w 1893"/>
                  <a:gd name="T65" fmla="*/ 442 h 1161"/>
                  <a:gd name="T66" fmla="*/ 1539 w 1893"/>
                  <a:gd name="T67" fmla="*/ 346 h 1161"/>
                  <a:gd name="T68" fmla="*/ 1541 w 1893"/>
                  <a:gd name="T69" fmla="*/ 325 h 1161"/>
                  <a:gd name="T70" fmla="*/ 1524 w 1893"/>
                  <a:gd name="T71" fmla="*/ 306 h 1161"/>
                  <a:gd name="T72" fmla="*/ 1479 w 1893"/>
                  <a:gd name="T73" fmla="*/ 320 h 1161"/>
                  <a:gd name="T74" fmla="*/ 1467 w 1893"/>
                  <a:gd name="T75" fmla="*/ 334 h 1161"/>
                  <a:gd name="T76" fmla="*/ 1487 w 1893"/>
                  <a:gd name="T77" fmla="*/ 380 h 1161"/>
                  <a:gd name="T78" fmla="*/ 1423 w 1893"/>
                  <a:gd name="T79" fmla="*/ 324 h 1161"/>
                  <a:gd name="T80" fmla="*/ 1307 w 1893"/>
                  <a:gd name="T81" fmla="*/ 356 h 1161"/>
                  <a:gd name="T82" fmla="*/ 1751 w 1893"/>
                  <a:gd name="T83" fmla="*/ 558 h 1161"/>
                  <a:gd name="T84" fmla="*/ 1508 w 1893"/>
                  <a:gd name="T85" fmla="*/ 266 h 1161"/>
                  <a:gd name="T86" fmla="*/ 1604 w 1893"/>
                  <a:gd name="T87" fmla="*/ 42 h 1161"/>
                  <a:gd name="T88" fmla="*/ 1409 w 1893"/>
                  <a:gd name="T89" fmla="*/ 45 h 1161"/>
                  <a:gd name="T90" fmla="*/ 1422 w 1893"/>
                  <a:gd name="T91" fmla="*/ 234 h 1161"/>
                  <a:gd name="T92" fmla="*/ 75 w 1893"/>
                  <a:gd name="T93" fmla="*/ 693 h 1161"/>
                  <a:gd name="T94" fmla="*/ 1817 w 1893"/>
                  <a:gd name="T95" fmla="*/ 693 h 1161"/>
                  <a:gd name="T96" fmla="*/ 0 w 1893"/>
                  <a:gd name="T97" fmla="*/ 599 h 1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93" h="1161">
                    <a:moveTo>
                      <a:pt x="627" y="463"/>
                    </a:moveTo>
                    <a:cubicBezTo>
                      <a:pt x="627" y="421"/>
                      <a:pt x="611" y="384"/>
                      <a:pt x="586" y="356"/>
                    </a:cubicBezTo>
                    <a:cubicBezTo>
                      <a:pt x="559" y="326"/>
                      <a:pt x="521" y="307"/>
                      <a:pt x="479" y="303"/>
                    </a:cubicBezTo>
                    <a:cubicBezTo>
                      <a:pt x="476" y="310"/>
                      <a:pt x="476" y="310"/>
                      <a:pt x="476" y="310"/>
                    </a:cubicBezTo>
                    <a:cubicBezTo>
                      <a:pt x="470" y="325"/>
                      <a:pt x="470" y="325"/>
                      <a:pt x="470" y="325"/>
                    </a:cubicBezTo>
                    <a:cubicBezTo>
                      <a:pt x="470" y="326"/>
                      <a:pt x="470" y="326"/>
                      <a:pt x="470" y="326"/>
                    </a:cubicBezTo>
                    <a:cubicBezTo>
                      <a:pt x="422" y="442"/>
                      <a:pt x="422" y="442"/>
                      <a:pt x="422" y="442"/>
                    </a:cubicBezTo>
                    <a:cubicBezTo>
                      <a:pt x="406" y="379"/>
                      <a:pt x="406" y="379"/>
                      <a:pt x="406" y="379"/>
                    </a:cubicBezTo>
                    <a:cubicBezTo>
                      <a:pt x="401" y="361"/>
                      <a:pt x="401" y="361"/>
                      <a:pt x="401" y="361"/>
                    </a:cubicBezTo>
                    <a:cubicBezTo>
                      <a:pt x="415" y="346"/>
                      <a:pt x="415" y="346"/>
                      <a:pt x="415" y="346"/>
                    </a:cubicBezTo>
                    <a:cubicBezTo>
                      <a:pt x="425" y="334"/>
                      <a:pt x="425" y="334"/>
                      <a:pt x="425" y="334"/>
                    </a:cubicBezTo>
                    <a:cubicBezTo>
                      <a:pt x="419" y="326"/>
                      <a:pt x="419" y="326"/>
                      <a:pt x="419" y="326"/>
                    </a:cubicBezTo>
                    <a:cubicBezTo>
                      <a:pt x="417" y="325"/>
                      <a:pt x="417" y="325"/>
                      <a:pt x="417" y="325"/>
                    </a:cubicBezTo>
                    <a:cubicBezTo>
                      <a:pt x="413" y="320"/>
                      <a:pt x="413" y="320"/>
                      <a:pt x="413" y="320"/>
                    </a:cubicBezTo>
                    <a:cubicBezTo>
                      <a:pt x="404" y="310"/>
                      <a:pt x="404" y="310"/>
                      <a:pt x="404" y="310"/>
                    </a:cubicBezTo>
                    <a:cubicBezTo>
                      <a:pt x="400" y="306"/>
                      <a:pt x="400" y="306"/>
                      <a:pt x="400" y="306"/>
                    </a:cubicBezTo>
                    <a:cubicBezTo>
                      <a:pt x="368" y="306"/>
                      <a:pt x="368" y="306"/>
                      <a:pt x="368" y="306"/>
                    </a:cubicBezTo>
                    <a:cubicBezTo>
                      <a:pt x="365" y="310"/>
                      <a:pt x="365" y="310"/>
                      <a:pt x="365" y="310"/>
                    </a:cubicBezTo>
                    <a:cubicBezTo>
                      <a:pt x="355" y="320"/>
                      <a:pt x="355" y="320"/>
                      <a:pt x="355" y="320"/>
                    </a:cubicBezTo>
                    <a:cubicBezTo>
                      <a:pt x="351" y="324"/>
                      <a:pt x="351" y="324"/>
                      <a:pt x="351" y="324"/>
                    </a:cubicBezTo>
                    <a:cubicBezTo>
                      <a:pt x="350" y="326"/>
                      <a:pt x="350" y="326"/>
                      <a:pt x="350" y="326"/>
                    </a:cubicBezTo>
                    <a:cubicBezTo>
                      <a:pt x="343" y="334"/>
                      <a:pt x="343" y="334"/>
                      <a:pt x="343" y="334"/>
                    </a:cubicBezTo>
                    <a:cubicBezTo>
                      <a:pt x="354" y="346"/>
                      <a:pt x="354" y="346"/>
                      <a:pt x="354" y="346"/>
                    </a:cubicBezTo>
                    <a:cubicBezTo>
                      <a:pt x="368" y="362"/>
                      <a:pt x="368" y="362"/>
                      <a:pt x="368" y="362"/>
                    </a:cubicBezTo>
                    <a:cubicBezTo>
                      <a:pt x="363" y="380"/>
                      <a:pt x="363" y="380"/>
                      <a:pt x="363" y="380"/>
                    </a:cubicBezTo>
                    <a:cubicBezTo>
                      <a:pt x="347" y="442"/>
                      <a:pt x="347" y="442"/>
                      <a:pt x="347" y="442"/>
                    </a:cubicBezTo>
                    <a:cubicBezTo>
                      <a:pt x="300" y="326"/>
                      <a:pt x="300" y="326"/>
                      <a:pt x="300" y="326"/>
                    </a:cubicBezTo>
                    <a:cubicBezTo>
                      <a:pt x="299" y="324"/>
                      <a:pt x="299" y="324"/>
                      <a:pt x="299" y="324"/>
                    </a:cubicBezTo>
                    <a:cubicBezTo>
                      <a:pt x="293" y="310"/>
                      <a:pt x="293" y="310"/>
                      <a:pt x="293" y="310"/>
                    </a:cubicBezTo>
                    <a:cubicBezTo>
                      <a:pt x="291" y="303"/>
                      <a:pt x="291" y="303"/>
                      <a:pt x="291" y="303"/>
                    </a:cubicBezTo>
                    <a:cubicBezTo>
                      <a:pt x="248" y="306"/>
                      <a:pt x="210" y="326"/>
                      <a:pt x="184" y="356"/>
                    </a:cubicBezTo>
                    <a:cubicBezTo>
                      <a:pt x="158" y="384"/>
                      <a:pt x="142" y="421"/>
                      <a:pt x="142" y="463"/>
                    </a:cubicBezTo>
                    <a:cubicBezTo>
                      <a:pt x="142" y="558"/>
                      <a:pt x="142" y="558"/>
                      <a:pt x="142" y="558"/>
                    </a:cubicBezTo>
                    <a:cubicBezTo>
                      <a:pt x="627" y="558"/>
                      <a:pt x="627" y="558"/>
                      <a:pt x="627" y="558"/>
                    </a:cubicBezTo>
                    <a:lnTo>
                      <a:pt x="627" y="463"/>
                    </a:lnTo>
                    <a:close/>
                    <a:moveTo>
                      <a:pt x="298" y="234"/>
                    </a:moveTo>
                    <a:cubicBezTo>
                      <a:pt x="323" y="255"/>
                      <a:pt x="354" y="266"/>
                      <a:pt x="385" y="266"/>
                    </a:cubicBezTo>
                    <a:cubicBezTo>
                      <a:pt x="422" y="266"/>
                      <a:pt x="459" y="250"/>
                      <a:pt x="485" y="220"/>
                    </a:cubicBezTo>
                    <a:cubicBezTo>
                      <a:pt x="504" y="198"/>
                      <a:pt x="514" y="171"/>
                      <a:pt x="517" y="144"/>
                    </a:cubicBezTo>
                    <a:cubicBezTo>
                      <a:pt x="520" y="107"/>
                      <a:pt x="507" y="70"/>
                      <a:pt x="480" y="42"/>
                    </a:cubicBezTo>
                    <a:cubicBezTo>
                      <a:pt x="477" y="39"/>
                      <a:pt x="475" y="35"/>
                      <a:pt x="471" y="33"/>
                    </a:cubicBezTo>
                    <a:cubicBezTo>
                      <a:pt x="446" y="11"/>
                      <a:pt x="415" y="0"/>
                      <a:pt x="385" y="0"/>
                    </a:cubicBezTo>
                    <a:cubicBezTo>
                      <a:pt x="348" y="0"/>
                      <a:pt x="312" y="16"/>
                      <a:pt x="286" y="45"/>
                    </a:cubicBezTo>
                    <a:cubicBezTo>
                      <a:pt x="285" y="45"/>
                      <a:pt x="285" y="46"/>
                      <a:pt x="284" y="46"/>
                    </a:cubicBezTo>
                    <a:cubicBezTo>
                      <a:pt x="260" y="75"/>
                      <a:pt x="249" y="111"/>
                      <a:pt x="253" y="146"/>
                    </a:cubicBezTo>
                    <a:cubicBezTo>
                      <a:pt x="256" y="178"/>
                      <a:pt x="271" y="210"/>
                      <a:pt x="298" y="234"/>
                    </a:cubicBezTo>
                    <a:close/>
                    <a:moveTo>
                      <a:pt x="1189" y="463"/>
                    </a:moveTo>
                    <a:cubicBezTo>
                      <a:pt x="1189" y="421"/>
                      <a:pt x="1173" y="384"/>
                      <a:pt x="1147" y="356"/>
                    </a:cubicBezTo>
                    <a:cubicBezTo>
                      <a:pt x="1121" y="326"/>
                      <a:pt x="1083" y="307"/>
                      <a:pt x="1041" y="303"/>
                    </a:cubicBezTo>
                    <a:cubicBezTo>
                      <a:pt x="1038" y="310"/>
                      <a:pt x="1038" y="310"/>
                      <a:pt x="1038" y="310"/>
                    </a:cubicBezTo>
                    <a:cubicBezTo>
                      <a:pt x="1032" y="325"/>
                      <a:pt x="1032" y="325"/>
                      <a:pt x="1032" y="325"/>
                    </a:cubicBezTo>
                    <a:cubicBezTo>
                      <a:pt x="1031" y="326"/>
                      <a:pt x="1031" y="326"/>
                      <a:pt x="1031" y="326"/>
                    </a:cubicBezTo>
                    <a:cubicBezTo>
                      <a:pt x="984" y="442"/>
                      <a:pt x="984" y="442"/>
                      <a:pt x="984" y="442"/>
                    </a:cubicBezTo>
                    <a:cubicBezTo>
                      <a:pt x="968" y="379"/>
                      <a:pt x="968" y="379"/>
                      <a:pt x="968" y="379"/>
                    </a:cubicBezTo>
                    <a:cubicBezTo>
                      <a:pt x="963" y="361"/>
                      <a:pt x="963" y="361"/>
                      <a:pt x="963" y="361"/>
                    </a:cubicBezTo>
                    <a:cubicBezTo>
                      <a:pt x="977" y="346"/>
                      <a:pt x="977" y="346"/>
                      <a:pt x="977" y="346"/>
                    </a:cubicBezTo>
                    <a:cubicBezTo>
                      <a:pt x="987" y="334"/>
                      <a:pt x="987" y="334"/>
                      <a:pt x="987" y="334"/>
                    </a:cubicBezTo>
                    <a:cubicBezTo>
                      <a:pt x="981" y="326"/>
                      <a:pt x="981" y="326"/>
                      <a:pt x="981" y="326"/>
                    </a:cubicBezTo>
                    <a:cubicBezTo>
                      <a:pt x="979" y="325"/>
                      <a:pt x="979" y="325"/>
                      <a:pt x="979" y="325"/>
                    </a:cubicBezTo>
                    <a:cubicBezTo>
                      <a:pt x="975" y="320"/>
                      <a:pt x="975" y="320"/>
                      <a:pt x="975" y="320"/>
                    </a:cubicBezTo>
                    <a:cubicBezTo>
                      <a:pt x="966" y="310"/>
                      <a:pt x="966" y="310"/>
                      <a:pt x="966" y="310"/>
                    </a:cubicBezTo>
                    <a:cubicBezTo>
                      <a:pt x="962" y="306"/>
                      <a:pt x="962" y="306"/>
                      <a:pt x="962" y="306"/>
                    </a:cubicBezTo>
                    <a:cubicBezTo>
                      <a:pt x="930" y="306"/>
                      <a:pt x="930" y="306"/>
                      <a:pt x="930" y="306"/>
                    </a:cubicBezTo>
                    <a:cubicBezTo>
                      <a:pt x="927" y="310"/>
                      <a:pt x="927" y="310"/>
                      <a:pt x="927" y="310"/>
                    </a:cubicBezTo>
                    <a:cubicBezTo>
                      <a:pt x="917" y="320"/>
                      <a:pt x="917" y="320"/>
                      <a:pt x="917" y="320"/>
                    </a:cubicBezTo>
                    <a:cubicBezTo>
                      <a:pt x="913" y="324"/>
                      <a:pt x="913" y="324"/>
                      <a:pt x="913" y="324"/>
                    </a:cubicBezTo>
                    <a:cubicBezTo>
                      <a:pt x="912" y="326"/>
                      <a:pt x="912" y="326"/>
                      <a:pt x="912" y="326"/>
                    </a:cubicBezTo>
                    <a:cubicBezTo>
                      <a:pt x="905" y="334"/>
                      <a:pt x="905" y="334"/>
                      <a:pt x="905" y="334"/>
                    </a:cubicBezTo>
                    <a:cubicBezTo>
                      <a:pt x="915" y="346"/>
                      <a:pt x="915" y="346"/>
                      <a:pt x="915" y="346"/>
                    </a:cubicBezTo>
                    <a:cubicBezTo>
                      <a:pt x="930" y="362"/>
                      <a:pt x="930" y="362"/>
                      <a:pt x="930" y="362"/>
                    </a:cubicBezTo>
                    <a:cubicBezTo>
                      <a:pt x="925" y="380"/>
                      <a:pt x="925" y="380"/>
                      <a:pt x="925" y="380"/>
                    </a:cubicBezTo>
                    <a:cubicBezTo>
                      <a:pt x="909" y="442"/>
                      <a:pt x="909" y="442"/>
                      <a:pt x="909" y="442"/>
                    </a:cubicBezTo>
                    <a:cubicBezTo>
                      <a:pt x="862" y="326"/>
                      <a:pt x="862" y="326"/>
                      <a:pt x="862" y="326"/>
                    </a:cubicBezTo>
                    <a:cubicBezTo>
                      <a:pt x="861" y="324"/>
                      <a:pt x="861" y="324"/>
                      <a:pt x="861" y="324"/>
                    </a:cubicBezTo>
                    <a:cubicBezTo>
                      <a:pt x="855" y="310"/>
                      <a:pt x="855" y="310"/>
                      <a:pt x="855" y="310"/>
                    </a:cubicBezTo>
                    <a:cubicBezTo>
                      <a:pt x="852" y="303"/>
                      <a:pt x="852" y="303"/>
                      <a:pt x="852" y="303"/>
                    </a:cubicBezTo>
                    <a:cubicBezTo>
                      <a:pt x="810" y="306"/>
                      <a:pt x="772" y="326"/>
                      <a:pt x="746" y="356"/>
                    </a:cubicBezTo>
                    <a:cubicBezTo>
                      <a:pt x="720" y="384"/>
                      <a:pt x="704" y="421"/>
                      <a:pt x="704" y="463"/>
                    </a:cubicBezTo>
                    <a:cubicBezTo>
                      <a:pt x="704" y="558"/>
                      <a:pt x="704" y="558"/>
                      <a:pt x="704" y="558"/>
                    </a:cubicBezTo>
                    <a:cubicBezTo>
                      <a:pt x="1189" y="558"/>
                      <a:pt x="1189" y="558"/>
                      <a:pt x="1189" y="558"/>
                    </a:cubicBezTo>
                    <a:lnTo>
                      <a:pt x="1189" y="463"/>
                    </a:lnTo>
                    <a:close/>
                    <a:moveTo>
                      <a:pt x="860" y="234"/>
                    </a:moveTo>
                    <a:cubicBezTo>
                      <a:pt x="885" y="255"/>
                      <a:pt x="916" y="266"/>
                      <a:pt x="946" y="266"/>
                    </a:cubicBezTo>
                    <a:cubicBezTo>
                      <a:pt x="984" y="266"/>
                      <a:pt x="1021" y="250"/>
                      <a:pt x="1047" y="220"/>
                    </a:cubicBezTo>
                    <a:cubicBezTo>
                      <a:pt x="1066" y="198"/>
                      <a:pt x="1076" y="171"/>
                      <a:pt x="1078" y="144"/>
                    </a:cubicBezTo>
                    <a:cubicBezTo>
                      <a:pt x="1081" y="107"/>
                      <a:pt x="1069" y="70"/>
                      <a:pt x="1042" y="42"/>
                    </a:cubicBezTo>
                    <a:cubicBezTo>
                      <a:pt x="1039" y="39"/>
                      <a:pt x="1037" y="35"/>
                      <a:pt x="1033" y="33"/>
                    </a:cubicBezTo>
                    <a:cubicBezTo>
                      <a:pt x="1008" y="11"/>
                      <a:pt x="977" y="0"/>
                      <a:pt x="947" y="0"/>
                    </a:cubicBezTo>
                    <a:cubicBezTo>
                      <a:pt x="910" y="0"/>
                      <a:pt x="874" y="16"/>
                      <a:pt x="847" y="45"/>
                    </a:cubicBezTo>
                    <a:cubicBezTo>
                      <a:pt x="847" y="45"/>
                      <a:pt x="846" y="46"/>
                      <a:pt x="846" y="46"/>
                    </a:cubicBezTo>
                    <a:cubicBezTo>
                      <a:pt x="821" y="75"/>
                      <a:pt x="811" y="111"/>
                      <a:pt x="815" y="146"/>
                    </a:cubicBezTo>
                    <a:cubicBezTo>
                      <a:pt x="818" y="178"/>
                      <a:pt x="833" y="210"/>
                      <a:pt x="860" y="234"/>
                    </a:cubicBezTo>
                    <a:close/>
                    <a:moveTo>
                      <a:pt x="1751" y="463"/>
                    </a:moveTo>
                    <a:cubicBezTo>
                      <a:pt x="1751" y="421"/>
                      <a:pt x="1735" y="384"/>
                      <a:pt x="1709" y="356"/>
                    </a:cubicBezTo>
                    <a:cubicBezTo>
                      <a:pt x="1683" y="326"/>
                      <a:pt x="1645" y="307"/>
                      <a:pt x="1603" y="303"/>
                    </a:cubicBezTo>
                    <a:cubicBezTo>
                      <a:pt x="1600" y="310"/>
                      <a:pt x="1600" y="310"/>
                      <a:pt x="1600" y="310"/>
                    </a:cubicBezTo>
                    <a:cubicBezTo>
                      <a:pt x="1594" y="325"/>
                      <a:pt x="1594" y="325"/>
                      <a:pt x="1594" y="325"/>
                    </a:cubicBezTo>
                    <a:cubicBezTo>
                      <a:pt x="1593" y="326"/>
                      <a:pt x="1593" y="326"/>
                      <a:pt x="1593" y="326"/>
                    </a:cubicBezTo>
                    <a:cubicBezTo>
                      <a:pt x="1546" y="442"/>
                      <a:pt x="1546" y="442"/>
                      <a:pt x="1546" y="442"/>
                    </a:cubicBezTo>
                    <a:cubicBezTo>
                      <a:pt x="1530" y="379"/>
                      <a:pt x="1530" y="379"/>
                      <a:pt x="1530" y="379"/>
                    </a:cubicBezTo>
                    <a:cubicBezTo>
                      <a:pt x="1525" y="361"/>
                      <a:pt x="1525" y="361"/>
                      <a:pt x="1525" y="361"/>
                    </a:cubicBezTo>
                    <a:cubicBezTo>
                      <a:pt x="1539" y="346"/>
                      <a:pt x="1539" y="346"/>
                      <a:pt x="1539" y="346"/>
                    </a:cubicBezTo>
                    <a:cubicBezTo>
                      <a:pt x="1549" y="334"/>
                      <a:pt x="1549" y="334"/>
                      <a:pt x="1549" y="334"/>
                    </a:cubicBezTo>
                    <a:cubicBezTo>
                      <a:pt x="1542" y="326"/>
                      <a:pt x="1542" y="326"/>
                      <a:pt x="1542" y="326"/>
                    </a:cubicBezTo>
                    <a:cubicBezTo>
                      <a:pt x="1541" y="325"/>
                      <a:pt x="1541" y="325"/>
                      <a:pt x="1541" y="325"/>
                    </a:cubicBezTo>
                    <a:cubicBezTo>
                      <a:pt x="1537" y="320"/>
                      <a:pt x="1537" y="320"/>
                      <a:pt x="1537" y="320"/>
                    </a:cubicBezTo>
                    <a:cubicBezTo>
                      <a:pt x="1527" y="310"/>
                      <a:pt x="1527" y="310"/>
                      <a:pt x="1527" y="310"/>
                    </a:cubicBezTo>
                    <a:cubicBezTo>
                      <a:pt x="1524" y="306"/>
                      <a:pt x="1524" y="306"/>
                      <a:pt x="1524" y="306"/>
                    </a:cubicBezTo>
                    <a:cubicBezTo>
                      <a:pt x="1492" y="306"/>
                      <a:pt x="1492" y="306"/>
                      <a:pt x="1492" y="306"/>
                    </a:cubicBezTo>
                    <a:cubicBezTo>
                      <a:pt x="1488" y="310"/>
                      <a:pt x="1488" y="310"/>
                      <a:pt x="1488" y="310"/>
                    </a:cubicBezTo>
                    <a:cubicBezTo>
                      <a:pt x="1479" y="320"/>
                      <a:pt x="1479" y="320"/>
                      <a:pt x="1479" y="320"/>
                    </a:cubicBezTo>
                    <a:cubicBezTo>
                      <a:pt x="1475" y="324"/>
                      <a:pt x="1475" y="324"/>
                      <a:pt x="1475" y="324"/>
                    </a:cubicBezTo>
                    <a:cubicBezTo>
                      <a:pt x="1473" y="326"/>
                      <a:pt x="1473" y="326"/>
                      <a:pt x="1473" y="326"/>
                    </a:cubicBezTo>
                    <a:cubicBezTo>
                      <a:pt x="1467" y="334"/>
                      <a:pt x="1467" y="334"/>
                      <a:pt x="1467" y="334"/>
                    </a:cubicBezTo>
                    <a:cubicBezTo>
                      <a:pt x="1477" y="346"/>
                      <a:pt x="1477" y="346"/>
                      <a:pt x="1477" y="346"/>
                    </a:cubicBezTo>
                    <a:cubicBezTo>
                      <a:pt x="1491" y="362"/>
                      <a:pt x="1491" y="362"/>
                      <a:pt x="1491" y="362"/>
                    </a:cubicBezTo>
                    <a:cubicBezTo>
                      <a:pt x="1487" y="380"/>
                      <a:pt x="1487" y="380"/>
                      <a:pt x="1487" y="380"/>
                    </a:cubicBezTo>
                    <a:cubicBezTo>
                      <a:pt x="1471" y="442"/>
                      <a:pt x="1471" y="442"/>
                      <a:pt x="1471" y="442"/>
                    </a:cubicBezTo>
                    <a:cubicBezTo>
                      <a:pt x="1424" y="326"/>
                      <a:pt x="1424" y="326"/>
                      <a:pt x="1424" y="326"/>
                    </a:cubicBezTo>
                    <a:cubicBezTo>
                      <a:pt x="1423" y="324"/>
                      <a:pt x="1423" y="324"/>
                      <a:pt x="1423" y="324"/>
                    </a:cubicBezTo>
                    <a:cubicBezTo>
                      <a:pt x="1417" y="310"/>
                      <a:pt x="1417" y="310"/>
                      <a:pt x="1417" y="310"/>
                    </a:cubicBezTo>
                    <a:cubicBezTo>
                      <a:pt x="1414" y="303"/>
                      <a:pt x="1414" y="303"/>
                      <a:pt x="1414" y="303"/>
                    </a:cubicBezTo>
                    <a:cubicBezTo>
                      <a:pt x="1372" y="306"/>
                      <a:pt x="1334" y="326"/>
                      <a:pt x="1307" y="356"/>
                    </a:cubicBezTo>
                    <a:cubicBezTo>
                      <a:pt x="1282" y="384"/>
                      <a:pt x="1266" y="421"/>
                      <a:pt x="1266" y="463"/>
                    </a:cubicBezTo>
                    <a:cubicBezTo>
                      <a:pt x="1266" y="558"/>
                      <a:pt x="1266" y="558"/>
                      <a:pt x="1266" y="558"/>
                    </a:cubicBezTo>
                    <a:cubicBezTo>
                      <a:pt x="1751" y="558"/>
                      <a:pt x="1751" y="558"/>
                      <a:pt x="1751" y="558"/>
                    </a:cubicBezTo>
                    <a:lnTo>
                      <a:pt x="1751" y="463"/>
                    </a:lnTo>
                    <a:close/>
                    <a:moveTo>
                      <a:pt x="1422" y="234"/>
                    </a:moveTo>
                    <a:cubicBezTo>
                      <a:pt x="1447" y="255"/>
                      <a:pt x="1478" y="266"/>
                      <a:pt x="1508" y="266"/>
                    </a:cubicBezTo>
                    <a:cubicBezTo>
                      <a:pt x="1546" y="266"/>
                      <a:pt x="1583" y="250"/>
                      <a:pt x="1609" y="220"/>
                    </a:cubicBezTo>
                    <a:cubicBezTo>
                      <a:pt x="1628" y="198"/>
                      <a:pt x="1638" y="171"/>
                      <a:pt x="1640" y="144"/>
                    </a:cubicBezTo>
                    <a:cubicBezTo>
                      <a:pt x="1643" y="107"/>
                      <a:pt x="1631" y="70"/>
                      <a:pt x="1604" y="42"/>
                    </a:cubicBezTo>
                    <a:cubicBezTo>
                      <a:pt x="1601" y="39"/>
                      <a:pt x="1598" y="35"/>
                      <a:pt x="1595" y="33"/>
                    </a:cubicBezTo>
                    <a:cubicBezTo>
                      <a:pt x="1570" y="11"/>
                      <a:pt x="1539" y="0"/>
                      <a:pt x="1508" y="0"/>
                    </a:cubicBezTo>
                    <a:cubicBezTo>
                      <a:pt x="1472" y="0"/>
                      <a:pt x="1435" y="16"/>
                      <a:pt x="1409" y="45"/>
                    </a:cubicBezTo>
                    <a:cubicBezTo>
                      <a:pt x="1409" y="45"/>
                      <a:pt x="1408" y="46"/>
                      <a:pt x="1408" y="46"/>
                    </a:cubicBezTo>
                    <a:cubicBezTo>
                      <a:pt x="1383" y="75"/>
                      <a:pt x="1373" y="111"/>
                      <a:pt x="1376" y="145"/>
                    </a:cubicBezTo>
                    <a:cubicBezTo>
                      <a:pt x="1380" y="178"/>
                      <a:pt x="1395" y="210"/>
                      <a:pt x="1422" y="234"/>
                    </a:cubicBezTo>
                    <a:close/>
                    <a:moveTo>
                      <a:pt x="0" y="599"/>
                    </a:moveTo>
                    <a:cubicBezTo>
                      <a:pt x="0" y="693"/>
                      <a:pt x="0" y="693"/>
                      <a:pt x="0" y="693"/>
                    </a:cubicBezTo>
                    <a:cubicBezTo>
                      <a:pt x="75" y="693"/>
                      <a:pt x="75" y="693"/>
                      <a:pt x="75" y="693"/>
                    </a:cubicBezTo>
                    <a:cubicBezTo>
                      <a:pt x="75" y="1161"/>
                      <a:pt x="75" y="1161"/>
                      <a:pt x="75" y="1161"/>
                    </a:cubicBezTo>
                    <a:cubicBezTo>
                      <a:pt x="1817" y="1161"/>
                      <a:pt x="1817" y="1161"/>
                      <a:pt x="1817" y="1161"/>
                    </a:cubicBezTo>
                    <a:cubicBezTo>
                      <a:pt x="1817" y="693"/>
                      <a:pt x="1817" y="693"/>
                      <a:pt x="1817" y="693"/>
                    </a:cubicBezTo>
                    <a:cubicBezTo>
                      <a:pt x="1893" y="693"/>
                      <a:pt x="1893" y="693"/>
                      <a:pt x="1893" y="693"/>
                    </a:cubicBezTo>
                    <a:cubicBezTo>
                      <a:pt x="1893" y="599"/>
                      <a:pt x="1893" y="599"/>
                      <a:pt x="1893" y="599"/>
                    </a:cubicBezTo>
                    <a:lnTo>
                      <a:pt x="0" y="59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44" name="Picture 143"/>
              <p:cNvPicPr>
                <a:picLocks noChangeAspect="1"/>
              </p:cNvPicPr>
              <p:nvPr/>
            </p:nvPicPr>
            <p:blipFill>
              <a:blip r:embed="rId5" cstate="print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44283" y="2042006"/>
                <a:ext cx="361410" cy="626936"/>
              </a:xfrm>
              <a:prstGeom prst="rect">
                <a:avLst/>
              </a:prstGeom>
            </p:spPr>
          </p:pic>
          <p:grpSp>
            <p:nvGrpSpPr>
              <p:cNvPr id="145" name="Group 144"/>
              <p:cNvGrpSpPr/>
              <p:nvPr/>
            </p:nvGrpSpPr>
            <p:grpSpPr>
              <a:xfrm>
                <a:off x="7925964" y="933341"/>
                <a:ext cx="598049" cy="506363"/>
                <a:chOff x="12369800" y="995363"/>
                <a:chExt cx="6378576" cy="5400675"/>
              </a:xfrm>
              <a:solidFill>
                <a:schemeClr val="bg1"/>
              </a:solidFill>
            </p:grpSpPr>
            <p:sp>
              <p:nvSpPr>
                <p:cNvPr id="146" name="Freeform 145"/>
                <p:cNvSpPr>
                  <a:spLocks/>
                </p:cNvSpPr>
                <p:nvPr/>
              </p:nvSpPr>
              <p:spPr bwMode="auto">
                <a:xfrm>
                  <a:off x="12369800" y="1863726"/>
                  <a:ext cx="1693863" cy="958850"/>
                </a:xfrm>
                <a:custGeom>
                  <a:avLst/>
                  <a:gdLst>
                    <a:gd name="T0" fmla="*/ 374 w 451"/>
                    <a:gd name="T1" fmla="*/ 0 h 255"/>
                    <a:gd name="T2" fmla="*/ 312 w 451"/>
                    <a:gd name="T3" fmla="*/ 0 h 255"/>
                    <a:gd name="T4" fmla="*/ 266 w 451"/>
                    <a:gd name="T5" fmla="*/ 96 h 255"/>
                    <a:gd name="T6" fmla="*/ 225 w 451"/>
                    <a:gd name="T7" fmla="*/ 27 h 255"/>
                    <a:gd name="T8" fmla="*/ 184 w 451"/>
                    <a:gd name="T9" fmla="*/ 96 h 255"/>
                    <a:gd name="T10" fmla="*/ 138 w 451"/>
                    <a:gd name="T11" fmla="*/ 0 h 255"/>
                    <a:gd name="T12" fmla="*/ 76 w 451"/>
                    <a:gd name="T13" fmla="*/ 0 h 255"/>
                    <a:gd name="T14" fmla="*/ 0 w 451"/>
                    <a:gd name="T15" fmla="*/ 84 h 255"/>
                    <a:gd name="T16" fmla="*/ 0 w 451"/>
                    <a:gd name="T17" fmla="*/ 255 h 255"/>
                    <a:gd name="T18" fmla="*/ 451 w 451"/>
                    <a:gd name="T19" fmla="*/ 255 h 255"/>
                    <a:gd name="T20" fmla="*/ 451 w 451"/>
                    <a:gd name="T21" fmla="*/ 84 h 255"/>
                    <a:gd name="T22" fmla="*/ 374 w 451"/>
                    <a:gd name="T23" fmla="*/ 0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51" h="255">
                      <a:moveTo>
                        <a:pt x="374" y="0"/>
                      </a:moveTo>
                      <a:cubicBezTo>
                        <a:pt x="312" y="0"/>
                        <a:pt x="312" y="0"/>
                        <a:pt x="312" y="0"/>
                      </a:cubicBezTo>
                      <a:cubicBezTo>
                        <a:pt x="266" y="96"/>
                        <a:pt x="266" y="96"/>
                        <a:pt x="266" y="96"/>
                      </a:cubicBezTo>
                      <a:cubicBezTo>
                        <a:pt x="225" y="27"/>
                        <a:pt x="225" y="27"/>
                        <a:pt x="225" y="27"/>
                      </a:cubicBezTo>
                      <a:cubicBezTo>
                        <a:pt x="184" y="96"/>
                        <a:pt x="184" y="96"/>
                        <a:pt x="184" y="96"/>
                      </a:cubicBez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34" y="0"/>
                        <a:pt x="0" y="38"/>
                        <a:pt x="0" y="84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451" y="255"/>
                        <a:pt x="451" y="255"/>
                        <a:pt x="451" y="255"/>
                      </a:cubicBezTo>
                      <a:cubicBezTo>
                        <a:pt x="451" y="84"/>
                        <a:pt x="451" y="84"/>
                        <a:pt x="451" y="84"/>
                      </a:cubicBezTo>
                      <a:cubicBezTo>
                        <a:pt x="451" y="38"/>
                        <a:pt x="416" y="0"/>
                        <a:pt x="3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Oval 146"/>
                <p:cNvSpPr>
                  <a:spLocks noChangeArrowheads="1"/>
                </p:cNvSpPr>
                <p:nvPr/>
              </p:nvSpPr>
              <p:spPr bwMode="auto">
                <a:xfrm>
                  <a:off x="12865100" y="995363"/>
                  <a:ext cx="703263" cy="82391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147"/>
                <p:cNvSpPr>
                  <a:spLocks/>
                </p:cNvSpPr>
                <p:nvPr/>
              </p:nvSpPr>
              <p:spPr bwMode="auto">
                <a:xfrm>
                  <a:off x="17054513" y="1863726"/>
                  <a:ext cx="1693863" cy="958850"/>
                </a:xfrm>
                <a:custGeom>
                  <a:avLst/>
                  <a:gdLst>
                    <a:gd name="T0" fmla="*/ 374 w 451"/>
                    <a:gd name="T1" fmla="*/ 0 h 255"/>
                    <a:gd name="T2" fmla="*/ 312 w 451"/>
                    <a:gd name="T3" fmla="*/ 0 h 255"/>
                    <a:gd name="T4" fmla="*/ 267 w 451"/>
                    <a:gd name="T5" fmla="*/ 96 h 255"/>
                    <a:gd name="T6" fmla="*/ 225 w 451"/>
                    <a:gd name="T7" fmla="*/ 27 h 255"/>
                    <a:gd name="T8" fmla="*/ 184 w 451"/>
                    <a:gd name="T9" fmla="*/ 96 h 255"/>
                    <a:gd name="T10" fmla="*/ 138 w 451"/>
                    <a:gd name="T11" fmla="*/ 0 h 255"/>
                    <a:gd name="T12" fmla="*/ 77 w 451"/>
                    <a:gd name="T13" fmla="*/ 0 h 255"/>
                    <a:gd name="T14" fmla="*/ 0 w 451"/>
                    <a:gd name="T15" fmla="*/ 84 h 255"/>
                    <a:gd name="T16" fmla="*/ 0 w 451"/>
                    <a:gd name="T17" fmla="*/ 255 h 255"/>
                    <a:gd name="T18" fmla="*/ 451 w 451"/>
                    <a:gd name="T19" fmla="*/ 255 h 255"/>
                    <a:gd name="T20" fmla="*/ 451 w 451"/>
                    <a:gd name="T21" fmla="*/ 84 h 255"/>
                    <a:gd name="T22" fmla="*/ 374 w 451"/>
                    <a:gd name="T23" fmla="*/ 0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51" h="255">
                      <a:moveTo>
                        <a:pt x="374" y="0"/>
                      </a:moveTo>
                      <a:cubicBezTo>
                        <a:pt x="312" y="0"/>
                        <a:pt x="312" y="0"/>
                        <a:pt x="312" y="0"/>
                      </a:cubicBezTo>
                      <a:cubicBezTo>
                        <a:pt x="267" y="96"/>
                        <a:pt x="267" y="96"/>
                        <a:pt x="267" y="96"/>
                      </a:cubicBezTo>
                      <a:cubicBezTo>
                        <a:pt x="225" y="27"/>
                        <a:pt x="225" y="27"/>
                        <a:pt x="225" y="27"/>
                      </a:cubicBezTo>
                      <a:cubicBezTo>
                        <a:pt x="184" y="96"/>
                        <a:pt x="184" y="96"/>
                        <a:pt x="184" y="96"/>
                      </a:cubicBez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34" y="0"/>
                        <a:pt x="0" y="38"/>
                        <a:pt x="0" y="84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451" y="255"/>
                        <a:pt x="451" y="255"/>
                        <a:pt x="451" y="255"/>
                      </a:cubicBezTo>
                      <a:cubicBezTo>
                        <a:pt x="451" y="84"/>
                        <a:pt x="451" y="84"/>
                        <a:pt x="451" y="84"/>
                      </a:cubicBezTo>
                      <a:cubicBezTo>
                        <a:pt x="451" y="38"/>
                        <a:pt x="417" y="0"/>
                        <a:pt x="3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Oval 148"/>
                <p:cNvSpPr>
                  <a:spLocks noChangeArrowheads="1"/>
                </p:cNvSpPr>
                <p:nvPr/>
              </p:nvSpPr>
              <p:spPr bwMode="auto">
                <a:xfrm>
                  <a:off x="17549813" y="995363"/>
                  <a:ext cx="703263" cy="82391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149"/>
                <p:cNvSpPr>
                  <a:spLocks/>
                </p:cNvSpPr>
                <p:nvPr/>
              </p:nvSpPr>
              <p:spPr bwMode="auto">
                <a:xfrm>
                  <a:off x="14060488" y="4694238"/>
                  <a:ext cx="2997200" cy="1701800"/>
                </a:xfrm>
                <a:custGeom>
                  <a:avLst/>
                  <a:gdLst>
                    <a:gd name="T0" fmla="*/ 662 w 798"/>
                    <a:gd name="T1" fmla="*/ 0 h 453"/>
                    <a:gd name="T2" fmla="*/ 553 w 798"/>
                    <a:gd name="T3" fmla="*/ 0 h 453"/>
                    <a:gd name="T4" fmla="*/ 472 w 798"/>
                    <a:gd name="T5" fmla="*/ 170 h 453"/>
                    <a:gd name="T6" fmla="*/ 399 w 798"/>
                    <a:gd name="T7" fmla="*/ 48 h 453"/>
                    <a:gd name="T8" fmla="*/ 326 w 798"/>
                    <a:gd name="T9" fmla="*/ 170 h 453"/>
                    <a:gd name="T10" fmla="*/ 245 w 798"/>
                    <a:gd name="T11" fmla="*/ 0 h 453"/>
                    <a:gd name="T12" fmla="*/ 135 w 798"/>
                    <a:gd name="T13" fmla="*/ 0 h 453"/>
                    <a:gd name="T14" fmla="*/ 0 w 798"/>
                    <a:gd name="T15" fmla="*/ 150 h 453"/>
                    <a:gd name="T16" fmla="*/ 0 w 798"/>
                    <a:gd name="T17" fmla="*/ 453 h 453"/>
                    <a:gd name="T18" fmla="*/ 798 w 798"/>
                    <a:gd name="T19" fmla="*/ 453 h 453"/>
                    <a:gd name="T20" fmla="*/ 798 w 798"/>
                    <a:gd name="T21" fmla="*/ 150 h 453"/>
                    <a:gd name="T22" fmla="*/ 662 w 798"/>
                    <a:gd name="T23" fmla="*/ 0 h 4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98" h="453">
                      <a:moveTo>
                        <a:pt x="662" y="0"/>
                      </a:moveTo>
                      <a:cubicBezTo>
                        <a:pt x="553" y="0"/>
                        <a:pt x="553" y="0"/>
                        <a:pt x="553" y="0"/>
                      </a:cubicBezTo>
                      <a:cubicBezTo>
                        <a:pt x="472" y="170"/>
                        <a:pt x="472" y="170"/>
                        <a:pt x="472" y="170"/>
                      </a:cubicBezTo>
                      <a:cubicBezTo>
                        <a:pt x="399" y="48"/>
                        <a:pt x="399" y="48"/>
                        <a:pt x="399" y="48"/>
                      </a:cubicBezTo>
                      <a:cubicBezTo>
                        <a:pt x="326" y="170"/>
                        <a:pt x="326" y="170"/>
                        <a:pt x="326" y="170"/>
                      </a:cubicBezTo>
                      <a:cubicBezTo>
                        <a:pt x="245" y="0"/>
                        <a:pt x="245" y="0"/>
                        <a:pt x="245" y="0"/>
                      </a:cubicBezTo>
                      <a:cubicBezTo>
                        <a:pt x="135" y="0"/>
                        <a:pt x="135" y="0"/>
                        <a:pt x="135" y="0"/>
                      </a:cubicBezTo>
                      <a:cubicBezTo>
                        <a:pt x="61" y="0"/>
                        <a:pt x="0" y="67"/>
                        <a:pt x="0" y="150"/>
                      </a:cubicBezTo>
                      <a:cubicBezTo>
                        <a:pt x="0" y="453"/>
                        <a:pt x="0" y="453"/>
                        <a:pt x="0" y="453"/>
                      </a:cubicBezTo>
                      <a:cubicBezTo>
                        <a:pt x="798" y="453"/>
                        <a:pt x="798" y="453"/>
                        <a:pt x="798" y="453"/>
                      </a:cubicBezTo>
                      <a:cubicBezTo>
                        <a:pt x="798" y="150"/>
                        <a:pt x="798" y="150"/>
                        <a:pt x="798" y="150"/>
                      </a:cubicBezTo>
                      <a:cubicBezTo>
                        <a:pt x="798" y="67"/>
                        <a:pt x="737" y="0"/>
                        <a:pt x="66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Oval 150"/>
                <p:cNvSpPr>
                  <a:spLocks noChangeArrowheads="1"/>
                </p:cNvSpPr>
                <p:nvPr/>
              </p:nvSpPr>
              <p:spPr bwMode="auto">
                <a:xfrm>
                  <a:off x="14935200" y="3160713"/>
                  <a:ext cx="1243013" cy="14541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reeform 151"/>
                <p:cNvSpPr>
                  <a:spLocks/>
                </p:cNvSpPr>
                <p:nvPr/>
              </p:nvSpPr>
              <p:spPr bwMode="auto">
                <a:xfrm>
                  <a:off x="13095288" y="2973388"/>
                  <a:ext cx="1355725" cy="1355725"/>
                </a:xfrm>
                <a:custGeom>
                  <a:avLst/>
                  <a:gdLst>
                    <a:gd name="T0" fmla="*/ 743 w 854"/>
                    <a:gd name="T1" fmla="*/ 854 h 854"/>
                    <a:gd name="T2" fmla="*/ 0 w 854"/>
                    <a:gd name="T3" fmla="*/ 111 h 854"/>
                    <a:gd name="T4" fmla="*/ 113 w 854"/>
                    <a:gd name="T5" fmla="*/ 0 h 854"/>
                    <a:gd name="T6" fmla="*/ 854 w 854"/>
                    <a:gd name="T7" fmla="*/ 741 h 854"/>
                    <a:gd name="T8" fmla="*/ 743 w 854"/>
                    <a:gd name="T9" fmla="*/ 854 h 8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4" h="854">
                      <a:moveTo>
                        <a:pt x="743" y="854"/>
                      </a:moveTo>
                      <a:lnTo>
                        <a:pt x="0" y="111"/>
                      </a:lnTo>
                      <a:lnTo>
                        <a:pt x="113" y="0"/>
                      </a:lnTo>
                      <a:lnTo>
                        <a:pt x="854" y="741"/>
                      </a:lnTo>
                      <a:lnTo>
                        <a:pt x="743" y="85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 152"/>
                <p:cNvSpPr>
                  <a:spLocks/>
                </p:cNvSpPr>
                <p:nvPr/>
              </p:nvSpPr>
              <p:spPr bwMode="auto">
                <a:xfrm>
                  <a:off x="16663988" y="2973388"/>
                  <a:ext cx="1355725" cy="1355725"/>
                </a:xfrm>
                <a:custGeom>
                  <a:avLst/>
                  <a:gdLst>
                    <a:gd name="T0" fmla="*/ 0 w 854"/>
                    <a:gd name="T1" fmla="*/ 741 h 854"/>
                    <a:gd name="T2" fmla="*/ 743 w 854"/>
                    <a:gd name="T3" fmla="*/ 0 h 854"/>
                    <a:gd name="T4" fmla="*/ 854 w 854"/>
                    <a:gd name="T5" fmla="*/ 111 h 854"/>
                    <a:gd name="T6" fmla="*/ 113 w 854"/>
                    <a:gd name="T7" fmla="*/ 854 h 854"/>
                    <a:gd name="T8" fmla="*/ 0 w 854"/>
                    <a:gd name="T9" fmla="*/ 741 h 8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4" h="854">
                      <a:moveTo>
                        <a:pt x="0" y="741"/>
                      </a:moveTo>
                      <a:lnTo>
                        <a:pt x="743" y="0"/>
                      </a:lnTo>
                      <a:lnTo>
                        <a:pt x="854" y="111"/>
                      </a:lnTo>
                      <a:lnTo>
                        <a:pt x="113" y="854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tangle 153"/>
                <p:cNvSpPr>
                  <a:spLocks noChangeArrowheads="1"/>
                </p:cNvSpPr>
                <p:nvPr/>
              </p:nvSpPr>
              <p:spPr bwMode="auto">
                <a:xfrm>
                  <a:off x="14338300" y="2217738"/>
                  <a:ext cx="2441575" cy="2508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 154"/>
                <p:cNvSpPr>
                  <a:spLocks/>
                </p:cNvSpPr>
                <p:nvPr/>
              </p:nvSpPr>
              <p:spPr bwMode="auto">
                <a:xfrm>
                  <a:off x="12369800" y="1863726"/>
                  <a:ext cx="1693863" cy="958850"/>
                </a:xfrm>
                <a:custGeom>
                  <a:avLst/>
                  <a:gdLst>
                    <a:gd name="T0" fmla="*/ 374 w 451"/>
                    <a:gd name="T1" fmla="*/ 0 h 255"/>
                    <a:gd name="T2" fmla="*/ 312 w 451"/>
                    <a:gd name="T3" fmla="*/ 0 h 255"/>
                    <a:gd name="T4" fmla="*/ 266 w 451"/>
                    <a:gd name="T5" fmla="*/ 96 h 255"/>
                    <a:gd name="T6" fmla="*/ 225 w 451"/>
                    <a:gd name="T7" fmla="*/ 27 h 255"/>
                    <a:gd name="T8" fmla="*/ 184 w 451"/>
                    <a:gd name="T9" fmla="*/ 96 h 255"/>
                    <a:gd name="T10" fmla="*/ 138 w 451"/>
                    <a:gd name="T11" fmla="*/ 0 h 255"/>
                    <a:gd name="T12" fmla="*/ 76 w 451"/>
                    <a:gd name="T13" fmla="*/ 0 h 255"/>
                    <a:gd name="T14" fmla="*/ 0 w 451"/>
                    <a:gd name="T15" fmla="*/ 84 h 255"/>
                    <a:gd name="T16" fmla="*/ 0 w 451"/>
                    <a:gd name="T17" fmla="*/ 255 h 255"/>
                    <a:gd name="T18" fmla="*/ 451 w 451"/>
                    <a:gd name="T19" fmla="*/ 255 h 255"/>
                    <a:gd name="T20" fmla="*/ 451 w 451"/>
                    <a:gd name="T21" fmla="*/ 84 h 255"/>
                    <a:gd name="T22" fmla="*/ 374 w 451"/>
                    <a:gd name="T23" fmla="*/ 0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51" h="255">
                      <a:moveTo>
                        <a:pt x="374" y="0"/>
                      </a:moveTo>
                      <a:cubicBezTo>
                        <a:pt x="312" y="0"/>
                        <a:pt x="312" y="0"/>
                        <a:pt x="312" y="0"/>
                      </a:cubicBezTo>
                      <a:cubicBezTo>
                        <a:pt x="266" y="96"/>
                        <a:pt x="266" y="96"/>
                        <a:pt x="266" y="96"/>
                      </a:cubicBezTo>
                      <a:cubicBezTo>
                        <a:pt x="225" y="27"/>
                        <a:pt x="225" y="27"/>
                        <a:pt x="225" y="27"/>
                      </a:cubicBezTo>
                      <a:cubicBezTo>
                        <a:pt x="184" y="96"/>
                        <a:pt x="184" y="96"/>
                        <a:pt x="184" y="96"/>
                      </a:cubicBez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34" y="0"/>
                        <a:pt x="0" y="38"/>
                        <a:pt x="0" y="84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451" y="255"/>
                        <a:pt x="451" y="255"/>
                        <a:pt x="451" y="255"/>
                      </a:cubicBezTo>
                      <a:cubicBezTo>
                        <a:pt x="451" y="84"/>
                        <a:pt x="451" y="84"/>
                        <a:pt x="451" y="84"/>
                      </a:cubicBezTo>
                      <a:cubicBezTo>
                        <a:pt x="451" y="38"/>
                        <a:pt x="416" y="0"/>
                        <a:pt x="3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Oval 155"/>
                <p:cNvSpPr>
                  <a:spLocks noChangeArrowheads="1"/>
                </p:cNvSpPr>
                <p:nvPr/>
              </p:nvSpPr>
              <p:spPr bwMode="auto">
                <a:xfrm>
                  <a:off x="12865100" y="995363"/>
                  <a:ext cx="703263" cy="82391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156"/>
                <p:cNvSpPr>
                  <a:spLocks/>
                </p:cNvSpPr>
                <p:nvPr/>
              </p:nvSpPr>
              <p:spPr bwMode="auto">
                <a:xfrm>
                  <a:off x="17054513" y="1863726"/>
                  <a:ext cx="1693863" cy="958850"/>
                </a:xfrm>
                <a:custGeom>
                  <a:avLst/>
                  <a:gdLst>
                    <a:gd name="T0" fmla="*/ 374 w 451"/>
                    <a:gd name="T1" fmla="*/ 0 h 255"/>
                    <a:gd name="T2" fmla="*/ 312 w 451"/>
                    <a:gd name="T3" fmla="*/ 0 h 255"/>
                    <a:gd name="T4" fmla="*/ 267 w 451"/>
                    <a:gd name="T5" fmla="*/ 96 h 255"/>
                    <a:gd name="T6" fmla="*/ 225 w 451"/>
                    <a:gd name="T7" fmla="*/ 27 h 255"/>
                    <a:gd name="T8" fmla="*/ 184 w 451"/>
                    <a:gd name="T9" fmla="*/ 96 h 255"/>
                    <a:gd name="T10" fmla="*/ 138 w 451"/>
                    <a:gd name="T11" fmla="*/ 0 h 255"/>
                    <a:gd name="T12" fmla="*/ 77 w 451"/>
                    <a:gd name="T13" fmla="*/ 0 h 255"/>
                    <a:gd name="T14" fmla="*/ 0 w 451"/>
                    <a:gd name="T15" fmla="*/ 84 h 255"/>
                    <a:gd name="T16" fmla="*/ 0 w 451"/>
                    <a:gd name="T17" fmla="*/ 255 h 255"/>
                    <a:gd name="T18" fmla="*/ 451 w 451"/>
                    <a:gd name="T19" fmla="*/ 255 h 255"/>
                    <a:gd name="T20" fmla="*/ 451 w 451"/>
                    <a:gd name="T21" fmla="*/ 84 h 255"/>
                    <a:gd name="T22" fmla="*/ 374 w 451"/>
                    <a:gd name="T23" fmla="*/ 0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51" h="255">
                      <a:moveTo>
                        <a:pt x="374" y="0"/>
                      </a:moveTo>
                      <a:cubicBezTo>
                        <a:pt x="312" y="0"/>
                        <a:pt x="312" y="0"/>
                        <a:pt x="312" y="0"/>
                      </a:cubicBezTo>
                      <a:cubicBezTo>
                        <a:pt x="267" y="96"/>
                        <a:pt x="267" y="96"/>
                        <a:pt x="267" y="96"/>
                      </a:cubicBezTo>
                      <a:cubicBezTo>
                        <a:pt x="225" y="27"/>
                        <a:pt x="225" y="27"/>
                        <a:pt x="225" y="27"/>
                      </a:cubicBezTo>
                      <a:cubicBezTo>
                        <a:pt x="184" y="96"/>
                        <a:pt x="184" y="96"/>
                        <a:pt x="184" y="96"/>
                      </a:cubicBez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34" y="0"/>
                        <a:pt x="0" y="38"/>
                        <a:pt x="0" y="84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451" y="255"/>
                        <a:pt x="451" y="255"/>
                        <a:pt x="451" y="255"/>
                      </a:cubicBezTo>
                      <a:cubicBezTo>
                        <a:pt x="451" y="84"/>
                        <a:pt x="451" y="84"/>
                        <a:pt x="451" y="84"/>
                      </a:cubicBezTo>
                      <a:cubicBezTo>
                        <a:pt x="451" y="38"/>
                        <a:pt x="417" y="0"/>
                        <a:pt x="3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Oval 157"/>
                <p:cNvSpPr>
                  <a:spLocks noChangeArrowheads="1"/>
                </p:cNvSpPr>
                <p:nvPr/>
              </p:nvSpPr>
              <p:spPr bwMode="auto">
                <a:xfrm>
                  <a:off x="17549813" y="995363"/>
                  <a:ext cx="703263" cy="82391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 158"/>
                <p:cNvSpPr>
                  <a:spLocks/>
                </p:cNvSpPr>
                <p:nvPr/>
              </p:nvSpPr>
              <p:spPr bwMode="auto">
                <a:xfrm>
                  <a:off x="14060488" y="4694238"/>
                  <a:ext cx="2997200" cy="1701800"/>
                </a:xfrm>
                <a:custGeom>
                  <a:avLst/>
                  <a:gdLst>
                    <a:gd name="T0" fmla="*/ 662 w 798"/>
                    <a:gd name="T1" fmla="*/ 0 h 453"/>
                    <a:gd name="T2" fmla="*/ 553 w 798"/>
                    <a:gd name="T3" fmla="*/ 0 h 453"/>
                    <a:gd name="T4" fmla="*/ 472 w 798"/>
                    <a:gd name="T5" fmla="*/ 170 h 453"/>
                    <a:gd name="T6" fmla="*/ 399 w 798"/>
                    <a:gd name="T7" fmla="*/ 48 h 453"/>
                    <a:gd name="T8" fmla="*/ 326 w 798"/>
                    <a:gd name="T9" fmla="*/ 170 h 453"/>
                    <a:gd name="T10" fmla="*/ 245 w 798"/>
                    <a:gd name="T11" fmla="*/ 0 h 453"/>
                    <a:gd name="T12" fmla="*/ 135 w 798"/>
                    <a:gd name="T13" fmla="*/ 0 h 453"/>
                    <a:gd name="T14" fmla="*/ 0 w 798"/>
                    <a:gd name="T15" fmla="*/ 150 h 453"/>
                    <a:gd name="T16" fmla="*/ 0 w 798"/>
                    <a:gd name="T17" fmla="*/ 453 h 453"/>
                    <a:gd name="T18" fmla="*/ 798 w 798"/>
                    <a:gd name="T19" fmla="*/ 453 h 453"/>
                    <a:gd name="T20" fmla="*/ 798 w 798"/>
                    <a:gd name="T21" fmla="*/ 150 h 453"/>
                    <a:gd name="T22" fmla="*/ 662 w 798"/>
                    <a:gd name="T23" fmla="*/ 0 h 4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98" h="453">
                      <a:moveTo>
                        <a:pt x="662" y="0"/>
                      </a:moveTo>
                      <a:cubicBezTo>
                        <a:pt x="553" y="0"/>
                        <a:pt x="553" y="0"/>
                        <a:pt x="553" y="0"/>
                      </a:cubicBezTo>
                      <a:cubicBezTo>
                        <a:pt x="472" y="170"/>
                        <a:pt x="472" y="170"/>
                        <a:pt x="472" y="170"/>
                      </a:cubicBezTo>
                      <a:cubicBezTo>
                        <a:pt x="399" y="48"/>
                        <a:pt x="399" y="48"/>
                        <a:pt x="399" y="48"/>
                      </a:cubicBezTo>
                      <a:cubicBezTo>
                        <a:pt x="326" y="170"/>
                        <a:pt x="326" y="170"/>
                        <a:pt x="326" y="170"/>
                      </a:cubicBezTo>
                      <a:cubicBezTo>
                        <a:pt x="245" y="0"/>
                        <a:pt x="245" y="0"/>
                        <a:pt x="245" y="0"/>
                      </a:cubicBezTo>
                      <a:cubicBezTo>
                        <a:pt x="135" y="0"/>
                        <a:pt x="135" y="0"/>
                        <a:pt x="135" y="0"/>
                      </a:cubicBezTo>
                      <a:cubicBezTo>
                        <a:pt x="61" y="0"/>
                        <a:pt x="0" y="67"/>
                        <a:pt x="0" y="150"/>
                      </a:cubicBezTo>
                      <a:cubicBezTo>
                        <a:pt x="0" y="453"/>
                        <a:pt x="0" y="453"/>
                        <a:pt x="0" y="453"/>
                      </a:cubicBezTo>
                      <a:cubicBezTo>
                        <a:pt x="798" y="453"/>
                        <a:pt x="798" y="453"/>
                        <a:pt x="798" y="453"/>
                      </a:cubicBezTo>
                      <a:cubicBezTo>
                        <a:pt x="798" y="150"/>
                        <a:pt x="798" y="150"/>
                        <a:pt x="798" y="150"/>
                      </a:cubicBezTo>
                      <a:cubicBezTo>
                        <a:pt x="798" y="67"/>
                        <a:pt x="737" y="0"/>
                        <a:pt x="66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Oval 159"/>
                <p:cNvSpPr>
                  <a:spLocks noChangeArrowheads="1"/>
                </p:cNvSpPr>
                <p:nvPr/>
              </p:nvSpPr>
              <p:spPr bwMode="auto">
                <a:xfrm>
                  <a:off x="14935200" y="3160713"/>
                  <a:ext cx="1243013" cy="14541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 160"/>
                <p:cNvSpPr>
                  <a:spLocks/>
                </p:cNvSpPr>
                <p:nvPr/>
              </p:nvSpPr>
              <p:spPr bwMode="auto">
                <a:xfrm>
                  <a:off x="13095288" y="2973388"/>
                  <a:ext cx="1355725" cy="1355725"/>
                </a:xfrm>
                <a:custGeom>
                  <a:avLst/>
                  <a:gdLst>
                    <a:gd name="T0" fmla="*/ 743 w 854"/>
                    <a:gd name="T1" fmla="*/ 854 h 854"/>
                    <a:gd name="T2" fmla="*/ 0 w 854"/>
                    <a:gd name="T3" fmla="*/ 111 h 854"/>
                    <a:gd name="T4" fmla="*/ 113 w 854"/>
                    <a:gd name="T5" fmla="*/ 0 h 854"/>
                    <a:gd name="T6" fmla="*/ 854 w 854"/>
                    <a:gd name="T7" fmla="*/ 741 h 854"/>
                    <a:gd name="T8" fmla="*/ 743 w 854"/>
                    <a:gd name="T9" fmla="*/ 854 h 8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4" h="854">
                      <a:moveTo>
                        <a:pt x="743" y="854"/>
                      </a:moveTo>
                      <a:lnTo>
                        <a:pt x="0" y="111"/>
                      </a:lnTo>
                      <a:lnTo>
                        <a:pt x="113" y="0"/>
                      </a:lnTo>
                      <a:lnTo>
                        <a:pt x="854" y="741"/>
                      </a:lnTo>
                      <a:lnTo>
                        <a:pt x="743" y="85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 161"/>
                <p:cNvSpPr>
                  <a:spLocks/>
                </p:cNvSpPr>
                <p:nvPr/>
              </p:nvSpPr>
              <p:spPr bwMode="auto">
                <a:xfrm>
                  <a:off x="16663988" y="2973388"/>
                  <a:ext cx="1355725" cy="1355725"/>
                </a:xfrm>
                <a:custGeom>
                  <a:avLst/>
                  <a:gdLst>
                    <a:gd name="T0" fmla="*/ 0 w 854"/>
                    <a:gd name="T1" fmla="*/ 741 h 854"/>
                    <a:gd name="T2" fmla="*/ 743 w 854"/>
                    <a:gd name="T3" fmla="*/ 0 h 854"/>
                    <a:gd name="T4" fmla="*/ 854 w 854"/>
                    <a:gd name="T5" fmla="*/ 111 h 854"/>
                    <a:gd name="T6" fmla="*/ 113 w 854"/>
                    <a:gd name="T7" fmla="*/ 854 h 854"/>
                    <a:gd name="T8" fmla="*/ 0 w 854"/>
                    <a:gd name="T9" fmla="*/ 741 h 8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4" h="854">
                      <a:moveTo>
                        <a:pt x="0" y="741"/>
                      </a:moveTo>
                      <a:lnTo>
                        <a:pt x="743" y="0"/>
                      </a:lnTo>
                      <a:lnTo>
                        <a:pt x="854" y="111"/>
                      </a:lnTo>
                      <a:lnTo>
                        <a:pt x="113" y="854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Rectangle 162"/>
                <p:cNvSpPr>
                  <a:spLocks noChangeArrowheads="1"/>
                </p:cNvSpPr>
                <p:nvPr/>
              </p:nvSpPr>
              <p:spPr bwMode="auto">
                <a:xfrm>
                  <a:off x="14338300" y="2217738"/>
                  <a:ext cx="2441575" cy="2508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163"/>
                <p:cNvSpPr>
                  <a:spLocks/>
                </p:cNvSpPr>
                <p:nvPr/>
              </p:nvSpPr>
              <p:spPr bwMode="auto">
                <a:xfrm>
                  <a:off x="12369800" y="1863726"/>
                  <a:ext cx="1693863" cy="958850"/>
                </a:xfrm>
                <a:custGeom>
                  <a:avLst/>
                  <a:gdLst>
                    <a:gd name="T0" fmla="*/ 374 w 451"/>
                    <a:gd name="T1" fmla="*/ 0 h 255"/>
                    <a:gd name="T2" fmla="*/ 312 w 451"/>
                    <a:gd name="T3" fmla="*/ 0 h 255"/>
                    <a:gd name="T4" fmla="*/ 266 w 451"/>
                    <a:gd name="T5" fmla="*/ 96 h 255"/>
                    <a:gd name="T6" fmla="*/ 225 w 451"/>
                    <a:gd name="T7" fmla="*/ 27 h 255"/>
                    <a:gd name="T8" fmla="*/ 184 w 451"/>
                    <a:gd name="T9" fmla="*/ 96 h 255"/>
                    <a:gd name="T10" fmla="*/ 138 w 451"/>
                    <a:gd name="T11" fmla="*/ 0 h 255"/>
                    <a:gd name="T12" fmla="*/ 76 w 451"/>
                    <a:gd name="T13" fmla="*/ 0 h 255"/>
                    <a:gd name="T14" fmla="*/ 0 w 451"/>
                    <a:gd name="T15" fmla="*/ 84 h 255"/>
                    <a:gd name="T16" fmla="*/ 0 w 451"/>
                    <a:gd name="T17" fmla="*/ 255 h 255"/>
                    <a:gd name="T18" fmla="*/ 451 w 451"/>
                    <a:gd name="T19" fmla="*/ 255 h 255"/>
                    <a:gd name="T20" fmla="*/ 451 w 451"/>
                    <a:gd name="T21" fmla="*/ 84 h 255"/>
                    <a:gd name="T22" fmla="*/ 374 w 451"/>
                    <a:gd name="T23" fmla="*/ 0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51" h="255">
                      <a:moveTo>
                        <a:pt x="374" y="0"/>
                      </a:moveTo>
                      <a:cubicBezTo>
                        <a:pt x="312" y="0"/>
                        <a:pt x="312" y="0"/>
                        <a:pt x="312" y="0"/>
                      </a:cubicBezTo>
                      <a:cubicBezTo>
                        <a:pt x="266" y="96"/>
                        <a:pt x="266" y="96"/>
                        <a:pt x="266" y="96"/>
                      </a:cubicBezTo>
                      <a:cubicBezTo>
                        <a:pt x="225" y="27"/>
                        <a:pt x="225" y="27"/>
                        <a:pt x="225" y="27"/>
                      </a:cubicBezTo>
                      <a:cubicBezTo>
                        <a:pt x="184" y="96"/>
                        <a:pt x="184" y="96"/>
                        <a:pt x="184" y="96"/>
                      </a:cubicBez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34" y="0"/>
                        <a:pt x="0" y="38"/>
                        <a:pt x="0" y="84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451" y="255"/>
                        <a:pt x="451" y="255"/>
                        <a:pt x="451" y="255"/>
                      </a:cubicBezTo>
                      <a:cubicBezTo>
                        <a:pt x="451" y="84"/>
                        <a:pt x="451" y="84"/>
                        <a:pt x="451" y="84"/>
                      </a:cubicBezTo>
                      <a:cubicBezTo>
                        <a:pt x="451" y="38"/>
                        <a:pt x="416" y="0"/>
                        <a:pt x="3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Oval 164"/>
                <p:cNvSpPr>
                  <a:spLocks noChangeArrowheads="1"/>
                </p:cNvSpPr>
                <p:nvPr/>
              </p:nvSpPr>
              <p:spPr bwMode="auto">
                <a:xfrm>
                  <a:off x="12865100" y="995363"/>
                  <a:ext cx="703263" cy="82391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 165"/>
                <p:cNvSpPr>
                  <a:spLocks/>
                </p:cNvSpPr>
                <p:nvPr/>
              </p:nvSpPr>
              <p:spPr bwMode="auto">
                <a:xfrm>
                  <a:off x="17054513" y="1863726"/>
                  <a:ext cx="1693863" cy="958850"/>
                </a:xfrm>
                <a:custGeom>
                  <a:avLst/>
                  <a:gdLst>
                    <a:gd name="T0" fmla="*/ 374 w 451"/>
                    <a:gd name="T1" fmla="*/ 0 h 255"/>
                    <a:gd name="T2" fmla="*/ 312 w 451"/>
                    <a:gd name="T3" fmla="*/ 0 h 255"/>
                    <a:gd name="T4" fmla="*/ 267 w 451"/>
                    <a:gd name="T5" fmla="*/ 96 h 255"/>
                    <a:gd name="T6" fmla="*/ 225 w 451"/>
                    <a:gd name="T7" fmla="*/ 27 h 255"/>
                    <a:gd name="T8" fmla="*/ 184 w 451"/>
                    <a:gd name="T9" fmla="*/ 96 h 255"/>
                    <a:gd name="T10" fmla="*/ 138 w 451"/>
                    <a:gd name="T11" fmla="*/ 0 h 255"/>
                    <a:gd name="T12" fmla="*/ 77 w 451"/>
                    <a:gd name="T13" fmla="*/ 0 h 255"/>
                    <a:gd name="T14" fmla="*/ 0 w 451"/>
                    <a:gd name="T15" fmla="*/ 84 h 255"/>
                    <a:gd name="T16" fmla="*/ 0 w 451"/>
                    <a:gd name="T17" fmla="*/ 255 h 255"/>
                    <a:gd name="T18" fmla="*/ 451 w 451"/>
                    <a:gd name="T19" fmla="*/ 255 h 255"/>
                    <a:gd name="T20" fmla="*/ 451 w 451"/>
                    <a:gd name="T21" fmla="*/ 84 h 255"/>
                    <a:gd name="T22" fmla="*/ 374 w 451"/>
                    <a:gd name="T23" fmla="*/ 0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51" h="255">
                      <a:moveTo>
                        <a:pt x="374" y="0"/>
                      </a:moveTo>
                      <a:cubicBezTo>
                        <a:pt x="312" y="0"/>
                        <a:pt x="312" y="0"/>
                        <a:pt x="312" y="0"/>
                      </a:cubicBezTo>
                      <a:cubicBezTo>
                        <a:pt x="267" y="96"/>
                        <a:pt x="267" y="96"/>
                        <a:pt x="267" y="96"/>
                      </a:cubicBezTo>
                      <a:cubicBezTo>
                        <a:pt x="225" y="27"/>
                        <a:pt x="225" y="27"/>
                        <a:pt x="225" y="27"/>
                      </a:cubicBezTo>
                      <a:cubicBezTo>
                        <a:pt x="184" y="96"/>
                        <a:pt x="184" y="96"/>
                        <a:pt x="184" y="96"/>
                      </a:cubicBez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34" y="0"/>
                        <a:pt x="0" y="38"/>
                        <a:pt x="0" y="84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451" y="255"/>
                        <a:pt x="451" y="255"/>
                        <a:pt x="451" y="255"/>
                      </a:cubicBezTo>
                      <a:cubicBezTo>
                        <a:pt x="451" y="84"/>
                        <a:pt x="451" y="84"/>
                        <a:pt x="451" y="84"/>
                      </a:cubicBezTo>
                      <a:cubicBezTo>
                        <a:pt x="451" y="38"/>
                        <a:pt x="417" y="0"/>
                        <a:pt x="3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Oval 166"/>
                <p:cNvSpPr>
                  <a:spLocks noChangeArrowheads="1"/>
                </p:cNvSpPr>
                <p:nvPr/>
              </p:nvSpPr>
              <p:spPr bwMode="auto">
                <a:xfrm>
                  <a:off x="17549813" y="995363"/>
                  <a:ext cx="703263" cy="82391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167"/>
                <p:cNvSpPr>
                  <a:spLocks/>
                </p:cNvSpPr>
                <p:nvPr/>
              </p:nvSpPr>
              <p:spPr bwMode="auto">
                <a:xfrm>
                  <a:off x="14060488" y="4694238"/>
                  <a:ext cx="2997200" cy="1701800"/>
                </a:xfrm>
                <a:custGeom>
                  <a:avLst/>
                  <a:gdLst>
                    <a:gd name="T0" fmla="*/ 662 w 798"/>
                    <a:gd name="T1" fmla="*/ 0 h 453"/>
                    <a:gd name="T2" fmla="*/ 553 w 798"/>
                    <a:gd name="T3" fmla="*/ 0 h 453"/>
                    <a:gd name="T4" fmla="*/ 472 w 798"/>
                    <a:gd name="T5" fmla="*/ 170 h 453"/>
                    <a:gd name="T6" fmla="*/ 399 w 798"/>
                    <a:gd name="T7" fmla="*/ 48 h 453"/>
                    <a:gd name="T8" fmla="*/ 326 w 798"/>
                    <a:gd name="T9" fmla="*/ 170 h 453"/>
                    <a:gd name="T10" fmla="*/ 245 w 798"/>
                    <a:gd name="T11" fmla="*/ 0 h 453"/>
                    <a:gd name="T12" fmla="*/ 135 w 798"/>
                    <a:gd name="T13" fmla="*/ 0 h 453"/>
                    <a:gd name="T14" fmla="*/ 0 w 798"/>
                    <a:gd name="T15" fmla="*/ 150 h 453"/>
                    <a:gd name="T16" fmla="*/ 0 w 798"/>
                    <a:gd name="T17" fmla="*/ 453 h 453"/>
                    <a:gd name="T18" fmla="*/ 798 w 798"/>
                    <a:gd name="T19" fmla="*/ 453 h 453"/>
                    <a:gd name="T20" fmla="*/ 798 w 798"/>
                    <a:gd name="T21" fmla="*/ 150 h 453"/>
                    <a:gd name="T22" fmla="*/ 662 w 798"/>
                    <a:gd name="T23" fmla="*/ 0 h 4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98" h="453">
                      <a:moveTo>
                        <a:pt x="662" y="0"/>
                      </a:moveTo>
                      <a:cubicBezTo>
                        <a:pt x="553" y="0"/>
                        <a:pt x="553" y="0"/>
                        <a:pt x="553" y="0"/>
                      </a:cubicBezTo>
                      <a:cubicBezTo>
                        <a:pt x="472" y="170"/>
                        <a:pt x="472" y="170"/>
                        <a:pt x="472" y="170"/>
                      </a:cubicBezTo>
                      <a:cubicBezTo>
                        <a:pt x="399" y="48"/>
                        <a:pt x="399" y="48"/>
                        <a:pt x="399" y="48"/>
                      </a:cubicBezTo>
                      <a:cubicBezTo>
                        <a:pt x="326" y="170"/>
                        <a:pt x="326" y="170"/>
                        <a:pt x="326" y="170"/>
                      </a:cubicBezTo>
                      <a:cubicBezTo>
                        <a:pt x="245" y="0"/>
                        <a:pt x="245" y="0"/>
                        <a:pt x="245" y="0"/>
                      </a:cubicBezTo>
                      <a:cubicBezTo>
                        <a:pt x="135" y="0"/>
                        <a:pt x="135" y="0"/>
                        <a:pt x="135" y="0"/>
                      </a:cubicBezTo>
                      <a:cubicBezTo>
                        <a:pt x="61" y="0"/>
                        <a:pt x="0" y="67"/>
                        <a:pt x="0" y="150"/>
                      </a:cubicBezTo>
                      <a:cubicBezTo>
                        <a:pt x="0" y="453"/>
                        <a:pt x="0" y="453"/>
                        <a:pt x="0" y="453"/>
                      </a:cubicBezTo>
                      <a:cubicBezTo>
                        <a:pt x="798" y="453"/>
                        <a:pt x="798" y="453"/>
                        <a:pt x="798" y="453"/>
                      </a:cubicBezTo>
                      <a:cubicBezTo>
                        <a:pt x="798" y="150"/>
                        <a:pt x="798" y="150"/>
                        <a:pt x="798" y="150"/>
                      </a:cubicBezTo>
                      <a:cubicBezTo>
                        <a:pt x="798" y="67"/>
                        <a:pt x="737" y="0"/>
                        <a:pt x="66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Oval 168"/>
                <p:cNvSpPr>
                  <a:spLocks noChangeArrowheads="1"/>
                </p:cNvSpPr>
                <p:nvPr/>
              </p:nvSpPr>
              <p:spPr bwMode="auto">
                <a:xfrm>
                  <a:off x="14935200" y="3160713"/>
                  <a:ext cx="1243013" cy="14541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Freeform 169"/>
                <p:cNvSpPr>
                  <a:spLocks/>
                </p:cNvSpPr>
                <p:nvPr/>
              </p:nvSpPr>
              <p:spPr bwMode="auto">
                <a:xfrm>
                  <a:off x="13095288" y="2973388"/>
                  <a:ext cx="1355725" cy="1355725"/>
                </a:xfrm>
                <a:custGeom>
                  <a:avLst/>
                  <a:gdLst>
                    <a:gd name="T0" fmla="*/ 743 w 854"/>
                    <a:gd name="T1" fmla="*/ 854 h 854"/>
                    <a:gd name="T2" fmla="*/ 0 w 854"/>
                    <a:gd name="T3" fmla="*/ 111 h 854"/>
                    <a:gd name="T4" fmla="*/ 113 w 854"/>
                    <a:gd name="T5" fmla="*/ 0 h 854"/>
                    <a:gd name="T6" fmla="*/ 854 w 854"/>
                    <a:gd name="T7" fmla="*/ 741 h 854"/>
                    <a:gd name="T8" fmla="*/ 743 w 854"/>
                    <a:gd name="T9" fmla="*/ 854 h 8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4" h="854">
                      <a:moveTo>
                        <a:pt x="743" y="854"/>
                      </a:moveTo>
                      <a:lnTo>
                        <a:pt x="0" y="111"/>
                      </a:lnTo>
                      <a:lnTo>
                        <a:pt x="113" y="0"/>
                      </a:lnTo>
                      <a:lnTo>
                        <a:pt x="854" y="741"/>
                      </a:lnTo>
                      <a:lnTo>
                        <a:pt x="743" y="85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reeform 170"/>
                <p:cNvSpPr>
                  <a:spLocks/>
                </p:cNvSpPr>
                <p:nvPr/>
              </p:nvSpPr>
              <p:spPr bwMode="auto">
                <a:xfrm>
                  <a:off x="16663988" y="2973388"/>
                  <a:ext cx="1355725" cy="1355725"/>
                </a:xfrm>
                <a:custGeom>
                  <a:avLst/>
                  <a:gdLst>
                    <a:gd name="T0" fmla="*/ 0 w 854"/>
                    <a:gd name="T1" fmla="*/ 741 h 854"/>
                    <a:gd name="T2" fmla="*/ 743 w 854"/>
                    <a:gd name="T3" fmla="*/ 0 h 854"/>
                    <a:gd name="T4" fmla="*/ 854 w 854"/>
                    <a:gd name="T5" fmla="*/ 111 h 854"/>
                    <a:gd name="T6" fmla="*/ 113 w 854"/>
                    <a:gd name="T7" fmla="*/ 854 h 854"/>
                    <a:gd name="T8" fmla="*/ 0 w 854"/>
                    <a:gd name="T9" fmla="*/ 741 h 8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4" h="854">
                      <a:moveTo>
                        <a:pt x="0" y="741"/>
                      </a:moveTo>
                      <a:lnTo>
                        <a:pt x="743" y="0"/>
                      </a:lnTo>
                      <a:lnTo>
                        <a:pt x="854" y="111"/>
                      </a:lnTo>
                      <a:lnTo>
                        <a:pt x="113" y="854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Rectangle 171"/>
                <p:cNvSpPr>
                  <a:spLocks noChangeArrowheads="1"/>
                </p:cNvSpPr>
                <p:nvPr/>
              </p:nvSpPr>
              <p:spPr bwMode="auto">
                <a:xfrm>
                  <a:off x="14338300" y="2217738"/>
                  <a:ext cx="2441575" cy="2508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reeform 172"/>
                <p:cNvSpPr>
                  <a:spLocks/>
                </p:cNvSpPr>
                <p:nvPr/>
              </p:nvSpPr>
              <p:spPr bwMode="auto">
                <a:xfrm>
                  <a:off x="12369800" y="1863726"/>
                  <a:ext cx="1693863" cy="958850"/>
                </a:xfrm>
                <a:custGeom>
                  <a:avLst/>
                  <a:gdLst>
                    <a:gd name="T0" fmla="*/ 374 w 451"/>
                    <a:gd name="T1" fmla="*/ 0 h 255"/>
                    <a:gd name="T2" fmla="*/ 312 w 451"/>
                    <a:gd name="T3" fmla="*/ 0 h 255"/>
                    <a:gd name="T4" fmla="*/ 266 w 451"/>
                    <a:gd name="T5" fmla="*/ 96 h 255"/>
                    <a:gd name="T6" fmla="*/ 225 w 451"/>
                    <a:gd name="T7" fmla="*/ 27 h 255"/>
                    <a:gd name="T8" fmla="*/ 184 w 451"/>
                    <a:gd name="T9" fmla="*/ 96 h 255"/>
                    <a:gd name="T10" fmla="*/ 138 w 451"/>
                    <a:gd name="T11" fmla="*/ 0 h 255"/>
                    <a:gd name="T12" fmla="*/ 76 w 451"/>
                    <a:gd name="T13" fmla="*/ 0 h 255"/>
                    <a:gd name="T14" fmla="*/ 0 w 451"/>
                    <a:gd name="T15" fmla="*/ 84 h 255"/>
                    <a:gd name="T16" fmla="*/ 0 w 451"/>
                    <a:gd name="T17" fmla="*/ 255 h 255"/>
                    <a:gd name="T18" fmla="*/ 451 w 451"/>
                    <a:gd name="T19" fmla="*/ 255 h 255"/>
                    <a:gd name="T20" fmla="*/ 451 w 451"/>
                    <a:gd name="T21" fmla="*/ 84 h 255"/>
                    <a:gd name="T22" fmla="*/ 374 w 451"/>
                    <a:gd name="T23" fmla="*/ 0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51" h="255">
                      <a:moveTo>
                        <a:pt x="374" y="0"/>
                      </a:moveTo>
                      <a:cubicBezTo>
                        <a:pt x="312" y="0"/>
                        <a:pt x="312" y="0"/>
                        <a:pt x="312" y="0"/>
                      </a:cubicBezTo>
                      <a:cubicBezTo>
                        <a:pt x="266" y="96"/>
                        <a:pt x="266" y="96"/>
                        <a:pt x="266" y="96"/>
                      </a:cubicBezTo>
                      <a:cubicBezTo>
                        <a:pt x="225" y="27"/>
                        <a:pt x="225" y="27"/>
                        <a:pt x="225" y="27"/>
                      </a:cubicBezTo>
                      <a:cubicBezTo>
                        <a:pt x="184" y="96"/>
                        <a:pt x="184" y="96"/>
                        <a:pt x="184" y="96"/>
                      </a:cubicBez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34" y="0"/>
                        <a:pt x="0" y="38"/>
                        <a:pt x="0" y="84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451" y="255"/>
                        <a:pt x="451" y="255"/>
                        <a:pt x="451" y="255"/>
                      </a:cubicBezTo>
                      <a:cubicBezTo>
                        <a:pt x="451" y="84"/>
                        <a:pt x="451" y="84"/>
                        <a:pt x="451" y="84"/>
                      </a:cubicBezTo>
                      <a:cubicBezTo>
                        <a:pt x="451" y="38"/>
                        <a:pt x="416" y="0"/>
                        <a:pt x="3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Oval 173"/>
                <p:cNvSpPr>
                  <a:spLocks noChangeArrowheads="1"/>
                </p:cNvSpPr>
                <p:nvPr/>
              </p:nvSpPr>
              <p:spPr bwMode="auto">
                <a:xfrm>
                  <a:off x="12865100" y="995363"/>
                  <a:ext cx="703263" cy="82391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reeform 174"/>
                <p:cNvSpPr>
                  <a:spLocks/>
                </p:cNvSpPr>
                <p:nvPr/>
              </p:nvSpPr>
              <p:spPr bwMode="auto">
                <a:xfrm>
                  <a:off x="17054513" y="1863726"/>
                  <a:ext cx="1693863" cy="958850"/>
                </a:xfrm>
                <a:custGeom>
                  <a:avLst/>
                  <a:gdLst>
                    <a:gd name="T0" fmla="*/ 374 w 451"/>
                    <a:gd name="T1" fmla="*/ 0 h 255"/>
                    <a:gd name="T2" fmla="*/ 312 w 451"/>
                    <a:gd name="T3" fmla="*/ 0 h 255"/>
                    <a:gd name="T4" fmla="*/ 267 w 451"/>
                    <a:gd name="T5" fmla="*/ 96 h 255"/>
                    <a:gd name="T6" fmla="*/ 225 w 451"/>
                    <a:gd name="T7" fmla="*/ 27 h 255"/>
                    <a:gd name="T8" fmla="*/ 184 w 451"/>
                    <a:gd name="T9" fmla="*/ 96 h 255"/>
                    <a:gd name="T10" fmla="*/ 138 w 451"/>
                    <a:gd name="T11" fmla="*/ 0 h 255"/>
                    <a:gd name="T12" fmla="*/ 77 w 451"/>
                    <a:gd name="T13" fmla="*/ 0 h 255"/>
                    <a:gd name="T14" fmla="*/ 0 w 451"/>
                    <a:gd name="T15" fmla="*/ 84 h 255"/>
                    <a:gd name="T16" fmla="*/ 0 w 451"/>
                    <a:gd name="T17" fmla="*/ 255 h 255"/>
                    <a:gd name="T18" fmla="*/ 451 w 451"/>
                    <a:gd name="T19" fmla="*/ 255 h 255"/>
                    <a:gd name="T20" fmla="*/ 451 w 451"/>
                    <a:gd name="T21" fmla="*/ 84 h 255"/>
                    <a:gd name="T22" fmla="*/ 374 w 451"/>
                    <a:gd name="T23" fmla="*/ 0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51" h="255">
                      <a:moveTo>
                        <a:pt x="374" y="0"/>
                      </a:moveTo>
                      <a:cubicBezTo>
                        <a:pt x="312" y="0"/>
                        <a:pt x="312" y="0"/>
                        <a:pt x="312" y="0"/>
                      </a:cubicBezTo>
                      <a:cubicBezTo>
                        <a:pt x="267" y="96"/>
                        <a:pt x="267" y="96"/>
                        <a:pt x="267" y="96"/>
                      </a:cubicBezTo>
                      <a:cubicBezTo>
                        <a:pt x="225" y="27"/>
                        <a:pt x="225" y="27"/>
                        <a:pt x="225" y="27"/>
                      </a:cubicBezTo>
                      <a:cubicBezTo>
                        <a:pt x="184" y="96"/>
                        <a:pt x="184" y="96"/>
                        <a:pt x="184" y="96"/>
                      </a:cubicBez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34" y="0"/>
                        <a:pt x="0" y="38"/>
                        <a:pt x="0" y="84"/>
                      </a:cubicBezTo>
                      <a:cubicBezTo>
                        <a:pt x="0" y="255"/>
                        <a:pt x="0" y="255"/>
                        <a:pt x="0" y="255"/>
                      </a:cubicBezTo>
                      <a:cubicBezTo>
                        <a:pt x="451" y="255"/>
                        <a:pt x="451" y="255"/>
                        <a:pt x="451" y="255"/>
                      </a:cubicBezTo>
                      <a:cubicBezTo>
                        <a:pt x="451" y="84"/>
                        <a:pt x="451" y="84"/>
                        <a:pt x="451" y="84"/>
                      </a:cubicBezTo>
                      <a:cubicBezTo>
                        <a:pt x="451" y="38"/>
                        <a:pt x="417" y="0"/>
                        <a:pt x="3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Oval 175"/>
                <p:cNvSpPr>
                  <a:spLocks noChangeArrowheads="1"/>
                </p:cNvSpPr>
                <p:nvPr/>
              </p:nvSpPr>
              <p:spPr bwMode="auto">
                <a:xfrm>
                  <a:off x="17549813" y="995363"/>
                  <a:ext cx="703263" cy="823913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7" name="Freeform 176"/>
                <p:cNvSpPr>
                  <a:spLocks/>
                </p:cNvSpPr>
                <p:nvPr/>
              </p:nvSpPr>
              <p:spPr bwMode="auto">
                <a:xfrm>
                  <a:off x="14060488" y="4694238"/>
                  <a:ext cx="2997200" cy="1701800"/>
                </a:xfrm>
                <a:custGeom>
                  <a:avLst/>
                  <a:gdLst>
                    <a:gd name="T0" fmla="*/ 662 w 798"/>
                    <a:gd name="T1" fmla="*/ 0 h 453"/>
                    <a:gd name="T2" fmla="*/ 553 w 798"/>
                    <a:gd name="T3" fmla="*/ 0 h 453"/>
                    <a:gd name="T4" fmla="*/ 472 w 798"/>
                    <a:gd name="T5" fmla="*/ 170 h 453"/>
                    <a:gd name="T6" fmla="*/ 399 w 798"/>
                    <a:gd name="T7" fmla="*/ 48 h 453"/>
                    <a:gd name="T8" fmla="*/ 326 w 798"/>
                    <a:gd name="T9" fmla="*/ 170 h 453"/>
                    <a:gd name="T10" fmla="*/ 245 w 798"/>
                    <a:gd name="T11" fmla="*/ 0 h 453"/>
                    <a:gd name="T12" fmla="*/ 135 w 798"/>
                    <a:gd name="T13" fmla="*/ 0 h 453"/>
                    <a:gd name="T14" fmla="*/ 0 w 798"/>
                    <a:gd name="T15" fmla="*/ 150 h 453"/>
                    <a:gd name="T16" fmla="*/ 0 w 798"/>
                    <a:gd name="T17" fmla="*/ 453 h 453"/>
                    <a:gd name="T18" fmla="*/ 798 w 798"/>
                    <a:gd name="T19" fmla="*/ 453 h 453"/>
                    <a:gd name="T20" fmla="*/ 798 w 798"/>
                    <a:gd name="T21" fmla="*/ 150 h 453"/>
                    <a:gd name="T22" fmla="*/ 662 w 798"/>
                    <a:gd name="T23" fmla="*/ 0 h 4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98" h="453">
                      <a:moveTo>
                        <a:pt x="662" y="0"/>
                      </a:moveTo>
                      <a:cubicBezTo>
                        <a:pt x="553" y="0"/>
                        <a:pt x="553" y="0"/>
                        <a:pt x="553" y="0"/>
                      </a:cubicBezTo>
                      <a:cubicBezTo>
                        <a:pt x="472" y="170"/>
                        <a:pt x="472" y="170"/>
                        <a:pt x="472" y="170"/>
                      </a:cubicBezTo>
                      <a:cubicBezTo>
                        <a:pt x="399" y="48"/>
                        <a:pt x="399" y="48"/>
                        <a:pt x="399" y="48"/>
                      </a:cubicBezTo>
                      <a:cubicBezTo>
                        <a:pt x="326" y="170"/>
                        <a:pt x="326" y="170"/>
                        <a:pt x="326" y="170"/>
                      </a:cubicBezTo>
                      <a:cubicBezTo>
                        <a:pt x="245" y="0"/>
                        <a:pt x="245" y="0"/>
                        <a:pt x="245" y="0"/>
                      </a:cubicBezTo>
                      <a:cubicBezTo>
                        <a:pt x="135" y="0"/>
                        <a:pt x="135" y="0"/>
                        <a:pt x="135" y="0"/>
                      </a:cubicBezTo>
                      <a:cubicBezTo>
                        <a:pt x="61" y="0"/>
                        <a:pt x="0" y="67"/>
                        <a:pt x="0" y="150"/>
                      </a:cubicBezTo>
                      <a:cubicBezTo>
                        <a:pt x="0" y="453"/>
                        <a:pt x="0" y="453"/>
                        <a:pt x="0" y="453"/>
                      </a:cubicBezTo>
                      <a:cubicBezTo>
                        <a:pt x="798" y="453"/>
                        <a:pt x="798" y="453"/>
                        <a:pt x="798" y="453"/>
                      </a:cubicBezTo>
                      <a:cubicBezTo>
                        <a:pt x="798" y="150"/>
                        <a:pt x="798" y="150"/>
                        <a:pt x="798" y="150"/>
                      </a:cubicBezTo>
                      <a:cubicBezTo>
                        <a:pt x="798" y="67"/>
                        <a:pt x="737" y="0"/>
                        <a:pt x="66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Oval 177"/>
                <p:cNvSpPr>
                  <a:spLocks noChangeArrowheads="1"/>
                </p:cNvSpPr>
                <p:nvPr/>
              </p:nvSpPr>
              <p:spPr bwMode="auto">
                <a:xfrm>
                  <a:off x="14935200" y="3160713"/>
                  <a:ext cx="1243013" cy="145415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78"/>
                <p:cNvSpPr>
                  <a:spLocks/>
                </p:cNvSpPr>
                <p:nvPr/>
              </p:nvSpPr>
              <p:spPr bwMode="auto">
                <a:xfrm>
                  <a:off x="13095288" y="2973388"/>
                  <a:ext cx="1355725" cy="1355725"/>
                </a:xfrm>
                <a:custGeom>
                  <a:avLst/>
                  <a:gdLst>
                    <a:gd name="T0" fmla="*/ 743 w 854"/>
                    <a:gd name="T1" fmla="*/ 854 h 854"/>
                    <a:gd name="T2" fmla="*/ 0 w 854"/>
                    <a:gd name="T3" fmla="*/ 111 h 854"/>
                    <a:gd name="T4" fmla="*/ 113 w 854"/>
                    <a:gd name="T5" fmla="*/ 0 h 854"/>
                    <a:gd name="T6" fmla="*/ 854 w 854"/>
                    <a:gd name="T7" fmla="*/ 741 h 854"/>
                    <a:gd name="T8" fmla="*/ 743 w 854"/>
                    <a:gd name="T9" fmla="*/ 854 h 8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4" h="854">
                      <a:moveTo>
                        <a:pt x="743" y="854"/>
                      </a:moveTo>
                      <a:lnTo>
                        <a:pt x="0" y="111"/>
                      </a:lnTo>
                      <a:lnTo>
                        <a:pt x="113" y="0"/>
                      </a:lnTo>
                      <a:lnTo>
                        <a:pt x="854" y="741"/>
                      </a:lnTo>
                      <a:lnTo>
                        <a:pt x="743" y="85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179"/>
                <p:cNvSpPr>
                  <a:spLocks/>
                </p:cNvSpPr>
                <p:nvPr/>
              </p:nvSpPr>
              <p:spPr bwMode="auto">
                <a:xfrm>
                  <a:off x="16663988" y="2973388"/>
                  <a:ext cx="1355725" cy="1355725"/>
                </a:xfrm>
                <a:custGeom>
                  <a:avLst/>
                  <a:gdLst>
                    <a:gd name="T0" fmla="*/ 0 w 854"/>
                    <a:gd name="T1" fmla="*/ 741 h 854"/>
                    <a:gd name="T2" fmla="*/ 743 w 854"/>
                    <a:gd name="T3" fmla="*/ 0 h 854"/>
                    <a:gd name="T4" fmla="*/ 854 w 854"/>
                    <a:gd name="T5" fmla="*/ 111 h 854"/>
                    <a:gd name="T6" fmla="*/ 113 w 854"/>
                    <a:gd name="T7" fmla="*/ 854 h 854"/>
                    <a:gd name="T8" fmla="*/ 0 w 854"/>
                    <a:gd name="T9" fmla="*/ 741 h 8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4" h="854">
                      <a:moveTo>
                        <a:pt x="0" y="741"/>
                      </a:moveTo>
                      <a:lnTo>
                        <a:pt x="743" y="0"/>
                      </a:lnTo>
                      <a:lnTo>
                        <a:pt x="854" y="111"/>
                      </a:lnTo>
                      <a:lnTo>
                        <a:pt x="113" y="854"/>
                      </a:lnTo>
                      <a:lnTo>
                        <a:pt x="0" y="74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Rectangle 180"/>
                <p:cNvSpPr>
                  <a:spLocks noChangeArrowheads="1"/>
                </p:cNvSpPr>
                <p:nvPr/>
              </p:nvSpPr>
              <p:spPr bwMode="auto">
                <a:xfrm>
                  <a:off x="14338300" y="2217738"/>
                  <a:ext cx="2441575" cy="2508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cxnSp>
          <p:nvCxnSpPr>
            <p:cNvPr id="135" name="Straight Arrow Connector 134"/>
            <p:cNvCxnSpPr>
              <a:stCxn id="250" idx="3"/>
              <a:endCxn id="222" idx="1"/>
            </p:cNvCxnSpPr>
            <p:nvPr/>
          </p:nvCxnSpPr>
          <p:spPr>
            <a:xfrm flipV="1">
              <a:off x="5196261" y="1182477"/>
              <a:ext cx="1644350" cy="2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Straight Arrow Connector 135"/>
            <p:cNvCxnSpPr/>
            <p:nvPr/>
          </p:nvCxnSpPr>
          <p:spPr>
            <a:xfrm flipV="1">
              <a:off x="5196261" y="2280090"/>
              <a:ext cx="1644350" cy="2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7" name="Straight Arrow Connector 136"/>
            <p:cNvCxnSpPr/>
            <p:nvPr/>
          </p:nvCxnSpPr>
          <p:spPr>
            <a:xfrm flipV="1">
              <a:off x="5194904" y="3447875"/>
              <a:ext cx="1644350" cy="2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Straight Arrow Connector 137"/>
            <p:cNvCxnSpPr/>
            <p:nvPr/>
          </p:nvCxnSpPr>
          <p:spPr>
            <a:xfrm flipV="1">
              <a:off x="5194904" y="4580573"/>
              <a:ext cx="1644350" cy="2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Arrow Connector 138"/>
            <p:cNvCxnSpPr/>
            <p:nvPr/>
          </p:nvCxnSpPr>
          <p:spPr>
            <a:xfrm flipV="1">
              <a:off x="5179662" y="5683652"/>
              <a:ext cx="1644350" cy="2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55" name="Title 1"/>
          <p:cNvSpPr txBox="1">
            <a:spLocks/>
          </p:cNvSpPr>
          <p:nvPr/>
        </p:nvSpPr>
        <p:spPr>
          <a:xfrm>
            <a:off x="799950" y="211791"/>
            <a:ext cx="10377876" cy="85142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Работа 20 века	 </a:t>
            </a: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vs </a:t>
            </a:r>
            <a:r>
              <a: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Карьера 21 века</a:t>
            </a:r>
          </a:p>
        </p:txBody>
      </p:sp>
    </p:spTree>
    <p:extLst>
      <p:ext uri="{BB962C8B-B14F-4D97-AF65-F5344CB8AC3E}">
        <p14:creationId xmlns:p14="http://schemas.microsoft.com/office/powerpoint/2010/main" val="33480783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s://c.o0bg.com/rf/image_1920w/Boston/2011-2020/2016/08/01/BostonGlobe.com/Business/Images/rendering3_1024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631019" y="746"/>
            <a:ext cx="8560981" cy="6857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0" y="6365526"/>
            <a:ext cx="12192000" cy="492474"/>
          </a:xfrm>
          <a:prstGeom prst="rect">
            <a:avLst/>
          </a:prstGeom>
          <a:solidFill>
            <a:srgbClr val="1976D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0" y="746"/>
            <a:ext cx="3886200" cy="685800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Down Arrow 18"/>
          <p:cNvSpPr/>
          <p:nvPr/>
        </p:nvSpPr>
        <p:spPr>
          <a:xfrm>
            <a:off x="1092749" y="2557786"/>
            <a:ext cx="1542977" cy="1250701"/>
          </a:xfrm>
          <a:prstGeom prst="down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Text Placeholder 16"/>
          <p:cNvSpPr txBox="1">
            <a:spLocks/>
          </p:cNvSpPr>
          <p:nvPr/>
        </p:nvSpPr>
        <p:spPr>
          <a:xfrm>
            <a:off x="8069587" y="6407156"/>
            <a:ext cx="3883378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endParaRPr lang="en-US" sz="1300" b="1" dirty="0">
              <a:solidFill>
                <a:srgbClr val="082B74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11" name="Text Placeholder 16"/>
          <p:cNvSpPr txBox="1">
            <a:spLocks/>
          </p:cNvSpPr>
          <p:nvPr/>
        </p:nvSpPr>
        <p:spPr>
          <a:xfrm>
            <a:off x="8189105" y="6415425"/>
            <a:ext cx="3883378" cy="409214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Segoe UI" charset="0"/>
                <a:ea typeface="Segoe UI" charset="0"/>
                <a:cs typeface="Segoe U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buFont typeface="Arial"/>
              <a:buNone/>
            </a:pPr>
            <a:r>
              <a:rPr lang="ru-RU" sz="1300" b="1" dirty="0">
                <a:solidFill>
                  <a:srgbClr val="082B74"/>
                </a:solidFill>
                <a:latin typeface="Segoe UI Semibold" charset="0"/>
                <a:ea typeface="Segoe UI Semibold" charset="0"/>
                <a:cs typeface="Segoe UI Semibold" charset="0"/>
              </a:rPr>
              <a:t>часть</a:t>
            </a:r>
            <a:r>
              <a:rPr lang="en-US" sz="1300" b="1" dirty="0">
                <a:solidFill>
                  <a:srgbClr val="082B74"/>
                </a:solidFill>
                <a:latin typeface="Segoe UI Semibold" charset="0"/>
                <a:ea typeface="Segoe UI Semibold" charset="0"/>
                <a:cs typeface="Segoe UI Semibold" charset="0"/>
              </a:rPr>
              <a:t> 1  |  </a:t>
            </a:r>
            <a:r>
              <a:rPr lang="ru-RU" sz="1300" b="1" dirty="0">
                <a:solidFill>
                  <a:srgbClr val="082B74"/>
                </a:solidFill>
                <a:latin typeface="Segoe UI Semibold" charset="0"/>
                <a:ea typeface="Segoe UI Semibold" charset="0"/>
                <a:cs typeface="Segoe UI Semibold" charset="0"/>
              </a:rPr>
              <a:t>развитие ученического потенциала</a:t>
            </a:r>
            <a:endParaRPr lang="en-US" sz="1300" b="1" dirty="0">
              <a:solidFill>
                <a:srgbClr val="082B74"/>
              </a:solidFill>
              <a:latin typeface="Segoe UI Semibold" charset="0"/>
              <a:ea typeface="Segoe UI Semibold" charset="0"/>
              <a:cs typeface="Segoe UI Semibold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07844" y="378933"/>
            <a:ext cx="29127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</a:rPr>
              <a:t>МИГРАЦИЯ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7844" y="1063916"/>
            <a:ext cx="29127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</a:rPr>
              <a:t>В ПОИСКАХ РАБОТЫ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2649" y="4027396"/>
            <a:ext cx="322317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</a:rPr>
              <a:t>МИГРАЦИЯ</a:t>
            </a:r>
          </a:p>
          <a:p>
            <a:pPr algn="ctr"/>
            <a:r>
              <a:rPr lang="ru-RU" sz="3200" dirty="0">
                <a:solidFill>
                  <a:schemeClr val="bg1"/>
                </a:solidFill>
              </a:rPr>
              <a:t>РАБОЧИХ МЕСТ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07844" y="5242547"/>
            <a:ext cx="291278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</a:rPr>
              <a:t>В ПОИСКАХ ТАЛАНТОВ</a:t>
            </a:r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96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push/>
      </p:transition>
    </mc:Choice>
    <mc:Fallback xmlns="">
      <p:transition spd="slow">
        <p:push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ukXnggMEOo2B2TKZNS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4F504F"/>
      </a:dk1>
      <a:lt1>
        <a:srgbClr val="FFFFFF"/>
      </a:lt1>
      <a:dk2>
        <a:srgbClr val="727372"/>
      </a:dk2>
      <a:lt2>
        <a:srgbClr val="0177D6"/>
      </a:lt2>
      <a:accent1>
        <a:srgbClr val="FF8C01"/>
      </a:accent1>
      <a:accent2>
        <a:srgbClr val="939393"/>
      </a:accent2>
      <a:accent3>
        <a:srgbClr val="E71122"/>
      </a:accent3>
      <a:accent4>
        <a:srgbClr val="B3009D"/>
      </a:accent4>
      <a:accent5>
        <a:srgbClr val="5B2C91"/>
      </a:accent5>
      <a:accent6>
        <a:srgbClr val="008172"/>
      </a:accent6>
      <a:hlink>
        <a:srgbClr val="107C0F"/>
      </a:hlink>
      <a:folHlink>
        <a:srgbClr val="D1D2D1"/>
      </a:folHlink>
    </a:clrScheme>
    <a:fontScheme name="Garamond">
      <a:majorFont>
        <a:latin typeface="Garamond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aramond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LOR TEMPLATE">
  <a:themeElements>
    <a:clrScheme name="MSVID Purple">
      <a:dk1>
        <a:srgbClr val="505050"/>
      </a:dk1>
      <a:lt1>
        <a:srgbClr val="FFFFFF"/>
      </a:lt1>
      <a:dk2>
        <a:srgbClr val="5C2D91"/>
      </a:dk2>
      <a:lt2>
        <a:srgbClr val="E7DCF4"/>
      </a:lt2>
      <a:accent1>
        <a:srgbClr val="32145A"/>
      </a:accent1>
      <a:accent2>
        <a:srgbClr val="B4009E"/>
      </a:accent2>
      <a:accent3>
        <a:srgbClr val="107C10"/>
      </a:accent3>
      <a:accent4>
        <a:srgbClr val="0078D7"/>
      </a:accent4>
      <a:accent5>
        <a:srgbClr val="008272"/>
      </a:accent5>
      <a:accent6>
        <a:srgbClr val="D83B01"/>
      </a:accent6>
      <a:hlink>
        <a:srgbClr val="E7DCF4"/>
      </a:hlink>
      <a:folHlink>
        <a:srgbClr val="E7DCF4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Consumer_PURPLE_1" id="{688BB2E1-3309-453F-B7EE-6B836D34C266}" vid="{B3956E7C-C725-422E-9894-0752553D1E03}"/>
    </a:ext>
  </a:extLst>
</a:theme>
</file>

<file path=ppt/theme/theme3.xml><?xml version="1.0" encoding="utf-8"?>
<a:theme xmlns:a="http://schemas.openxmlformats.org/drawingml/2006/main" name="WHITE TEMPLATE">
  <a:themeElements>
    <a:clrScheme name="MSVID White and Purple">
      <a:dk1>
        <a:srgbClr val="505050"/>
      </a:dk1>
      <a:lt1>
        <a:srgbClr val="FFFFFF"/>
      </a:lt1>
      <a:dk2>
        <a:srgbClr val="5C2D91"/>
      </a:dk2>
      <a:lt2>
        <a:srgbClr val="E7DCF4"/>
      </a:lt2>
      <a:accent1>
        <a:srgbClr val="5C2D91"/>
      </a:accent1>
      <a:accent2>
        <a:srgbClr val="B4009E"/>
      </a:accent2>
      <a:accent3>
        <a:srgbClr val="32145A"/>
      </a:accent3>
      <a:accent4>
        <a:srgbClr val="0078D7"/>
      </a:accent4>
      <a:accent5>
        <a:srgbClr val="107C10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Consumer_PURPLE_1" id="{688BB2E1-3309-453F-B7EE-6B836D34C266}" vid="{BDA1C90E-BD03-4501-8D2B-610540BE7FED}"/>
    </a:ext>
  </a:extLst>
</a:theme>
</file>

<file path=ppt/theme/theme4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8AD1"/>
      </a:accent1>
      <a:accent2>
        <a:srgbClr val="D53F28"/>
      </a:accent2>
      <a:accent3>
        <a:srgbClr val="585858"/>
      </a:accent3>
      <a:accent4>
        <a:srgbClr val="FAA31B"/>
      </a:accent4>
      <a:accent5>
        <a:srgbClr val="7FBC41"/>
      </a:accent5>
      <a:accent6>
        <a:srgbClr val="007237"/>
      </a:accent6>
      <a:hlink>
        <a:srgbClr val="86D6FF"/>
      </a:hlink>
      <a:folHlink>
        <a:srgbClr val="954F72"/>
      </a:folHlink>
    </a:clrScheme>
    <a:fontScheme name="Microsoft Standard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9_FY15 Enterprise identity theme">
  <a:themeElements>
    <a:clrScheme name="FY15 Enterprise Visual Identity">
      <a:dk1>
        <a:srgbClr val="505050"/>
      </a:dk1>
      <a:lt1>
        <a:sysClr val="window" lastClr="FFFFFF"/>
      </a:lt1>
      <a:dk2>
        <a:srgbClr val="0072C6"/>
      </a:dk2>
      <a:lt2>
        <a:srgbClr val="002050"/>
      </a:lt2>
      <a:accent1>
        <a:srgbClr val="7FBA00"/>
      </a:accent1>
      <a:accent2>
        <a:srgbClr val="FFB900"/>
      </a:accent2>
      <a:accent3>
        <a:srgbClr val="DC3C00"/>
      </a:accent3>
      <a:accent4>
        <a:srgbClr val="00BCF2"/>
      </a:accent4>
      <a:accent5>
        <a:srgbClr val="969696"/>
      </a:accent5>
      <a:accent6>
        <a:srgbClr val="D2D2D2"/>
      </a:accent6>
      <a:hlink>
        <a:srgbClr val="969696"/>
      </a:hlink>
      <a:folHlink>
        <a:srgbClr val="969696"/>
      </a:folHlink>
    </a:clrScheme>
    <a:fontScheme name="Segoe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b" anchorCtr="0" forceAA="0" compatLnSpc="1">
        <a:prstTxWarp prst="textNoShape">
          <a:avLst/>
        </a:prstTxWarp>
        <a:noAutofit/>
      </a:bodyPr>
      <a:lstStyle>
        <a:defPPr algn="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91440" tIns="91440" rIns="91440" bIns="91440" rtlCol="0" anchor="t">
        <a:noAutofit/>
      </a:bodyPr>
      <a:lstStyle>
        <a:defPPr marL="171450" indent="-171450">
          <a:buFont typeface="Wingdings" pitchFamily="2" charset="2"/>
          <a:buChar char="§"/>
          <a:defRPr sz="1600" dirty="0" err="1" smtClean="0">
            <a:latin typeface="Segoe UI" pitchFamily="34" charset="0"/>
            <a:ea typeface="Segoe UI" pitchFamily="34" charset="0"/>
            <a:cs typeface="Segoe U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5 EPG Presentation Template_External_16x9_Light [Read-Only]" id="{3A1D309E-A9B1-413E-90B6-BA773E86C9AE}" vid="{3930461E-BBF4-4A1F-A2F3-6BA9EAC3A40C}"/>
    </a:ext>
  </a:ext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Office Theme">
  <a:themeElements>
    <a:clrScheme name="Custom 1">
      <a:dk1>
        <a:srgbClr val="4F504F"/>
      </a:dk1>
      <a:lt1>
        <a:srgbClr val="FFFFFF"/>
      </a:lt1>
      <a:dk2>
        <a:srgbClr val="727372"/>
      </a:dk2>
      <a:lt2>
        <a:srgbClr val="0177D6"/>
      </a:lt2>
      <a:accent1>
        <a:srgbClr val="FF8C01"/>
      </a:accent1>
      <a:accent2>
        <a:srgbClr val="939393"/>
      </a:accent2>
      <a:accent3>
        <a:srgbClr val="E71122"/>
      </a:accent3>
      <a:accent4>
        <a:srgbClr val="B3009D"/>
      </a:accent4>
      <a:accent5>
        <a:srgbClr val="5B2C91"/>
      </a:accent5>
      <a:accent6>
        <a:srgbClr val="008172"/>
      </a:accent6>
      <a:hlink>
        <a:srgbClr val="107C0F"/>
      </a:hlink>
      <a:folHlink>
        <a:srgbClr val="D1D2D1"/>
      </a:folHlink>
    </a:clrScheme>
    <a:fontScheme name="Garamond">
      <a:majorFont>
        <a:latin typeface="Garamond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aramond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01</TotalTime>
  <Words>1529</Words>
  <Application>Microsoft Office PowerPoint</Application>
  <PresentationFormat>Широкоэкранный</PresentationFormat>
  <Paragraphs>205</Paragraphs>
  <Slides>20</Slides>
  <Notes>18</Notes>
  <HiddenSlides>3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8" baseType="lpstr">
      <vt:lpstr>Arial</vt:lpstr>
      <vt:lpstr>Calibri</vt:lpstr>
      <vt:lpstr>Calibri Light</vt:lpstr>
      <vt:lpstr>Consolas</vt:lpstr>
      <vt:lpstr>Garamond</vt:lpstr>
      <vt:lpstr>Segoe UI</vt:lpstr>
      <vt:lpstr>Segoe UI Light</vt:lpstr>
      <vt:lpstr>Segoe UI Normal</vt:lpstr>
      <vt:lpstr>Segoe UI Semibold</vt:lpstr>
      <vt:lpstr>Wingdings</vt:lpstr>
      <vt:lpstr>Office Theme</vt:lpstr>
      <vt:lpstr>COLOR TEMPLATE</vt:lpstr>
      <vt:lpstr>WHITE TEMPLATE</vt:lpstr>
      <vt:lpstr>2_Office Theme</vt:lpstr>
      <vt:lpstr>29_FY15 Enterprise identity theme</vt:lpstr>
      <vt:lpstr>1_Office Theme</vt:lpstr>
      <vt:lpstr>4_Office Theme</vt:lpstr>
      <vt:lpstr>think-cell Slide</vt:lpstr>
      <vt:lpstr>Презентация PowerPoint</vt:lpstr>
      <vt:lpstr>Фундаментальные изменения происходят прямо сейчас…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owering Education</dc:title>
  <dc:creator>Ross, Amy (STL-NHS)</dc:creator>
  <cp:lastModifiedBy>Mikhail Kalachinsky</cp:lastModifiedBy>
  <cp:revision>1039</cp:revision>
  <cp:lastPrinted>2016-11-10T04:26:53Z</cp:lastPrinted>
  <dcterms:created xsi:type="dcterms:W3CDTF">2016-09-29T20:16:41Z</dcterms:created>
  <dcterms:modified xsi:type="dcterms:W3CDTF">2017-06-27T05:14:11Z</dcterms:modified>
</cp:coreProperties>
</file>